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7" r:id="rId2"/>
    <p:sldMasterId id="2147483693" r:id="rId3"/>
    <p:sldMasterId id="2147483698" r:id="rId4"/>
    <p:sldMasterId id="2147483703" r:id="rId5"/>
    <p:sldMasterId id="2147483715" r:id="rId6"/>
  </p:sldMasterIdLst>
  <p:notesMasterIdLst>
    <p:notesMasterId r:id="rId12"/>
  </p:notesMasterIdLst>
  <p:sldIdLst>
    <p:sldId id="377" r:id="rId7"/>
    <p:sldId id="331" r:id="rId8"/>
    <p:sldId id="374" r:id="rId9"/>
    <p:sldId id="269" r:id="rId10"/>
    <p:sldId id="382"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E5714A-B498-447E-A0AC-7CE4187FA5A5}" v="3" dt="2023-02-16T08:39:46.03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4660"/>
  </p:normalViewPr>
  <p:slideViewPr>
    <p:cSldViewPr snapToGrid="0">
      <p:cViewPr varScale="1">
        <p:scale>
          <a:sx n="86" d="100"/>
          <a:sy n="86" d="100"/>
        </p:scale>
        <p:origin x="566" y="5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77F-D6C6-475C-A87D-9ED297C705BE}" type="datetimeFigureOut">
              <a:rPr lang="en-GB" smtClean="0"/>
              <a:t>23/0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F45568-CFBD-426F-B089-324CABC2B0ED}" type="slidenum">
              <a:rPr lang="en-GB" smtClean="0"/>
              <a:t>‹#›</a:t>
            </a:fld>
            <a:endParaRPr lang="en-GB"/>
          </a:p>
        </p:txBody>
      </p:sp>
    </p:spTree>
    <p:extLst>
      <p:ext uri="{BB962C8B-B14F-4D97-AF65-F5344CB8AC3E}">
        <p14:creationId xmlns:p14="http://schemas.microsoft.com/office/powerpoint/2010/main" val="27868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gif"/><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7.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41.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43.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17.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62.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17.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7.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0924673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IMAGE AND CONTENTS LAYOUT_22">
    <p:spTree>
      <p:nvGrpSpPr>
        <p:cNvPr id="1" name=""/>
        <p:cNvGrpSpPr/>
        <p:nvPr/>
      </p:nvGrpSpPr>
      <p:grpSpPr>
        <a:xfrm>
          <a:off x="0" y="0"/>
          <a:ext cx="0" cy="0"/>
          <a:chOff x="0" y="0"/>
          <a:chExt cx="0" cy="0"/>
        </a:xfrm>
      </p:grpSpPr>
      <p:sp>
        <p:nvSpPr>
          <p:cNvPr id="502" name="자유형: 도형 501">
            <a:extLst>
              <a:ext uri="{FF2B5EF4-FFF2-40B4-BE49-F238E27FC236}">
                <a16:creationId xmlns:a16="http://schemas.microsoft.com/office/drawing/2014/main" id="{CC336CE6-F83D-4CC2-86E2-B547FB7494DC}"/>
              </a:ext>
            </a:extLst>
          </p:cNvPr>
          <p:cNvSpPr>
            <a:spLocks noGrp="1"/>
          </p:cNvSpPr>
          <p:nvPr>
            <p:ph type="pic" sz="quarter" idx="46" hasCustomPrompt="1"/>
          </p:nvPr>
        </p:nvSpPr>
        <p:spPr>
          <a:xfrm>
            <a:off x="0" y="-826"/>
            <a:ext cx="12192185" cy="6859062"/>
          </a:xfrm>
          <a:custGeom>
            <a:avLst/>
            <a:gdLst>
              <a:gd name="connsiteX0" fmla="*/ 2948713 w 12192185"/>
              <a:gd name="connsiteY0" fmla="*/ 6851034 h 6859062"/>
              <a:gd name="connsiteX1" fmla="*/ 2951628 w 12192185"/>
              <a:gd name="connsiteY1" fmla="*/ 6852726 h 6859062"/>
              <a:gd name="connsiteX2" fmla="*/ 2952855 w 12192185"/>
              <a:gd name="connsiteY2" fmla="*/ 6855845 h 6859062"/>
              <a:gd name="connsiteX3" fmla="*/ 2956612 w 12192185"/>
              <a:gd name="connsiteY3" fmla="*/ 6857566 h 6859062"/>
              <a:gd name="connsiteX4" fmla="*/ 2969498 w 12192185"/>
              <a:gd name="connsiteY4" fmla="*/ 6857884 h 6859062"/>
              <a:gd name="connsiteX5" fmla="*/ 2973808 w 12192185"/>
              <a:gd name="connsiteY5" fmla="*/ 6858826 h 6859062"/>
              <a:gd name="connsiteX6" fmla="*/ 2946058 w 12192185"/>
              <a:gd name="connsiteY6" fmla="*/ 6858826 h 6859062"/>
              <a:gd name="connsiteX7" fmla="*/ 2948026 w 12192185"/>
              <a:gd name="connsiteY7" fmla="*/ 6856364 h 6859062"/>
              <a:gd name="connsiteX8" fmla="*/ 2947498 w 12192185"/>
              <a:gd name="connsiteY8" fmla="*/ 6854510 h 6859062"/>
              <a:gd name="connsiteX9" fmla="*/ 2948713 w 12192185"/>
              <a:gd name="connsiteY9" fmla="*/ 6851034 h 6859062"/>
              <a:gd name="connsiteX10" fmla="*/ 2304198 w 12192185"/>
              <a:gd name="connsiteY10" fmla="*/ 6843047 h 6859062"/>
              <a:gd name="connsiteX11" fmla="*/ 2316142 w 12192185"/>
              <a:gd name="connsiteY11" fmla="*/ 6844597 h 6859062"/>
              <a:gd name="connsiteX12" fmla="*/ 2324693 w 12192185"/>
              <a:gd name="connsiteY12" fmla="*/ 6858826 h 6859062"/>
              <a:gd name="connsiteX13" fmla="*/ 2283437 w 12192185"/>
              <a:gd name="connsiteY13" fmla="*/ 6858826 h 6859062"/>
              <a:gd name="connsiteX14" fmla="*/ 2285697 w 12192185"/>
              <a:gd name="connsiteY14" fmla="*/ 6850994 h 6859062"/>
              <a:gd name="connsiteX15" fmla="*/ 2292747 w 12192185"/>
              <a:gd name="connsiteY15" fmla="*/ 6846385 h 6859062"/>
              <a:gd name="connsiteX16" fmla="*/ 2304198 w 12192185"/>
              <a:gd name="connsiteY16" fmla="*/ 6843047 h 6859062"/>
              <a:gd name="connsiteX17" fmla="*/ 10040397 w 12192185"/>
              <a:gd name="connsiteY17" fmla="*/ 6832230 h 6859062"/>
              <a:gd name="connsiteX18" fmla="*/ 10040877 w 12192185"/>
              <a:gd name="connsiteY18" fmla="*/ 6832253 h 6859062"/>
              <a:gd name="connsiteX19" fmla="*/ 10040570 w 12192185"/>
              <a:gd name="connsiteY19" fmla="*/ 6832540 h 6859062"/>
              <a:gd name="connsiteX20" fmla="*/ 3416775 w 12192185"/>
              <a:gd name="connsiteY20" fmla="*/ 6821238 h 6859062"/>
              <a:gd name="connsiteX21" fmla="*/ 3431032 w 12192185"/>
              <a:gd name="connsiteY21" fmla="*/ 6825765 h 6859062"/>
              <a:gd name="connsiteX22" fmla="*/ 3444838 w 12192185"/>
              <a:gd name="connsiteY22" fmla="*/ 6830221 h 6859062"/>
              <a:gd name="connsiteX23" fmla="*/ 3461708 w 12192185"/>
              <a:gd name="connsiteY23" fmla="*/ 6853460 h 6859062"/>
              <a:gd name="connsiteX24" fmla="*/ 3463367 w 12192185"/>
              <a:gd name="connsiteY24" fmla="*/ 6858826 h 6859062"/>
              <a:gd name="connsiteX25" fmla="*/ 3359962 w 12192185"/>
              <a:gd name="connsiteY25" fmla="*/ 6858826 h 6859062"/>
              <a:gd name="connsiteX26" fmla="*/ 3364190 w 12192185"/>
              <a:gd name="connsiteY26" fmla="*/ 6853101 h 6859062"/>
              <a:gd name="connsiteX27" fmla="*/ 3375809 w 12192185"/>
              <a:gd name="connsiteY27" fmla="*/ 6835730 h 6859062"/>
              <a:gd name="connsiteX28" fmla="*/ 3383039 w 12192185"/>
              <a:gd name="connsiteY28" fmla="*/ 6830282 h 6859062"/>
              <a:gd name="connsiteX29" fmla="*/ 3393320 w 12192185"/>
              <a:gd name="connsiteY29" fmla="*/ 6825713 h 6859062"/>
              <a:gd name="connsiteX30" fmla="*/ 3401849 w 12192185"/>
              <a:gd name="connsiteY30" fmla="*/ 6823936 h 6859062"/>
              <a:gd name="connsiteX31" fmla="*/ 3416775 w 12192185"/>
              <a:gd name="connsiteY31" fmla="*/ 6821238 h 6859062"/>
              <a:gd name="connsiteX32" fmla="*/ 3909535 w 12192185"/>
              <a:gd name="connsiteY32" fmla="*/ 6807860 h 6859062"/>
              <a:gd name="connsiteX33" fmla="*/ 3920026 w 12192185"/>
              <a:gd name="connsiteY33" fmla="*/ 6810536 h 6859062"/>
              <a:gd name="connsiteX34" fmla="*/ 3939185 w 12192185"/>
              <a:gd name="connsiteY34" fmla="*/ 6820989 h 6859062"/>
              <a:gd name="connsiteX35" fmla="*/ 3943866 w 12192185"/>
              <a:gd name="connsiteY35" fmla="*/ 6825503 h 6859062"/>
              <a:gd name="connsiteX36" fmla="*/ 3948543 w 12192185"/>
              <a:gd name="connsiteY36" fmla="*/ 6832478 h 6859062"/>
              <a:gd name="connsiteX37" fmla="*/ 3950941 w 12192185"/>
              <a:gd name="connsiteY37" fmla="*/ 6838795 h 6859062"/>
              <a:gd name="connsiteX38" fmla="*/ 3951370 w 12192185"/>
              <a:gd name="connsiteY38" fmla="*/ 6854388 h 6859062"/>
              <a:gd name="connsiteX39" fmla="*/ 3951700 w 12192185"/>
              <a:gd name="connsiteY39" fmla="*/ 6858826 h 6859062"/>
              <a:gd name="connsiteX40" fmla="*/ 3880011 w 12192185"/>
              <a:gd name="connsiteY40" fmla="*/ 6858826 h 6859062"/>
              <a:gd name="connsiteX41" fmla="*/ 3878219 w 12192185"/>
              <a:gd name="connsiteY41" fmla="*/ 6850501 h 6859062"/>
              <a:gd name="connsiteX42" fmla="*/ 3877538 w 12192185"/>
              <a:gd name="connsiteY42" fmla="*/ 6844327 h 6859062"/>
              <a:gd name="connsiteX43" fmla="*/ 3878804 w 12192185"/>
              <a:gd name="connsiteY43" fmla="*/ 6838716 h 6859062"/>
              <a:gd name="connsiteX44" fmla="*/ 3880997 w 12192185"/>
              <a:gd name="connsiteY44" fmla="*/ 6834779 h 6859062"/>
              <a:gd name="connsiteX45" fmla="*/ 3885151 w 12192185"/>
              <a:gd name="connsiteY45" fmla="*/ 6826485 h 6859062"/>
              <a:gd name="connsiteX46" fmla="*/ 3886411 w 12192185"/>
              <a:gd name="connsiteY46" fmla="*/ 6823334 h 6859062"/>
              <a:gd name="connsiteX47" fmla="*/ 3889636 w 12192185"/>
              <a:gd name="connsiteY47" fmla="*/ 6815827 h 6859062"/>
              <a:gd name="connsiteX48" fmla="*/ 3909535 w 12192185"/>
              <a:gd name="connsiteY48" fmla="*/ 6807860 h 6859062"/>
              <a:gd name="connsiteX49" fmla="*/ 4369730 w 12192185"/>
              <a:gd name="connsiteY49" fmla="*/ 6800208 h 6859062"/>
              <a:gd name="connsiteX50" fmla="*/ 4379492 w 12192185"/>
              <a:gd name="connsiteY50" fmla="*/ 6802698 h 6859062"/>
              <a:gd name="connsiteX51" fmla="*/ 4397325 w 12192185"/>
              <a:gd name="connsiteY51" fmla="*/ 6812424 h 6859062"/>
              <a:gd name="connsiteX52" fmla="*/ 4401677 w 12192185"/>
              <a:gd name="connsiteY52" fmla="*/ 6816626 h 6859062"/>
              <a:gd name="connsiteX53" fmla="*/ 4406032 w 12192185"/>
              <a:gd name="connsiteY53" fmla="*/ 6823117 h 6859062"/>
              <a:gd name="connsiteX54" fmla="*/ 4408264 w 12192185"/>
              <a:gd name="connsiteY54" fmla="*/ 6828996 h 6859062"/>
              <a:gd name="connsiteX55" fmla="*/ 4408667 w 12192185"/>
              <a:gd name="connsiteY55" fmla="*/ 6843505 h 6859062"/>
              <a:gd name="connsiteX56" fmla="*/ 4409333 w 12192185"/>
              <a:gd name="connsiteY56" fmla="*/ 6852532 h 6859062"/>
              <a:gd name="connsiteX57" fmla="*/ 4408285 w 12192185"/>
              <a:gd name="connsiteY57" fmla="*/ 6856157 h 6859062"/>
              <a:gd name="connsiteX58" fmla="*/ 4405824 w 12192185"/>
              <a:gd name="connsiteY58" fmla="*/ 6858826 h 6859062"/>
              <a:gd name="connsiteX59" fmla="*/ 4347776 w 12192185"/>
              <a:gd name="connsiteY59" fmla="*/ 6858826 h 6859062"/>
              <a:gd name="connsiteX60" fmla="*/ 4343663 w 12192185"/>
              <a:gd name="connsiteY60" fmla="*/ 6854189 h 6859062"/>
              <a:gd name="connsiteX61" fmla="*/ 4340585 w 12192185"/>
              <a:gd name="connsiteY61" fmla="*/ 6839888 h 6859062"/>
              <a:gd name="connsiteX62" fmla="*/ 4339947 w 12192185"/>
              <a:gd name="connsiteY62" fmla="*/ 6834142 h 6859062"/>
              <a:gd name="connsiteX63" fmla="*/ 4341132 w 12192185"/>
              <a:gd name="connsiteY63" fmla="*/ 6828921 h 6859062"/>
              <a:gd name="connsiteX64" fmla="*/ 4343168 w 12192185"/>
              <a:gd name="connsiteY64" fmla="*/ 6825258 h 6859062"/>
              <a:gd name="connsiteX65" fmla="*/ 4347033 w 12192185"/>
              <a:gd name="connsiteY65" fmla="*/ 6817540 h 6859062"/>
              <a:gd name="connsiteX66" fmla="*/ 4348210 w 12192185"/>
              <a:gd name="connsiteY66" fmla="*/ 6814607 h 6859062"/>
              <a:gd name="connsiteX67" fmla="*/ 4351210 w 12192185"/>
              <a:gd name="connsiteY67" fmla="*/ 6807621 h 6859062"/>
              <a:gd name="connsiteX68" fmla="*/ 4369730 w 12192185"/>
              <a:gd name="connsiteY68" fmla="*/ 6800208 h 6859062"/>
              <a:gd name="connsiteX69" fmla="*/ 2039497 w 12192185"/>
              <a:gd name="connsiteY69" fmla="*/ 6782355 h 6859062"/>
              <a:gd name="connsiteX70" fmla="*/ 2049259 w 12192185"/>
              <a:gd name="connsiteY70" fmla="*/ 6784845 h 6859062"/>
              <a:gd name="connsiteX71" fmla="*/ 2067089 w 12192185"/>
              <a:gd name="connsiteY71" fmla="*/ 6794572 h 6859062"/>
              <a:gd name="connsiteX72" fmla="*/ 2071445 w 12192185"/>
              <a:gd name="connsiteY72" fmla="*/ 6798774 h 6859062"/>
              <a:gd name="connsiteX73" fmla="*/ 2075797 w 12192185"/>
              <a:gd name="connsiteY73" fmla="*/ 6805263 h 6859062"/>
              <a:gd name="connsiteX74" fmla="*/ 2078030 w 12192185"/>
              <a:gd name="connsiteY74" fmla="*/ 6811143 h 6859062"/>
              <a:gd name="connsiteX75" fmla="*/ 2078428 w 12192185"/>
              <a:gd name="connsiteY75" fmla="*/ 6825652 h 6859062"/>
              <a:gd name="connsiteX76" fmla="*/ 2079098 w 12192185"/>
              <a:gd name="connsiteY76" fmla="*/ 6834680 h 6859062"/>
              <a:gd name="connsiteX77" fmla="*/ 2078053 w 12192185"/>
              <a:gd name="connsiteY77" fmla="*/ 6838303 h 6859062"/>
              <a:gd name="connsiteX78" fmla="*/ 2072332 w 12192185"/>
              <a:gd name="connsiteY78" fmla="*/ 6844504 h 6859062"/>
              <a:gd name="connsiteX79" fmla="*/ 2061029 w 12192185"/>
              <a:gd name="connsiteY79" fmla="*/ 6853018 h 6859062"/>
              <a:gd name="connsiteX80" fmla="*/ 2057692 w 12192185"/>
              <a:gd name="connsiteY80" fmla="*/ 6856636 h 6859062"/>
              <a:gd name="connsiteX81" fmla="*/ 2053628 w 12192185"/>
              <a:gd name="connsiteY81" fmla="*/ 6857099 h 6859062"/>
              <a:gd name="connsiteX82" fmla="*/ 2046063 w 12192185"/>
              <a:gd name="connsiteY82" fmla="*/ 6857205 h 6859062"/>
              <a:gd name="connsiteX83" fmla="*/ 2043295 w 12192185"/>
              <a:gd name="connsiteY83" fmla="*/ 6857715 h 6859062"/>
              <a:gd name="connsiteX84" fmla="*/ 2033270 w 12192185"/>
              <a:gd name="connsiteY84" fmla="*/ 6856130 h 6859062"/>
              <a:gd name="connsiteX85" fmla="*/ 2030979 w 12192185"/>
              <a:gd name="connsiteY85" fmla="*/ 6856123 h 6859062"/>
              <a:gd name="connsiteX86" fmla="*/ 2013433 w 12192185"/>
              <a:gd name="connsiteY86" fmla="*/ 6836337 h 6859062"/>
              <a:gd name="connsiteX87" fmla="*/ 2010354 w 12192185"/>
              <a:gd name="connsiteY87" fmla="*/ 6822035 h 6859062"/>
              <a:gd name="connsiteX88" fmla="*/ 2009720 w 12192185"/>
              <a:gd name="connsiteY88" fmla="*/ 6816290 h 6859062"/>
              <a:gd name="connsiteX89" fmla="*/ 2010899 w 12192185"/>
              <a:gd name="connsiteY89" fmla="*/ 6811068 h 6859062"/>
              <a:gd name="connsiteX90" fmla="*/ 2012939 w 12192185"/>
              <a:gd name="connsiteY90" fmla="*/ 6807404 h 6859062"/>
              <a:gd name="connsiteX91" fmla="*/ 2016805 w 12192185"/>
              <a:gd name="connsiteY91" fmla="*/ 6799686 h 6859062"/>
              <a:gd name="connsiteX92" fmla="*/ 2017979 w 12192185"/>
              <a:gd name="connsiteY92" fmla="*/ 6796754 h 6859062"/>
              <a:gd name="connsiteX93" fmla="*/ 2020977 w 12192185"/>
              <a:gd name="connsiteY93" fmla="*/ 6789769 h 6859062"/>
              <a:gd name="connsiteX94" fmla="*/ 2039497 w 12192185"/>
              <a:gd name="connsiteY94" fmla="*/ 6782355 h 6859062"/>
              <a:gd name="connsiteX95" fmla="*/ 1708847 w 12192185"/>
              <a:gd name="connsiteY95" fmla="*/ 6763268 h 6859062"/>
              <a:gd name="connsiteX96" fmla="*/ 1711763 w 12192185"/>
              <a:gd name="connsiteY96" fmla="*/ 6764960 h 6859062"/>
              <a:gd name="connsiteX97" fmla="*/ 1712989 w 12192185"/>
              <a:gd name="connsiteY97" fmla="*/ 6768078 h 6859062"/>
              <a:gd name="connsiteX98" fmla="*/ 1716747 w 12192185"/>
              <a:gd name="connsiteY98" fmla="*/ 6769800 h 6859062"/>
              <a:gd name="connsiteX99" fmla="*/ 1729632 w 12192185"/>
              <a:gd name="connsiteY99" fmla="*/ 6770117 h 6859062"/>
              <a:gd name="connsiteX100" fmla="*/ 1744838 w 12192185"/>
              <a:gd name="connsiteY100" fmla="*/ 6773444 h 6859062"/>
              <a:gd name="connsiteX101" fmla="*/ 1747863 w 12192185"/>
              <a:gd name="connsiteY101" fmla="*/ 6776230 h 6859062"/>
              <a:gd name="connsiteX102" fmla="*/ 1756714 w 12192185"/>
              <a:gd name="connsiteY102" fmla="*/ 6783888 h 6859062"/>
              <a:gd name="connsiteX103" fmla="*/ 1758282 w 12192185"/>
              <a:gd name="connsiteY103" fmla="*/ 6785828 h 6859062"/>
              <a:gd name="connsiteX104" fmla="*/ 1763920 w 12192185"/>
              <a:gd name="connsiteY104" fmla="*/ 6798725 h 6859062"/>
              <a:gd name="connsiteX105" fmla="*/ 1764123 w 12192185"/>
              <a:gd name="connsiteY105" fmla="*/ 6817918 h 6859062"/>
              <a:gd name="connsiteX106" fmla="*/ 1764919 w 12192185"/>
              <a:gd name="connsiteY106" fmla="*/ 6824739 h 6859062"/>
              <a:gd name="connsiteX107" fmla="*/ 1761837 w 12192185"/>
              <a:gd name="connsiteY107" fmla="*/ 6833204 h 6859062"/>
              <a:gd name="connsiteX108" fmla="*/ 1758957 w 12192185"/>
              <a:gd name="connsiteY108" fmla="*/ 6840240 h 6859062"/>
              <a:gd name="connsiteX109" fmla="*/ 1758302 w 12192185"/>
              <a:gd name="connsiteY109" fmla="*/ 6843240 h 6859062"/>
              <a:gd name="connsiteX110" fmla="*/ 1742865 w 12192185"/>
              <a:gd name="connsiteY110" fmla="*/ 6853242 h 6859062"/>
              <a:gd name="connsiteX111" fmla="*/ 1729999 w 12192185"/>
              <a:gd name="connsiteY111" fmla="*/ 6856545 h 6859062"/>
              <a:gd name="connsiteX112" fmla="*/ 1725317 w 12192185"/>
              <a:gd name="connsiteY112" fmla="*/ 6858826 h 6859062"/>
              <a:gd name="connsiteX113" fmla="*/ 1644996 w 12192185"/>
              <a:gd name="connsiteY113" fmla="*/ 6858826 h 6859062"/>
              <a:gd name="connsiteX114" fmla="*/ 1648119 w 12192185"/>
              <a:gd name="connsiteY114" fmla="*/ 6853535 h 6859062"/>
              <a:gd name="connsiteX115" fmla="*/ 1652084 w 12192185"/>
              <a:gd name="connsiteY115" fmla="*/ 6850852 h 6859062"/>
              <a:gd name="connsiteX116" fmla="*/ 1663081 w 12192185"/>
              <a:gd name="connsiteY116" fmla="*/ 6842970 h 6859062"/>
              <a:gd name="connsiteX117" fmla="*/ 1668305 w 12192185"/>
              <a:gd name="connsiteY117" fmla="*/ 6842565 h 6859062"/>
              <a:gd name="connsiteX118" fmla="*/ 1689386 w 12192185"/>
              <a:gd name="connsiteY118" fmla="*/ 6842484 h 6859062"/>
              <a:gd name="connsiteX119" fmla="*/ 1690633 w 12192185"/>
              <a:gd name="connsiteY119" fmla="*/ 6838166 h 6859062"/>
              <a:gd name="connsiteX120" fmla="*/ 1685697 w 12192185"/>
              <a:gd name="connsiteY120" fmla="*/ 6836104 h 6859062"/>
              <a:gd name="connsiteX121" fmla="*/ 1681482 w 12192185"/>
              <a:gd name="connsiteY121" fmla="*/ 6837439 h 6859062"/>
              <a:gd name="connsiteX122" fmla="*/ 1678031 w 12192185"/>
              <a:gd name="connsiteY122" fmla="*/ 6836868 h 6859062"/>
              <a:gd name="connsiteX123" fmla="*/ 1679640 w 12192185"/>
              <a:gd name="connsiteY123" fmla="*/ 6833505 h 6859062"/>
              <a:gd name="connsiteX124" fmla="*/ 1683125 w 12192185"/>
              <a:gd name="connsiteY124" fmla="*/ 6831746 h 6859062"/>
              <a:gd name="connsiteX125" fmla="*/ 1685863 w 12192185"/>
              <a:gd name="connsiteY125" fmla="*/ 6825946 h 6859062"/>
              <a:gd name="connsiteX126" fmla="*/ 1680222 w 12192185"/>
              <a:gd name="connsiteY126" fmla="*/ 6825593 h 6859062"/>
              <a:gd name="connsiteX127" fmla="*/ 1675135 w 12192185"/>
              <a:gd name="connsiteY127" fmla="*/ 6827740 h 6859062"/>
              <a:gd name="connsiteX128" fmla="*/ 1671944 w 12192185"/>
              <a:gd name="connsiteY128" fmla="*/ 6824055 h 6859062"/>
              <a:gd name="connsiteX129" fmla="*/ 1679493 w 12192185"/>
              <a:gd name="connsiteY129" fmla="*/ 6814115 h 6859062"/>
              <a:gd name="connsiteX130" fmla="*/ 1682609 w 12192185"/>
              <a:gd name="connsiteY130" fmla="*/ 6803321 h 6859062"/>
              <a:gd name="connsiteX131" fmla="*/ 1679928 w 12192185"/>
              <a:gd name="connsiteY131" fmla="*/ 6797869 h 6859062"/>
              <a:gd name="connsiteX132" fmla="*/ 1679374 w 12192185"/>
              <a:gd name="connsiteY132" fmla="*/ 6795370 h 6859062"/>
              <a:gd name="connsiteX133" fmla="*/ 1681873 w 12192185"/>
              <a:gd name="connsiteY133" fmla="*/ 6794816 h 6859062"/>
              <a:gd name="connsiteX134" fmla="*/ 1687129 w 12192185"/>
              <a:gd name="connsiteY134" fmla="*/ 6792080 h 6859062"/>
              <a:gd name="connsiteX135" fmla="*/ 1694784 w 12192185"/>
              <a:gd name="connsiteY135" fmla="*/ 6784722 h 6859062"/>
              <a:gd name="connsiteX136" fmla="*/ 1696340 w 12192185"/>
              <a:gd name="connsiteY136" fmla="*/ 6780069 h 6859062"/>
              <a:gd name="connsiteX137" fmla="*/ 1695675 w 12192185"/>
              <a:gd name="connsiteY137" fmla="*/ 6776475 h 6859062"/>
              <a:gd name="connsiteX138" fmla="*/ 1699636 w 12192185"/>
              <a:gd name="connsiteY138" fmla="*/ 6775279 h 6859062"/>
              <a:gd name="connsiteX139" fmla="*/ 1702499 w 12192185"/>
              <a:gd name="connsiteY139" fmla="*/ 6775680 h 6859062"/>
              <a:gd name="connsiteX140" fmla="*/ 1708160 w 12192185"/>
              <a:gd name="connsiteY140" fmla="*/ 6768598 h 6859062"/>
              <a:gd name="connsiteX141" fmla="*/ 1707631 w 12192185"/>
              <a:gd name="connsiteY141" fmla="*/ 6766744 h 6859062"/>
              <a:gd name="connsiteX142" fmla="*/ 1708847 w 12192185"/>
              <a:gd name="connsiteY142" fmla="*/ 6763268 h 6859062"/>
              <a:gd name="connsiteX143" fmla="*/ 1064333 w 12192185"/>
              <a:gd name="connsiteY143" fmla="*/ 6755281 h 6859062"/>
              <a:gd name="connsiteX144" fmla="*/ 1076277 w 12192185"/>
              <a:gd name="connsiteY144" fmla="*/ 6756831 h 6859062"/>
              <a:gd name="connsiteX145" fmla="*/ 1085936 w 12192185"/>
              <a:gd name="connsiteY145" fmla="*/ 6772905 h 6859062"/>
              <a:gd name="connsiteX146" fmla="*/ 1087186 w 12192185"/>
              <a:gd name="connsiteY146" fmla="*/ 6778485 h 6859062"/>
              <a:gd name="connsiteX147" fmla="*/ 1092511 w 12192185"/>
              <a:gd name="connsiteY147" fmla="*/ 6791408 h 6859062"/>
              <a:gd name="connsiteX148" fmla="*/ 1097972 w 12192185"/>
              <a:gd name="connsiteY148" fmla="*/ 6797256 h 6859062"/>
              <a:gd name="connsiteX149" fmla="*/ 1099075 w 12192185"/>
              <a:gd name="connsiteY149" fmla="*/ 6816552 h 6859062"/>
              <a:gd name="connsiteX150" fmla="*/ 1090816 w 12192185"/>
              <a:gd name="connsiteY150" fmla="*/ 6830301 h 6859062"/>
              <a:gd name="connsiteX151" fmla="*/ 1075717 w 12192185"/>
              <a:gd name="connsiteY151" fmla="*/ 6836381 h 6859062"/>
              <a:gd name="connsiteX152" fmla="*/ 1073892 w 12192185"/>
              <a:gd name="connsiteY152" fmla="*/ 6837752 h 6859062"/>
              <a:gd name="connsiteX153" fmla="*/ 1065092 w 12192185"/>
              <a:gd name="connsiteY153" fmla="*/ 6835212 h 6859062"/>
              <a:gd name="connsiteX154" fmla="*/ 1056804 w 12192185"/>
              <a:gd name="connsiteY154" fmla="*/ 6827600 h 6859062"/>
              <a:gd name="connsiteX155" fmla="*/ 1052480 w 12192185"/>
              <a:gd name="connsiteY155" fmla="*/ 6817812 h 6859062"/>
              <a:gd name="connsiteX156" fmla="*/ 1051054 w 12192185"/>
              <a:gd name="connsiteY156" fmla="*/ 6804590 h 6859062"/>
              <a:gd name="connsiteX157" fmla="*/ 1048182 w 12192185"/>
              <a:gd name="connsiteY157" fmla="*/ 6791424 h 6859062"/>
              <a:gd name="connsiteX158" fmla="*/ 1041283 w 12192185"/>
              <a:gd name="connsiteY158" fmla="*/ 6778995 h 6859062"/>
              <a:gd name="connsiteX159" fmla="*/ 1045834 w 12192185"/>
              <a:gd name="connsiteY159" fmla="*/ 6763227 h 6859062"/>
              <a:gd name="connsiteX160" fmla="*/ 1052883 w 12192185"/>
              <a:gd name="connsiteY160" fmla="*/ 6758619 h 6859062"/>
              <a:gd name="connsiteX161" fmla="*/ 1064333 w 12192185"/>
              <a:gd name="connsiteY161" fmla="*/ 6755281 h 6859062"/>
              <a:gd name="connsiteX162" fmla="*/ 2176920 w 12192185"/>
              <a:gd name="connsiteY162" fmla="*/ 6733472 h 6859062"/>
              <a:gd name="connsiteX163" fmla="*/ 2191176 w 12192185"/>
              <a:gd name="connsiteY163" fmla="*/ 6737998 h 6859062"/>
              <a:gd name="connsiteX164" fmla="*/ 2204981 w 12192185"/>
              <a:gd name="connsiteY164" fmla="*/ 6742454 h 6859062"/>
              <a:gd name="connsiteX165" fmla="*/ 2221854 w 12192185"/>
              <a:gd name="connsiteY165" fmla="*/ 6765694 h 6859062"/>
              <a:gd name="connsiteX166" fmla="*/ 2220149 w 12192185"/>
              <a:gd name="connsiteY166" fmla="*/ 6776505 h 6859062"/>
              <a:gd name="connsiteX167" fmla="*/ 2219329 w 12192185"/>
              <a:gd name="connsiteY167" fmla="*/ 6780979 h 6859062"/>
              <a:gd name="connsiteX168" fmla="*/ 2218118 w 12192185"/>
              <a:gd name="connsiteY168" fmla="*/ 6793346 h 6859062"/>
              <a:gd name="connsiteX169" fmla="*/ 2217792 w 12192185"/>
              <a:gd name="connsiteY169" fmla="*/ 6799375 h 6859062"/>
              <a:gd name="connsiteX170" fmla="*/ 2215224 w 12192185"/>
              <a:gd name="connsiteY170" fmla="*/ 6806640 h 6859062"/>
              <a:gd name="connsiteX171" fmla="*/ 2210043 w 12192185"/>
              <a:gd name="connsiteY171" fmla="*/ 6813152 h 6859062"/>
              <a:gd name="connsiteX172" fmla="*/ 2195319 w 12192185"/>
              <a:gd name="connsiteY172" fmla="*/ 6828214 h 6859062"/>
              <a:gd name="connsiteX173" fmla="*/ 2158762 w 12192185"/>
              <a:gd name="connsiteY173" fmla="*/ 6838858 h 6859062"/>
              <a:gd name="connsiteX174" fmla="*/ 2155967 w 12192185"/>
              <a:gd name="connsiteY174" fmla="*/ 6837108 h 6859062"/>
              <a:gd name="connsiteX175" fmla="*/ 2142538 w 12192185"/>
              <a:gd name="connsiteY175" fmla="*/ 6831348 h 6859062"/>
              <a:gd name="connsiteX176" fmla="*/ 2139556 w 12192185"/>
              <a:gd name="connsiteY176" fmla="*/ 6828604 h 6859062"/>
              <a:gd name="connsiteX177" fmla="*/ 2130423 w 12192185"/>
              <a:gd name="connsiteY177" fmla="*/ 6822670 h 6859062"/>
              <a:gd name="connsiteX178" fmla="*/ 2125826 w 12192185"/>
              <a:gd name="connsiteY178" fmla="*/ 6818989 h 6859062"/>
              <a:gd name="connsiteX179" fmla="*/ 2124535 w 12192185"/>
              <a:gd name="connsiteY179" fmla="*/ 6812023 h 6859062"/>
              <a:gd name="connsiteX180" fmla="*/ 2117298 w 12192185"/>
              <a:gd name="connsiteY180" fmla="*/ 6792978 h 6859062"/>
              <a:gd name="connsiteX181" fmla="*/ 2115086 w 12192185"/>
              <a:gd name="connsiteY181" fmla="*/ 6781035 h 6859062"/>
              <a:gd name="connsiteX182" fmla="*/ 2116592 w 12192185"/>
              <a:gd name="connsiteY182" fmla="*/ 6775817 h 6859062"/>
              <a:gd name="connsiteX183" fmla="*/ 2124334 w 12192185"/>
              <a:gd name="connsiteY183" fmla="*/ 6765335 h 6859062"/>
              <a:gd name="connsiteX184" fmla="*/ 2135951 w 12192185"/>
              <a:gd name="connsiteY184" fmla="*/ 6747964 h 6859062"/>
              <a:gd name="connsiteX185" fmla="*/ 2143183 w 12192185"/>
              <a:gd name="connsiteY185" fmla="*/ 6742515 h 6859062"/>
              <a:gd name="connsiteX186" fmla="*/ 2153461 w 12192185"/>
              <a:gd name="connsiteY186" fmla="*/ 6737947 h 6859062"/>
              <a:gd name="connsiteX187" fmla="*/ 2161993 w 12192185"/>
              <a:gd name="connsiteY187" fmla="*/ 6736169 h 6859062"/>
              <a:gd name="connsiteX188" fmla="*/ 2176920 w 12192185"/>
              <a:gd name="connsiteY188" fmla="*/ 6733472 h 6859062"/>
              <a:gd name="connsiteX189" fmla="*/ 10141215 w 12192185"/>
              <a:gd name="connsiteY189" fmla="*/ 6731520 h 6859062"/>
              <a:gd name="connsiteX190" fmla="*/ 10144130 w 12192185"/>
              <a:gd name="connsiteY190" fmla="*/ 6733212 h 6859062"/>
              <a:gd name="connsiteX191" fmla="*/ 10145358 w 12192185"/>
              <a:gd name="connsiteY191" fmla="*/ 6736330 h 6859062"/>
              <a:gd name="connsiteX192" fmla="*/ 10149115 w 12192185"/>
              <a:gd name="connsiteY192" fmla="*/ 6738053 h 6859062"/>
              <a:gd name="connsiteX193" fmla="*/ 10161999 w 12192185"/>
              <a:gd name="connsiteY193" fmla="*/ 6738369 h 6859062"/>
              <a:gd name="connsiteX194" fmla="*/ 10177206 w 12192185"/>
              <a:gd name="connsiteY194" fmla="*/ 6741696 h 6859062"/>
              <a:gd name="connsiteX195" fmla="*/ 10180230 w 12192185"/>
              <a:gd name="connsiteY195" fmla="*/ 6744483 h 6859062"/>
              <a:gd name="connsiteX196" fmla="*/ 10189082 w 12192185"/>
              <a:gd name="connsiteY196" fmla="*/ 6752140 h 6859062"/>
              <a:gd name="connsiteX197" fmla="*/ 10190650 w 12192185"/>
              <a:gd name="connsiteY197" fmla="*/ 6754080 h 6859062"/>
              <a:gd name="connsiteX198" fmla="*/ 10196287 w 12192185"/>
              <a:gd name="connsiteY198" fmla="*/ 6766977 h 6859062"/>
              <a:gd name="connsiteX199" fmla="*/ 10196490 w 12192185"/>
              <a:gd name="connsiteY199" fmla="*/ 6786170 h 6859062"/>
              <a:gd name="connsiteX200" fmla="*/ 10197286 w 12192185"/>
              <a:gd name="connsiteY200" fmla="*/ 6792991 h 6859062"/>
              <a:gd name="connsiteX201" fmla="*/ 10194205 w 12192185"/>
              <a:gd name="connsiteY201" fmla="*/ 6801456 h 6859062"/>
              <a:gd name="connsiteX202" fmla="*/ 10191324 w 12192185"/>
              <a:gd name="connsiteY202" fmla="*/ 6808492 h 6859062"/>
              <a:gd name="connsiteX203" fmla="*/ 10190671 w 12192185"/>
              <a:gd name="connsiteY203" fmla="*/ 6811492 h 6859062"/>
              <a:gd name="connsiteX204" fmla="*/ 10175233 w 12192185"/>
              <a:gd name="connsiteY204" fmla="*/ 6821495 h 6859062"/>
              <a:gd name="connsiteX205" fmla="*/ 10162367 w 12192185"/>
              <a:gd name="connsiteY205" fmla="*/ 6824797 h 6859062"/>
              <a:gd name="connsiteX206" fmla="*/ 10151004 w 12192185"/>
              <a:gd name="connsiteY206" fmla="*/ 6833211 h 6859062"/>
              <a:gd name="connsiteX207" fmla="*/ 10151560 w 12192185"/>
              <a:gd name="connsiteY207" fmla="*/ 6835709 h 6859062"/>
              <a:gd name="connsiteX208" fmla="*/ 10159180 w 12192185"/>
              <a:gd name="connsiteY208" fmla="*/ 6852792 h 6859062"/>
              <a:gd name="connsiteX209" fmla="*/ 10159843 w 12192185"/>
              <a:gd name="connsiteY209" fmla="*/ 6856386 h 6859062"/>
              <a:gd name="connsiteX210" fmla="*/ 10159543 w 12192185"/>
              <a:gd name="connsiteY210" fmla="*/ 6858826 h 6859062"/>
              <a:gd name="connsiteX211" fmla="*/ 10063020 w 12192185"/>
              <a:gd name="connsiteY211" fmla="*/ 6858826 h 6859062"/>
              <a:gd name="connsiteX212" fmla="*/ 10061824 w 12192185"/>
              <a:gd name="connsiteY212" fmla="*/ 6852544 h 6859062"/>
              <a:gd name="connsiteX213" fmla="*/ 10059699 w 12192185"/>
              <a:gd name="connsiteY213" fmla="*/ 6849592 h 6859062"/>
              <a:gd name="connsiteX214" fmla="*/ 10064108 w 12192185"/>
              <a:gd name="connsiteY214" fmla="*/ 6848314 h 6859062"/>
              <a:gd name="connsiteX215" fmla="*/ 10064697 w 12192185"/>
              <a:gd name="connsiteY215" fmla="*/ 6848483 h 6859062"/>
              <a:gd name="connsiteX216" fmla="*/ 10070355 w 12192185"/>
              <a:gd name="connsiteY216" fmla="*/ 6842888 h 6859062"/>
              <a:gd name="connsiteX217" fmla="*/ 10073411 w 12192185"/>
              <a:gd name="connsiteY217" fmla="*/ 6833777 h 6859062"/>
              <a:gd name="connsiteX218" fmla="*/ 10080487 w 12192185"/>
              <a:gd name="connsiteY218" fmla="*/ 6821787 h 6859062"/>
              <a:gd name="connsiteX219" fmla="*/ 10084453 w 12192185"/>
              <a:gd name="connsiteY219" fmla="*/ 6819104 h 6859062"/>
              <a:gd name="connsiteX220" fmla="*/ 10095448 w 12192185"/>
              <a:gd name="connsiteY220" fmla="*/ 6811222 h 6859062"/>
              <a:gd name="connsiteX221" fmla="*/ 10100672 w 12192185"/>
              <a:gd name="connsiteY221" fmla="*/ 6810817 h 6859062"/>
              <a:gd name="connsiteX222" fmla="*/ 10121754 w 12192185"/>
              <a:gd name="connsiteY222" fmla="*/ 6810736 h 6859062"/>
              <a:gd name="connsiteX223" fmla="*/ 10123001 w 12192185"/>
              <a:gd name="connsiteY223" fmla="*/ 6806418 h 6859062"/>
              <a:gd name="connsiteX224" fmla="*/ 10118064 w 12192185"/>
              <a:gd name="connsiteY224" fmla="*/ 6804356 h 6859062"/>
              <a:gd name="connsiteX225" fmla="*/ 10113851 w 12192185"/>
              <a:gd name="connsiteY225" fmla="*/ 6805691 h 6859062"/>
              <a:gd name="connsiteX226" fmla="*/ 10110398 w 12192185"/>
              <a:gd name="connsiteY226" fmla="*/ 6805120 h 6859062"/>
              <a:gd name="connsiteX227" fmla="*/ 10112007 w 12192185"/>
              <a:gd name="connsiteY227" fmla="*/ 6801757 h 6859062"/>
              <a:gd name="connsiteX228" fmla="*/ 10115493 w 12192185"/>
              <a:gd name="connsiteY228" fmla="*/ 6799998 h 6859062"/>
              <a:gd name="connsiteX229" fmla="*/ 10118231 w 12192185"/>
              <a:gd name="connsiteY229" fmla="*/ 6794198 h 6859062"/>
              <a:gd name="connsiteX230" fmla="*/ 10112589 w 12192185"/>
              <a:gd name="connsiteY230" fmla="*/ 6793845 h 6859062"/>
              <a:gd name="connsiteX231" fmla="*/ 10107503 w 12192185"/>
              <a:gd name="connsiteY231" fmla="*/ 6795992 h 6859062"/>
              <a:gd name="connsiteX232" fmla="*/ 10104313 w 12192185"/>
              <a:gd name="connsiteY232" fmla="*/ 6792307 h 6859062"/>
              <a:gd name="connsiteX233" fmla="*/ 10111861 w 12192185"/>
              <a:gd name="connsiteY233" fmla="*/ 6782367 h 6859062"/>
              <a:gd name="connsiteX234" fmla="*/ 10114976 w 12192185"/>
              <a:gd name="connsiteY234" fmla="*/ 6771572 h 6859062"/>
              <a:gd name="connsiteX235" fmla="*/ 10112295 w 12192185"/>
              <a:gd name="connsiteY235" fmla="*/ 6766121 h 6859062"/>
              <a:gd name="connsiteX236" fmla="*/ 10111740 w 12192185"/>
              <a:gd name="connsiteY236" fmla="*/ 6763622 h 6859062"/>
              <a:gd name="connsiteX237" fmla="*/ 10114240 w 12192185"/>
              <a:gd name="connsiteY237" fmla="*/ 6763068 h 6859062"/>
              <a:gd name="connsiteX238" fmla="*/ 10119497 w 12192185"/>
              <a:gd name="connsiteY238" fmla="*/ 6760332 h 6859062"/>
              <a:gd name="connsiteX239" fmla="*/ 10127152 w 12192185"/>
              <a:gd name="connsiteY239" fmla="*/ 6752975 h 6859062"/>
              <a:gd name="connsiteX240" fmla="*/ 10128707 w 12192185"/>
              <a:gd name="connsiteY240" fmla="*/ 6748321 h 6859062"/>
              <a:gd name="connsiteX241" fmla="*/ 10128044 w 12192185"/>
              <a:gd name="connsiteY241" fmla="*/ 6744727 h 6859062"/>
              <a:gd name="connsiteX242" fmla="*/ 10132004 w 12192185"/>
              <a:gd name="connsiteY242" fmla="*/ 6743532 h 6859062"/>
              <a:gd name="connsiteX243" fmla="*/ 10134866 w 12192185"/>
              <a:gd name="connsiteY243" fmla="*/ 6743932 h 6859062"/>
              <a:gd name="connsiteX244" fmla="*/ 10140527 w 12192185"/>
              <a:gd name="connsiteY244" fmla="*/ 6736850 h 6859062"/>
              <a:gd name="connsiteX245" fmla="*/ 10139998 w 12192185"/>
              <a:gd name="connsiteY245" fmla="*/ 6734996 h 6859062"/>
              <a:gd name="connsiteX246" fmla="*/ 10141215 w 12192185"/>
              <a:gd name="connsiteY246" fmla="*/ 6731520 h 6859062"/>
              <a:gd name="connsiteX247" fmla="*/ 9496698 w 12192185"/>
              <a:gd name="connsiteY247" fmla="*/ 6723534 h 6859062"/>
              <a:gd name="connsiteX248" fmla="*/ 9508643 w 12192185"/>
              <a:gd name="connsiteY248" fmla="*/ 6725083 h 6859062"/>
              <a:gd name="connsiteX249" fmla="*/ 9518303 w 12192185"/>
              <a:gd name="connsiteY249" fmla="*/ 6741156 h 6859062"/>
              <a:gd name="connsiteX250" fmla="*/ 9519551 w 12192185"/>
              <a:gd name="connsiteY250" fmla="*/ 6746736 h 6859062"/>
              <a:gd name="connsiteX251" fmla="*/ 9524877 w 12192185"/>
              <a:gd name="connsiteY251" fmla="*/ 6759661 h 6859062"/>
              <a:gd name="connsiteX252" fmla="*/ 9530337 w 12192185"/>
              <a:gd name="connsiteY252" fmla="*/ 6765507 h 6859062"/>
              <a:gd name="connsiteX253" fmla="*/ 9531441 w 12192185"/>
              <a:gd name="connsiteY253" fmla="*/ 6784804 h 6859062"/>
              <a:gd name="connsiteX254" fmla="*/ 9523183 w 12192185"/>
              <a:gd name="connsiteY254" fmla="*/ 6798553 h 6859062"/>
              <a:gd name="connsiteX255" fmla="*/ 9508082 w 12192185"/>
              <a:gd name="connsiteY255" fmla="*/ 6804633 h 6859062"/>
              <a:gd name="connsiteX256" fmla="*/ 9506257 w 12192185"/>
              <a:gd name="connsiteY256" fmla="*/ 6806004 h 6859062"/>
              <a:gd name="connsiteX257" fmla="*/ 9497459 w 12192185"/>
              <a:gd name="connsiteY257" fmla="*/ 6803464 h 6859062"/>
              <a:gd name="connsiteX258" fmla="*/ 9489169 w 12192185"/>
              <a:gd name="connsiteY258" fmla="*/ 6795852 h 6859062"/>
              <a:gd name="connsiteX259" fmla="*/ 9484845 w 12192185"/>
              <a:gd name="connsiteY259" fmla="*/ 6786064 h 6859062"/>
              <a:gd name="connsiteX260" fmla="*/ 9483419 w 12192185"/>
              <a:gd name="connsiteY260" fmla="*/ 6772842 h 6859062"/>
              <a:gd name="connsiteX261" fmla="*/ 9480546 w 12192185"/>
              <a:gd name="connsiteY261" fmla="*/ 6759676 h 6859062"/>
              <a:gd name="connsiteX262" fmla="*/ 9473650 w 12192185"/>
              <a:gd name="connsiteY262" fmla="*/ 6747247 h 6859062"/>
              <a:gd name="connsiteX263" fmla="*/ 9478200 w 12192185"/>
              <a:gd name="connsiteY263" fmla="*/ 6731479 h 6859062"/>
              <a:gd name="connsiteX264" fmla="*/ 9485250 w 12192185"/>
              <a:gd name="connsiteY264" fmla="*/ 6726872 h 6859062"/>
              <a:gd name="connsiteX265" fmla="*/ 9496698 w 12192185"/>
              <a:gd name="connsiteY265" fmla="*/ 6723534 h 6859062"/>
              <a:gd name="connsiteX266" fmla="*/ 7316600 w 12192185"/>
              <a:gd name="connsiteY266" fmla="*/ 6721138 h 6859062"/>
              <a:gd name="connsiteX267" fmla="*/ 7329172 w 12192185"/>
              <a:gd name="connsiteY267" fmla="*/ 6724355 h 6859062"/>
              <a:gd name="connsiteX268" fmla="*/ 7341349 w 12192185"/>
              <a:gd name="connsiteY268" fmla="*/ 6727533 h 6859062"/>
              <a:gd name="connsiteX269" fmla="*/ 7357112 w 12192185"/>
              <a:gd name="connsiteY269" fmla="*/ 6746830 h 6859062"/>
              <a:gd name="connsiteX270" fmla="*/ 7356169 w 12192185"/>
              <a:gd name="connsiteY270" fmla="*/ 6756278 h 6859062"/>
              <a:gd name="connsiteX271" fmla="*/ 7355680 w 12192185"/>
              <a:gd name="connsiteY271" fmla="*/ 6760194 h 6859062"/>
              <a:gd name="connsiteX272" fmla="*/ 7355240 w 12192185"/>
              <a:gd name="connsiteY272" fmla="*/ 6770966 h 6859062"/>
              <a:gd name="connsiteX273" fmla="*/ 7355256 w 12192185"/>
              <a:gd name="connsiteY273" fmla="*/ 6776204 h 6859062"/>
              <a:gd name="connsiteX274" fmla="*/ 7353391 w 12192185"/>
              <a:gd name="connsiteY274" fmla="*/ 6782624 h 6859062"/>
              <a:gd name="connsiteX275" fmla="*/ 7349225 w 12192185"/>
              <a:gd name="connsiteY275" fmla="*/ 6788521 h 6859062"/>
              <a:gd name="connsiteX276" fmla="*/ 7337216 w 12192185"/>
              <a:gd name="connsiteY276" fmla="*/ 6802294 h 6859062"/>
              <a:gd name="connsiteX277" fmla="*/ 7306077 w 12192185"/>
              <a:gd name="connsiteY277" fmla="*/ 6813319 h 6859062"/>
              <a:gd name="connsiteX278" fmla="*/ 7303569 w 12192185"/>
              <a:gd name="connsiteY278" fmla="*/ 6811942 h 6859062"/>
              <a:gd name="connsiteX279" fmla="*/ 7291653 w 12192185"/>
              <a:gd name="connsiteY279" fmla="*/ 6807615 h 6859062"/>
              <a:gd name="connsiteX280" fmla="*/ 7288936 w 12192185"/>
              <a:gd name="connsiteY280" fmla="*/ 6805386 h 6859062"/>
              <a:gd name="connsiteX281" fmla="*/ 7280730 w 12192185"/>
              <a:gd name="connsiteY281" fmla="*/ 6800697 h 6859062"/>
              <a:gd name="connsiteX282" fmla="*/ 7276567 w 12192185"/>
              <a:gd name="connsiteY282" fmla="*/ 6797736 h 6859062"/>
              <a:gd name="connsiteX283" fmla="*/ 7275106 w 12192185"/>
              <a:gd name="connsiteY283" fmla="*/ 6791766 h 6859062"/>
              <a:gd name="connsiteX284" fmla="*/ 7267897 w 12192185"/>
              <a:gd name="connsiteY284" fmla="*/ 6775626 h 6859062"/>
              <a:gd name="connsiteX285" fmla="*/ 7265391 w 12192185"/>
              <a:gd name="connsiteY285" fmla="*/ 6765392 h 6859062"/>
              <a:gd name="connsiteX286" fmla="*/ 7266438 w 12192185"/>
              <a:gd name="connsiteY286" fmla="*/ 6760797 h 6859062"/>
              <a:gd name="connsiteX287" fmla="*/ 7272626 w 12192185"/>
              <a:gd name="connsiteY287" fmla="*/ 6751336 h 6859062"/>
              <a:gd name="connsiteX288" fmla="*/ 7281830 w 12192185"/>
              <a:gd name="connsiteY288" fmla="*/ 6735715 h 6859062"/>
              <a:gd name="connsiteX289" fmla="*/ 7287824 w 12192185"/>
              <a:gd name="connsiteY289" fmla="*/ 6730638 h 6859062"/>
              <a:gd name="connsiteX290" fmla="*/ 7296502 w 12192185"/>
              <a:gd name="connsiteY290" fmla="*/ 6726172 h 6859062"/>
              <a:gd name="connsiteX291" fmla="*/ 7303804 w 12192185"/>
              <a:gd name="connsiteY291" fmla="*/ 6724212 h 6859062"/>
              <a:gd name="connsiteX292" fmla="*/ 7316600 w 12192185"/>
              <a:gd name="connsiteY292" fmla="*/ 6721138 h 6859062"/>
              <a:gd name="connsiteX293" fmla="*/ 2669682 w 12192185"/>
              <a:gd name="connsiteY293" fmla="*/ 6720094 h 6859062"/>
              <a:gd name="connsiteX294" fmla="*/ 2680174 w 12192185"/>
              <a:gd name="connsiteY294" fmla="*/ 6722770 h 6859062"/>
              <a:gd name="connsiteX295" fmla="*/ 2699333 w 12192185"/>
              <a:gd name="connsiteY295" fmla="*/ 6733222 h 6859062"/>
              <a:gd name="connsiteX296" fmla="*/ 2704014 w 12192185"/>
              <a:gd name="connsiteY296" fmla="*/ 6737738 h 6859062"/>
              <a:gd name="connsiteX297" fmla="*/ 2708689 w 12192185"/>
              <a:gd name="connsiteY297" fmla="*/ 6744712 h 6859062"/>
              <a:gd name="connsiteX298" fmla="*/ 2711089 w 12192185"/>
              <a:gd name="connsiteY298" fmla="*/ 6751030 h 6859062"/>
              <a:gd name="connsiteX299" fmla="*/ 2711517 w 12192185"/>
              <a:gd name="connsiteY299" fmla="*/ 6766621 h 6859062"/>
              <a:gd name="connsiteX300" fmla="*/ 2712236 w 12192185"/>
              <a:gd name="connsiteY300" fmla="*/ 6776323 h 6859062"/>
              <a:gd name="connsiteX301" fmla="*/ 2711114 w 12192185"/>
              <a:gd name="connsiteY301" fmla="*/ 6780216 h 6859062"/>
              <a:gd name="connsiteX302" fmla="*/ 2704967 w 12192185"/>
              <a:gd name="connsiteY302" fmla="*/ 6786880 h 6859062"/>
              <a:gd name="connsiteX303" fmla="*/ 2692821 w 12192185"/>
              <a:gd name="connsiteY303" fmla="*/ 6796031 h 6859062"/>
              <a:gd name="connsiteX304" fmla="*/ 2689233 w 12192185"/>
              <a:gd name="connsiteY304" fmla="*/ 6799917 h 6859062"/>
              <a:gd name="connsiteX305" fmla="*/ 2684867 w 12192185"/>
              <a:gd name="connsiteY305" fmla="*/ 6800415 h 6859062"/>
              <a:gd name="connsiteX306" fmla="*/ 2676737 w 12192185"/>
              <a:gd name="connsiteY306" fmla="*/ 6800529 h 6859062"/>
              <a:gd name="connsiteX307" fmla="*/ 2673763 w 12192185"/>
              <a:gd name="connsiteY307" fmla="*/ 6801076 h 6859062"/>
              <a:gd name="connsiteX308" fmla="*/ 2662990 w 12192185"/>
              <a:gd name="connsiteY308" fmla="*/ 6799373 h 6859062"/>
              <a:gd name="connsiteX309" fmla="*/ 2660529 w 12192185"/>
              <a:gd name="connsiteY309" fmla="*/ 6799366 h 6859062"/>
              <a:gd name="connsiteX310" fmla="*/ 2641673 w 12192185"/>
              <a:gd name="connsiteY310" fmla="*/ 6778104 h 6859062"/>
              <a:gd name="connsiteX311" fmla="*/ 2638365 w 12192185"/>
              <a:gd name="connsiteY311" fmla="*/ 6762734 h 6859062"/>
              <a:gd name="connsiteX312" fmla="*/ 2637684 w 12192185"/>
              <a:gd name="connsiteY312" fmla="*/ 6756560 h 6859062"/>
              <a:gd name="connsiteX313" fmla="*/ 2638951 w 12192185"/>
              <a:gd name="connsiteY313" fmla="*/ 6750950 h 6859062"/>
              <a:gd name="connsiteX314" fmla="*/ 2641144 w 12192185"/>
              <a:gd name="connsiteY314" fmla="*/ 6747012 h 6859062"/>
              <a:gd name="connsiteX315" fmla="*/ 2645297 w 12192185"/>
              <a:gd name="connsiteY315" fmla="*/ 6738719 h 6859062"/>
              <a:gd name="connsiteX316" fmla="*/ 2646559 w 12192185"/>
              <a:gd name="connsiteY316" fmla="*/ 6735567 h 6859062"/>
              <a:gd name="connsiteX317" fmla="*/ 2649783 w 12192185"/>
              <a:gd name="connsiteY317" fmla="*/ 6728061 h 6859062"/>
              <a:gd name="connsiteX318" fmla="*/ 2669682 w 12192185"/>
              <a:gd name="connsiteY318" fmla="*/ 6720094 h 6859062"/>
              <a:gd name="connsiteX319" fmla="*/ 10609278 w 12192185"/>
              <a:gd name="connsiteY319" fmla="*/ 6701723 h 6859062"/>
              <a:gd name="connsiteX320" fmla="*/ 10623535 w 12192185"/>
              <a:gd name="connsiteY320" fmla="*/ 6706251 h 6859062"/>
              <a:gd name="connsiteX321" fmla="*/ 10637340 w 12192185"/>
              <a:gd name="connsiteY321" fmla="*/ 6710706 h 6859062"/>
              <a:gd name="connsiteX322" fmla="*/ 10654213 w 12192185"/>
              <a:gd name="connsiteY322" fmla="*/ 6733946 h 6859062"/>
              <a:gd name="connsiteX323" fmla="*/ 10652507 w 12192185"/>
              <a:gd name="connsiteY323" fmla="*/ 6744757 h 6859062"/>
              <a:gd name="connsiteX324" fmla="*/ 10651687 w 12192185"/>
              <a:gd name="connsiteY324" fmla="*/ 6749231 h 6859062"/>
              <a:gd name="connsiteX325" fmla="*/ 10650476 w 12192185"/>
              <a:gd name="connsiteY325" fmla="*/ 6761598 h 6859062"/>
              <a:gd name="connsiteX326" fmla="*/ 10650151 w 12192185"/>
              <a:gd name="connsiteY326" fmla="*/ 6767627 h 6859062"/>
              <a:gd name="connsiteX327" fmla="*/ 10647582 w 12192185"/>
              <a:gd name="connsiteY327" fmla="*/ 6774893 h 6859062"/>
              <a:gd name="connsiteX328" fmla="*/ 10642401 w 12192185"/>
              <a:gd name="connsiteY328" fmla="*/ 6781404 h 6859062"/>
              <a:gd name="connsiteX329" fmla="*/ 10627679 w 12192185"/>
              <a:gd name="connsiteY329" fmla="*/ 6796465 h 6859062"/>
              <a:gd name="connsiteX330" fmla="*/ 10591122 w 12192185"/>
              <a:gd name="connsiteY330" fmla="*/ 6807110 h 6859062"/>
              <a:gd name="connsiteX331" fmla="*/ 10588326 w 12192185"/>
              <a:gd name="connsiteY331" fmla="*/ 6805360 h 6859062"/>
              <a:gd name="connsiteX332" fmla="*/ 10574898 w 12192185"/>
              <a:gd name="connsiteY332" fmla="*/ 6799601 h 6859062"/>
              <a:gd name="connsiteX333" fmla="*/ 10571917 w 12192185"/>
              <a:gd name="connsiteY333" fmla="*/ 6796857 h 6859062"/>
              <a:gd name="connsiteX334" fmla="*/ 10562782 w 12192185"/>
              <a:gd name="connsiteY334" fmla="*/ 6790923 h 6859062"/>
              <a:gd name="connsiteX335" fmla="*/ 10558185 w 12192185"/>
              <a:gd name="connsiteY335" fmla="*/ 6787240 h 6859062"/>
              <a:gd name="connsiteX336" fmla="*/ 10556895 w 12192185"/>
              <a:gd name="connsiteY336" fmla="*/ 6780274 h 6859062"/>
              <a:gd name="connsiteX337" fmla="*/ 10549659 w 12192185"/>
              <a:gd name="connsiteY337" fmla="*/ 6761230 h 6859062"/>
              <a:gd name="connsiteX338" fmla="*/ 10547446 w 12192185"/>
              <a:gd name="connsiteY338" fmla="*/ 6749287 h 6859062"/>
              <a:gd name="connsiteX339" fmla="*/ 10548953 w 12192185"/>
              <a:gd name="connsiteY339" fmla="*/ 6744070 h 6859062"/>
              <a:gd name="connsiteX340" fmla="*/ 10556694 w 12192185"/>
              <a:gd name="connsiteY340" fmla="*/ 6733588 h 6859062"/>
              <a:gd name="connsiteX341" fmla="*/ 10568310 w 12192185"/>
              <a:gd name="connsiteY341" fmla="*/ 6716215 h 6859062"/>
              <a:gd name="connsiteX342" fmla="*/ 10575542 w 12192185"/>
              <a:gd name="connsiteY342" fmla="*/ 6710767 h 6859062"/>
              <a:gd name="connsiteX343" fmla="*/ 10585822 w 12192185"/>
              <a:gd name="connsiteY343" fmla="*/ 6706198 h 6859062"/>
              <a:gd name="connsiteX344" fmla="*/ 10594352 w 12192185"/>
              <a:gd name="connsiteY344" fmla="*/ 6704421 h 6859062"/>
              <a:gd name="connsiteX345" fmla="*/ 10609278 w 12192185"/>
              <a:gd name="connsiteY345" fmla="*/ 6701723 h 6859062"/>
              <a:gd name="connsiteX346" fmla="*/ 799646 w 12192185"/>
              <a:gd name="connsiteY346" fmla="*/ 6694588 h 6859062"/>
              <a:gd name="connsiteX347" fmla="*/ 809410 w 12192185"/>
              <a:gd name="connsiteY347" fmla="*/ 6697079 h 6859062"/>
              <a:gd name="connsiteX348" fmla="*/ 827240 w 12192185"/>
              <a:gd name="connsiteY348" fmla="*/ 6706805 h 6859062"/>
              <a:gd name="connsiteX349" fmla="*/ 831595 w 12192185"/>
              <a:gd name="connsiteY349" fmla="*/ 6711007 h 6859062"/>
              <a:gd name="connsiteX350" fmla="*/ 835946 w 12192185"/>
              <a:gd name="connsiteY350" fmla="*/ 6717498 h 6859062"/>
              <a:gd name="connsiteX351" fmla="*/ 838180 w 12192185"/>
              <a:gd name="connsiteY351" fmla="*/ 6723376 h 6859062"/>
              <a:gd name="connsiteX352" fmla="*/ 838578 w 12192185"/>
              <a:gd name="connsiteY352" fmla="*/ 6737887 h 6859062"/>
              <a:gd name="connsiteX353" fmla="*/ 839248 w 12192185"/>
              <a:gd name="connsiteY353" fmla="*/ 6746913 h 6859062"/>
              <a:gd name="connsiteX354" fmla="*/ 838202 w 12192185"/>
              <a:gd name="connsiteY354" fmla="*/ 6750538 h 6859062"/>
              <a:gd name="connsiteX355" fmla="*/ 832481 w 12192185"/>
              <a:gd name="connsiteY355" fmla="*/ 6756738 h 6859062"/>
              <a:gd name="connsiteX356" fmla="*/ 821180 w 12192185"/>
              <a:gd name="connsiteY356" fmla="*/ 6765252 h 6859062"/>
              <a:gd name="connsiteX357" fmla="*/ 817842 w 12192185"/>
              <a:gd name="connsiteY357" fmla="*/ 6768870 h 6859062"/>
              <a:gd name="connsiteX358" fmla="*/ 813777 w 12192185"/>
              <a:gd name="connsiteY358" fmla="*/ 6769332 h 6859062"/>
              <a:gd name="connsiteX359" fmla="*/ 806213 w 12192185"/>
              <a:gd name="connsiteY359" fmla="*/ 6769439 h 6859062"/>
              <a:gd name="connsiteX360" fmla="*/ 803445 w 12192185"/>
              <a:gd name="connsiteY360" fmla="*/ 6769948 h 6859062"/>
              <a:gd name="connsiteX361" fmla="*/ 793420 w 12192185"/>
              <a:gd name="connsiteY361" fmla="*/ 6768364 h 6859062"/>
              <a:gd name="connsiteX362" fmla="*/ 791130 w 12192185"/>
              <a:gd name="connsiteY362" fmla="*/ 6768358 h 6859062"/>
              <a:gd name="connsiteX363" fmla="*/ 773582 w 12192185"/>
              <a:gd name="connsiteY363" fmla="*/ 6748571 h 6859062"/>
              <a:gd name="connsiteX364" fmla="*/ 770504 w 12192185"/>
              <a:gd name="connsiteY364" fmla="*/ 6734269 h 6859062"/>
              <a:gd name="connsiteX365" fmla="*/ 769869 w 12192185"/>
              <a:gd name="connsiteY365" fmla="*/ 6728524 h 6859062"/>
              <a:gd name="connsiteX366" fmla="*/ 771049 w 12192185"/>
              <a:gd name="connsiteY366" fmla="*/ 6723302 h 6859062"/>
              <a:gd name="connsiteX367" fmla="*/ 773089 w 12192185"/>
              <a:gd name="connsiteY367" fmla="*/ 6719638 h 6859062"/>
              <a:gd name="connsiteX368" fmla="*/ 776954 w 12192185"/>
              <a:gd name="connsiteY368" fmla="*/ 6711921 h 6859062"/>
              <a:gd name="connsiteX369" fmla="*/ 778129 w 12192185"/>
              <a:gd name="connsiteY369" fmla="*/ 6708988 h 6859062"/>
              <a:gd name="connsiteX370" fmla="*/ 781128 w 12192185"/>
              <a:gd name="connsiteY370" fmla="*/ 6702002 h 6859062"/>
              <a:gd name="connsiteX371" fmla="*/ 799646 w 12192185"/>
              <a:gd name="connsiteY371" fmla="*/ 6694588 h 6859062"/>
              <a:gd name="connsiteX372" fmla="*/ 7874472 w 12192185"/>
              <a:gd name="connsiteY372" fmla="*/ 6640941 h 6859062"/>
              <a:gd name="connsiteX373" fmla="*/ 7881105 w 12192185"/>
              <a:gd name="connsiteY373" fmla="*/ 6643459 h 6859062"/>
              <a:gd name="connsiteX374" fmla="*/ 7904031 w 12192185"/>
              <a:gd name="connsiteY374" fmla="*/ 6654321 h 6859062"/>
              <a:gd name="connsiteX375" fmla="*/ 7909762 w 12192185"/>
              <a:gd name="connsiteY375" fmla="*/ 6659251 h 6859062"/>
              <a:gd name="connsiteX376" fmla="*/ 7915648 w 12192185"/>
              <a:gd name="connsiteY376" fmla="*/ 6667034 h 6859062"/>
              <a:gd name="connsiteX377" fmla="*/ 7918853 w 12192185"/>
              <a:gd name="connsiteY377" fmla="*/ 6674208 h 6859062"/>
              <a:gd name="connsiteX378" fmla="*/ 7920381 w 12192185"/>
              <a:gd name="connsiteY378" fmla="*/ 6692274 h 6859062"/>
              <a:gd name="connsiteX379" fmla="*/ 7921858 w 12192185"/>
              <a:gd name="connsiteY379" fmla="*/ 6703483 h 6859062"/>
              <a:gd name="connsiteX380" fmla="*/ 7920812 w 12192185"/>
              <a:gd name="connsiteY380" fmla="*/ 6708076 h 6859062"/>
              <a:gd name="connsiteX381" fmla="*/ 7914118 w 12192185"/>
              <a:gd name="connsiteY381" fmla="*/ 6716215 h 6859062"/>
              <a:gd name="connsiteX382" fmla="*/ 7900630 w 12192185"/>
              <a:gd name="connsiteY382" fmla="*/ 6727638 h 6859062"/>
              <a:gd name="connsiteX383" fmla="*/ 7896726 w 12192185"/>
              <a:gd name="connsiteY383" fmla="*/ 6732386 h 6859062"/>
              <a:gd name="connsiteX384" fmla="*/ 7891690 w 12192185"/>
              <a:gd name="connsiteY384" fmla="*/ 6733251 h 6859062"/>
              <a:gd name="connsiteX385" fmla="*/ 7882264 w 12192185"/>
              <a:gd name="connsiteY385" fmla="*/ 6733922 h 6859062"/>
              <a:gd name="connsiteX386" fmla="*/ 7878849 w 12192185"/>
              <a:gd name="connsiteY386" fmla="*/ 6734755 h 6859062"/>
              <a:gd name="connsiteX387" fmla="*/ 7866235 w 12192185"/>
              <a:gd name="connsiteY387" fmla="*/ 6733491 h 6859062"/>
              <a:gd name="connsiteX388" fmla="*/ 7863377 w 12192185"/>
              <a:gd name="connsiteY388" fmla="*/ 6733646 h 6859062"/>
              <a:gd name="connsiteX389" fmla="*/ 7840089 w 12192185"/>
              <a:gd name="connsiteY389" fmla="*/ 6710219 h 6859062"/>
              <a:gd name="connsiteX390" fmla="*/ 7835233 w 12192185"/>
              <a:gd name="connsiteY390" fmla="*/ 6692602 h 6859062"/>
              <a:gd name="connsiteX391" fmla="*/ 7834033 w 12192185"/>
              <a:gd name="connsiteY391" fmla="*/ 6685483 h 6859062"/>
              <a:gd name="connsiteX392" fmla="*/ 7835133 w 12192185"/>
              <a:gd name="connsiteY392" fmla="*/ 6678888 h 6859062"/>
              <a:gd name="connsiteX393" fmla="*/ 7837417 w 12192185"/>
              <a:gd name="connsiteY393" fmla="*/ 6674174 h 6859062"/>
              <a:gd name="connsiteX394" fmla="*/ 7841688 w 12192185"/>
              <a:gd name="connsiteY394" fmla="*/ 6664275 h 6859062"/>
              <a:gd name="connsiteX395" fmla="*/ 7842943 w 12192185"/>
              <a:gd name="connsiteY395" fmla="*/ 6660534 h 6859062"/>
              <a:gd name="connsiteX396" fmla="*/ 7846187 w 12192185"/>
              <a:gd name="connsiteY396" fmla="*/ 6651609 h 6859062"/>
              <a:gd name="connsiteX397" fmla="*/ 7868753 w 12192185"/>
              <a:gd name="connsiteY397" fmla="*/ 6641047 h 6859062"/>
              <a:gd name="connsiteX398" fmla="*/ 7874472 w 12192185"/>
              <a:gd name="connsiteY398" fmla="*/ 6640941 h 6859062"/>
              <a:gd name="connsiteX399" fmla="*/ 1429816 w 12192185"/>
              <a:gd name="connsiteY399" fmla="*/ 6632328 h 6859062"/>
              <a:gd name="connsiteX400" fmla="*/ 1440308 w 12192185"/>
              <a:gd name="connsiteY400" fmla="*/ 6635004 h 6859062"/>
              <a:gd name="connsiteX401" fmla="*/ 1459467 w 12192185"/>
              <a:gd name="connsiteY401" fmla="*/ 6645457 h 6859062"/>
              <a:gd name="connsiteX402" fmla="*/ 1464148 w 12192185"/>
              <a:gd name="connsiteY402" fmla="*/ 6649971 h 6859062"/>
              <a:gd name="connsiteX403" fmla="*/ 1468823 w 12192185"/>
              <a:gd name="connsiteY403" fmla="*/ 6656946 h 6859062"/>
              <a:gd name="connsiteX404" fmla="*/ 1471223 w 12192185"/>
              <a:gd name="connsiteY404" fmla="*/ 6663263 h 6859062"/>
              <a:gd name="connsiteX405" fmla="*/ 1471651 w 12192185"/>
              <a:gd name="connsiteY405" fmla="*/ 6678856 h 6859062"/>
              <a:gd name="connsiteX406" fmla="*/ 1472372 w 12192185"/>
              <a:gd name="connsiteY406" fmla="*/ 6688556 h 6859062"/>
              <a:gd name="connsiteX407" fmla="*/ 1471247 w 12192185"/>
              <a:gd name="connsiteY407" fmla="*/ 6692450 h 6859062"/>
              <a:gd name="connsiteX408" fmla="*/ 1465100 w 12192185"/>
              <a:gd name="connsiteY408" fmla="*/ 6699114 h 6859062"/>
              <a:gd name="connsiteX409" fmla="*/ 1452954 w 12192185"/>
              <a:gd name="connsiteY409" fmla="*/ 6708264 h 6859062"/>
              <a:gd name="connsiteX410" fmla="*/ 1449369 w 12192185"/>
              <a:gd name="connsiteY410" fmla="*/ 6712151 h 6859062"/>
              <a:gd name="connsiteX411" fmla="*/ 1445002 w 12192185"/>
              <a:gd name="connsiteY411" fmla="*/ 6712648 h 6859062"/>
              <a:gd name="connsiteX412" fmla="*/ 1436872 w 12192185"/>
              <a:gd name="connsiteY412" fmla="*/ 6712763 h 6859062"/>
              <a:gd name="connsiteX413" fmla="*/ 1433897 w 12192185"/>
              <a:gd name="connsiteY413" fmla="*/ 6713311 h 6859062"/>
              <a:gd name="connsiteX414" fmla="*/ 1423125 w 12192185"/>
              <a:gd name="connsiteY414" fmla="*/ 6711607 h 6859062"/>
              <a:gd name="connsiteX415" fmla="*/ 1420663 w 12192185"/>
              <a:gd name="connsiteY415" fmla="*/ 6711600 h 6859062"/>
              <a:gd name="connsiteX416" fmla="*/ 1401807 w 12192185"/>
              <a:gd name="connsiteY416" fmla="*/ 6690337 h 6859062"/>
              <a:gd name="connsiteX417" fmla="*/ 1398499 w 12192185"/>
              <a:gd name="connsiteY417" fmla="*/ 6674969 h 6859062"/>
              <a:gd name="connsiteX418" fmla="*/ 1397817 w 12192185"/>
              <a:gd name="connsiteY418" fmla="*/ 6668795 h 6859062"/>
              <a:gd name="connsiteX419" fmla="*/ 1399085 w 12192185"/>
              <a:gd name="connsiteY419" fmla="*/ 6663184 h 6859062"/>
              <a:gd name="connsiteX420" fmla="*/ 1401277 w 12192185"/>
              <a:gd name="connsiteY420" fmla="*/ 6659247 h 6859062"/>
              <a:gd name="connsiteX421" fmla="*/ 1405431 w 12192185"/>
              <a:gd name="connsiteY421" fmla="*/ 6650953 h 6859062"/>
              <a:gd name="connsiteX422" fmla="*/ 1406693 w 12192185"/>
              <a:gd name="connsiteY422" fmla="*/ 6647802 h 6859062"/>
              <a:gd name="connsiteX423" fmla="*/ 1409916 w 12192185"/>
              <a:gd name="connsiteY423" fmla="*/ 6640295 h 6859062"/>
              <a:gd name="connsiteX424" fmla="*/ 1429816 w 12192185"/>
              <a:gd name="connsiteY424" fmla="*/ 6632328 h 6859062"/>
              <a:gd name="connsiteX425" fmla="*/ 4841361 w 12192185"/>
              <a:gd name="connsiteY425" fmla="*/ 6629356 h 6859062"/>
              <a:gd name="connsiteX426" fmla="*/ 4842011 w 12192185"/>
              <a:gd name="connsiteY426" fmla="*/ 6629388 h 6859062"/>
              <a:gd name="connsiteX427" fmla="*/ 4841589 w 12192185"/>
              <a:gd name="connsiteY427" fmla="*/ 6629776 h 6859062"/>
              <a:gd name="connsiteX428" fmla="*/ 1800725 w 12192185"/>
              <a:gd name="connsiteY428" fmla="*/ 6625510 h 6859062"/>
              <a:gd name="connsiteX429" fmla="*/ 1810488 w 12192185"/>
              <a:gd name="connsiteY429" fmla="*/ 6628001 h 6859062"/>
              <a:gd name="connsiteX430" fmla="*/ 1828318 w 12192185"/>
              <a:gd name="connsiteY430" fmla="*/ 6637728 h 6859062"/>
              <a:gd name="connsiteX431" fmla="*/ 1832675 w 12192185"/>
              <a:gd name="connsiteY431" fmla="*/ 6641929 h 6859062"/>
              <a:gd name="connsiteX432" fmla="*/ 1837024 w 12192185"/>
              <a:gd name="connsiteY432" fmla="*/ 6648420 h 6859062"/>
              <a:gd name="connsiteX433" fmla="*/ 1839258 w 12192185"/>
              <a:gd name="connsiteY433" fmla="*/ 6654299 h 6859062"/>
              <a:gd name="connsiteX434" fmla="*/ 1839657 w 12192185"/>
              <a:gd name="connsiteY434" fmla="*/ 6668808 h 6859062"/>
              <a:gd name="connsiteX435" fmla="*/ 1840327 w 12192185"/>
              <a:gd name="connsiteY435" fmla="*/ 6677835 h 6859062"/>
              <a:gd name="connsiteX436" fmla="*/ 1839280 w 12192185"/>
              <a:gd name="connsiteY436" fmla="*/ 6681459 h 6859062"/>
              <a:gd name="connsiteX437" fmla="*/ 1833560 w 12192185"/>
              <a:gd name="connsiteY437" fmla="*/ 6687659 h 6859062"/>
              <a:gd name="connsiteX438" fmla="*/ 1822258 w 12192185"/>
              <a:gd name="connsiteY438" fmla="*/ 6696175 h 6859062"/>
              <a:gd name="connsiteX439" fmla="*/ 1818920 w 12192185"/>
              <a:gd name="connsiteY439" fmla="*/ 6699791 h 6859062"/>
              <a:gd name="connsiteX440" fmla="*/ 1814856 w 12192185"/>
              <a:gd name="connsiteY440" fmla="*/ 6700255 h 6859062"/>
              <a:gd name="connsiteX441" fmla="*/ 1807291 w 12192185"/>
              <a:gd name="connsiteY441" fmla="*/ 6700362 h 6859062"/>
              <a:gd name="connsiteX442" fmla="*/ 1804524 w 12192185"/>
              <a:gd name="connsiteY442" fmla="*/ 6700871 h 6859062"/>
              <a:gd name="connsiteX443" fmla="*/ 1794499 w 12192185"/>
              <a:gd name="connsiteY443" fmla="*/ 6699286 h 6859062"/>
              <a:gd name="connsiteX444" fmla="*/ 1792208 w 12192185"/>
              <a:gd name="connsiteY444" fmla="*/ 6699279 h 6859062"/>
              <a:gd name="connsiteX445" fmla="*/ 1774661 w 12192185"/>
              <a:gd name="connsiteY445" fmla="*/ 6679492 h 6859062"/>
              <a:gd name="connsiteX446" fmla="*/ 1771583 w 12192185"/>
              <a:gd name="connsiteY446" fmla="*/ 6665191 h 6859062"/>
              <a:gd name="connsiteX447" fmla="*/ 1770947 w 12192185"/>
              <a:gd name="connsiteY447" fmla="*/ 6659445 h 6859062"/>
              <a:gd name="connsiteX448" fmla="*/ 1772128 w 12192185"/>
              <a:gd name="connsiteY448" fmla="*/ 6654224 h 6859062"/>
              <a:gd name="connsiteX449" fmla="*/ 1774167 w 12192185"/>
              <a:gd name="connsiteY449" fmla="*/ 6650561 h 6859062"/>
              <a:gd name="connsiteX450" fmla="*/ 1778033 w 12192185"/>
              <a:gd name="connsiteY450" fmla="*/ 6642843 h 6859062"/>
              <a:gd name="connsiteX451" fmla="*/ 1779207 w 12192185"/>
              <a:gd name="connsiteY451" fmla="*/ 6639910 h 6859062"/>
              <a:gd name="connsiteX452" fmla="*/ 1782206 w 12192185"/>
              <a:gd name="connsiteY452" fmla="*/ 6632924 h 6859062"/>
              <a:gd name="connsiteX453" fmla="*/ 1800725 w 12192185"/>
              <a:gd name="connsiteY453" fmla="*/ 6625510 h 6859062"/>
              <a:gd name="connsiteX454" fmla="*/ 1890028 w 12192185"/>
              <a:gd name="connsiteY454" fmla="*/ 6624675 h 6859062"/>
              <a:gd name="connsiteX455" fmla="*/ 1899791 w 12192185"/>
              <a:gd name="connsiteY455" fmla="*/ 6627166 h 6859062"/>
              <a:gd name="connsiteX456" fmla="*/ 1917620 w 12192185"/>
              <a:gd name="connsiteY456" fmla="*/ 6636893 h 6859062"/>
              <a:gd name="connsiteX457" fmla="*/ 1921976 w 12192185"/>
              <a:gd name="connsiteY457" fmla="*/ 6641094 h 6859062"/>
              <a:gd name="connsiteX458" fmla="*/ 1926328 w 12192185"/>
              <a:gd name="connsiteY458" fmla="*/ 6647584 h 6859062"/>
              <a:gd name="connsiteX459" fmla="*/ 1928561 w 12192185"/>
              <a:gd name="connsiteY459" fmla="*/ 6653464 h 6859062"/>
              <a:gd name="connsiteX460" fmla="*/ 1928959 w 12192185"/>
              <a:gd name="connsiteY460" fmla="*/ 6667973 h 6859062"/>
              <a:gd name="connsiteX461" fmla="*/ 1929629 w 12192185"/>
              <a:gd name="connsiteY461" fmla="*/ 6677000 h 6859062"/>
              <a:gd name="connsiteX462" fmla="*/ 1928584 w 12192185"/>
              <a:gd name="connsiteY462" fmla="*/ 6680624 h 6859062"/>
              <a:gd name="connsiteX463" fmla="*/ 1922863 w 12192185"/>
              <a:gd name="connsiteY463" fmla="*/ 6686824 h 6859062"/>
              <a:gd name="connsiteX464" fmla="*/ 1911561 w 12192185"/>
              <a:gd name="connsiteY464" fmla="*/ 6695340 h 6859062"/>
              <a:gd name="connsiteX465" fmla="*/ 1908224 w 12192185"/>
              <a:gd name="connsiteY465" fmla="*/ 6698956 h 6859062"/>
              <a:gd name="connsiteX466" fmla="*/ 1904159 w 12192185"/>
              <a:gd name="connsiteY466" fmla="*/ 6699420 h 6859062"/>
              <a:gd name="connsiteX467" fmla="*/ 1896595 w 12192185"/>
              <a:gd name="connsiteY467" fmla="*/ 6699527 h 6859062"/>
              <a:gd name="connsiteX468" fmla="*/ 1893826 w 12192185"/>
              <a:gd name="connsiteY468" fmla="*/ 6700036 h 6859062"/>
              <a:gd name="connsiteX469" fmla="*/ 1883802 w 12192185"/>
              <a:gd name="connsiteY469" fmla="*/ 6698452 h 6859062"/>
              <a:gd name="connsiteX470" fmla="*/ 1881511 w 12192185"/>
              <a:gd name="connsiteY470" fmla="*/ 6698444 h 6859062"/>
              <a:gd name="connsiteX471" fmla="*/ 1863964 w 12192185"/>
              <a:gd name="connsiteY471" fmla="*/ 6678658 h 6859062"/>
              <a:gd name="connsiteX472" fmla="*/ 1860886 w 12192185"/>
              <a:gd name="connsiteY472" fmla="*/ 6664355 h 6859062"/>
              <a:gd name="connsiteX473" fmla="*/ 1860251 w 12192185"/>
              <a:gd name="connsiteY473" fmla="*/ 6658611 h 6859062"/>
              <a:gd name="connsiteX474" fmla="*/ 1861431 w 12192185"/>
              <a:gd name="connsiteY474" fmla="*/ 6653390 h 6859062"/>
              <a:gd name="connsiteX475" fmla="*/ 1863470 w 12192185"/>
              <a:gd name="connsiteY475" fmla="*/ 6649725 h 6859062"/>
              <a:gd name="connsiteX476" fmla="*/ 1867336 w 12192185"/>
              <a:gd name="connsiteY476" fmla="*/ 6642008 h 6859062"/>
              <a:gd name="connsiteX477" fmla="*/ 1868510 w 12192185"/>
              <a:gd name="connsiteY477" fmla="*/ 6639076 h 6859062"/>
              <a:gd name="connsiteX478" fmla="*/ 1871509 w 12192185"/>
              <a:gd name="connsiteY478" fmla="*/ 6632089 h 6859062"/>
              <a:gd name="connsiteX479" fmla="*/ 1890028 w 12192185"/>
              <a:gd name="connsiteY479" fmla="*/ 6624675 h 6859062"/>
              <a:gd name="connsiteX480" fmla="*/ 11264900 w 12192185"/>
              <a:gd name="connsiteY480" fmla="*/ 6616258 h 6859062"/>
              <a:gd name="connsiteX481" fmla="*/ 11289413 w 12192185"/>
              <a:gd name="connsiteY481" fmla="*/ 6620724 h 6859062"/>
              <a:gd name="connsiteX482" fmla="*/ 11294823 w 12192185"/>
              <a:gd name="connsiteY482" fmla="*/ 6628528 h 6859062"/>
              <a:gd name="connsiteX483" fmla="*/ 11296990 w 12192185"/>
              <a:gd name="connsiteY483" fmla="*/ 6631826 h 6859062"/>
              <a:gd name="connsiteX484" fmla="*/ 11303641 w 12192185"/>
              <a:gd name="connsiteY484" fmla="*/ 6640310 h 6859062"/>
              <a:gd name="connsiteX485" fmla="*/ 11307050 w 12192185"/>
              <a:gd name="connsiteY485" fmla="*/ 6644287 h 6859062"/>
              <a:gd name="connsiteX486" fmla="*/ 11309793 w 12192185"/>
              <a:gd name="connsiteY486" fmla="*/ 6650385 h 6859062"/>
              <a:gd name="connsiteX487" fmla="*/ 11310446 w 12192185"/>
              <a:gd name="connsiteY487" fmla="*/ 6657574 h 6859062"/>
              <a:gd name="connsiteX488" fmla="*/ 11310237 w 12192185"/>
              <a:gd name="connsiteY488" fmla="*/ 6675846 h 6859062"/>
              <a:gd name="connsiteX489" fmla="*/ 11293686 w 12192185"/>
              <a:gd name="connsiteY489" fmla="*/ 6704432 h 6859062"/>
              <a:gd name="connsiteX490" fmla="*/ 11290883 w 12192185"/>
              <a:gd name="connsiteY490" fmla="*/ 6705011 h 6859062"/>
              <a:gd name="connsiteX491" fmla="*/ 11279006 w 12192185"/>
              <a:gd name="connsiteY491" fmla="*/ 6709445 h 6859062"/>
              <a:gd name="connsiteX492" fmla="*/ 11275491 w 12192185"/>
              <a:gd name="connsiteY492" fmla="*/ 6709511 h 6859062"/>
              <a:gd name="connsiteX493" fmla="*/ 11266205 w 12192185"/>
              <a:gd name="connsiteY493" fmla="*/ 6711263 h 6859062"/>
              <a:gd name="connsiteX494" fmla="*/ 11261115 w 12192185"/>
              <a:gd name="connsiteY494" fmla="*/ 6711708 h 6859062"/>
              <a:gd name="connsiteX495" fmla="*/ 11256130 w 12192185"/>
              <a:gd name="connsiteY495" fmla="*/ 6708111 h 6859062"/>
              <a:gd name="connsiteX496" fmla="*/ 11240177 w 12192185"/>
              <a:gd name="connsiteY496" fmla="*/ 6700501 h 6859062"/>
              <a:gd name="connsiteX497" fmla="*/ 11231632 w 12192185"/>
              <a:gd name="connsiteY497" fmla="*/ 6694336 h 6859062"/>
              <a:gd name="connsiteX498" fmla="*/ 11229450 w 12192185"/>
              <a:gd name="connsiteY498" fmla="*/ 6690160 h 6859062"/>
              <a:gd name="connsiteX499" fmla="*/ 11228024 w 12192185"/>
              <a:gd name="connsiteY499" fmla="*/ 6678945 h 6859062"/>
              <a:gd name="connsiteX500" fmla="*/ 11224900 w 12192185"/>
              <a:gd name="connsiteY500" fmla="*/ 6661085 h 6859062"/>
              <a:gd name="connsiteX501" fmla="*/ 11226170 w 12192185"/>
              <a:gd name="connsiteY501" fmla="*/ 6653333 h 6859062"/>
              <a:gd name="connsiteX502" fmla="*/ 11229880 w 12192185"/>
              <a:gd name="connsiteY502" fmla="*/ 6644306 h 6859062"/>
              <a:gd name="connsiteX503" fmla="*/ 11234166 w 12192185"/>
              <a:gd name="connsiteY503" fmla="*/ 6638079 h 6859062"/>
              <a:gd name="connsiteX504" fmla="*/ 11253569 w 12192185"/>
              <a:gd name="connsiteY504" fmla="*/ 6621736 h 6859062"/>
              <a:gd name="connsiteX505" fmla="*/ 11264900 w 12192185"/>
              <a:gd name="connsiteY505" fmla="*/ 6616258 h 6859062"/>
              <a:gd name="connsiteX506" fmla="*/ 9839371 w 12192185"/>
              <a:gd name="connsiteY506" fmla="*/ 6615337 h 6859062"/>
              <a:gd name="connsiteX507" fmla="*/ 9810628 w 12192185"/>
              <a:gd name="connsiteY507" fmla="*/ 6624191 h 6859062"/>
              <a:gd name="connsiteX508" fmla="*/ 9810214 w 12192185"/>
              <a:gd name="connsiteY508" fmla="*/ 6624189 h 6859062"/>
              <a:gd name="connsiteX509" fmla="*/ 9805225 w 12192185"/>
              <a:gd name="connsiteY509" fmla="*/ 6625856 h 6859062"/>
              <a:gd name="connsiteX510" fmla="*/ 9810628 w 12192185"/>
              <a:gd name="connsiteY510" fmla="*/ 6624191 h 6859062"/>
              <a:gd name="connsiteX511" fmla="*/ 9813092 w 12192185"/>
              <a:gd name="connsiteY511" fmla="*/ 6624200 h 6859062"/>
              <a:gd name="connsiteX512" fmla="*/ 9804646 w 12192185"/>
              <a:gd name="connsiteY512" fmla="*/ 6630908 h 6859062"/>
              <a:gd name="connsiteX513" fmla="*/ 9801830 w 12192185"/>
              <a:gd name="connsiteY513" fmla="*/ 6633143 h 6859062"/>
              <a:gd name="connsiteX514" fmla="*/ 9834408 w 12192185"/>
              <a:gd name="connsiteY514" fmla="*/ 6625979 h 6859062"/>
              <a:gd name="connsiteX515" fmla="*/ 9837801 w 12192185"/>
              <a:gd name="connsiteY515" fmla="*/ 6619205 h 6859062"/>
              <a:gd name="connsiteX516" fmla="*/ 9839063 w 12192185"/>
              <a:gd name="connsiteY516" fmla="*/ 6616054 h 6859062"/>
              <a:gd name="connsiteX517" fmla="*/ 5312027 w 12192185"/>
              <a:gd name="connsiteY517" fmla="*/ 6606537 h 6859062"/>
              <a:gd name="connsiteX518" fmla="*/ 5319791 w 12192185"/>
              <a:gd name="connsiteY518" fmla="*/ 6607683 h 6859062"/>
              <a:gd name="connsiteX519" fmla="*/ 5328874 w 12192185"/>
              <a:gd name="connsiteY519" fmla="*/ 6611246 h 6859062"/>
              <a:gd name="connsiteX520" fmla="*/ 5335174 w 12192185"/>
              <a:gd name="connsiteY520" fmla="*/ 6615432 h 6859062"/>
              <a:gd name="connsiteX521" fmla="*/ 5351828 w 12192185"/>
              <a:gd name="connsiteY521" fmla="*/ 6634569 h 6859062"/>
              <a:gd name="connsiteX522" fmla="*/ 5357485 w 12192185"/>
              <a:gd name="connsiteY522" fmla="*/ 6645810 h 6859062"/>
              <a:gd name="connsiteX523" fmla="*/ 5353416 w 12192185"/>
              <a:gd name="connsiteY523" fmla="*/ 6670390 h 6859062"/>
              <a:gd name="connsiteX524" fmla="*/ 5345701 w 12192185"/>
              <a:gd name="connsiteY524" fmla="*/ 6675926 h 6859062"/>
              <a:gd name="connsiteX525" fmla="*/ 5342440 w 12192185"/>
              <a:gd name="connsiteY525" fmla="*/ 6678146 h 6859062"/>
              <a:gd name="connsiteX526" fmla="*/ 5334057 w 12192185"/>
              <a:gd name="connsiteY526" fmla="*/ 6684933 h 6859062"/>
              <a:gd name="connsiteX527" fmla="*/ 5330143 w 12192185"/>
              <a:gd name="connsiteY527" fmla="*/ 6688406 h 6859062"/>
              <a:gd name="connsiteX528" fmla="*/ 5324086 w 12192185"/>
              <a:gd name="connsiteY528" fmla="*/ 6691247 h 6859062"/>
              <a:gd name="connsiteX529" fmla="*/ 5316910 w 12192185"/>
              <a:gd name="connsiteY529" fmla="*/ 6692016 h 6859062"/>
              <a:gd name="connsiteX530" fmla="*/ 5298630 w 12192185"/>
              <a:gd name="connsiteY530" fmla="*/ 6692102 h 6859062"/>
              <a:gd name="connsiteX531" fmla="*/ 5269787 w 12192185"/>
              <a:gd name="connsiteY531" fmla="*/ 6676012 h 6859062"/>
              <a:gd name="connsiteX532" fmla="*/ 5269163 w 12192185"/>
              <a:gd name="connsiteY532" fmla="*/ 6673219 h 6859062"/>
              <a:gd name="connsiteX533" fmla="*/ 5264537 w 12192185"/>
              <a:gd name="connsiteY533" fmla="*/ 6661416 h 6859062"/>
              <a:gd name="connsiteX534" fmla="*/ 5264417 w 12192185"/>
              <a:gd name="connsiteY534" fmla="*/ 6657903 h 6859062"/>
              <a:gd name="connsiteX535" fmla="*/ 5262518 w 12192185"/>
              <a:gd name="connsiteY535" fmla="*/ 6648646 h 6859062"/>
              <a:gd name="connsiteX536" fmla="*/ 5261992 w 12192185"/>
              <a:gd name="connsiteY536" fmla="*/ 6643563 h 6859062"/>
              <a:gd name="connsiteX537" fmla="*/ 5265509 w 12192185"/>
              <a:gd name="connsiteY537" fmla="*/ 6638522 h 6859062"/>
              <a:gd name="connsiteX538" fmla="*/ 5272859 w 12192185"/>
              <a:gd name="connsiteY538" fmla="*/ 6622447 h 6859062"/>
              <a:gd name="connsiteX539" fmla="*/ 5278887 w 12192185"/>
              <a:gd name="connsiteY539" fmla="*/ 6613804 h 6859062"/>
              <a:gd name="connsiteX540" fmla="*/ 5283024 w 12192185"/>
              <a:gd name="connsiteY540" fmla="*/ 6611554 h 6859062"/>
              <a:gd name="connsiteX541" fmla="*/ 5294212 w 12192185"/>
              <a:gd name="connsiteY541" fmla="*/ 6609949 h 6859062"/>
              <a:gd name="connsiteX542" fmla="*/ 5312027 w 12192185"/>
              <a:gd name="connsiteY542" fmla="*/ 6606537 h 6859062"/>
              <a:gd name="connsiteX543" fmla="*/ 8848411 w 12192185"/>
              <a:gd name="connsiteY543" fmla="*/ 6600411 h 6859062"/>
              <a:gd name="connsiteX544" fmla="*/ 8857935 w 12192185"/>
              <a:gd name="connsiteY544" fmla="*/ 6606624 h 6859062"/>
              <a:gd name="connsiteX545" fmla="*/ 8848411 w 12192185"/>
              <a:gd name="connsiteY545" fmla="*/ 6600411 h 6859062"/>
              <a:gd name="connsiteX546" fmla="*/ 10322396 w 12192185"/>
              <a:gd name="connsiteY546" fmla="*/ 6592927 h 6859062"/>
              <a:gd name="connsiteX547" fmla="*/ 10332160 w 12192185"/>
              <a:gd name="connsiteY547" fmla="*/ 6595418 h 6859062"/>
              <a:gd name="connsiteX548" fmla="*/ 10349990 w 12192185"/>
              <a:gd name="connsiteY548" fmla="*/ 6605145 h 6859062"/>
              <a:gd name="connsiteX549" fmla="*/ 10354346 w 12192185"/>
              <a:gd name="connsiteY549" fmla="*/ 6609346 h 6859062"/>
              <a:gd name="connsiteX550" fmla="*/ 10358697 w 12192185"/>
              <a:gd name="connsiteY550" fmla="*/ 6615837 h 6859062"/>
              <a:gd name="connsiteX551" fmla="*/ 10360930 w 12192185"/>
              <a:gd name="connsiteY551" fmla="*/ 6621716 h 6859062"/>
              <a:gd name="connsiteX552" fmla="*/ 10361329 w 12192185"/>
              <a:gd name="connsiteY552" fmla="*/ 6636225 h 6859062"/>
              <a:gd name="connsiteX553" fmla="*/ 10361998 w 12192185"/>
              <a:gd name="connsiteY553" fmla="*/ 6645252 h 6859062"/>
              <a:gd name="connsiteX554" fmla="*/ 10360952 w 12192185"/>
              <a:gd name="connsiteY554" fmla="*/ 6648876 h 6859062"/>
              <a:gd name="connsiteX555" fmla="*/ 10355232 w 12192185"/>
              <a:gd name="connsiteY555" fmla="*/ 6655076 h 6859062"/>
              <a:gd name="connsiteX556" fmla="*/ 10343930 w 12192185"/>
              <a:gd name="connsiteY556" fmla="*/ 6663592 h 6859062"/>
              <a:gd name="connsiteX557" fmla="*/ 10340592 w 12192185"/>
              <a:gd name="connsiteY557" fmla="*/ 6667208 h 6859062"/>
              <a:gd name="connsiteX558" fmla="*/ 10336528 w 12192185"/>
              <a:gd name="connsiteY558" fmla="*/ 6667672 h 6859062"/>
              <a:gd name="connsiteX559" fmla="*/ 10328963 w 12192185"/>
              <a:gd name="connsiteY559" fmla="*/ 6667779 h 6859062"/>
              <a:gd name="connsiteX560" fmla="*/ 10326196 w 12192185"/>
              <a:gd name="connsiteY560" fmla="*/ 6668288 h 6859062"/>
              <a:gd name="connsiteX561" fmla="*/ 10316170 w 12192185"/>
              <a:gd name="connsiteY561" fmla="*/ 6666703 h 6859062"/>
              <a:gd name="connsiteX562" fmla="*/ 10313880 w 12192185"/>
              <a:gd name="connsiteY562" fmla="*/ 6666696 h 6859062"/>
              <a:gd name="connsiteX563" fmla="*/ 10296332 w 12192185"/>
              <a:gd name="connsiteY563" fmla="*/ 6646910 h 6859062"/>
              <a:gd name="connsiteX564" fmla="*/ 10293255 w 12192185"/>
              <a:gd name="connsiteY564" fmla="*/ 6632608 h 6859062"/>
              <a:gd name="connsiteX565" fmla="*/ 10292619 w 12192185"/>
              <a:gd name="connsiteY565" fmla="*/ 6626862 h 6859062"/>
              <a:gd name="connsiteX566" fmla="*/ 10293798 w 12192185"/>
              <a:gd name="connsiteY566" fmla="*/ 6621642 h 6859062"/>
              <a:gd name="connsiteX567" fmla="*/ 10295840 w 12192185"/>
              <a:gd name="connsiteY567" fmla="*/ 6617977 h 6859062"/>
              <a:gd name="connsiteX568" fmla="*/ 10299705 w 12192185"/>
              <a:gd name="connsiteY568" fmla="*/ 6610260 h 6859062"/>
              <a:gd name="connsiteX569" fmla="*/ 10300878 w 12192185"/>
              <a:gd name="connsiteY569" fmla="*/ 6607328 h 6859062"/>
              <a:gd name="connsiteX570" fmla="*/ 10303877 w 12192185"/>
              <a:gd name="connsiteY570" fmla="*/ 6600341 h 6859062"/>
              <a:gd name="connsiteX571" fmla="*/ 10322396 w 12192185"/>
              <a:gd name="connsiteY571" fmla="*/ 6592927 h 6859062"/>
              <a:gd name="connsiteX572" fmla="*/ 8098835 w 12192185"/>
              <a:gd name="connsiteY572" fmla="*/ 6569115 h 6859062"/>
              <a:gd name="connsiteX573" fmla="*/ 8098582 w 12192185"/>
              <a:gd name="connsiteY573" fmla="*/ 6569379 h 6859062"/>
              <a:gd name="connsiteX574" fmla="*/ 8098418 w 12192185"/>
              <a:gd name="connsiteY574" fmla="*/ 6569119 h 6859062"/>
              <a:gd name="connsiteX575" fmla="*/ 5776625 w 12192185"/>
              <a:gd name="connsiteY575" fmla="*/ 6567775 h 6859062"/>
              <a:gd name="connsiteX576" fmla="*/ 5780894 w 12192185"/>
              <a:gd name="connsiteY576" fmla="*/ 6570101 h 6859062"/>
              <a:gd name="connsiteX577" fmla="*/ 5782919 w 12192185"/>
              <a:gd name="connsiteY577" fmla="*/ 6572826 h 6859062"/>
              <a:gd name="connsiteX578" fmla="*/ 5793510 w 12192185"/>
              <a:gd name="connsiteY578" fmla="*/ 6571715 h 6859062"/>
              <a:gd name="connsiteX579" fmla="*/ 5794624 w 12192185"/>
              <a:gd name="connsiteY579" fmla="*/ 6569743 h 6859062"/>
              <a:gd name="connsiteX580" fmla="*/ 5798534 w 12192185"/>
              <a:gd name="connsiteY580" fmla="*/ 6567893 h 6859062"/>
              <a:gd name="connsiteX581" fmla="*/ 5799524 w 12192185"/>
              <a:gd name="connsiteY581" fmla="*/ 6571725 h 6859062"/>
              <a:gd name="connsiteX582" fmla="*/ 5797928 w 12192185"/>
              <a:gd name="connsiteY582" fmla="*/ 6575324 h 6859062"/>
              <a:gd name="connsiteX583" fmla="*/ 5799588 w 12192185"/>
              <a:gd name="connsiteY583" fmla="*/ 6579887 h 6859062"/>
              <a:gd name="connsiteX584" fmla="*/ 5809951 w 12192185"/>
              <a:gd name="connsiteY584" fmla="*/ 6590922 h 6859062"/>
              <a:gd name="connsiteX585" fmla="*/ 5819715 w 12192185"/>
              <a:gd name="connsiteY585" fmla="*/ 6606381 h 6859062"/>
              <a:gd name="connsiteX586" fmla="*/ 5819881 w 12192185"/>
              <a:gd name="connsiteY586" fmla="*/ 6611208 h 6859062"/>
              <a:gd name="connsiteX587" fmla="*/ 5820782 w 12192185"/>
              <a:gd name="connsiteY587" fmla="*/ 6624926 h 6859062"/>
              <a:gd name="connsiteX588" fmla="*/ 5820454 w 12192185"/>
              <a:gd name="connsiteY588" fmla="*/ 6627838 h 6859062"/>
              <a:gd name="connsiteX589" fmla="*/ 5814321 w 12192185"/>
              <a:gd name="connsiteY589" fmla="*/ 6643190 h 6859062"/>
              <a:gd name="connsiteX590" fmla="*/ 5798444 w 12192185"/>
              <a:gd name="connsiteY590" fmla="*/ 6659195 h 6859062"/>
              <a:gd name="connsiteX591" fmla="*/ 5793396 w 12192185"/>
              <a:gd name="connsiteY591" fmla="*/ 6665489 h 6859062"/>
              <a:gd name="connsiteX592" fmla="*/ 5783777 w 12192185"/>
              <a:gd name="connsiteY592" fmla="*/ 6669897 h 6859062"/>
              <a:gd name="connsiteX593" fmla="*/ 5775516 w 12192185"/>
              <a:gd name="connsiteY593" fmla="*/ 6673291 h 6859062"/>
              <a:gd name="connsiteX594" fmla="*/ 5772470 w 12192185"/>
              <a:gd name="connsiteY594" fmla="*/ 6675221 h 6859062"/>
              <a:gd name="connsiteX595" fmla="*/ 5751372 w 12192185"/>
              <a:gd name="connsiteY595" fmla="*/ 6670565 h 6859062"/>
              <a:gd name="connsiteX596" fmla="*/ 5737995 w 12192185"/>
              <a:gd name="connsiteY596" fmla="*/ 6662532 h 6859062"/>
              <a:gd name="connsiteX597" fmla="*/ 5721587 w 12192185"/>
              <a:gd name="connsiteY597" fmla="*/ 6659974 h 6859062"/>
              <a:gd name="connsiteX598" fmla="*/ 5719957 w 12192185"/>
              <a:gd name="connsiteY598" fmla="*/ 6662499 h 6859062"/>
              <a:gd name="connsiteX599" fmla="*/ 5711959 w 12192185"/>
              <a:gd name="connsiteY599" fmla="*/ 6682964 h 6859062"/>
              <a:gd name="connsiteX600" fmla="*/ 5709504 w 12192185"/>
              <a:gd name="connsiteY600" fmla="*/ 6686484 h 6859062"/>
              <a:gd name="connsiteX601" fmla="*/ 5699882 w 12192185"/>
              <a:gd name="connsiteY601" fmla="*/ 6693899 h 6859062"/>
              <a:gd name="connsiteX602" fmla="*/ 5689257 w 12192185"/>
              <a:gd name="connsiteY602" fmla="*/ 6703496 h 6859062"/>
              <a:gd name="connsiteX603" fmla="*/ 5684078 w 12192185"/>
              <a:gd name="connsiteY603" fmla="*/ 6706034 h 6859062"/>
              <a:gd name="connsiteX604" fmla="*/ 5650814 w 12192185"/>
              <a:gd name="connsiteY604" fmla="*/ 6709633 h 6859062"/>
              <a:gd name="connsiteX605" fmla="*/ 5647978 w 12192185"/>
              <a:gd name="connsiteY605" fmla="*/ 6708439 h 6859062"/>
              <a:gd name="connsiteX606" fmla="*/ 5634893 w 12192185"/>
              <a:gd name="connsiteY606" fmla="*/ 6698893 h 6859062"/>
              <a:gd name="connsiteX607" fmla="*/ 5630230 w 12192185"/>
              <a:gd name="connsiteY607" fmla="*/ 6694325 h 6859062"/>
              <a:gd name="connsiteX608" fmla="*/ 5623077 w 12192185"/>
              <a:gd name="connsiteY608" fmla="*/ 6686190 h 6859062"/>
              <a:gd name="connsiteX609" fmla="*/ 5613182 w 12192185"/>
              <a:gd name="connsiteY609" fmla="*/ 6682551 h 6859062"/>
              <a:gd name="connsiteX610" fmla="*/ 5610330 w 12192185"/>
              <a:gd name="connsiteY610" fmla="*/ 6680003 h 6859062"/>
              <a:gd name="connsiteX611" fmla="*/ 5612119 w 12192185"/>
              <a:gd name="connsiteY611" fmla="*/ 6676571 h 6859062"/>
              <a:gd name="connsiteX612" fmla="*/ 5614306 w 12192185"/>
              <a:gd name="connsiteY612" fmla="*/ 6674564 h 6859062"/>
              <a:gd name="connsiteX613" fmla="*/ 5616226 w 12192185"/>
              <a:gd name="connsiteY613" fmla="*/ 6671062 h 6859062"/>
              <a:gd name="connsiteX614" fmla="*/ 5612842 w 12192185"/>
              <a:gd name="connsiteY614" fmla="*/ 6669350 h 6859062"/>
              <a:gd name="connsiteX615" fmla="*/ 5610458 w 12192185"/>
              <a:gd name="connsiteY615" fmla="*/ 6662450 h 6859062"/>
              <a:gd name="connsiteX616" fmla="*/ 5612507 w 12192185"/>
              <a:gd name="connsiteY616" fmla="*/ 6659696 h 6859062"/>
              <a:gd name="connsiteX617" fmla="*/ 5611920 w 12192185"/>
              <a:gd name="connsiteY617" fmla="*/ 6655096 h 6859062"/>
              <a:gd name="connsiteX618" fmla="*/ 5607534 w 12192185"/>
              <a:gd name="connsiteY618" fmla="*/ 6655567 h 6859062"/>
              <a:gd name="connsiteX619" fmla="*/ 5604540 w 12192185"/>
              <a:gd name="connsiteY619" fmla="*/ 6657655 h 6859062"/>
              <a:gd name="connsiteX620" fmla="*/ 5611978 w 12192185"/>
              <a:gd name="connsiteY620" fmla="*/ 6632259 h 6859062"/>
              <a:gd name="connsiteX621" fmla="*/ 5613830 w 12192185"/>
              <a:gd name="connsiteY621" fmla="*/ 6632475 h 6859062"/>
              <a:gd name="connsiteX622" fmla="*/ 5616802 w 12192185"/>
              <a:gd name="connsiteY622" fmla="*/ 6628400 h 6859062"/>
              <a:gd name="connsiteX623" fmla="*/ 5616426 w 12192185"/>
              <a:gd name="connsiteY623" fmla="*/ 6623687 h 6859062"/>
              <a:gd name="connsiteX624" fmla="*/ 5620112 w 12192185"/>
              <a:gd name="connsiteY624" fmla="*/ 6618406 h 6859062"/>
              <a:gd name="connsiteX625" fmla="*/ 5631876 w 12192185"/>
              <a:gd name="connsiteY625" fmla="*/ 6601358 h 6859062"/>
              <a:gd name="connsiteX626" fmla="*/ 5632591 w 12192185"/>
              <a:gd name="connsiteY626" fmla="*/ 6597145 h 6859062"/>
              <a:gd name="connsiteX627" fmla="*/ 5637297 w 12192185"/>
              <a:gd name="connsiteY627" fmla="*/ 6599779 h 6859062"/>
              <a:gd name="connsiteX628" fmla="*/ 5637639 w 12192185"/>
              <a:gd name="connsiteY628" fmla="*/ 6600412 h 6859062"/>
              <a:gd name="connsiteX629" fmla="*/ 5646966 w 12192185"/>
              <a:gd name="connsiteY629" fmla="*/ 6600524 h 6859062"/>
              <a:gd name="connsiteX630" fmla="*/ 5657104 w 12192185"/>
              <a:gd name="connsiteY630" fmla="*/ 6595562 h 6859062"/>
              <a:gd name="connsiteX631" fmla="*/ 5672965 w 12192185"/>
              <a:gd name="connsiteY631" fmla="*/ 6591588 h 6859062"/>
              <a:gd name="connsiteX632" fmla="*/ 5678478 w 12192185"/>
              <a:gd name="connsiteY632" fmla="*/ 6592690 h 6859062"/>
              <a:gd name="connsiteX633" fmla="*/ 5694142 w 12192185"/>
              <a:gd name="connsiteY633" fmla="*/ 6595382 h 6859062"/>
              <a:gd name="connsiteX634" fmla="*/ 5698786 w 12192185"/>
              <a:gd name="connsiteY634" fmla="*/ 6599413 h 6859062"/>
              <a:gd name="connsiteX635" fmla="*/ 5716248 w 12192185"/>
              <a:gd name="connsiteY635" fmla="*/ 6616974 h 6859062"/>
              <a:gd name="connsiteX636" fmla="*/ 5720886 w 12192185"/>
              <a:gd name="connsiteY636" fmla="*/ 6614454 h 6859062"/>
              <a:gd name="connsiteX637" fmla="*/ 5718541 w 12192185"/>
              <a:gd name="connsiteY637" fmla="*/ 6608626 h 6859062"/>
              <a:gd name="connsiteX638" fmla="*/ 5713946 w 12192185"/>
              <a:gd name="connsiteY638" fmla="*/ 6606204 h 6859062"/>
              <a:gd name="connsiteX639" fmla="*/ 5711577 w 12192185"/>
              <a:gd name="connsiteY639" fmla="*/ 6602847 h 6859062"/>
              <a:gd name="connsiteX640" fmla="*/ 5715716 w 12192185"/>
              <a:gd name="connsiteY640" fmla="*/ 6601418 h 6859062"/>
              <a:gd name="connsiteX641" fmla="*/ 5720060 w 12192185"/>
              <a:gd name="connsiteY641" fmla="*/ 6602882 h 6859062"/>
              <a:gd name="connsiteX642" fmla="*/ 5727168 w 12192185"/>
              <a:gd name="connsiteY642" fmla="*/ 6600386 h 6859062"/>
              <a:gd name="connsiteX643" fmla="*/ 5722809 w 12192185"/>
              <a:gd name="connsiteY643" fmla="*/ 6595377 h 6859062"/>
              <a:gd name="connsiteX644" fmla="*/ 5716820 w 12192185"/>
              <a:gd name="connsiteY644" fmla="*/ 6592895 h 6859062"/>
              <a:gd name="connsiteX645" fmla="*/ 5717270 w 12192185"/>
              <a:gd name="connsiteY645" fmla="*/ 6587186 h 6859062"/>
              <a:gd name="connsiteX646" fmla="*/ 5731805 w 12192185"/>
              <a:gd name="connsiteY646" fmla="*/ 6585299 h 6859062"/>
              <a:gd name="connsiteX647" fmla="*/ 5743403 w 12192185"/>
              <a:gd name="connsiteY647" fmla="*/ 6578998 h 6859062"/>
              <a:gd name="connsiteX648" fmla="*/ 5745748 w 12192185"/>
              <a:gd name="connsiteY648" fmla="*/ 6572259 h 6859062"/>
              <a:gd name="connsiteX649" fmla="*/ 5747379 w 12192185"/>
              <a:gd name="connsiteY649" fmla="*/ 6569733 h 6859062"/>
              <a:gd name="connsiteX650" fmla="*/ 5749905 w 12192185"/>
              <a:gd name="connsiteY650" fmla="*/ 6571366 h 6859062"/>
              <a:gd name="connsiteX651" fmla="*/ 5756526 w 12192185"/>
              <a:gd name="connsiteY651" fmla="*/ 6573505 h 6859062"/>
              <a:gd name="connsiteX652" fmla="*/ 5768996 w 12192185"/>
              <a:gd name="connsiteY652" fmla="*/ 6573834 h 6859062"/>
              <a:gd name="connsiteX653" fmla="*/ 5774166 w 12192185"/>
              <a:gd name="connsiteY653" fmla="*/ 6571296 h 6859062"/>
              <a:gd name="connsiteX654" fmla="*/ 5776625 w 12192185"/>
              <a:gd name="connsiteY654" fmla="*/ 6567775 h 6859062"/>
              <a:gd name="connsiteX655" fmla="*/ 5631183 w 12192185"/>
              <a:gd name="connsiteY655" fmla="*/ 6566685 h 6859062"/>
              <a:gd name="connsiteX656" fmla="*/ 5631558 w 12192185"/>
              <a:gd name="connsiteY656" fmla="*/ 6567106 h 6859062"/>
              <a:gd name="connsiteX657" fmla="*/ 5631065 w 12192185"/>
              <a:gd name="connsiteY657" fmla="*/ 6567084 h 6859062"/>
              <a:gd name="connsiteX658" fmla="*/ 2214007 w 12192185"/>
              <a:gd name="connsiteY658" fmla="*/ 6557011 h 6859062"/>
              <a:gd name="connsiteX659" fmla="*/ 2224939 w 12192185"/>
              <a:gd name="connsiteY659" fmla="*/ 6562064 h 6859062"/>
              <a:gd name="connsiteX660" fmla="*/ 2232851 w 12192185"/>
              <a:gd name="connsiteY660" fmla="*/ 6570990 h 6859062"/>
              <a:gd name="connsiteX661" fmla="*/ 2236358 w 12192185"/>
              <a:gd name="connsiteY661" fmla="*/ 6578645 h 6859062"/>
              <a:gd name="connsiteX662" fmla="*/ 2231808 w 12192185"/>
              <a:gd name="connsiteY662" fmla="*/ 6594413 h 6859062"/>
              <a:gd name="connsiteX663" fmla="*/ 2219347 w 12192185"/>
              <a:gd name="connsiteY663" fmla="*/ 6601256 h 6859062"/>
              <a:gd name="connsiteX664" fmla="*/ 2209901 w 12192185"/>
              <a:gd name="connsiteY664" fmla="*/ 6610865 h 6859062"/>
              <a:gd name="connsiteX665" fmla="*/ 2201647 w 12192185"/>
              <a:gd name="connsiteY665" fmla="*/ 6621293 h 6859062"/>
              <a:gd name="connsiteX666" fmla="*/ 2192772 w 12192185"/>
              <a:gd name="connsiteY666" fmla="*/ 6627273 h 6859062"/>
              <a:gd name="connsiteX667" fmla="*/ 2181703 w 12192185"/>
              <a:gd name="connsiteY667" fmla="*/ 6629297 h 6859062"/>
              <a:gd name="connsiteX668" fmla="*/ 2172904 w 12192185"/>
              <a:gd name="connsiteY668" fmla="*/ 6626756 h 6859062"/>
              <a:gd name="connsiteX669" fmla="*/ 2172091 w 12192185"/>
              <a:gd name="connsiteY669" fmla="*/ 6624624 h 6859062"/>
              <a:gd name="connsiteX670" fmla="*/ 2162551 w 12192185"/>
              <a:gd name="connsiteY670" fmla="*/ 6611433 h 6859062"/>
              <a:gd name="connsiteX671" fmla="*/ 2162892 w 12192185"/>
              <a:gd name="connsiteY671" fmla="*/ 6595398 h 6859062"/>
              <a:gd name="connsiteX672" fmla="*/ 2174106 w 12192185"/>
              <a:gd name="connsiteY672" fmla="*/ 6579657 h 6859062"/>
              <a:gd name="connsiteX673" fmla="*/ 2181843 w 12192185"/>
              <a:gd name="connsiteY673" fmla="*/ 6577620 h 6859062"/>
              <a:gd name="connsiteX674" fmla="*/ 2193238 w 12192185"/>
              <a:gd name="connsiteY674" fmla="*/ 6569520 h 6859062"/>
              <a:gd name="connsiteX675" fmla="*/ 2197267 w 12192185"/>
              <a:gd name="connsiteY675" fmla="*/ 6565464 h 6859062"/>
              <a:gd name="connsiteX676" fmla="*/ 2214007 w 12192185"/>
              <a:gd name="connsiteY676" fmla="*/ 6557011 h 6859062"/>
              <a:gd name="connsiteX677" fmla="*/ 560874 w 12192185"/>
              <a:gd name="connsiteY677" fmla="*/ 6537744 h 6859062"/>
              <a:gd name="connsiteX678" fmla="*/ 570638 w 12192185"/>
              <a:gd name="connsiteY678" fmla="*/ 6540235 h 6859062"/>
              <a:gd name="connsiteX679" fmla="*/ 588468 w 12192185"/>
              <a:gd name="connsiteY679" fmla="*/ 6549962 h 6859062"/>
              <a:gd name="connsiteX680" fmla="*/ 592824 w 12192185"/>
              <a:gd name="connsiteY680" fmla="*/ 6554163 h 6859062"/>
              <a:gd name="connsiteX681" fmla="*/ 597174 w 12192185"/>
              <a:gd name="connsiteY681" fmla="*/ 6560653 h 6859062"/>
              <a:gd name="connsiteX682" fmla="*/ 599408 w 12192185"/>
              <a:gd name="connsiteY682" fmla="*/ 6566533 h 6859062"/>
              <a:gd name="connsiteX683" fmla="*/ 599806 w 12192185"/>
              <a:gd name="connsiteY683" fmla="*/ 6581042 h 6859062"/>
              <a:gd name="connsiteX684" fmla="*/ 600476 w 12192185"/>
              <a:gd name="connsiteY684" fmla="*/ 6590069 h 6859062"/>
              <a:gd name="connsiteX685" fmla="*/ 599431 w 12192185"/>
              <a:gd name="connsiteY685" fmla="*/ 6593693 h 6859062"/>
              <a:gd name="connsiteX686" fmla="*/ 593710 w 12192185"/>
              <a:gd name="connsiteY686" fmla="*/ 6599894 h 6859062"/>
              <a:gd name="connsiteX687" fmla="*/ 582407 w 12192185"/>
              <a:gd name="connsiteY687" fmla="*/ 6608409 h 6859062"/>
              <a:gd name="connsiteX688" fmla="*/ 579071 w 12192185"/>
              <a:gd name="connsiteY688" fmla="*/ 6612025 h 6859062"/>
              <a:gd name="connsiteX689" fmla="*/ 575006 w 12192185"/>
              <a:gd name="connsiteY689" fmla="*/ 6612489 h 6859062"/>
              <a:gd name="connsiteX690" fmla="*/ 567441 w 12192185"/>
              <a:gd name="connsiteY690" fmla="*/ 6612595 h 6859062"/>
              <a:gd name="connsiteX691" fmla="*/ 564674 w 12192185"/>
              <a:gd name="connsiteY691" fmla="*/ 6613105 h 6859062"/>
              <a:gd name="connsiteX692" fmla="*/ 554648 w 12192185"/>
              <a:gd name="connsiteY692" fmla="*/ 6611520 h 6859062"/>
              <a:gd name="connsiteX693" fmla="*/ 552357 w 12192185"/>
              <a:gd name="connsiteY693" fmla="*/ 6611513 h 6859062"/>
              <a:gd name="connsiteX694" fmla="*/ 534812 w 12192185"/>
              <a:gd name="connsiteY694" fmla="*/ 6591727 h 6859062"/>
              <a:gd name="connsiteX695" fmla="*/ 531733 w 12192185"/>
              <a:gd name="connsiteY695" fmla="*/ 6577424 h 6859062"/>
              <a:gd name="connsiteX696" fmla="*/ 531097 w 12192185"/>
              <a:gd name="connsiteY696" fmla="*/ 6571680 h 6859062"/>
              <a:gd name="connsiteX697" fmla="*/ 532277 w 12192185"/>
              <a:gd name="connsiteY697" fmla="*/ 6566459 h 6859062"/>
              <a:gd name="connsiteX698" fmla="*/ 534318 w 12192185"/>
              <a:gd name="connsiteY698" fmla="*/ 6562794 h 6859062"/>
              <a:gd name="connsiteX699" fmla="*/ 538183 w 12192185"/>
              <a:gd name="connsiteY699" fmla="*/ 6555077 h 6859062"/>
              <a:gd name="connsiteX700" fmla="*/ 539357 w 12192185"/>
              <a:gd name="connsiteY700" fmla="*/ 6552145 h 6859062"/>
              <a:gd name="connsiteX701" fmla="*/ 542356 w 12192185"/>
              <a:gd name="connsiteY701" fmla="*/ 6545158 h 6859062"/>
              <a:gd name="connsiteX702" fmla="*/ 560874 w 12192185"/>
              <a:gd name="connsiteY702" fmla="*/ 6537744 h 6859062"/>
              <a:gd name="connsiteX703" fmla="*/ 3655038 w 12192185"/>
              <a:gd name="connsiteY703" fmla="*/ 6528709 h 6859062"/>
              <a:gd name="connsiteX704" fmla="*/ 3641038 w 12192185"/>
              <a:gd name="connsiteY704" fmla="*/ 6529473 h 6859062"/>
              <a:gd name="connsiteX705" fmla="*/ 3614824 w 12192185"/>
              <a:gd name="connsiteY705" fmla="*/ 6529486 h 6859062"/>
              <a:gd name="connsiteX706" fmla="*/ 3616939 w 12192185"/>
              <a:gd name="connsiteY706" fmla="*/ 6533655 h 6859062"/>
              <a:gd name="connsiteX707" fmla="*/ 3632232 w 12192185"/>
              <a:gd name="connsiteY707" fmla="*/ 6543967 h 6859062"/>
              <a:gd name="connsiteX708" fmla="*/ 3642909 w 12192185"/>
              <a:gd name="connsiteY708" fmla="*/ 6553494 h 6859062"/>
              <a:gd name="connsiteX709" fmla="*/ 3646198 w 12192185"/>
              <a:gd name="connsiteY709" fmla="*/ 6543684 h 6859062"/>
              <a:gd name="connsiteX710" fmla="*/ 6583166 w 12192185"/>
              <a:gd name="connsiteY710" fmla="*/ 6523954 h 6859062"/>
              <a:gd name="connsiteX711" fmla="*/ 6583359 w 12192185"/>
              <a:gd name="connsiteY711" fmla="*/ 6529425 h 6859062"/>
              <a:gd name="connsiteX712" fmla="*/ 6583303 w 12192185"/>
              <a:gd name="connsiteY712" fmla="*/ 6529462 h 6859062"/>
              <a:gd name="connsiteX713" fmla="*/ 6577889 w 12192185"/>
              <a:gd name="connsiteY713" fmla="*/ 6529613 h 6859062"/>
              <a:gd name="connsiteX714" fmla="*/ 6580528 w 12192185"/>
              <a:gd name="connsiteY714" fmla="*/ 6526783 h 6859062"/>
              <a:gd name="connsiteX715" fmla="*/ 6583166 w 12192185"/>
              <a:gd name="connsiteY715" fmla="*/ 6523954 h 6859062"/>
              <a:gd name="connsiteX716" fmla="*/ 4761368 w 12192185"/>
              <a:gd name="connsiteY716" fmla="*/ 6510821 h 6859062"/>
              <a:gd name="connsiteX717" fmla="*/ 4778192 w 12192185"/>
              <a:gd name="connsiteY717" fmla="*/ 6513004 h 6859062"/>
              <a:gd name="connsiteX718" fmla="*/ 4791797 w 12192185"/>
              <a:gd name="connsiteY718" fmla="*/ 6535639 h 6859062"/>
              <a:gd name="connsiteX719" fmla="*/ 4793553 w 12192185"/>
              <a:gd name="connsiteY719" fmla="*/ 6543496 h 6859062"/>
              <a:gd name="connsiteX720" fmla="*/ 4801055 w 12192185"/>
              <a:gd name="connsiteY720" fmla="*/ 6561697 h 6859062"/>
              <a:gd name="connsiteX721" fmla="*/ 4808741 w 12192185"/>
              <a:gd name="connsiteY721" fmla="*/ 6569930 h 6859062"/>
              <a:gd name="connsiteX722" fmla="*/ 4810299 w 12192185"/>
              <a:gd name="connsiteY722" fmla="*/ 6597105 h 6859062"/>
              <a:gd name="connsiteX723" fmla="*/ 4798675 w 12192185"/>
              <a:gd name="connsiteY723" fmla="*/ 6616465 h 6859062"/>
              <a:gd name="connsiteX724" fmla="*/ 4777407 w 12192185"/>
              <a:gd name="connsiteY724" fmla="*/ 6625028 h 6859062"/>
              <a:gd name="connsiteX725" fmla="*/ 4774834 w 12192185"/>
              <a:gd name="connsiteY725" fmla="*/ 6626959 h 6859062"/>
              <a:gd name="connsiteX726" fmla="*/ 4762439 w 12192185"/>
              <a:gd name="connsiteY726" fmla="*/ 6623382 h 6859062"/>
              <a:gd name="connsiteX727" fmla="*/ 4750769 w 12192185"/>
              <a:gd name="connsiteY727" fmla="*/ 6612663 h 6859062"/>
              <a:gd name="connsiteX728" fmla="*/ 4744682 w 12192185"/>
              <a:gd name="connsiteY728" fmla="*/ 6598879 h 6859062"/>
              <a:gd name="connsiteX729" fmla="*/ 4742672 w 12192185"/>
              <a:gd name="connsiteY729" fmla="*/ 6580258 h 6859062"/>
              <a:gd name="connsiteX730" fmla="*/ 4738621 w 12192185"/>
              <a:gd name="connsiteY730" fmla="*/ 6561718 h 6859062"/>
              <a:gd name="connsiteX731" fmla="*/ 4728912 w 12192185"/>
              <a:gd name="connsiteY731" fmla="*/ 6544215 h 6859062"/>
              <a:gd name="connsiteX732" fmla="*/ 4735319 w 12192185"/>
              <a:gd name="connsiteY732" fmla="*/ 6522011 h 6859062"/>
              <a:gd name="connsiteX733" fmla="*/ 4745248 w 12192185"/>
              <a:gd name="connsiteY733" fmla="*/ 6515522 h 6859062"/>
              <a:gd name="connsiteX734" fmla="*/ 4761368 w 12192185"/>
              <a:gd name="connsiteY734" fmla="*/ 6510821 h 6859062"/>
              <a:gd name="connsiteX735" fmla="*/ 8993241 w 12192185"/>
              <a:gd name="connsiteY735" fmla="*/ 6505996 h 6859062"/>
              <a:gd name="connsiteX736" fmla="*/ 9003004 w 12192185"/>
              <a:gd name="connsiteY736" fmla="*/ 6508487 h 6859062"/>
              <a:gd name="connsiteX737" fmla="*/ 9020834 w 12192185"/>
              <a:gd name="connsiteY737" fmla="*/ 6518214 h 6859062"/>
              <a:gd name="connsiteX738" fmla="*/ 9025190 w 12192185"/>
              <a:gd name="connsiteY738" fmla="*/ 6522415 h 6859062"/>
              <a:gd name="connsiteX739" fmla="*/ 9029541 w 12192185"/>
              <a:gd name="connsiteY739" fmla="*/ 6528905 h 6859062"/>
              <a:gd name="connsiteX740" fmla="*/ 9031775 w 12192185"/>
              <a:gd name="connsiteY740" fmla="*/ 6534785 h 6859062"/>
              <a:gd name="connsiteX741" fmla="*/ 9032173 w 12192185"/>
              <a:gd name="connsiteY741" fmla="*/ 6549294 h 6859062"/>
              <a:gd name="connsiteX742" fmla="*/ 9032843 w 12192185"/>
              <a:gd name="connsiteY742" fmla="*/ 6558321 h 6859062"/>
              <a:gd name="connsiteX743" fmla="*/ 9031798 w 12192185"/>
              <a:gd name="connsiteY743" fmla="*/ 6561945 h 6859062"/>
              <a:gd name="connsiteX744" fmla="*/ 9026076 w 12192185"/>
              <a:gd name="connsiteY744" fmla="*/ 6568146 h 6859062"/>
              <a:gd name="connsiteX745" fmla="*/ 9014774 w 12192185"/>
              <a:gd name="connsiteY745" fmla="*/ 6576661 h 6859062"/>
              <a:gd name="connsiteX746" fmla="*/ 9011437 w 12192185"/>
              <a:gd name="connsiteY746" fmla="*/ 6580278 h 6859062"/>
              <a:gd name="connsiteX747" fmla="*/ 9007373 w 12192185"/>
              <a:gd name="connsiteY747" fmla="*/ 6580741 h 6859062"/>
              <a:gd name="connsiteX748" fmla="*/ 8999808 w 12192185"/>
              <a:gd name="connsiteY748" fmla="*/ 6580847 h 6859062"/>
              <a:gd name="connsiteX749" fmla="*/ 8997040 w 12192185"/>
              <a:gd name="connsiteY749" fmla="*/ 6581357 h 6859062"/>
              <a:gd name="connsiteX750" fmla="*/ 8987016 w 12192185"/>
              <a:gd name="connsiteY750" fmla="*/ 6579773 h 6859062"/>
              <a:gd name="connsiteX751" fmla="*/ 8984724 w 12192185"/>
              <a:gd name="connsiteY751" fmla="*/ 6579765 h 6859062"/>
              <a:gd name="connsiteX752" fmla="*/ 8967178 w 12192185"/>
              <a:gd name="connsiteY752" fmla="*/ 6559979 h 6859062"/>
              <a:gd name="connsiteX753" fmla="*/ 8964099 w 12192185"/>
              <a:gd name="connsiteY753" fmla="*/ 6545676 h 6859062"/>
              <a:gd name="connsiteX754" fmla="*/ 8963464 w 12192185"/>
              <a:gd name="connsiteY754" fmla="*/ 6539932 h 6859062"/>
              <a:gd name="connsiteX755" fmla="*/ 8964643 w 12192185"/>
              <a:gd name="connsiteY755" fmla="*/ 6534710 h 6859062"/>
              <a:gd name="connsiteX756" fmla="*/ 8966684 w 12192185"/>
              <a:gd name="connsiteY756" fmla="*/ 6531046 h 6859062"/>
              <a:gd name="connsiteX757" fmla="*/ 8970549 w 12192185"/>
              <a:gd name="connsiteY757" fmla="*/ 6523329 h 6859062"/>
              <a:gd name="connsiteX758" fmla="*/ 8971723 w 12192185"/>
              <a:gd name="connsiteY758" fmla="*/ 6520396 h 6859062"/>
              <a:gd name="connsiteX759" fmla="*/ 8974722 w 12192185"/>
              <a:gd name="connsiteY759" fmla="*/ 6513410 h 6859062"/>
              <a:gd name="connsiteX760" fmla="*/ 8993241 w 12192185"/>
              <a:gd name="connsiteY760" fmla="*/ 6505996 h 6859062"/>
              <a:gd name="connsiteX761" fmla="*/ 7622107 w 12192185"/>
              <a:gd name="connsiteY761" fmla="*/ 6501820 h 6859062"/>
              <a:gd name="connsiteX762" fmla="*/ 7632530 w 12192185"/>
              <a:gd name="connsiteY762" fmla="*/ 6502573 h 6859062"/>
              <a:gd name="connsiteX763" fmla="*/ 7641690 w 12192185"/>
              <a:gd name="connsiteY763" fmla="*/ 6516018 h 6859062"/>
              <a:gd name="connsiteX764" fmla="*/ 7643048 w 12192185"/>
              <a:gd name="connsiteY764" fmla="*/ 6520789 h 6859062"/>
              <a:gd name="connsiteX765" fmla="*/ 7648299 w 12192185"/>
              <a:gd name="connsiteY765" fmla="*/ 6531722 h 6859062"/>
              <a:gd name="connsiteX766" fmla="*/ 7653318 w 12192185"/>
              <a:gd name="connsiteY766" fmla="*/ 6536517 h 6859062"/>
              <a:gd name="connsiteX767" fmla="*/ 7655226 w 12192185"/>
              <a:gd name="connsiteY767" fmla="*/ 6553177 h 6859062"/>
              <a:gd name="connsiteX768" fmla="*/ 7648752 w 12192185"/>
              <a:gd name="connsiteY768" fmla="*/ 6565493 h 6859062"/>
              <a:gd name="connsiteX769" fmla="*/ 7635974 w 12192185"/>
              <a:gd name="connsiteY769" fmla="*/ 6571505 h 6859062"/>
              <a:gd name="connsiteX770" fmla="*/ 7634460 w 12192185"/>
              <a:gd name="connsiteY770" fmla="*/ 6572783 h 6859062"/>
              <a:gd name="connsiteX771" fmla="*/ 7626712 w 12192185"/>
              <a:gd name="connsiteY771" fmla="*/ 6571018 h 6859062"/>
              <a:gd name="connsiteX772" fmla="*/ 7619158 w 12192185"/>
              <a:gd name="connsiteY772" fmla="*/ 6564834 h 6859062"/>
              <a:gd name="connsiteX773" fmla="*/ 7614928 w 12192185"/>
              <a:gd name="connsiteY773" fmla="*/ 6556569 h 6859062"/>
              <a:gd name="connsiteX774" fmla="*/ 7613040 w 12192185"/>
              <a:gd name="connsiteY774" fmla="*/ 6545187 h 6859062"/>
              <a:gd name="connsiteX775" fmla="*/ 7609902 w 12192185"/>
              <a:gd name="connsiteY775" fmla="*/ 6533925 h 6859062"/>
              <a:gd name="connsiteX776" fmla="*/ 7603313 w 12192185"/>
              <a:gd name="connsiteY776" fmla="*/ 6523499 h 6859062"/>
              <a:gd name="connsiteX777" fmla="*/ 7606477 w 12192185"/>
              <a:gd name="connsiteY777" fmla="*/ 6509616 h 6859062"/>
              <a:gd name="connsiteX778" fmla="*/ 7612355 w 12192185"/>
              <a:gd name="connsiteY778" fmla="*/ 6505277 h 6859062"/>
              <a:gd name="connsiteX779" fmla="*/ 7622107 w 12192185"/>
              <a:gd name="connsiteY779" fmla="*/ 6501820 h 6859062"/>
              <a:gd name="connsiteX780" fmla="*/ 4977857 w 12192185"/>
              <a:gd name="connsiteY780" fmla="*/ 6493005 h 6859062"/>
              <a:gd name="connsiteX781" fmla="*/ 4981811 w 12192185"/>
              <a:gd name="connsiteY781" fmla="*/ 6495296 h 6859062"/>
              <a:gd name="connsiteX782" fmla="*/ 4983475 w 12192185"/>
              <a:gd name="connsiteY782" fmla="*/ 6499517 h 6859062"/>
              <a:gd name="connsiteX783" fmla="*/ 4988554 w 12192185"/>
              <a:gd name="connsiteY783" fmla="*/ 6501850 h 6859062"/>
              <a:gd name="connsiteX784" fmla="*/ 5006001 w 12192185"/>
              <a:gd name="connsiteY784" fmla="*/ 6502279 h 6859062"/>
              <a:gd name="connsiteX785" fmla="*/ 5026584 w 12192185"/>
              <a:gd name="connsiteY785" fmla="*/ 6506782 h 6859062"/>
              <a:gd name="connsiteX786" fmla="*/ 5030682 w 12192185"/>
              <a:gd name="connsiteY786" fmla="*/ 6510554 h 6859062"/>
              <a:gd name="connsiteX787" fmla="*/ 5042661 w 12192185"/>
              <a:gd name="connsiteY787" fmla="*/ 6520922 h 6859062"/>
              <a:gd name="connsiteX788" fmla="*/ 5044786 w 12192185"/>
              <a:gd name="connsiteY788" fmla="*/ 6523550 h 6859062"/>
              <a:gd name="connsiteX789" fmla="*/ 5052422 w 12192185"/>
              <a:gd name="connsiteY789" fmla="*/ 6541010 h 6859062"/>
              <a:gd name="connsiteX790" fmla="*/ 5052697 w 12192185"/>
              <a:gd name="connsiteY790" fmla="*/ 6566996 h 6859062"/>
              <a:gd name="connsiteX791" fmla="*/ 5053777 w 12192185"/>
              <a:gd name="connsiteY791" fmla="*/ 6576230 h 6859062"/>
              <a:gd name="connsiteX792" fmla="*/ 5049602 w 12192185"/>
              <a:gd name="connsiteY792" fmla="*/ 6587691 h 6859062"/>
              <a:gd name="connsiteX793" fmla="*/ 5045699 w 12192185"/>
              <a:gd name="connsiteY793" fmla="*/ 6597216 h 6859062"/>
              <a:gd name="connsiteX794" fmla="*/ 5044818 w 12192185"/>
              <a:gd name="connsiteY794" fmla="*/ 6601280 h 6859062"/>
              <a:gd name="connsiteX795" fmla="*/ 5023916 w 12192185"/>
              <a:gd name="connsiteY795" fmla="*/ 6614821 h 6859062"/>
              <a:gd name="connsiteX796" fmla="*/ 5006495 w 12192185"/>
              <a:gd name="connsiteY796" fmla="*/ 6619292 h 6859062"/>
              <a:gd name="connsiteX797" fmla="*/ 4991106 w 12192185"/>
              <a:gd name="connsiteY797" fmla="*/ 6630684 h 6859062"/>
              <a:gd name="connsiteX798" fmla="*/ 4991864 w 12192185"/>
              <a:gd name="connsiteY798" fmla="*/ 6634067 h 6859062"/>
              <a:gd name="connsiteX799" fmla="*/ 5002184 w 12192185"/>
              <a:gd name="connsiteY799" fmla="*/ 6657195 h 6859062"/>
              <a:gd name="connsiteX800" fmla="*/ 5003085 w 12192185"/>
              <a:gd name="connsiteY800" fmla="*/ 6662060 h 6859062"/>
              <a:gd name="connsiteX801" fmla="*/ 5001373 w 12192185"/>
              <a:gd name="connsiteY801" fmla="*/ 6675961 h 6859062"/>
              <a:gd name="connsiteX802" fmla="*/ 5000642 w 12192185"/>
              <a:gd name="connsiteY802" fmla="*/ 6692445 h 6859062"/>
              <a:gd name="connsiteX803" fmla="*/ 4998544 w 12192185"/>
              <a:gd name="connsiteY803" fmla="*/ 6698746 h 6859062"/>
              <a:gd name="connsiteX804" fmla="*/ 4974565 w 12192185"/>
              <a:gd name="connsiteY804" fmla="*/ 6728957 h 6859062"/>
              <a:gd name="connsiteX805" fmla="*/ 4971289 w 12192185"/>
              <a:gd name="connsiteY805" fmla="*/ 6730316 h 6859062"/>
              <a:gd name="connsiteX806" fmla="*/ 4952838 w 12192185"/>
              <a:gd name="connsiteY806" fmla="*/ 6733341 h 6859062"/>
              <a:gd name="connsiteX807" fmla="*/ 4945320 w 12192185"/>
              <a:gd name="connsiteY807" fmla="*/ 6733472 h 6859062"/>
              <a:gd name="connsiteX808" fmla="*/ 4932849 w 12192185"/>
              <a:gd name="connsiteY808" fmla="*/ 6732752 h 6859062"/>
              <a:gd name="connsiteX809" fmla="*/ 4921852 w 12192185"/>
              <a:gd name="connsiteY809" fmla="*/ 6737925 h 6859062"/>
              <a:gd name="connsiteX810" fmla="*/ 4917456 w 12192185"/>
              <a:gd name="connsiteY810" fmla="*/ 6738203 h 6859062"/>
              <a:gd name="connsiteX811" fmla="*/ 4916084 w 12192185"/>
              <a:gd name="connsiteY811" fmla="*/ 6733958 h 6859062"/>
              <a:gd name="connsiteX812" fmla="*/ 4916216 w 12192185"/>
              <a:gd name="connsiteY812" fmla="*/ 6730540 h 6859062"/>
              <a:gd name="connsiteX813" fmla="*/ 4914888 w 12192185"/>
              <a:gd name="connsiteY813" fmla="*/ 6726128 h 6859062"/>
              <a:gd name="connsiteX814" fmla="*/ 4910747 w 12192185"/>
              <a:gd name="connsiteY814" fmla="*/ 6727523 h 6859062"/>
              <a:gd name="connsiteX815" fmla="*/ 4903153 w 12192185"/>
              <a:gd name="connsiteY815" fmla="*/ 6723892 h 6859062"/>
              <a:gd name="connsiteX816" fmla="*/ 4902551 w 12192185"/>
              <a:gd name="connsiteY816" fmla="*/ 6719977 h 6859062"/>
              <a:gd name="connsiteX817" fmla="*/ 4898303 w 12192185"/>
              <a:gd name="connsiteY817" fmla="*/ 6716736 h 6859062"/>
              <a:gd name="connsiteX818" fmla="*/ 4895135 w 12192185"/>
              <a:gd name="connsiteY818" fmla="*/ 6720716 h 6859062"/>
              <a:gd name="connsiteX819" fmla="*/ 4894429 w 12192185"/>
              <a:gd name="connsiteY819" fmla="*/ 6724865 h 6859062"/>
              <a:gd name="connsiteX820" fmla="*/ 4879612 w 12192185"/>
              <a:gd name="connsiteY820" fmla="*/ 6698202 h 6859062"/>
              <a:gd name="connsiteX821" fmla="*/ 4881290 w 12192185"/>
              <a:gd name="connsiteY821" fmla="*/ 6696856 h 6859062"/>
              <a:gd name="connsiteX822" fmla="*/ 4880350 w 12192185"/>
              <a:gd name="connsiteY822" fmla="*/ 6691118 h 6859062"/>
              <a:gd name="connsiteX823" fmla="*/ 4876180 w 12192185"/>
              <a:gd name="connsiteY823" fmla="*/ 6687611 h 6859062"/>
              <a:gd name="connsiteX824" fmla="*/ 4874830 w 12192185"/>
              <a:gd name="connsiteY824" fmla="*/ 6680312 h 6859062"/>
              <a:gd name="connsiteX825" fmla="*/ 4870364 w 12192185"/>
              <a:gd name="connsiteY825" fmla="*/ 6656859 h 6859062"/>
              <a:gd name="connsiteX826" fmla="*/ 4867493 w 12192185"/>
              <a:gd name="connsiteY826" fmla="*/ 6652862 h 6859062"/>
              <a:gd name="connsiteX827" fmla="*/ 4873462 w 12192185"/>
              <a:gd name="connsiteY827" fmla="*/ 6651131 h 6859062"/>
              <a:gd name="connsiteX828" fmla="*/ 4874260 w 12192185"/>
              <a:gd name="connsiteY828" fmla="*/ 6651362 h 6859062"/>
              <a:gd name="connsiteX829" fmla="*/ 4881927 w 12192185"/>
              <a:gd name="connsiteY829" fmla="*/ 6643785 h 6859062"/>
              <a:gd name="connsiteX830" fmla="*/ 4886057 w 12192185"/>
              <a:gd name="connsiteY830" fmla="*/ 6631450 h 6859062"/>
              <a:gd name="connsiteX831" fmla="*/ 4895644 w 12192185"/>
              <a:gd name="connsiteY831" fmla="*/ 6615217 h 6859062"/>
              <a:gd name="connsiteX832" fmla="*/ 4901004 w 12192185"/>
              <a:gd name="connsiteY832" fmla="*/ 6611586 h 6859062"/>
              <a:gd name="connsiteX833" fmla="*/ 4915899 w 12192185"/>
              <a:gd name="connsiteY833" fmla="*/ 6600914 h 6859062"/>
              <a:gd name="connsiteX834" fmla="*/ 4922971 w 12192185"/>
              <a:gd name="connsiteY834" fmla="*/ 6600364 h 6859062"/>
              <a:gd name="connsiteX835" fmla="*/ 4951506 w 12192185"/>
              <a:gd name="connsiteY835" fmla="*/ 6600255 h 6859062"/>
              <a:gd name="connsiteX836" fmla="*/ 4953203 w 12192185"/>
              <a:gd name="connsiteY836" fmla="*/ 6594410 h 6859062"/>
              <a:gd name="connsiteX837" fmla="*/ 4946514 w 12192185"/>
              <a:gd name="connsiteY837" fmla="*/ 6591616 h 6859062"/>
              <a:gd name="connsiteX838" fmla="*/ 4940812 w 12192185"/>
              <a:gd name="connsiteY838" fmla="*/ 6593424 h 6859062"/>
              <a:gd name="connsiteX839" fmla="*/ 4936136 w 12192185"/>
              <a:gd name="connsiteY839" fmla="*/ 6592651 h 6859062"/>
              <a:gd name="connsiteX840" fmla="*/ 4938313 w 12192185"/>
              <a:gd name="connsiteY840" fmla="*/ 6588099 h 6859062"/>
              <a:gd name="connsiteX841" fmla="*/ 4943032 w 12192185"/>
              <a:gd name="connsiteY841" fmla="*/ 6585718 h 6859062"/>
              <a:gd name="connsiteX842" fmla="*/ 4946749 w 12192185"/>
              <a:gd name="connsiteY842" fmla="*/ 6577865 h 6859062"/>
              <a:gd name="connsiteX843" fmla="*/ 4939096 w 12192185"/>
              <a:gd name="connsiteY843" fmla="*/ 6577387 h 6859062"/>
              <a:gd name="connsiteX844" fmla="*/ 4932218 w 12192185"/>
              <a:gd name="connsiteY844" fmla="*/ 6580293 h 6859062"/>
              <a:gd name="connsiteX845" fmla="*/ 4927898 w 12192185"/>
              <a:gd name="connsiteY845" fmla="*/ 6575304 h 6859062"/>
              <a:gd name="connsiteX846" fmla="*/ 4938115 w 12192185"/>
              <a:gd name="connsiteY846" fmla="*/ 6561846 h 6859062"/>
              <a:gd name="connsiteX847" fmla="*/ 4942336 w 12192185"/>
              <a:gd name="connsiteY847" fmla="*/ 6547231 h 6859062"/>
              <a:gd name="connsiteX848" fmla="*/ 4938701 w 12192185"/>
              <a:gd name="connsiteY848" fmla="*/ 6539851 h 6859062"/>
              <a:gd name="connsiteX849" fmla="*/ 4937950 w 12192185"/>
              <a:gd name="connsiteY849" fmla="*/ 6536468 h 6859062"/>
              <a:gd name="connsiteX850" fmla="*/ 4941338 w 12192185"/>
              <a:gd name="connsiteY850" fmla="*/ 6535718 h 6859062"/>
              <a:gd name="connsiteX851" fmla="*/ 4948454 w 12192185"/>
              <a:gd name="connsiteY851" fmla="*/ 6532015 h 6859062"/>
              <a:gd name="connsiteX852" fmla="*/ 4958819 w 12192185"/>
              <a:gd name="connsiteY852" fmla="*/ 6522053 h 6859062"/>
              <a:gd name="connsiteX853" fmla="*/ 4960934 w 12192185"/>
              <a:gd name="connsiteY853" fmla="*/ 6515752 h 6859062"/>
              <a:gd name="connsiteX854" fmla="*/ 4960028 w 12192185"/>
              <a:gd name="connsiteY854" fmla="*/ 6510887 h 6859062"/>
              <a:gd name="connsiteX855" fmla="*/ 4965395 w 12192185"/>
              <a:gd name="connsiteY855" fmla="*/ 6509268 h 6859062"/>
              <a:gd name="connsiteX856" fmla="*/ 4969266 w 12192185"/>
              <a:gd name="connsiteY856" fmla="*/ 6509811 h 6859062"/>
              <a:gd name="connsiteX857" fmla="*/ 4976925 w 12192185"/>
              <a:gd name="connsiteY857" fmla="*/ 6500221 h 6859062"/>
              <a:gd name="connsiteX858" fmla="*/ 4976219 w 12192185"/>
              <a:gd name="connsiteY858" fmla="*/ 6497712 h 6859062"/>
              <a:gd name="connsiteX859" fmla="*/ 4977857 w 12192185"/>
              <a:gd name="connsiteY859" fmla="*/ 6493005 h 6859062"/>
              <a:gd name="connsiteX860" fmla="*/ 8180770 w 12192185"/>
              <a:gd name="connsiteY860" fmla="*/ 6476906 h 6859062"/>
              <a:gd name="connsiteX861" fmla="*/ 8183378 w 12192185"/>
              <a:gd name="connsiteY861" fmla="*/ 6478227 h 6859062"/>
              <a:gd name="connsiteX862" fmla="*/ 8184596 w 12192185"/>
              <a:gd name="connsiteY862" fmla="*/ 6480868 h 6859062"/>
              <a:gd name="connsiteX863" fmla="*/ 8187935 w 12192185"/>
              <a:gd name="connsiteY863" fmla="*/ 6482174 h 6859062"/>
              <a:gd name="connsiteX864" fmla="*/ 8199112 w 12192185"/>
              <a:gd name="connsiteY864" fmla="*/ 6481812 h 6859062"/>
              <a:gd name="connsiteX865" fmla="*/ 8212447 w 12192185"/>
              <a:gd name="connsiteY865" fmla="*/ 6483942 h 6859062"/>
              <a:gd name="connsiteX866" fmla="*/ 8215204 w 12192185"/>
              <a:gd name="connsiteY866" fmla="*/ 6486207 h 6859062"/>
              <a:gd name="connsiteX867" fmla="*/ 8223250 w 12192185"/>
              <a:gd name="connsiteY867" fmla="*/ 6492403 h 6859062"/>
              <a:gd name="connsiteX868" fmla="*/ 8224703 w 12192185"/>
              <a:gd name="connsiteY868" fmla="*/ 6494006 h 6859062"/>
              <a:gd name="connsiteX869" fmla="*/ 8230223 w 12192185"/>
              <a:gd name="connsiteY869" fmla="*/ 6504898 h 6859062"/>
              <a:gd name="connsiteX870" fmla="*/ 8231348 w 12192185"/>
              <a:gd name="connsiteY870" fmla="*/ 6521513 h 6859062"/>
              <a:gd name="connsiteX871" fmla="*/ 8232375 w 12192185"/>
              <a:gd name="connsiteY871" fmla="*/ 6527381 h 6859062"/>
              <a:gd name="connsiteX872" fmla="*/ 8230124 w 12192185"/>
              <a:gd name="connsiteY872" fmla="*/ 6534866 h 6859062"/>
              <a:gd name="connsiteX873" fmla="*/ 8227975 w 12192185"/>
              <a:gd name="connsiteY873" fmla="*/ 6541103 h 6859062"/>
              <a:gd name="connsiteX874" fmla="*/ 8227557 w 12192185"/>
              <a:gd name="connsiteY874" fmla="*/ 6543734 h 6859062"/>
              <a:gd name="connsiteX875" fmla="*/ 8214679 w 12192185"/>
              <a:gd name="connsiteY875" fmla="*/ 6553160 h 6859062"/>
              <a:gd name="connsiteX876" fmla="*/ 8203698 w 12192185"/>
              <a:gd name="connsiteY876" fmla="*/ 6556656 h 6859062"/>
              <a:gd name="connsiteX877" fmla="*/ 8194272 w 12192185"/>
              <a:gd name="connsiteY877" fmla="*/ 6564505 h 6859062"/>
              <a:gd name="connsiteX878" fmla="*/ 8194875 w 12192185"/>
              <a:gd name="connsiteY878" fmla="*/ 6566642 h 6859062"/>
              <a:gd name="connsiteX879" fmla="*/ 8202320 w 12192185"/>
              <a:gd name="connsiteY879" fmla="*/ 6581063 h 6859062"/>
              <a:gd name="connsiteX880" fmla="*/ 8203073 w 12192185"/>
              <a:gd name="connsiteY880" fmla="*/ 6584142 h 6859062"/>
              <a:gd name="connsiteX881" fmla="*/ 8202487 w 12192185"/>
              <a:gd name="connsiteY881" fmla="*/ 6593098 h 6859062"/>
              <a:gd name="connsiteX882" fmla="*/ 8202624 w 12192185"/>
              <a:gd name="connsiteY882" fmla="*/ 6603671 h 6859062"/>
              <a:gd name="connsiteX883" fmla="*/ 8201507 w 12192185"/>
              <a:gd name="connsiteY883" fmla="*/ 6607779 h 6859062"/>
              <a:gd name="connsiteX884" fmla="*/ 8187264 w 12192185"/>
              <a:gd name="connsiteY884" fmla="*/ 6627982 h 6859062"/>
              <a:gd name="connsiteX885" fmla="*/ 8185220 w 12192185"/>
              <a:gd name="connsiteY885" fmla="*/ 6628970 h 6859062"/>
              <a:gd name="connsiteX886" fmla="*/ 8173532 w 12192185"/>
              <a:gd name="connsiteY886" fmla="*/ 6631578 h 6859062"/>
              <a:gd name="connsiteX887" fmla="*/ 8168722 w 12192185"/>
              <a:gd name="connsiteY887" fmla="*/ 6631937 h 6859062"/>
              <a:gd name="connsiteX888" fmla="*/ 8160721 w 12192185"/>
              <a:gd name="connsiteY888" fmla="*/ 6631931 h 6859062"/>
              <a:gd name="connsiteX889" fmla="*/ 8153874 w 12192185"/>
              <a:gd name="connsiteY889" fmla="*/ 6635643 h 6859062"/>
              <a:gd name="connsiteX890" fmla="*/ 8151069 w 12192185"/>
              <a:gd name="connsiteY890" fmla="*/ 6635980 h 6859062"/>
              <a:gd name="connsiteX891" fmla="*/ 8150040 w 12192185"/>
              <a:gd name="connsiteY891" fmla="*/ 6633314 h 6859062"/>
              <a:gd name="connsiteX892" fmla="*/ 8149993 w 12192185"/>
              <a:gd name="connsiteY892" fmla="*/ 6631122 h 6859062"/>
              <a:gd name="connsiteX893" fmla="*/ 8148989 w 12192185"/>
              <a:gd name="connsiteY893" fmla="*/ 6628349 h 6859062"/>
              <a:gd name="connsiteX894" fmla="*/ 8146387 w 12192185"/>
              <a:gd name="connsiteY894" fmla="*/ 6629391 h 6859062"/>
              <a:gd name="connsiteX895" fmla="*/ 8141397 w 12192185"/>
              <a:gd name="connsiteY895" fmla="*/ 6627346 h 6859062"/>
              <a:gd name="connsiteX896" fmla="*/ 8140872 w 12192185"/>
              <a:gd name="connsiteY896" fmla="*/ 6624863 h 6859062"/>
              <a:gd name="connsiteX897" fmla="*/ 8138036 w 12192185"/>
              <a:gd name="connsiteY897" fmla="*/ 6622944 h 6859062"/>
              <a:gd name="connsiteX898" fmla="*/ 8136156 w 12192185"/>
              <a:gd name="connsiteY898" fmla="*/ 6625607 h 6859062"/>
              <a:gd name="connsiteX899" fmla="*/ 8135851 w 12192185"/>
              <a:gd name="connsiteY899" fmla="*/ 6628286 h 6859062"/>
              <a:gd name="connsiteX900" fmla="*/ 8125401 w 12192185"/>
              <a:gd name="connsiteY900" fmla="*/ 6611768 h 6859062"/>
              <a:gd name="connsiteX901" fmla="*/ 8126425 w 12192185"/>
              <a:gd name="connsiteY901" fmla="*/ 6610847 h 6859062"/>
              <a:gd name="connsiteX902" fmla="*/ 8125617 w 12192185"/>
              <a:gd name="connsiteY902" fmla="*/ 6607210 h 6859062"/>
              <a:gd name="connsiteX903" fmla="*/ 8122820 w 12192185"/>
              <a:gd name="connsiteY903" fmla="*/ 6605117 h 6859062"/>
              <a:gd name="connsiteX904" fmla="*/ 8121691 w 12192185"/>
              <a:gd name="connsiteY904" fmla="*/ 6600498 h 6859062"/>
              <a:gd name="connsiteX905" fmla="*/ 8117980 w 12192185"/>
              <a:gd name="connsiteY905" fmla="*/ 6585656 h 6859062"/>
              <a:gd name="connsiteX906" fmla="*/ 8115992 w 12192185"/>
              <a:gd name="connsiteY906" fmla="*/ 6583203 h 6859062"/>
              <a:gd name="connsiteX907" fmla="*/ 8119750 w 12192185"/>
              <a:gd name="connsiteY907" fmla="*/ 6581879 h 6859062"/>
              <a:gd name="connsiteX908" fmla="*/ 8120268 w 12192185"/>
              <a:gd name="connsiteY908" fmla="*/ 6581997 h 6859062"/>
              <a:gd name="connsiteX909" fmla="*/ 8124892 w 12192185"/>
              <a:gd name="connsiteY909" fmla="*/ 6576871 h 6859062"/>
              <a:gd name="connsiteX910" fmla="*/ 8127089 w 12192185"/>
              <a:gd name="connsiteY910" fmla="*/ 6568828 h 6859062"/>
              <a:gd name="connsiteX911" fmla="*/ 8132626 w 12192185"/>
              <a:gd name="connsiteY911" fmla="*/ 6558093 h 6859062"/>
              <a:gd name="connsiteX912" fmla="*/ 8135928 w 12192185"/>
              <a:gd name="connsiteY912" fmla="*/ 6555573 h 6859062"/>
              <a:gd name="connsiteX913" fmla="*/ 8145064 w 12192185"/>
              <a:gd name="connsiteY913" fmla="*/ 6548203 h 6859062"/>
              <a:gd name="connsiteX914" fmla="*/ 8149568 w 12192185"/>
              <a:gd name="connsiteY914" fmla="*/ 6547593 h 6859062"/>
              <a:gd name="connsiteX915" fmla="*/ 8167826 w 12192185"/>
              <a:gd name="connsiteY915" fmla="*/ 6546482 h 6859062"/>
              <a:gd name="connsiteX916" fmla="*/ 8168692 w 12192185"/>
              <a:gd name="connsiteY916" fmla="*/ 6542680 h 6859062"/>
              <a:gd name="connsiteX917" fmla="*/ 8164314 w 12192185"/>
              <a:gd name="connsiteY917" fmla="*/ 6541138 h 6859062"/>
              <a:gd name="connsiteX918" fmla="*/ 8160731 w 12192185"/>
              <a:gd name="connsiteY918" fmla="*/ 6542503 h 6859062"/>
              <a:gd name="connsiteX919" fmla="*/ 8157712 w 12192185"/>
              <a:gd name="connsiteY919" fmla="*/ 6542178 h 6859062"/>
              <a:gd name="connsiteX920" fmla="*/ 8158940 w 12192185"/>
              <a:gd name="connsiteY920" fmla="*/ 6539186 h 6859062"/>
              <a:gd name="connsiteX921" fmla="*/ 8161872 w 12192185"/>
              <a:gd name="connsiteY921" fmla="*/ 6537492 h 6859062"/>
              <a:gd name="connsiteX922" fmla="*/ 8163957 w 12192185"/>
              <a:gd name="connsiteY922" fmla="*/ 6532332 h 6859062"/>
              <a:gd name="connsiteX923" fmla="*/ 8159053 w 12192185"/>
              <a:gd name="connsiteY923" fmla="*/ 6532305 h 6859062"/>
              <a:gd name="connsiteX924" fmla="*/ 8154753 w 12192185"/>
              <a:gd name="connsiteY924" fmla="*/ 6534415 h 6859062"/>
              <a:gd name="connsiteX925" fmla="*/ 8151807 w 12192185"/>
              <a:gd name="connsiteY925" fmla="*/ 6531380 h 6859062"/>
              <a:gd name="connsiteX926" fmla="*/ 8157855 w 12192185"/>
              <a:gd name="connsiteY926" fmla="*/ 6522398 h 6859062"/>
              <a:gd name="connsiteX927" fmla="*/ 8160021 w 12192185"/>
              <a:gd name="connsiteY927" fmla="*/ 6512895 h 6859062"/>
              <a:gd name="connsiteX928" fmla="*/ 8157430 w 12192185"/>
              <a:gd name="connsiteY928" fmla="*/ 6508305 h 6859062"/>
              <a:gd name="connsiteX929" fmla="*/ 8156825 w 12192185"/>
              <a:gd name="connsiteY929" fmla="*/ 6506168 h 6859062"/>
              <a:gd name="connsiteX930" fmla="*/ 8158963 w 12192185"/>
              <a:gd name="connsiteY930" fmla="*/ 6505565 h 6859062"/>
              <a:gd name="connsiteX931" fmla="*/ 8163381 w 12192185"/>
              <a:gd name="connsiteY931" fmla="*/ 6502936 h 6859062"/>
              <a:gd name="connsiteX932" fmla="*/ 8169648 w 12192185"/>
              <a:gd name="connsiteY932" fmla="*/ 6496183 h 6859062"/>
              <a:gd name="connsiteX933" fmla="*/ 8170766 w 12192185"/>
              <a:gd name="connsiteY933" fmla="*/ 6492076 h 6859062"/>
              <a:gd name="connsiteX934" fmla="*/ 8170013 w 12192185"/>
              <a:gd name="connsiteY934" fmla="*/ 6488997 h 6859062"/>
              <a:gd name="connsiteX935" fmla="*/ 8173385 w 12192185"/>
              <a:gd name="connsiteY935" fmla="*/ 6487765 h 6859062"/>
              <a:gd name="connsiteX936" fmla="*/ 8175884 w 12192185"/>
              <a:gd name="connsiteY936" fmla="*/ 6487971 h 6859062"/>
              <a:gd name="connsiteX937" fmla="*/ 8180438 w 12192185"/>
              <a:gd name="connsiteY937" fmla="*/ 6481557 h 6859062"/>
              <a:gd name="connsiteX938" fmla="*/ 8179888 w 12192185"/>
              <a:gd name="connsiteY938" fmla="*/ 6479977 h 6859062"/>
              <a:gd name="connsiteX939" fmla="*/ 8180770 w 12192185"/>
              <a:gd name="connsiteY939" fmla="*/ 6476906 h 6859062"/>
              <a:gd name="connsiteX940" fmla="*/ 4424400 w 12192185"/>
              <a:gd name="connsiteY940" fmla="*/ 6472220 h 6859062"/>
              <a:gd name="connsiteX941" fmla="*/ 4434889 w 12192185"/>
              <a:gd name="connsiteY941" fmla="*/ 6474897 h 6859062"/>
              <a:gd name="connsiteX942" fmla="*/ 4454051 w 12192185"/>
              <a:gd name="connsiteY942" fmla="*/ 6485348 h 6859062"/>
              <a:gd name="connsiteX943" fmla="*/ 4458729 w 12192185"/>
              <a:gd name="connsiteY943" fmla="*/ 6489863 h 6859062"/>
              <a:gd name="connsiteX944" fmla="*/ 4463406 w 12192185"/>
              <a:gd name="connsiteY944" fmla="*/ 6496838 h 6859062"/>
              <a:gd name="connsiteX945" fmla="*/ 4465807 w 12192185"/>
              <a:gd name="connsiteY945" fmla="*/ 6503156 h 6859062"/>
              <a:gd name="connsiteX946" fmla="*/ 4466236 w 12192185"/>
              <a:gd name="connsiteY946" fmla="*/ 6518747 h 6859062"/>
              <a:gd name="connsiteX947" fmla="*/ 4466959 w 12192185"/>
              <a:gd name="connsiteY947" fmla="*/ 6528448 h 6859062"/>
              <a:gd name="connsiteX948" fmla="*/ 4465832 w 12192185"/>
              <a:gd name="connsiteY948" fmla="*/ 6532342 h 6859062"/>
              <a:gd name="connsiteX949" fmla="*/ 4459683 w 12192185"/>
              <a:gd name="connsiteY949" fmla="*/ 6539005 h 6859062"/>
              <a:gd name="connsiteX950" fmla="*/ 4447538 w 12192185"/>
              <a:gd name="connsiteY950" fmla="*/ 6548156 h 6859062"/>
              <a:gd name="connsiteX951" fmla="*/ 4443954 w 12192185"/>
              <a:gd name="connsiteY951" fmla="*/ 6552043 h 6859062"/>
              <a:gd name="connsiteX952" fmla="*/ 4439583 w 12192185"/>
              <a:gd name="connsiteY952" fmla="*/ 6552540 h 6859062"/>
              <a:gd name="connsiteX953" fmla="*/ 4431458 w 12192185"/>
              <a:gd name="connsiteY953" fmla="*/ 6552655 h 6859062"/>
              <a:gd name="connsiteX954" fmla="*/ 4428482 w 12192185"/>
              <a:gd name="connsiteY954" fmla="*/ 6553203 h 6859062"/>
              <a:gd name="connsiteX955" fmla="*/ 4417710 w 12192185"/>
              <a:gd name="connsiteY955" fmla="*/ 6551499 h 6859062"/>
              <a:gd name="connsiteX956" fmla="*/ 4415248 w 12192185"/>
              <a:gd name="connsiteY956" fmla="*/ 6551492 h 6859062"/>
              <a:gd name="connsiteX957" fmla="*/ 4396388 w 12192185"/>
              <a:gd name="connsiteY957" fmla="*/ 6530229 h 6859062"/>
              <a:gd name="connsiteX958" fmla="*/ 4393078 w 12192185"/>
              <a:gd name="connsiteY958" fmla="*/ 6514860 h 6859062"/>
              <a:gd name="connsiteX959" fmla="*/ 4392400 w 12192185"/>
              <a:gd name="connsiteY959" fmla="*/ 6508687 h 6859062"/>
              <a:gd name="connsiteX960" fmla="*/ 4393666 w 12192185"/>
              <a:gd name="connsiteY960" fmla="*/ 6503076 h 6859062"/>
              <a:gd name="connsiteX961" fmla="*/ 4395858 w 12192185"/>
              <a:gd name="connsiteY961" fmla="*/ 6499139 h 6859062"/>
              <a:gd name="connsiteX962" fmla="*/ 4400009 w 12192185"/>
              <a:gd name="connsiteY962" fmla="*/ 6490845 h 6859062"/>
              <a:gd name="connsiteX963" fmla="*/ 4401274 w 12192185"/>
              <a:gd name="connsiteY963" fmla="*/ 6487694 h 6859062"/>
              <a:gd name="connsiteX964" fmla="*/ 4404500 w 12192185"/>
              <a:gd name="connsiteY964" fmla="*/ 6480186 h 6859062"/>
              <a:gd name="connsiteX965" fmla="*/ 4424400 w 12192185"/>
              <a:gd name="connsiteY965" fmla="*/ 6472220 h 6859062"/>
              <a:gd name="connsiteX966" fmla="*/ 974144 w 12192185"/>
              <a:gd name="connsiteY966" fmla="*/ 6469245 h 6859062"/>
              <a:gd name="connsiteX967" fmla="*/ 985077 w 12192185"/>
              <a:gd name="connsiteY967" fmla="*/ 6474298 h 6859062"/>
              <a:gd name="connsiteX968" fmla="*/ 992986 w 12192185"/>
              <a:gd name="connsiteY968" fmla="*/ 6483224 h 6859062"/>
              <a:gd name="connsiteX969" fmla="*/ 996496 w 12192185"/>
              <a:gd name="connsiteY969" fmla="*/ 6490880 h 6859062"/>
              <a:gd name="connsiteX970" fmla="*/ 991945 w 12192185"/>
              <a:gd name="connsiteY970" fmla="*/ 6506648 h 6859062"/>
              <a:gd name="connsiteX971" fmla="*/ 979484 w 12192185"/>
              <a:gd name="connsiteY971" fmla="*/ 6513489 h 6859062"/>
              <a:gd name="connsiteX972" fmla="*/ 970038 w 12192185"/>
              <a:gd name="connsiteY972" fmla="*/ 6523099 h 6859062"/>
              <a:gd name="connsiteX973" fmla="*/ 961786 w 12192185"/>
              <a:gd name="connsiteY973" fmla="*/ 6533528 h 6859062"/>
              <a:gd name="connsiteX974" fmla="*/ 952911 w 12192185"/>
              <a:gd name="connsiteY974" fmla="*/ 6539507 h 6859062"/>
              <a:gd name="connsiteX975" fmla="*/ 941841 w 12192185"/>
              <a:gd name="connsiteY975" fmla="*/ 6541531 h 6859062"/>
              <a:gd name="connsiteX976" fmla="*/ 933041 w 12192185"/>
              <a:gd name="connsiteY976" fmla="*/ 6538991 h 6859062"/>
              <a:gd name="connsiteX977" fmla="*/ 932228 w 12192185"/>
              <a:gd name="connsiteY977" fmla="*/ 6536858 h 6859062"/>
              <a:gd name="connsiteX978" fmla="*/ 922690 w 12192185"/>
              <a:gd name="connsiteY978" fmla="*/ 6523666 h 6859062"/>
              <a:gd name="connsiteX979" fmla="*/ 923029 w 12192185"/>
              <a:gd name="connsiteY979" fmla="*/ 6507633 h 6859062"/>
              <a:gd name="connsiteX980" fmla="*/ 934244 w 12192185"/>
              <a:gd name="connsiteY980" fmla="*/ 6491891 h 6859062"/>
              <a:gd name="connsiteX981" fmla="*/ 941981 w 12192185"/>
              <a:gd name="connsiteY981" fmla="*/ 6489854 h 6859062"/>
              <a:gd name="connsiteX982" fmla="*/ 953375 w 12192185"/>
              <a:gd name="connsiteY982" fmla="*/ 6481754 h 6859062"/>
              <a:gd name="connsiteX983" fmla="*/ 957405 w 12192185"/>
              <a:gd name="connsiteY983" fmla="*/ 6477699 h 6859062"/>
              <a:gd name="connsiteX984" fmla="*/ 974144 w 12192185"/>
              <a:gd name="connsiteY984" fmla="*/ 6469245 h 6859062"/>
              <a:gd name="connsiteX985" fmla="*/ 7389842 w 12192185"/>
              <a:gd name="connsiteY985" fmla="*/ 6462321 h 6859062"/>
              <a:gd name="connsiteX986" fmla="*/ 7398422 w 12192185"/>
              <a:gd name="connsiteY986" fmla="*/ 6463997 h 6859062"/>
              <a:gd name="connsiteX987" fmla="*/ 7414346 w 12192185"/>
              <a:gd name="connsiteY987" fmla="*/ 6471541 h 6859062"/>
              <a:gd name="connsiteX988" fmla="*/ 7418326 w 12192185"/>
              <a:gd name="connsiteY988" fmla="*/ 6474965 h 6859062"/>
              <a:gd name="connsiteX989" fmla="*/ 7422415 w 12192185"/>
              <a:gd name="connsiteY989" fmla="*/ 6480372 h 6859062"/>
              <a:gd name="connsiteX990" fmla="*/ 7424641 w 12192185"/>
              <a:gd name="connsiteY990" fmla="*/ 6485355 h 6859062"/>
              <a:gd name="connsiteX991" fmla="*/ 7425702 w 12192185"/>
              <a:gd name="connsiteY991" fmla="*/ 6497902 h 6859062"/>
              <a:gd name="connsiteX992" fmla="*/ 7426729 w 12192185"/>
              <a:gd name="connsiteY992" fmla="*/ 6505689 h 6859062"/>
              <a:gd name="connsiteX993" fmla="*/ 7426001 w 12192185"/>
              <a:gd name="connsiteY993" fmla="*/ 6508879 h 6859062"/>
              <a:gd name="connsiteX994" fmla="*/ 7421353 w 12192185"/>
              <a:gd name="connsiteY994" fmla="*/ 6514532 h 6859062"/>
              <a:gd name="connsiteX995" fmla="*/ 7411984 w 12192185"/>
              <a:gd name="connsiteY995" fmla="*/ 6522467 h 6859062"/>
              <a:gd name="connsiteX996" fmla="*/ 7409271 w 12192185"/>
              <a:gd name="connsiteY996" fmla="*/ 6525764 h 6859062"/>
              <a:gd name="connsiteX997" fmla="*/ 7405774 w 12192185"/>
              <a:gd name="connsiteY997" fmla="*/ 6526365 h 6859062"/>
              <a:gd name="connsiteX998" fmla="*/ 7399227 w 12192185"/>
              <a:gd name="connsiteY998" fmla="*/ 6526831 h 6859062"/>
              <a:gd name="connsiteX999" fmla="*/ 7396854 w 12192185"/>
              <a:gd name="connsiteY999" fmla="*/ 6527410 h 6859062"/>
              <a:gd name="connsiteX1000" fmla="*/ 7388093 w 12192185"/>
              <a:gd name="connsiteY1000" fmla="*/ 6526532 h 6859062"/>
              <a:gd name="connsiteX1001" fmla="*/ 7386108 w 12192185"/>
              <a:gd name="connsiteY1001" fmla="*/ 6526639 h 6859062"/>
              <a:gd name="connsiteX1002" fmla="*/ 7369932 w 12192185"/>
              <a:gd name="connsiteY1002" fmla="*/ 6510367 h 6859062"/>
              <a:gd name="connsiteX1003" fmla="*/ 7366560 w 12192185"/>
              <a:gd name="connsiteY1003" fmla="*/ 6498131 h 6859062"/>
              <a:gd name="connsiteX1004" fmla="*/ 7365726 w 12192185"/>
              <a:gd name="connsiteY1004" fmla="*/ 6493186 h 6859062"/>
              <a:gd name="connsiteX1005" fmla="*/ 7366491 w 12192185"/>
              <a:gd name="connsiteY1005" fmla="*/ 6488606 h 6859062"/>
              <a:gd name="connsiteX1006" fmla="*/ 7368076 w 12192185"/>
              <a:gd name="connsiteY1006" fmla="*/ 6485331 h 6859062"/>
              <a:gd name="connsiteX1007" fmla="*/ 7371044 w 12192185"/>
              <a:gd name="connsiteY1007" fmla="*/ 6478455 h 6859062"/>
              <a:gd name="connsiteX1008" fmla="*/ 7371915 w 12192185"/>
              <a:gd name="connsiteY1008" fmla="*/ 6475857 h 6859062"/>
              <a:gd name="connsiteX1009" fmla="*/ 7374168 w 12192185"/>
              <a:gd name="connsiteY1009" fmla="*/ 6469658 h 6859062"/>
              <a:gd name="connsiteX1010" fmla="*/ 7389842 w 12192185"/>
              <a:gd name="connsiteY1010" fmla="*/ 6462321 h 6859062"/>
              <a:gd name="connsiteX1011" fmla="*/ 2361652 w 12192185"/>
              <a:gd name="connsiteY1011" fmla="*/ 6453824 h 6859062"/>
              <a:gd name="connsiteX1012" fmla="*/ 2362300 w 12192185"/>
              <a:gd name="connsiteY1012" fmla="*/ 6453855 h 6859062"/>
              <a:gd name="connsiteX1013" fmla="*/ 2361885 w 12192185"/>
              <a:gd name="connsiteY1013" fmla="*/ 6454244 h 6859062"/>
              <a:gd name="connsiteX1014" fmla="*/ 9623413 w 12192185"/>
              <a:gd name="connsiteY1014" fmla="*/ 6443737 h 6859062"/>
              <a:gd name="connsiteX1015" fmla="*/ 9633905 w 12192185"/>
              <a:gd name="connsiteY1015" fmla="*/ 6446413 h 6859062"/>
              <a:gd name="connsiteX1016" fmla="*/ 9653064 w 12192185"/>
              <a:gd name="connsiteY1016" fmla="*/ 6456865 h 6859062"/>
              <a:gd name="connsiteX1017" fmla="*/ 9657745 w 12192185"/>
              <a:gd name="connsiteY1017" fmla="*/ 6461381 h 6859062"/>
              <a:gd name="connsiteX1018" fmla="*/ 9662420 w 12192185"/>
              <a:gd name="connsiteY1018" fmla="*/ 6468355 h 6859062"/>
              <a:gd name="connsiteX1019" fmla="*/ 9664821 w 12192185"/>
              <a:gd name="connsiteY1019" fmla="*/ 6474673 h 6859062"/>
              <a:gd name="connsiteX1020" fmla="*/ 9665248 w 12192185"/>
              <a:gd name="connsiteY1020" fmla="*/ 6490264 h 6859062"/>
              <a:gd name="connsiteX1021" fmla="*/ 9665969 w 12192185"/>
              <a:gd name="connsiteY1021" fmla="*/ 6499965 h 6859062"/>
              <a:gd name="connsiteX1022" fmla="*/ 9664846 w 12192185"/>
              <a:gd name="connsiteY1022" fmla="*/ 6503859 h 6859062"/>
              <a:gd name="connsiteX1023" fmla="*/ 9658698 w 12192185"/>
              <a:gd name="connsiteY1023" fmla="*/ 6510522 h 6859062"/>
              <a:gd name="connsiteX1024" fmla="*/ 9646553 w 12192185"/>
              <a:gd name="connsiteY1024" fmla="*/ 6519674 h 6859062"/>
              <a:gd name="connsiteX1025" fmla="*/ 9642966 w 12192185"/>
              <a:gd name="connsiteY1025" fmla="*/ 6523560 h 6859062"/>
              <a:gd name="connsiteX1026" fmla="*/ 9638598 w 12192185"/>
              <a:gd name="connsiteY1026" fmla="*/ 6524057 h 6859062"/>
              <a:gd name="connsiteX1027" fmla="*/ 9630469 w 12192185"/>
              <a:gd name="connsiteY1027" fmla="*/ 6524172 h 6859062"/>
              <a:gd name="connsiteX1028" fmla="*/ 9627495 w 12192185"/>
              <a:gd name="connsiteY1028" fmla="*/ 6524719 h 6859062"/>
              <a:gd name="connsiteX1029" fmla="*/ 9616723 w 12192185"/>
              <a:gd name="connsiteY1029" fmla="*/ 6523016 h 6859062"/>
              <a:gd name="connsiteX1030" fmla="*/ 9614261 w 12192185"/>
              <a:gd name="connsiteY1030" fmla="*/ 6523009 h 6859062"/>
              <a:gd name="connsiteX1031" fmla="*/ 9595405 w 12192185"/>
              <a:gd name="connsiteY1031" fmla="*/ 6501747 h 6859062"/>
              <a:gd name="connsiteX1032" fmla="*/ 9592097 w 12192185"/>
              <a:gd name="connsiteY1032" fmla="*/ 6486377 h 6859062"/>
              <a:gd name="connsiteX1033" fmla="*/ 9591415 w 12192185"/>
              <a:gd name="connsiteY1033" fmla="*/ 6480203 h 6859062"/>
              <a:gd name="connsiteX1034" fmla="*/ 9592683 w 12192185"/>
              <a:gd name="connsiteY1034" fmla="*/ 6474593 h 6859062"/>
              <a:gd name="connsiteX1035" fmla="*/ 9594876 w 12192185"/>
              <a:gd name="connsiteY1035" fmla="*/ 6470655 h 6859062"/>
              <a:gd name="connsiteX1036" fmla="*/ 9599028 w 12192185"/>
              <a:gd name="connsiteY1036" fmla="*/ 6462363 h 6859062"/>
              <a:gd name="connsiteX1037" fmla="*/ 9600290 w 12192185"/>
              <a:gd name="connsiteY1037" fmla="*/ 6459210 h 6859062"/>
              <a:gd name="connsiteX1038" fmla="*/ 9603513 w 12192185"/>
              <a:gd name="connsiteY1038" fmla="*/ 6451703 h 6859062"/>
              <a:gd name="connsiteX1039" fmla="*/ 9623413 w 12192185"/>
              <a:gd name="connsiteY1039" fmla="*/ 6443737 h 6859062"/>
              <a:gd name="connsiteX1040" fmla="*/ 9406510 w 12192185"/>
              <a:gd name="connsiteY1040" fmla="*/ 6437496 h 6859062"/>
              <a:gd name="connsiteX1041" fmla="*/ 9417445 w 12192185"/>
              <a:gd name="connsiteY1041" fmla="*/ 6442550 h 6859062"/>
              <a:gd name="connsiteX1042" fmla="*/ 9425353 w 12192185"/>
              <a:gd name="connsiteY1042" fmla="*/ 6451476 h 6859062"/>
              <a:gd name="connsiteX1043" fmla="*/ 9428863 w 12192185"/>
              <a:gd name="connsiteY1043" fmla="*/ 6459132 h 6859062"/>
              <a:gd name="connsiteX1044" fmla="*/ 9424311 w 12192185"/>
              <a:gd name="connsiteY1044" fmla="*/ 6474899 h 6859062"/>
              <a:gd name="connsiteX1045" fmla="*/ 9411851 w 12192185"/>
              <a:gd name="connsiteY1045" fmla="*/ 6481741 h 6859062"/>
              <a:gd name="connsiteX1046" fmla="*/ 9402405 w 12192185"/>
              <a:gd name="connsiteY1046" fmla="*/ 6491351 h 6859062"/>
              <a:gd name="connsiteX1047" fmla="*/ 9394152 w 12192185"/>
              <a:gd name="connsiteY1047" fmla="*/ 6501780 h 6859062"/>
              <a:gd name="connsiteX1048" fmla="*/ 9385278 w 12192185"/>
              <a:gd name="connsiteY1048" fmla="*/ 6507759 h 6859062"/>
              <a:gd name="connsiteX1049" fmla="*/ 9374208 w 12192185"/>
              <a:gd name="connsiteY1049" fmla="*/ 6509783 h 6859062"/>
              <a:gd name="connsiteX1050" fmla="*/ 9365408 w 12192185"/>
              <a:gd name="connsiteY1050" fmla="*/ 6507243 h 6859062"/>
              <a:gd name="connsiteX1051" fmla="*/ 9364595 w 12192185"/>
              <a:gd name="connsiteY1051" fmla="*/ 6505110 h 6859062"/>
              <a:gd name="connsiteX1052" fmla="*/ 9355057 w 12192185"/>
              <a:gd name="connsiteY1052" fmla="*/ 6491918 h 6859062"/>
              <a:gd name="connsiteX1053" fmla="*/ 9355395 w 12192185"/>
              <a:gd name="connsiteY1053" fmla="*/ 6475885 h 6859062"/>
              <a:gd name="connsiteX1054" fmla="*/ 9366611 w 12192185"/>
              <a:gd name="connsiteY1054" fmla="*/ 6460142 h 6859062"/>
              <a:gd name="connsiteX1055" fmla="*/ 9374349 w 12192185"/>
              <a:gd name="connsiteY1055" fmla="*/ 6458106 h 6859062"/>
              <a:gd name="connsiteX1056" fmla="*/ 9385742 w 12192185"/>
              <a:gd name="connsiteY1056" fmla="*/ 6450007 h 6859062"/>
              <a:gd name="connsiteX1057" fmla="*/ 9389772 w 12192185"/>
              <a:gd name="connsiteY1057" fmla="*/ 6445951 h 6859062"/>
              <a:gd name="connsiteX1058" fmla="*/ 9406510 w 12192185"/>
              <a:gd name="connsiteY1058" fmla="*/ 6437496 h 6859062"/>
              <a:gd name="connsiteX1059" fmla="*/ 5632863 w 12192185"/>
              <a:gd name="connsiteY1059" fmla="*/ 6435786 h 6859062"/>
              <a:gd name="connsiteX1060" fmla="*/ 5642898 w 12192185"/>
              <a:gd name="connsiteY1060" fmla="*/ 6437963 h 6859062"/>
              <a:gd name="connsiteX1061" fmla="*/ 5655624 w 12192185"/>
              <a:gd name="connsiteY1061" fmla="*/ 6445055 h 6859062"/>
              <a:gd name="connsiteX1062" fmla="*/ 5664524 w 12192185"/>
              <a:gd name="connsiteY1062" fmla="*/ 6456772 h 6859062"/>
              <a:gd name="connsiteX1063" fmla="*/ 5658834 w 12192185"/>
              <a:gd name="connsiteY1063" fmla="*/ 6478965 h 6859062"/>
              <a:gd name="connsiteX1064" fmla="*/ 5655056 w 12192185"/>
              <a:gd name="connsiteY1064" fmla="*/ 6484840 h 6859062"/>
              <a:gd name="connsiteX1065" fmla="*/ 5648384 w 12192185"/>
              <a:gd name="connsiteY1065" fmla="*/ 6500562 h 6859062"/>
              <a:gd name="connsiteX1066" fmla="*/ 5647986 w 12192185"/>
              <a:gd name="connsiteY1066" fmla="*/ 6510329 h 6859062"/>
              <a:gd name="connsiteX1067" fmla="*/ 5632170 w 12192185"/>
              <a:gd name="connsiteY1067" fmla="*/ 6527847 h 6859062"/>
              <a:gd name="connsiteX1068" fmla="*/ 5613133 w 12192185"/>
              <a:gd name="connsiteY1068" fmla="*/ 6532464 h 6859062"/>
              <a:gd name="connsiteX1069" fmla="*/ 5594887 w 12192185"/>
              <a:gd name="connsiteY1069" fmla="*/ 6524549 h 6859062"/>
              <a:gd name="connsiteX1070" fmla="*/ 5592130 w 12192185"/>
              <a:gd name="connsiteY1070" fmla="*/ 6524138 h 6859062"/>
              <a:gd name="connsiteX1071" fmla="*/ 5586784 w 12192185"/>
              <a:gd name="connsiteY1071" fmla="*/ 6514306 h 6859062"/>
              <a:gd name="connsiteX1072" fmla="*/ 5586298 w 12192185"/>
              <a:gd name="connsiteY1072" fmla="*/ 6500566 h 6859062"/>
              <a:gd name="connsiteX1073" fmla="*/ 5591099 w 12192185"/>
              <a:gd name="connsiteY1073" fmla="*/ 6488406 h 6859062"/>
              <a:gd name="connsiteX1074" fmla="*/ 5601374 w 12192185"/>
              <a:gd name="connsiteY1074" fmla="*/ 6475819 h 6859062"/>
              <a:gd name="connsiteX1075" fmla="*/ 5610359 w 12192185"/>
              <a:gd name="connsiteY1075" fmla="*/ 6462023 h 6859062"/>
              <a:gd name="connsiteX1076" fmla="*/ 5615244 w 12192185"/>
              <a:gd name="connsiteY1076" fmla="*/ 6445358 h 6859062"/>
              <a:gd name="connsiteX1077" fmla="*/ 5632863 w 12192185"/>
              <a:gd name="connsiteY1077" fmla="*/ 6435786 h 6859062"/>
              <a:gd name="connsiteX1078" fmla="*/ 8584726 w 12192185"/>
              <a:gd name="connsiteY1078" fmla="*/ 6427979 h 6859062"/>
              <a:gd name="connsiteX1079" fmla="*/ 8597298 w 12192185"/>
              <a:gd name="connsiteY1079" fmla="*/ 6431196 h 6859062"/>
              <a:gd name="connsiteX1080" fmla="*/ 8609476 w 12192185"/>
              <a:gd name="connsiteY1080" fmla="*/ 6434374 h 6859062"/>
              <a:gd name="connsiteX1081" fmla="*/ 8625239 w 12192185"/>
              <a:gd name="connsiteY1081" fmla="*/ 6453670 h 6859062"/>
              <a:gd name="connsiteX1082" fmla="*/ 8624295 w 12192185"/>
              <a:gd name="connsiteY1082" fmla="*/ 6463119 h 6859062"/>
              <a:gd name="connsiteX1083" fmla="*/ 8623807 w 12192185"/>
              <a:gd name="connsiteY1083" fmla="*/ 6467035 h 6859062"/>
              <a:gd name="connsiteX1084" fmla="*/ 8623367 w 12192185"/>
              <a:gd name="connsiteY1084" fmla="*/ 6477807 h 6859062"/>
              <a:gd name="connsiteX1085" fmla="*/ 8623383 w 12192185"/>
              <a:gd name="connsiteY1085" fmla="*/ 6483045 h 6859062"/>
              <a:gd name="connsiteX1086" fmla="*/ 8621517 w 12192185"/>
              <a:gd name="connsiteY1086" fmla="*/ 6489465 h 6859062"/>
              <a:gd name="connsiteX1087" fmla="*/ 8617352 w 12192185"/>
              <a:gd name="connsiteY1087" fmla="*/ 6495361 h 6859062"/>
              <a:gd name="connsiteX1088" fmla="*/ 8605343 w 12192185"/>
              <a:gd name="connsiteY1088" fmla="*/ 6509134 h 6859062"/>
              <a:gd name="connsiteX1089" fmla="*/ 8574204 w 12192185"/>
              <a:gd name="connsiteY1089" fmla="*/ 6520159 h 6859062"/>
              <a:gd name="connsiteX1090" fmla="*/ 8571697 w 12192185"/>
              <a:gd name="connsiteY1090" fmla="*/ 6518783 h 6859062"/>
              <a:gd name="connsiteX1091" fmla="*/ 8559780 w 12192185"/>
              <a:gd name="connsiteY1091" fmla="*/ 6514457 h 6859062"/>
              <a:gd name="connsiteX1092" fmla="*/ 8557063 w 12192185"/>
              <a:gd name="connsiteY1092" fmla="*/ 6512227 h 6859062"/>
              <a:gd name="connsiteX1093" fmla="*/ 8548857 w 12192185"/>
              <a:gd name="connsiteY1093" fmla="*/ 6507539 h 6859062"/>
              <a:gd name="connsiteX1094" fmla="*/ 8544694 w 12192185"/>
              <a:gd name="connsiteY1094" fmla="*/ 6504576 h 6859062"/>
              <a:gd name="connsiteX1095" fmla="*/ 8543233 w 12192185"/>
              <a:gd name="connsiteY1095" fmla="*/ 6498606 h 6859062"/>
              <a:gd name="connsiteX1096" fmla="*/ 8536023 w 12192185"/>
              <a:gd name="connsiteY1096" fmla="*/ 6482468 h 6859062"/>
              <a:gd name="connsiteX1097" fmla="*/ 8533518 w 12192185"/>
              <a:gd name="connsiteY1097" fmla="*/ 6472232 h 6859062"/>
              <a:gd name="connsiteX1098" fmla="*/ 8534564 w 12192185"/>
              <a:gd name="connsiteY1098" fmla="*/ 6467639 h 6859062"/>
              <a:gd name="connsiteX1099" fmla="*/ 8540753 w 12192185"/>
              <a:gd name="connsiteY1099" fmla="*/ 6458176 h 6859062"/>
              <a:gd name="connsiteX1100" fmla="*/ 8549956 w 12192185"/>
              <a:gd name="connsiteY1100" fmla="*/ 6442556 h 6859062"/>
              <a:gd name="connsiteX1101" fmla="*/ 8555951 w 12192185"/>
              <a:gd name="connsiteY1101" fmla="*/ 6437479 h 6859062"/>
              <a:gd name="connsiteX1102" fmla="*/ 8564629 w 12192185"/>
              <a:gd name="connsiteY1102" fmla="*/ 6433014 h 6859062"/>
              <a:gd name="connsiteX1103" fmla="*/ 8571931 w 12192185"/>
              <a:gd name="connsiteY1103" fmla="*/ 6431053 h 6859062"/>
              <a:gd name="connsiteX1104" fmla="*/ 8584726 w 12192185"/>
              <a:gd name="connsiteY1104" fmla="*/ 6427979 h 6859062"/>
              <a:gd name="connsiteX1105" fmla="*/ 10794010 w 12192185"/>
              <a:gd name="connsiteY1105" fmla="*/ 6422076 h 6859062"/>
              <a:gd name="connsiteX1106" fmla="*/ 10794660 w 12192185"/>
              <a:gd name="connsiteY1106" fmla="*/ 6422108 h 6859062"/>
              <a:gd name="connsiteX1107" fmla="*/ 10794243 w 12192185"/>
              <a:gd name="connsiteY1107" fmla="*/ 6422496 h 6859062"/>
              <a:gd name="connsiteX1108" fmla="*/ 2569200 w 12192185"/>
              <a:gd name="connsiteY1108" fmla="*/ 6412508 h 6859062"/>
              <a:gd name="connsiteX1109" fmla="*/ 2564152 w 12192185"/>
              <a:gd name="connsiteY1109" fmla="*/ 6415073 h 6859062"/>
              <a:gd name="connsiteX1110" fmla="*/ 2565991 w 12192185"/>
              <a:gd name="connsiteY1110" fmla="*/ 6421684 h 6859062"/>
              <a:gd name="connsiteX1111" fmla="*/ 2565102 w 12192185"/>
              <a:gd name="connsiteY1111" fmla="*/ 6425747 h 6859062"/>
              <a:gd name="connsiteX1112" fmla="*/ 2556553 w 12192185"/>
              <a:gd name="connsiteY1112" fmla="*/ 6431288 h 6859062"/>
              <a:gd name="connsiteX1113" fmla="*/ 2574707 w 12192185"/>
              <a:gd name="connsiteY1113" fmla="*/ 6439157 h 6859062"/>
              <a:gd name="connsiteX1114" fmla="*/ 2623617 w 12192185"/>
              <a:gd name="connsiteY1114" fmla="*/ 6452507 h 6859062"/>
              <a:gd name="connsiteX1115" fmla="*/ 2601164 w 12192185"/>
              <a:gd name="connsiteY1115" fmla="*/ 6426962 h 6859062"/>
              <a:gd name="connsiteX1116" fmla="*/ 1179321 w 12192185"/>
              <a:gd name="connsiteY1116" fmla="*/ 6405005 h 6859062"/>
              <a:gd name="connsiteX1117" fmla="*/ 1187093 w 12192185"/>
              <a:gd name="connsiteY1117" fmla="*/ 6406151 h 6859062"/>
              <a:gd name="connsiteX1118" fmla="*/ 1196178 w 12192185"/>
              <a:gd name="connsiteY1118" fmla="*/ 6409716 h 6859062"/>
              <a:gd name="connsiteX1119" fmla="*/ 1202473 w 12192185"/>
              <a:gd name="connsiteY1119" fmla="*/ 6413901 h 6859062"/>
              <a:gd name="connsiteX1120" fmla="*/ 1219127 w 12192185"/>
              <a:gd name="connsiteY1120" fmla="*/ 6433038 h 6859062"/>
              <a:gd name="connsiteX1121" fmla="*/ 1224788 w 12192185"/>
              <a:gd name="connsiteY1121" fmla="*/ 6444279 h 6859062"/>
              <a:gd name="connsiteX1122" fmla="*/ 1220717 w 12192185"/>
              <a:gd name="connsiteY1122" fmla="*/ 6468860 h 6859062"/>
              <a:gd name="connsiteX1123" fmla="*/ 1213000 w 12192185"/>
              <a:gd name="connsiteY1123" fmla="*/ 6474395 h 6859062"/>
              <a:gd name="connsiteX1124" fmla="*/ 1209738 w 12192185"/>
              <a:gd name="connsiteY1124" fmla="*/ 6476615 h 6859062"/>
              <a:gd name="connsiteX1125" fmla="*/ 1208876 w 12192185"/>
              <a:gd name="connsiteY1125" fmla="*/ 6480071 h 6859062"/>
              <a:gd name="connsiteX1126" fmla="*/ 1212341 w 12192185"/>
              <a:gd name="connsiteY1126" fmla="*/ 6480973 h 6859062"/>
              <a:gd name="connsiteX1127" fmla="*/ 1220696 w 12192185"/>
              <a:gd name="connsiteY1127" fmla="*/ 6488613 h 6859062"/>
              <a:gd name="connsiteX1128" fmla="*/ 1225377 w 12192185"/>
              <a:gd name="connsiteY1128" fmla="*/ 6493129 h 6859062"/>
              <a:gd name="connsiteX1129" fmla="*/ 1230052 w 12192185"/>
              <a:gd name="connsiteY1129" fmla="*/ 6500103 h 6859062"/>
              <a:gd name="connsiteX1130" fmla="*/ 1232452 w 12192185"/>
              <a:gd name="connsiteY1130" fmla="*/ 6506421 h 6859062"/>
              <a:gd name="connsiteX1131" fmla="*/ 1232880 w 12192185"/>
              <a:gd name="connsiteY1131" fmla="*/ 6522012 h 6859062"/>
              <a:gd name="connsiteX1132" fmla="*/ 1233600 w 12192185"/>
              <a:gd name="connsiteY1132" fmla="*/ 6531714 h 6859062"/>
              <a:gd name="connsiteX1133" fmla="*/ 1232475 w 12192185"/>
              <a:gd name="connsiteY1133" fmla="*/ 6535607 h 6859062"/>
              <a:gd name="connsiteX1134" fmla="*/ 1226329 w 12192185"/>
              <a:gd name="connsiteY1134" fmla="*/ 6542270 h 6859062"/>
              <a:gd name="connsiteX1135" fmla="*/ 1214184 w 12192185"/>
              <a:gd name="connsiteY1135" fmla="*/ 6551422 h 6859062"/>
              <a:gd name="connsiteX1136" fmla="*/ 1210597 w 12192185"/>
              <a:gd name="connsiteY1136" fmla="*/ 6555308 h 6859062"/>
              <a:gd name="connsiteX1137" fmla="*/ 1206230 w 12192185"/>
              <a:gd name="connsiteY1137" fmla="*/ 6555806 h 6859062"/>
              <a:gd name="connsiteX1138" fmla="*/ 1198101 w 12192185"/>
              <a:gd name="connsiteY1138" fmla="*/ 6555920 h 6859062"/>
              <a:gd name="connsiteX1139" fmla="*/ 1195127 w 12192185"/>
              <a:gd name="connsiteY1139" fmla="*/ 6556467 h 6859062"/>
              <a:gd name="connsiteX1140" fmla="*/ 1184354 w 12192185"/>
              <a:gd name="connsiteY1140" fmla="*/ 6554764 h 6859062"/>
              <a:gd name="connsiteX1141" fmla="*/ 1181891 w 12192185"/>
              <a:gd name="connsiteY1141" fmla="*/ 6554757 h 6859062"/>
              <a:gd name="connsiteX1142" fmla="*/ 1163037 w 12192185"/>
              <a:gd name="connsiteY1142" fmla="*/ 6533495 h 6859062"/>
              <a:gd name="connsiteX1143" fmla="*/ 1159728 w 12192185"/>
              <a:gd name="connsiteY1143" fmla="*/ 6518125 h 6859062"/>
              <a:gd name="connsiteX1144" fmla="*/ 1159046 w 12192185"/>
              <a:gd name="connsiteY1144" fmla="*/ 6511951 h 6859062"/>
              <a:gd name="connsiteX1145" fmla="*/ 1160313 w 12192185"/>
              <a:gd name="connsiteY1145" fmla="*/ 6506342 h 6859062"/>
              <a:gd name="connsiteX1146" fmla="*/ 1162506 w 12192185"/>
              <a:gd name="connsiteY1146" fmla="*/ 6502403 h 6859062"/>
              <a:gd name="connsiteX1147" fmla="*/ 1166660 w 12192185"/>
              <a:gd name="connsiteY1147" fmla="*/ 6494111 h 6859062"/>
              <a:gd name="connsiteX1148" fmla="*/ 1167922 w 12192185"/>
              <a:gd name="connsiteY1148" fmla="*/ 6490959 h 6859062"/>
              <a:gd name="connsiteX1149" fmla="*/ 1168093 w 12192185"/>
              <a:gd name="connsiteY1149" fmla="*/ 6490561 h 6859062"/>
              <a:gd name="connsiteX1150" fmla="*/ 1165937 w 12192185"/>
              <a:gd name="connsiteY1150" fmla="*/ 6490571 h 6859062"/>
              <a:gd name="connsiteX1151" fmla="*/ 1137089 w 12192185"/>
              <a:gd name="connsiteY1151" fmla="*/ 6474480 h 6859062"/>
              <a:gd name="connsiteX1152" fmla="*/ 1136465 w 12192185"/>
              <a:gd name="connsiteY1152" fmla="*/ 6471687 h 6859062"/>
              <a:gd name="connsiteX1153" fmla="*/ 1131839 w 12192185"/>
              <a:gd name="connsiteY1153" fmla="*/ 6459885 h 6859062"/>
              <a:gd name="connsiteX1154" fmla="*/ 1131718 w 12192185"/>
              <a:gd name="connsiteY1154" fmla="*/ 6456372 h 6859062"/>
              <a:gd name="connsiteX1155" fmla="*/ 1129817 w 12192185"/>
              <a:gd name="connsiteY1155" fmla="*/ 6447115 h 6859062"/>
              <a:gd name="connsiteX1156" fmla="*/ 1129289 w 12192185"/>
              <a:gd name="connsiteY1156" fmla="*/ 6442032 h 6859062"/>
              <a:gd name="connsiteX1157" fmla="*/ 1132805 w 12192185"/>
              <a:gd name="connsiteY1157" fmla="*/ 6436991 h 6859062"/>
              <a:gd name="connsiteX1158" fmla="*/ 1140156 w 12192185"/>
              <a:gd name="connsiteY1158" fmla="*/ 6420916 h 6859062"/>
              <a:gd name="connsiteX1159" fmla="*/ 1146183 w 12192185"/>
              <a:gd name="connsiteY1159" fmla="*/ 6412273 h 6859062"/>
              <a:gd name="connsiteX1160" fmla="*/ 1150324 w 12192185"/>
              <a:gd name="connsiteY1160" fmla="*/ 6410024 h 6859062"/>
              <a:gd name="connsiteX1161" fmla="*/ 1161515 w 12192185"/>
              <a:gd name="connsiteY1161" fmla="*/ 6408417 h 6859062"/>
              <a:gd name="connsiteX1162" fmla="*/ 1179321 w 12192185"/>
              <a:gd name="connsiteY1162" fmla="*/ 6405005 h 6859062"/>
              <a:gd name="connsiteX1163" fmla="*/ 2439253 w 12192185"/>
              <a:gd name="connsiteY1163" fmla="*/ 6402313 h 6859062"/>
              <a:gd name="connsiteX1164" fmla="*/ 2434458 w 12192185"/>
              <a:gd name="connsiteY1164" fmla="*/ 6407681 h 6859062"/>
              <a:gd name="connsiteX1165" fmla="*/ 2447440 w 12192185"/>
              <a:gd name="connsiteY1165" fmla="*/ 6424831 h 6859062"/>
              <a:gd name="connsiteX1166" fmla="*/ 2458847 w 12192185"/>
              <a:gd name="connsiteY1166" fmla="*/ 6430446 h 6859062"/>
              <a:gd name="connsiteX1167" fmla="*/ 2471799 w 12192185"/>
              <a:gd name="connsiteY1167" fmla="*/ 6424723 h 6859062"/>
              <a:gd name="connsiteX1168" fmla="*/ 2473487 w 12192185"/>
              <a:gd name="connsiteY1168" fmla="*/ 6418877 h 6859062"/>
              <a:gd name="connsiteX1169" fmla="*/ 2466804 w 12192185"/>
              <a:gd name="connsiteY1169" fmla="*/ 6416085 h 6859062"/>
              <a:gd name="connsiteX1170" fmla="*/ 2461099 w 12192185"/>
              <a:gd name="connsiteY1170" fmla="*/ 6417892 h 6859062"/>
              <a:gd name="connsiteX1171" fmla="*/ 2456424 w 12192185"/>
              <a:gd name="connsiteY1171" fmla="*/ 6417120 h 6859062"/>
              <a:gd name="connsiteX1172" fmla="*/ 2458605 w 12192185"/>
              <a:gd name="connsiteY1172" fmla="*/ 6412567 h 6859062"/>
              <a:gd name="connsiteX1173" fmla="*/ 2460774 w 12192185"/>
              <a:gd name="connsiteY1173" fmla="*/ 6411472 h 6859062"/>
              <a:gd name="connsiteX1174" fmla="*/ 2455478 w 12192185"/>
              <a:gd name="connsiteY1174" fmla="*/ 6409407 h 6859062"/>
              <a:gd name="connsiteX1175" fmla="*/ 2439253 w 12192185"/>
              <a:gd name="connsiteY1175" fmla="*/ 6402313 h 6859062"/>
              <a:gd name="connsiteX1176" fmla="*/ 2330398 w 12192185"/>
              <a:gd name="connsiteY1176" fmla="*/ 6400383 h 6859062"/>
              <a:gd name="connsiteX1177" fmla="*/ 2332104 w 12192185"/>
              <a:gd name="connsiteY1177" fmla="*/ 6407896 h 6859062"/>
              <a:gd name="connsiteX1178" fmla="*/ 2330589 w 12192185"/>
              <a:gd name="connsiteY1178" fmla="*/ 6421573 h 6859062"/>
              <a:gd name="connsiteX1179" fmla="*/ 2318961 w 12192185"/>
              <a:gd name="connsiteY1179" fmla="*/ 6440934 h 6859062"/>
              <a:gd name="connsiteX1180" fmla="*/ 2311179 w 12192185"/>
              <a:gd name="connsiteY1180" fmla="*/ 6447534 h 6859062"/>
              <a:gd name="connsiteX1181" fmla="*/ 2391252 w 12192185"/>
              <a:gd name="connsiteY1181" fmla="*/ 6484433 h 6859062"/>
              <a:gd name="connsiteX1182" fmla="*/ 2390661 w 12192185"/>
              <a:gd name="connsiteY1182" fmla="*/ 6481327 h 6859062"/>
              <a:gd name="connsiteX1183" fmla="*/ 2387782 w 12192185"/>
              <a:gd name="connsiteY1183" fmla="*/ 6477330 h 6859062"/>
              <a:gd name="connsiteX1184" fmla="*/ 2393753 w 12192185"/>
              <a:gd name="connsiteY1184" fmla="*/ 6475599 h 6859062"/>
              <a:gd name="connsiteX1185" fmla="*/ 2394552 w 12192185"/>
              <a:gd name="connsiteY1185" fmla="*/ 6475830 h 6859062"/>
              <a:gd name="connsiteX1186" fmla="*/ 2402211 w 12192185"/>
              <a:gd name="connsiteY1186" fmla="*/ 6468253 h 6859062"/>
              <a:gd name="connsiteX1187" fmla="*/ 2406347 w 12192185"/>
              <a:gd name="connsiteY1187" fmla="*/ 6455918 h 6859062"/>
              <a:gd name="connsiteX1188" fmla="*/ 2414571 w 12192185"/>
              <a:gd name="connsiteY1188" fmla="*/ 6441983 h 6859062"/>
              <a:gd name="connsiteX1189" fmla="*/ 10111327 w 12192185"/>
              <a:gd name="connsiteY1189" fmla="*/ 6382824 h 6859062"/>
              <a:gd name="connsiteX1190" fmla="*/ 10121819 w 12192185"/>
              <a:gd name="connsiteY1190" fmla="*/ 6385500 h 6859062"/>
              <a:gd name="connsiteX1191" fmla="*/ 10140978 w 12192185"/>
              <a:gd name="connsiteY1191" fmla="*/ 6395952 h 6859062"/>
              <a:gd name="connsiteX1192" fmla="*/ 10145660 w 12192185"/>
              <a:gd name="connsiteY1192" fmla="*/ 6400468 h 6859062"/>
              <a:gd name="connsiteX1193" fmla="*/ 10150335 w 12192185"/>
              <a:gd name="connsiteY1193" fmla="*/ 6407442 h 6859062"/>
              <a:gd name="connsiteX1194" fmla="*/ 10152736 w 12192185"/>
              <a:gd name="connsiteY1194" fmla="*/ 6413760 h 6859062"/>
              <a:gd name="connsiteX1195" fmla="*/ 10153162 w 12192185"/>
              <a:gd name="connsiteY1195" fmla="*/ 6429351 h 6859062"/>
              <a:gd name="connsiteX1196" fmla="*/ 10153883 w 12192185"/>
              <a:gd name="connsiteY1196" fmla="*/ 6439053 h 6859062"/>
              <a:gd name="connsiteX1197" fmla="*/ 10152760 w 12192185"/>
              <a:gd name="connsiteY1197" fmla="*/ 6442946 h 6859062"/>
              <a:gd name="connsiteX1198" fmla="*/ 10146612 w 12192185"/>
              <a:gd name="connsiteY1198" fmla="*/ 6449609 h 6859062"/>
              <a:gd name="connsiteX1199" fmla="*/ 10134467 w 12192185"/>
              <a:gd name="connsiteY1199" fmla="*/ 6458761 h 6859062"/>
              <a:gd name="connsiteX1200" fmla="*/ 10130880 w 12192185"/>
              <a:gd name="connsiteY1200" fmla="*/ 6462647 h 6859062"/>
              <a:gd name="connsiteX1201" fmla="*/ 10126512 w 12192185"/>
              <a:gd name="connsiteY1201" fmla="*/ 6463145 h 6859062"/>
              <a:gd name="connsiteX1202" fmla="*/ 10118383 w 12192185"/>
              <a:gd name="connsiteY1202" fmla="*/ 6463259 h 6859062"/>
              <a:gd name="connsiteX1203" fmla="*/ 10115410 w 12192185"/>
              <a:gd name="connsiteY1203" fmla="*/ 6463807 h 6859062"/>
              <a:gd name="connsiteX1204" fmla="*/ 10104636 w 12192185"/>
              <a:gd name="connsiteY1204" fmla="*/ 6462103 h 6859062"/>
              <a:gd name="connsiteX1205" fmla="*/ 10102174 w 12192185"/>
              <a:gd name="connsiteY1205" fmla="*/ 6462096 h 6859062"/>
              <a:gd name="connsiteX1206" fmla="*/ 10083319 w 12192185"/>
              <a:gd name="connsiteY1206" fmla="*/ 6440833 h 6859062"/>
              <a:gd name="connsiteX1207" fmla="*/ 10080011 w 12192185"/>
              <a:gd name="connsiteY1207" fmla="*/ 6425464 h 6859062"/>
              <a:gd name="connsiteX1208" fmla="*/ 10079330 w 12192185"/>
              <a:gd name="connsiteY1208" fmla="*/ 6419290 h 6859062"/>
              <a:gd name="connsiteX1209" fmla="*/ 10080597 w 12192185"/>
              <a:gd name="connsiteY1209" fmla="*/ 6413681 h 6859062"/>
              <a:gd name="connsiteX1210" fmla="*/ 10082790 w 12192185"/>
              <a:gd name="connsiteY1210" fmla="*/ 6409742 h 6859062"/>
              <a:gd name="connsiteX1211" fmla="*/ 10086942 w 12192185"/>
              <a:gd name="connsiteY1211" fmla="*/ 6401450 h 6859062"/>
              <a:gd name="connsiteX1212" fmla="*/ 10088204 w 12192185"/>
              <a:gd name="connsiteY1212" fmla="*/ 6398298 h 6859062"/>
              <a:gd name="connsiteX1213" fmla="*/ 10091427 w 12192185"/>
              <a:gd name="connsiteY1213" fmla="*/ 6390790 h 6859062"/>
              <a:gd name="connsiteX1214" fmla="*/ 10111327 w 12192185"/>
              <a:gd name="connsiteY1214" fmla="*/ 6382824 h 6859062"/>
              <a:gd name="connsiteX1215" fmla="*/ 7932612 w 12192185"/>
              <a:gd name="connsiteY1215" fmla="*/ 6377269 h 6859062"/>
              <a:gd name="connsiteX1216" fmla="*/ 7941833 w 12192185"/>
              <a:gd name="connsiteY1216" fmla="*/ 6379069 h 6859062"/>
              <a:gd name="connsiteX1217" fmla="*/ 7958945 w 12192185"/>
              <a:gd name="connsiteY1217" fmla="*/ 6387176 h 6859062"/>
              <a:gd name="connsiteX1218" fmla="*/ 7963222 w 12192185"/>
              <a:gd name="connsiteY1218" fmla="*/ 6390856 h 6859062"/>
              <a:gd name="connsiteX1219" fmla="*/ 7967616 w 12192185"/>
              <a:gd name="connsiteY1219" fmla="*/ 6396666 h 6859062"/>
              <a:gd name="connsiteX1220" fmla="*/ 7970008 w 12192185"/>
              <a:gd name="connsiteY1220" fmla="*/ 6402021 h 6859062"/>
              <a:gd name="connsiteX1221" fmla="*/ 7971148 w 12192185"/>
              <a:gd name="connsiteY1221" fmla="*/ 6415504 h 6859062"/>
              <a:gd name="connsiteX1222" fmla="*/ 7972251 w 12192185"/>
              <a:gd name="connsiteY1222" fmla="*/ 6423871 h 6859062"/>
              <a:gd name="connsiteX1223" fmla="*/ 7971469 w 12192185"/>
              <a:gd name="connsiteY1223" fmla="*/ 6427300 h 6859062"/>
              <a:gd name="connsiteX1224" fmla="*/ 7966474 w 12192185"/>
              <a:gd name="connsiteY1224" fmla="*/ 6433375 h 6859062"/>
              <a:gd name="connsiteX1225" fmla="*/ 7956406 w 12192185"/>
              <a:gd name="connsiteY1225" fmla="*/ 6441902 h 6859062"/>
              <a:gd name="connsiteX1226" fmla="*/ 7953492 w 12192185"/>
              <a:gd name="connsiteY1226" fmla="*/ 6445445 h 6859062"/>
              <a:gd name="connsiteX1227" fmla="*/ 7949734 w 12192185"/>
              <a:gd name="connsiteY1227" fmla="*/ 6446091 h 6859062"/>
              <a:gd name="connsiteX1228" fmla="*/ 7942698 w 12192185"/>
              <a:gd name="connsiteY1228" fmla="*/ 6446592 h 6859062"/>
              <a:gd name="connsiteX1229" fmla="*/ 7940148 w 12192185"/>
              <a:gd name="connsiteY1229" fmla="*/ 6447213 h 6859062"/>
              <a:gd name="connsiteX1230" fmla="*/ 7930733 w 12192185"/>
              <a:gd name="connsiteY1230" fmla="*/ 6446271 h 6859062"/>
              <a:gd name="connsiteX1231" fmla="*/ 7928600 w 12192185"/>
              <a:gd name="connsiteY1231" fmla="*/ 6446386 h 6859062"/>
              <a:gd name="connsiteX1232" fmla="*/ 7911218 w 12192185"/>
              <a:gd name="connsiteY1232" fmla="*/ 6428899 h 6859062"/>
              <a:gd name="connsiteX1233" fmla="*/ 7907593 w 12192185"/>
              <a:gd name="connsiteY1233" fmla="*/ 6415750 h 6859062"/>
              <a:gd name="connsiteX1234" fmla="*/ 7906698 w 12192185"/>
              <a:gd name="connsiteY1234" fmla="*/ 6410437 h 6859062"/>
              <a:gd name="connsiteX1235" fmla="*/ 7907518 w 12192185"/>
              <a:gd name="connsiteY1235" fmla="*/ 6405514 h 6859062"/>
              <a:gd name="connsiteX1236" fmla="*/ 7909223 w 12192185"/>
              <a:gd name="connsiteY1236" fmla="*/ 6401995 h 6859062"/>
              <a:gd name="connsiteX1237" fmla="*/ 7912411 w 12192185"/>
              <a:gd name="connsiteY1237" fmla="*/ 6394607 h 6859062"/>
              <a:gd name="connsiteX1238" fmla="*/ 7913348 w 12192185"/>
              <a:gd name="connsiteY1238" fmla="*/ 6391815 h 6859062"/>
              <a:gd name="connsiteX1239" fmla="*/ 7915769 w 12192185"/>
              <a:gd name="connsiteY1239" fmla="*/ 6385153 h 6859062"/>
              <a:gd name="connsiteX1240" fmla="*/ 7932612 w 12192185"/>
              <a:gd name="connsiteY1240" fmla="*/ 6377269 h 6859062"/>
              <a:gd name="connsiteX1241" fmla="*/ 11154450 w 12192185"/>
              <a:gd name="connsiteY1241" fmla="*/ 6374057 h 6859062"/>
              <a:gd name="connsiteX1242" fmla="*/ 11159701 w 12192185"/>
              <a:gd name="connsiteY1242" fmla="*/ 6374082 h 6859062"/>
              <a:gd name="connsiteX1243" fmla="*/ 11166320 w 12192185"/>
              <a:gd name="connsiteY1243" fmla="*/ 6375546 h 6859062"/>
              <a:gd name="connsiteX1244" fmla="*/ 11171246 w 12192185"/>
              <a:gd name="connsiteY1244" fmla="*/ 6377895 h 6859062"/>
              <a:gd name="connsiteX1245" fmla="*/ 11180192 w 12192185"/>
              <a:gd name="connsiteY1245" fmla="*/ 6386758 h 6859062"/>
              <a:gd name="connsiteX1246" fmla="*/ 11186021 w 12192185"/>
              <a:gd name="connsiteY1246" fmla="*/ 6392019 h 6859062"/>
              <a:gd name="connsiteX1247" fmla="*/ 11187537 w 12192185"/>
              <a:gd name="connsiteY1247" fmla="*/ 6394919 h 6859062"/>
              <a:gd name="connsiteX1248" fmla="*/ 11187665 w 12192185"/>
              <a:gd name="connsiteY1248" fmla="*/ 6402238 h 6859062"/>
              <a:gd name="connsiteX1249" fmla="*/ 11185679 w 12192185"/>
              <a:gd name="connsiteY1249" fmla="*/ 6414354 h 6859062"/>
              <a:gd name="connsiteX1250" fmla="*/ 11185752 w 12192185"/>
              <a:gd name="connsiteY1250" fmla="*/ 6418622 h 6859062"/>
              <a:gd name="connsiteX1251" fmla="*/ 11183480 w 12192185"/>
              <a:gd name="connsiteY1251" fmla="*/ 6421349 h 6859062"/>
              <a:gd name="connsiteX1252" fmla="*/ 11178800 w 12192185"/>
              <a:gd name="connsiteY1252" fmla="*/ 6425949 h 6859062"/>
              <a:gd name="connsiteX1253" fmla="*/ 11177368 w 12192185"/>
              <a:gd name="connsiteY1253" fmla="*/ 6427927 h 6859062"/>
              <a:gd name="connsiteX1254" fmla="*/ 11170130 w 12192185"/>
              <a:gd name="connsiteY1254" fmla="*/ 6432942 h 6859062"/>
              <a:gd name="connsiteX1255" fmla="*/ 11168688 w 12192185"/>
              <a:gd name="connsiteY1255" fmla="*/ 6434311 h 6859062"/>
              <a:gd name="connsiteX1256" fmla="*/ 11145822 w 12192185"/>
              <a:gd name="connsiteY1256" fmla="*/ 6432415 h 6859062"/>
              <a:gd name="connsiteX1257" fmla="*/ 11135321 w 12192185"/>
              <a:gd name="connsiteY1257" fmla="*/ 6425288 h 6859062"/>
              <a:gd name="connsiteX1258" fmla="*/ 11131478 w 12192185"/>
              <a:gd name="connsiteY1258" fmla="*/ 6422064 h 6859062"/>
              <a:gd name="connsiteX1259" fmla="*/ 11129090 w 12192185"/>
              <a:gd name="connsiteY1259" fmla="*/ 6418082 h 6859062"/>
              <a:gd name="connsiteX1260" fmla="*/ 11128173 w 12192185"/>
              <a:gd name="connsiteY1260" fmla="*/ 6414561 h 6859062"/>
              <a:gd name="connsiteX1261" fmla="*/ 11125972 w 12192185"/>
              <a:gd name="connsiteY1261" fmla="*/ 6407403 h 6859062"/>
              <a:gd name="connsiteX1262" fmla="*/ 11124951 w 12192185"/>
              <a:gd name="connsiteY1262" fmla="*/ 6404859 h 6859062"/>
              <a:gd name="connsiteX1263" fmla="*/ 11122645 w 12192185"/>
              <a:gd name="connsiteY1263" fmla="*/ 6398680 h 6859062"/>
              <a:gd name="connsiteX1264" fmla="*/ 11129819 w 12192185"/>
              <a:gd name="connsiteY1264" fmla="*/ 6382931 h 6859062"/>
              <a:gd name="connsiteX1265" fmla="*/ 11137436 w 12192185"/>
              <a:gd name="connsiteY1265" fmla="*/ 6378642 h 6859062"/>
              <a:gd name="connsiteX1266" fmla="*/ 11154450 w 12192185"/>
              <a:gd name="connsiteY1266" fmla="*/ 6374057 h 6859062"/>
              <a:gd name="connsiteX1267" fmla="*/ 5218909 w 12192185"/>
              <a:gd name="connsiteY1267" fmla="*/ 6372328 h 6859062"/>
              <a:gd name="connsiteX1268" fmla="*/ 5222439 w 12192185"/>
              <a:gd name="connsiteY1268" fmla="*/ 6372622 h 6859062"/>
              <a:gd name="connsiteX1269" fmla="*/ 5238311 w 12192185"/>
              <a:gd name="connsiteY1269" fmla="*/ 6379540 h 6859062"/>
              <a:gd name="connsiteX1270" fmla="*/ 5242724 w 12192185"/>
              <a:gd name="connsiteY1270" fmla="*/ 6387088 h 6859062"/>
              <a:gd name="connsiteX1271" fmla="*/ 5247585 w 12192185"/>
              <a:gd name="connsiteY1271" fmla="*/ 6404026 h 6859062"/>
              <a:gd name="connsiteX1272" fmla="*/ 5247647 w 12192185"/>
              <a:gd name="connsiteY1272" fmla="*/ 6409276 h 6859062"/>
              <a:gd name="connsiteX1273" fmla="*/ 5246293 w 12192185"/>
              <a:gd name="connsiteY1273" fmla="*/ 6415917 h 6859062"/>
              <a:gd name="connsiteX1274" fmla="*/ 5244019 w 12192185"/>
              <a:gd name="connsiteY1274" fmla="*/ 6420881 h 6859062"/>
              <a:gd name="connsiteX1275" fmla="*/ 5235293 w 12192185"/>
              <a:gd name="connsiteY1275" fmla="*/ 6429968 h 6859062"/>
              <a:gd name="connsiteX1276" fmla="*/ 5230127 w 12192185"/>
              <a:gd name="connsiteY1276" fmla="*/ 6435881 h 6859062"/>
              <a:gd name="connsiteX1277" fmla="*/ 5227250 w 12192185"/>
              <a:gd name="connsiteY1277" fmla="*/ 6437444 h 6859062"/>
              <a:gd name="connsiteX1278" fmla="*/ 5219928 w 12192185"/>
              <a:gd name="connsiteY1278" fmla="*/ 6437689 h 6859062"/>
              <a:gd name="connsiteX1279" fmla="*/ 5207790 w 12192185"/>
              <a:gd name="connsiteY1279" fmla="*/ 6435899 h 6859062"/>
              <a:gd name="connsiteX1280" fmla="*/ 5203518 w 12192185"/>
              <a:gd name="connsiteY1280" fmla="*/ 6436042 h 6859062"/>
              <a:gd name="connsiteX1281" fmla="*/ 5200754 w 12192185"/>
              <a:gd name="connsiteY1281" fmla="*/ 6433814 h 6859062"/>
              <a:gd name="connsiteX1282" fmla="*/ 5196085 w 12192185"/>
              <a:gd name="connsiteY1282" fmla="*/ 6429207 h 6859062"/>
              <a:gd name="connsiteX1283" fmla="*/ 5194084 w 12192185"/>
              <a:gd name="connsiteY1283" fmla="*/ 6427808 h 6859062"/>
              <a:gd name="connsiteX1284" fmla="*/ 5188954 w 12192185"/>
              <a:gd name="connsiteY1284" fmla="*/ 6420652 h 6859062"/>
              <a:gd name="connsiteX1285" fmla="*/ 5187570 w 12192185"/>
              <a:gd name="connsiteY1285" fmla="*/ 6419232 h 6859062"/>
              <a:gd name="connsiteX1286" fmla="*/ 5189096 w 12192185"/>
              <a:gd name="connsiteY1286" fmla="*/ 6396340 h 6859062"/>
              <a:gd name="connsiteX1287" fmla="*/ 5196052 w 12192185"/>
              <a:gd name="connsiteY1287" fmla="*/ 6385723 h 6859062"/>
              <a:gd name="connsiteX1288" fmla="*/ 5199201 w 12192185"/>
              <a:gd name="connsiteY1288" fmla="*/ 6381830 h 6859062"/>
              <a:gd name="connsiteX1289" fmla="*/ 5203152 w 12192185"/>
              <a:gd name="connsiteY1289" fmla="*/ 6379377 h 6859062"/>
              <a:gd name="connsiteX1290" fmla="*/ 5206649 w 12192185"/>
              <a:gd name="connsiteY1290" fmla="*/ 6378404 h 6859062"/>
              <a:gd name="connsiteX1291" fmla="*/ 5213765 w 12192185"/>
              <a:gd name="connsiteY1291" fmla="*/ 6376089 h 6859062"/>
              <a:gd name="connsiteX1292" fmla="*/ 5216292 w 12192185"/>
              <a:gd name="connsiteY1292" fmla="*/ 6375027 h 6859062"/>
              <a:gd name="connsiteX1293" fmla="*/ 5218909 w 12192185"/>
              <a:gd name="connsiteY1293" fmla="*/ 6372328 h 6859062"/>
              <a:gd name="connsiteX1294" fmla="*/ 1643973 w 12192185"/>
              <a:gd name="connsiteY1294" fmla="*/ 6366244 h 6859062"/>
              <a:gd name="connsiteX1295" fmla="*/ 1648240 w 12192185"/>
              <a:gd name="connsiteY1295" fmla="*/ 6368570 h 6859062"/>
              <a:gd name="connsiteX1296" fmla="*/ 1650266 w 12192185"/>
              <a:gd name="connsiteY1296" fmla="*/ 6371294 h 6859062"/>
              <a:gd name="connsiteX1297" fmla="*/ 1660859 w 12192185"/>
              <a:gd name="connsiteY1297" fmla="*/ 6370183 h 6859062"/>
              <a:gd name="connsiteX1298" fmla="*/ 1661973 w 12192185"/>
              <a:gd name="connsiteY1298" fmla="*/ 6368213 h 6859062"/>
              <a:gd name="connsiteX1299" fmla="*/ 1665882 w 12192185"/>
              <a:gd name="connsiteY1299" fmla="*/ 6366362 h 6859062"/>
              <a:gd name="connsiteX1300" fmla="*/ 1666873 w 12192185"/>
              <a:gd name="connsiteY1300" fmla="*/ 6370194 h 6859062"/>
              <a:gd name="connsiteX1301" fmla="*/ 1665278 w 12192185"/>
              <a:gd name="connsiteY1301" fmla="*/ 6373794 h 6859062"/>
              <a:gd name="connsiteX1302" fmla="*/ 1666937 w 12192185"/>
              <a:gd name="connsiteY1302" fmla="*/ 6378356 h 6859062"/>
              <a:gd name="connsiteX1303" fmla="*/ 1677302 w 12192185"/>
              <a:gd name="connsiteY1303" fmla="*/ 6389391 h 6859062"/>
              <a:gd name="connsiteX1304" fmla="*/ 1687067 w 12192185"/>
              <a:gd name="connsiteY1304" fmla="*/ 6404849 h 6859062"/>
              <a:gd name="connsiteX1305" fmla="*/ 1687232 w 12192185"/>
              <a:gd name="connsiteY1305" fmla="*/ 6409677 h 6859062"/>
              <a:gd name="connsiteX1306" fmla="*/ 1687677 w 12192185"/>
              <a:gd name="connsiteY1306" fmla="*/ 6416457 h 6859062"/>
              <a:gd name="connsiteX1307" fmla="*/ 1689449 w 12192185"/>
              <a:gd name="connsiteY1307" fmla="*/ 6417248 h 6859062"/>
              <a:gd name="connsiteX1308" fmla="*/ 1708609 w 12192185"/>
              <a:gd name="connsiteY1308" fmla="*/ 6427700 h 6859062"/>
              <a:gd name="connsiteX1309" fmla="*/ 1713289 w 12192185"/>
              <a:gd name="connsiteY1309" fmla="*/ 6432215 h 6859062"/>
              <a:gd name="connsiteX1310" fmla="*/ 1717964 w 12192185"/>
              <a:gd name="connsiteY1310" fmla="*/ 6439190 h 6859062"/>
              <a:gd name="connsiteX1311" fmla="*/ 1720364 w 12192185"/>
              <a:gd name="connsiteY1311" fmla="*/ 6445508 h 6859062"/>
              <a:gd name="connsiteX1312" fmla="*/ 1720793 w 12192185"/>
              <a:gd name="connsiteY1312" fmla="*/ 6461100 h 6859062"/>
              <a:gd name="connsiteX1313" fmla="*/ 1721513 w 12192185"/>
              <a:gd name="connsiteY1313" fmla="*/ 6470800 h 6859062"/>
              <a:gd name="connsiteX1314" fmla="*/ 1720389 w 12192185"/>
              <a:gd name="connsiteY1314" fmla="*/ 6474694 h 6859062"/>
              <a:gd name="connsiteX1315" fmla="*/ 1714241 w 12192185"/>
              <a:gd name="connsiteY1315" fmla="*/ 6481358 h 6859062"/>
              <a:gd name="connsiteX1316" fmla="*/ 1702096 w 12192185"/>
              <a:gd name="connsiteY1316" fmla="*/ 6490508 h 6859062"/>
              <a:gd name="connsiteX1317" fmla="*/ 1698510 w 12192185"/>
              <a:gd name="connsiteY1317" fmla="*/ 6494395 h 6859062"/>
              <a:gd name="connsiteX1318" fmla="*/ 1694142 w 12192185"/>
              <a:gd name="connsiteY1318" fmla="*/ 6494892 h 6859062"/>
              <a:gd name="connsiteX1319" fmla="*/ 1686013 w 12192185"/>
              <a:gd name="connsiteY1319" fmla="*/ 6495007 h 6859062"/>
              <a:gd name="connsiteX1320" fmla="*/ 1683039 w 12192185"/>
              <a:gd name="connsiteY1320" fmla="*/ 6495555 h 6859062"/>
              <a:gd name="connsiteX1321" fmla="*/ 1672266 w 12192185"/>
              <a:gd name="connsiteY1321" fmla="*/ 6493851 h 6859062"/>
              <a:gd name="connsiteX1322" fmla="*/ 1669804 w 12192185"/>
              <a:gd name="connsiteY1322" fmla="*/ 6493844 h 6859062"/>
              <a:gd name="connsiteX1323" fmla="*/ 1650950 w 12192185"/>
              <a:gd name="connsiteY1323" fmla="*/ 6472581 h 6859062"/>
              <a:gd name="connsiteX1324" fmla="*/ 1649958 w 12192185"/>
              <a:gd name="connsiteY1324" fmla="*/ 6467976 h 6859062"/>
              <a:gd name="connsiteX1325" fmla="*/ 1645828 w 12192185"/>
              <a:gd name="connsiteY1325" fmla="*/ 6466598 h 6859062"/>
              <a:gd name="connsiteX1326" fmla="*/ 1642865 w 12192185"/>
              <a:gd name="connsiteY1326" fmla="*/ 6471760 h 6859062"/>
              <a:gd name="connsiteX1327" fmla="*/ 1639817 w 12192185"/>
              <a:gd name="connsiteY1327" fmla="*/ 6473690 h 6859062"/>
              <a:gd name="connsiteX1328" fmla="*/ 1618718 w 12192185"/>
              <a:gd name="connsiteY1328" fmla="*/ 6469034 h 6859062"/>
              <a:gd name="connsiteX1329" fmla="*/ 1605342 w 12192185"/>
              <a:gd name="connsiteY1329" fmla="*/ 6461001 h 6859062"/>
              <a:gd name="connsiteX1330" fmla="*/ 1588933 w 12192185"/>
              <a:gd name="connsiteY1330" fmla="*/ 6458442 h 6859062"/>
              <a:gd name="connsiteX1331" fmla="*/ 1587301 w 12192185"/>
              <a:gd name="connsiteY1331" fmla="*/ 6460968 h 6859062"/>
              <a:gd name="connsiteX1332" fmla="*/ 1579305 w 12192185"/>
              <a:gd name="connsiteY1332" fmla="*/ 6481433 h 6859062"/>
              <a:gd name="connsiteX1333" fmla="*/ 1576848 w 12192185"/>
              <a:gd name="connsiteY1333" fmla="*/ 6484953 h 6859062"/>
              <a:gd name="connsiteX1334" fmla="*/ 1567224 w 12192185"/>
              <a:gd name="connsiteY1334" fmla="*/ 6492368 h 6859062"/>
              <a:gd name="connsiteX1335" fmla="*/ 1556600 w 12192185"/>
              <a:gd name="connsiteY1335" fmla="*/ 6501966 h 6859062"/>
              <a:gd name="connsiteX1336" fmla="*/ 1551426 w 12192185"/>
              <a:gd name="connsiteY1336" fmla="*/ 6504504 h 6859062"/>
              <a:gd name="connsiteX1337" fmla="*/ 1518153 w 12192185"/>
              <a:gd name="connsiteY1337" fmla="*/ 6508101 h 6859062"/>
              <a:gd name="connsiteX1338" fmla="*/ 1515320 w 12192185"/>
              <a:gd name="connsiteY1338" fmla="*/ 6506908 h 6859062"/>
              <a:gd name="connsiteX1339" fmla="*/ 1502216 w 12192185"/>
              <a:gd name="connsiteY1339" fmla="*/ 6497362 h 6859062"/>
              <a:gd name="connsiteX1340" fmla="*/ 1497548 w 12192185"/>
              <a:gd name="connsiteY1340" fmla="*/ 6492795 h 6859062"/>
              <a:gd name="connsiteX1341" fmla="*/ 1490397 w 12192185"/>
              <a:gd name="connsiteY1341" fmla="*/ 6484658 h 6859062"/>
              <a:gd name="connsiteX1342" fmla="*/ 1480501 w 12192185"/>
              <a:gd name="connsiteY1342" fmla="*/ 6481020 h 6859062"/>
              <a:gd name="connsiteX1343" fmla="*/ 1477649 w 12192185"/>
              <a:gd name="connsiteY1343" fmla="*/ 6478471 h 6859062"/>
              <a:gd name="connsiteX1344" fmla="*/ 1479437 w 12192185"/>
              <a:gd name="connsiteY1344" fmla="*/ 6475041 h 6859062"/>
              <a:gd name="connsiteX1345" fmla="*/ 1481623 w 12192185"/>
              <a:gd name="connsiteY1345" fmla="*/ 6473033 h 6859062"/>
              <a:gd name="connsiteX1346" fmla="*/ 1483543 w 12192185"/>
              <a:gd name="connsiteY1346" fmla="*/ 6469531 h 6859062"/>
              <a:gd name="connsiteX1347" fmla="*/ 1480156 w 12192185"/>
              <a:gd name="connsiteY1347" fmla="*/ 6467820 h 6859062"/>
              <a:gd name="connsiteX1348" fmla="*/ 1477771 w 12192185"/>
              <a:gd name="connsiteY1348" fmla="*/ 6460919 h 6859062"/>
              <a:gd name="connsiteX1349" fmla="*/ 1479825 w 12192185"/>
              <a:gd name="connsiteY1349" fmla="*/ 6458164 h 6859062"/>
              <a:gd name="connsiteX1350" fmla="*/ 1479239 w 12192185"/>
              <a:gd name="connsiteY1350" fmla="*/ 6453565 h 6859062"/>
              <a:gd name="connsiteX1351" fmla="*/ 1474852 w 12192185"/>
              <a:gd name="connsiteY1351" fmla="*/ 6454036 h 6859062"/>
              <a:gd name="connsiteX1352" fmla="*/ 1471856 w 12192185"/>
              <a:gd name="connsiteY1352" fmla="*/ 6456123 h 6859062"/>
              <a:gd name="connsiteX1353" fmla="*/ 1479295 w 12192185"/>
              <a:gd name="connsiteY1353" fmla="*/ 6430729 h 6859062"/>
              <a:gd name="connsiteX1354" fmla="*/ 1481146 w 12192185"/>
              <a:gd name="connsiteY1354" fmla="*/ 6430944 h 6859062"/>
              <a:gd name="connsiteX1355" fmla="*/ 1484121 w 12192185"/>
              <a:gd name="connsiteY1355" fmla="*/ 6426869 h 6859062"/>
              <a:gd name="connsiteX1356" fmla="*/ 1483745 w 12192185"/>
              <a:gd name="connsiteY1356" fmla="*/ 6422156 h 6859062"/>
              <a:gd name="connsiteX1357" fmla="*/ 1487430 w 12192185"/>
              <a:gd name="connsiteY1357" fmla="*/ 6416876 h 6859062"/>
              <a:gd name="connsiteX1358" fmla="*/ 1499194 w 12192185"/>
              <a:gd name="connsiteY1358" fmla="*/ 6399828 h 6859062"/>
              <a:gd name="connsiteX1359" fmla="*/ 1499908 w 12192185"/>
              <a:gd name="connsiteY1359" fmla="*/ 6395614 h 6859062"/>
              <a:gd name="connsiteX1360" fmla="*/ 1504616 w 12192185"/>
              <a:gd name="connsiteY1360" fmla="*/ 6398248 h 6859062"/>
              <a:gd name="connsiteX1361" fmla="*/ 1504961 w 12192185"/>
              <a:gd name="connsiteY1361" fmla="*/ 6398881 h 6859062"/>
              <a:gd name="connsiteX1362" fmla="*/ 1514306 w 12192185"/>
              <a:gd name="connsiteY1362" fmla="*/ 6398994 h 6859062"/>
              <a:gd name="connsiteX1363" fmla="*/ 1524445 w 12192185"/>
              <a:gd name="connsiteY1363" fmla="*/ 6394032 h 6859062"/>
              <a:gd name="connsiteX1364" fmla="*/ 1540308 w 12192185"/>
              <a:gd name="connsiteY1364" fmla="*/ 6390057 h 6859062"/>
              <a:gd name="connsiteX1365" fmla="*/ 1545823 w 12192185"/>
              <a:gd name="connsiteY1365" fmla="*/ 6391159 h 6859062"/>
              <a:gd name="connsiteX1366" fmla="*/ 1561485 w 12192185"/>
              <a:gd name="connsiteY1366" fmla="*/ 6393850 h 6859062"/>
              <a:gd name="connsiteX1367" fmla="*/ 1566133 w 12192185"/>
              <a:gd name="connsiteY1367" fmla="*/ 6397882 h 6859062"/>
              <a:gd name="connsiteX1368" fmla="*/ 1583593 w 12192185"/>
              <a:gd name="connsiteY1368" fmla="*/ 6415444 h 6859062"/>
              <a:gd name="connsiteX1369" fmla="*/ 1588231 w 12192185"/>
              <a:gd name="connsiteY1369" fmla="*/ 6412923 h 6859062"/>
              <a:gd name="connsiteX1370" fmla="*/ 1585884 w 12192185"/>
              <a:gd name="connsiteY1370" fmla="*/ 6407095 h 6859062"/>
              <a:gd name="connsiteX1371" fmla="*/ 1581292 w 12192185"/>
              <a:gd name="connsiteY1371" fmla="*/ 6404673 h 6859062"/>
              <a:gd name="connsiteX1372" fmla="*/ 1578921 w 12192185"/>
              <a:gd name="connsiteY1372" fmla="*/ 6401316 h 6859062"/>
              <a:gd name="connsiteX1373" fmla="*/ 1583060 w 12192185"/>
              <a:gd name="connsiteY1373" fmla="*/ 6399887 h 6859062"/>
              <a:gd name="connsiteX1374" fmla="*/ 1587405 w 12192185"/>
              <a:gd name="connsiteY1374" fmla="*/ 6401351 h 6859062"/>
              <a:gd name="connsiteX1375" fmla="*/ 1594514 w 12192185"/>
              <a:gd name="connsiteY1375" fmla="*/ 6398854 h 6859062"/>
              <a:gd name="connsiteX1376" fmla="*/ 1590154 w 12192185"/>
              <a:gd name="connsiteY1376" fmla="*/ 6393846 h 6859062"/>
              <a:gd name="connsiteX1377" fmla="*/ 1584164 w 12192185"/>
              <a:gd name="connsiteY1377" fmla="*/ 6391363 h 6859062"/>
              <a:gd name="connsiteX1378" fmla="*/ 1584612 w 12192185"/>
              <a:gd name="connsiteY1378" fmla="*/ 6385656 h 6859062"/>
              <a:gd name="connsiteX1379" fmla="*/ 1599152 w 12192185"/>
              <a:gd name="connsiteY1379" fmla="*/ 6383768 h 6859062"/>
              <a:gd name="connsiteX1380" fmla="*/ 1610747 w 12192185"/>
              <a:gd name="connsiteY1380" fmla="*/ 6377466 h 6859062"/>
              <a:gd name="connsiteX1381" fmla="*/ 1613094 w 12192185"/>
              <a:gd name="connsiteY1381" fmla="*/ 6370728 h 6859062"/>
              <a:gd name="connsiteX1382" fmla="*/ 1614724 w 12192185"/>
              <a:gd name="connsiteY1382" fmla="*/ 6368202 h 6859062"/>
              <a:gd name="connsiteX1383" fmla="*/ 1617251 w 12192185"/>
              <a:gd name="connsiteY1383" fmla="*/ 6369835 h 6859062"/>
              <a:gd name="connsiteX1384" fmla="*/ 1623874 w 12192185"/>
              <a:gd name="connsiteY1384" fmla="*/ 6371974 h 6859062"/>
              <a:gd name="connsiteX1385" fmla="*/ 1636341 w 12192185"/>
              <a:gd name="connsiteY1385" fmla="*/ 6372303 h 6859062"/>
              <a:gd name="connsiteX1386" fmla="*/ 1641516 w 12192185"/>
              <a:gd name="connsiteY1386" fmla="*/ 6369765 h 6859062"/>
              <a:gd name="connsiteX1387" fmla="*/ 1643973 w 12192185"/>
              <a:gd name="connsiteY1387" fmla="*/ 6366244 h 6859062"/>
              <a:gd name="connsiteX1388" fmla="*/ 1498502 w 12192185"/>
              <a:gd name="connsiteY1388" fmla="*/ 6365153 h 6859062"/>
              <a:gd name="connsiteX1389" fmla="*/ 1498879 w 12192185"/>
              <a:gd name="connsiteY1389" fmla="*/ 6365575 h 6859062"/>
              <a:gd name="connsiteX1390" fmla="*/ 1498385 w 12192185"/>
              <a:gd name="connsiteY1390" fmla="*/ 6365554 h 6859062"/>
              <a:gd name="connsiteX1391" fmla="*/ 5026133 w 12192185"/>
              <a:gd name="connsiteY1391" fmla="*/ 6352014 h 6859062"/>
              <a:gd name="connsiteX1392" fmla="*/ 5029281 w 12192185"/>
              <a:gd name="connsiteY1392" fmla="*/ 6353733 h 6859062"/>
              <a:gd name="connsiteX1393" fmla="*/ 5030778 w 12192185"/>
              <a:gd name="connsiteY1393" fmla="*/ 6355745 h 6859062"/>
              <a:gd name="connsiteX1394" fmla="*/ 5038603 w 12192185"/>
              <a:gd name="connsiteY1394" fmla="*/ 6354925 h 6859062"/>
              <a:gd name="connsiteX1395" fmla="*/ 5039429 w 12192185"/>
              <a:gd name="connsiteY1395" fmla="*/ 6353469 h 6859062"/>
              <a:gd name="connsiteX1396" fmla="*/ 5042311 w 12192185"/>
              <a:gd name="connsiteY1396" fmla="*/ 6352101 h 6859062"/>
              <a:gd name="connsiteX1397" fmla="*/ 5043043 w 12192185"/>
              <a:gd name="connsiteY1397" fmla="*/ 6354932 h 6859062"/>
              <a:gd name="connsiteX1398" fmla="*/ 5041867 w 12192185"/>
              <a:gd name="connsiteY1398" fmla="*/ 6357590 h 6859062"/>
              <a:gd name="connsiteX1399" fmla="*/ 5043092 w 12192185"/>
              <a:gd name="connsiteY1399" fmla="*/ 6360960 h 6859062"/>
              <a:gd name="connsiteX1400" fmla="*/ 5050746 w 12192185"/>
              <a:gd name="connsiteY1400" fmla="*/ 6369111 h 6859062"/>
              <a:gd name="connsiteX1401" fmla="*/ 5057958 w 12192185"/>
              <a:gd name="connsiteY1401" fmla="*/ 6380528 h 6859062"/>
              <a:gd name="connsiteX1402" fmla="*/ 5058081 w 12192185"/>
              <a:gd name="connsiteY1402" fmla="*/ 6384095 h 6859062"/>
              <a:gd name="connsiteX1403" fmla="*/ 5058749 w 12192185"/>
              <a:gd name="connsiteY1403" fmla="*/ 6394227 h 6859062"/>
              <a:gd name="connsiteX1404" fmla="*/ 5058503 w 12192185"/>
              <a:gd name="connsiteY1404" fmla="*/ 6396377 h 6859062"/>
              <a:gd name="connsiteX1405" fmla="*/ 5053978 w 12192185"/>
              <a:gd name="connsiteY1405" fmla="*/ 6407718 h 6859062"/>
              <a:gd name="connsiteX1406" fmla="*/ 5042241 w 12192185"/>
              <a:gd name="connsiteY1406" fmla="*/ 6419539 h 6859062"/>
              <a:gd name="connsiteX1407" fmla="*/ 5038516 w 12192185"/>
              <a:gd name="connsiteY1407" fmla="*/ 6424188 h 6859062"/>
              <a:gd name="connsiteX1408" fmla="*/ 5031410 w 12192185"/>
              <a:gd name="connsiteY1408" fmla="*/ 6427443 h 6859062"/>
              <a:gd name="connsiteX1409" fmla="*/ 5025310 w 12192185"/>
              <a:gd name="connsiteY1409" fmla="*/ 6429951 h 6859062"/>
              <a:gd name="connsiteX1410" fmla="*/ 5023055 w 12192185"/>
              <a:gd name="connsiteY1410" fmla="*/ 6431375 h 6859062"/>
              <a:gd name="connsiteX1411" fmla="*/ 5007472 w 12192185"/>
              <a:gd name="connsiteY1411" fmla="*/ 6427937 h 6859062"/>
              <a:gd name="connsiteX1412" fmla="*/ 4997599 w 12192185"/>
              <a:gd name="connsiteY1412" fmla="*/ 6422003 h 6859062"/>
              <a:gd name="connsiteX1413" fmla="*/ 4985477 w 12192185"/>
              <a:gd name="connsiteY1413" fmla="*/ 6420113 h 6859062"/>
              <a:gd name="connsiteX1414" fmla="*/ 4984276 w 12192185"/>
              <a:gd name="connsiteY1414" fmla="*/ 6421978 h 6859062"/>
              <a:gd name="connsiteX1415" fmla="*/ 4978371 w 12192185"/>
              <a:gd name="connsiteY1415" fmla="*/ 6437094 h 6859062"/>
              <a:gd name="connsiteX1416" fmla="*/ 4976566 w 12192185"/>
              <a:gd name="connsiteY1416" fmla="*/ 6439695 h 6859062"/>
              <a:gd name="connsiteX1417" fmla="*/ 4969456 w 12192185"/>
              <a:gd name="connsiteY1417" fmla="*/ 6445171 h 6859062"/>
              <a:gd name="connsiteX1418" fmla="*/ 4961609 w 12192185"/>
              <a:gd name="connsiteY1418" fmla="*/ 6452260 h 6859062"/>
              <a:gd name="connsiteX1419" fmla="*/ 4957776 w 12192185"/>
              <a:gd name="connsiteY1419" fmla="*/ 6454135 h 6859062"/>
              <a:gd name="connsiteX1420" fmla="*/ 4933201 w 12192185"/>
              <a:gd name="connsiteY1420" fmla="*/ 6456791 h 6859062"/>
              <a:gd name="connsiteX1421" fmla="*/ 4931104 w 12192185"/>
              <a:gd name="connsiteY1421" fmla="*/ 6455911 h 6859062"/>
              <a:gd name="connsiteX1422" fmla="*/ 4921429 w 12192185"/>
              <a:gd name="connsiteY1422" fmla="*/ 6448860 h 6859062"/>
              <a:gd name="connsiteX1423" fmla="*/ 4917977 w 12192185"/>
              <a:gd name="connsiteY1423" fmla="*/ 6445486 h 6859062"/>
              <a:gd name="connsiteX1424" fmla="*/ 4912703 w 12192185"/>
              <a:gd name="connsiteY1424" fmla="*/ 6439477 h 6859062"/>
              <a:gd name="connsiteX1425" fmla="*/ 4905374 w 12192185"/>
              <a:gd name="connsiteY1425" fmla="*/ 6436790 h 6859062"/>
              <a:gd name="connsiteX1426" fmla="*/ 4903268 w 12192185"/>
              <a:gd name="connsiteY1426" fmla="*/ 6434907 h 6859062"/>
              <a:gd name="connsiteX1427" fmla="*/ 4904591 w 12192185"/>
              <a:gd name="connsiteY1427" fmla="*/ 6432373 h 6859062"/>
              <a:gd name="connsiteX1428" fmla="*/ 4906210 w 12192185"/>
              <a:gd name="connsiteY1428" fmla="*/ 6430890 h 6859062"/>
              <a:gd name="connsiteX1429" fmla="*/ 4907627 w 12192185"/>
              <a:gd name="connsiteY1429" fmla="*/ 6428303 h 6859062"/>
              <a:gd name="connsiteX1430" fmla="*/ 4905121 w 12192185"/>
              <a:gd name="connsiteY1430" fmla="*/ 6427039 h 6859062"/>
              <a:gd name="connsiteX1431" fmla="*/ 4903368 w 12192185"/>
              <a:gd name="connsiteY1431" fmla="*/ 6421942 h 6859062"/>
              <a:gd name="connsiteX1432" fmla="*/ 4904880 w 12192185"/>
              <a:gd name="connsiteY1432" fmla="*/ 6419907 h 6859062"/>
              <a:gd name="connsiteX1433" fmla="*/ 4904447 w 12192185"/>
              <a:gd name="connsiteY1433" fmla="*/ 6416511 h 6859062"/>
              <a:gd name="connsiteX1434" fmla="*/ 4901208 w 12192185"/>
              <a:gd name="connsiteY1434" fmla="*/ 6416858 h 6859062"/>
              <a:gd name="connsiteX1435" fmla="*/ 4898991 w 12192185"/>
              <a:gd name="connsiteY1435" fmla="*/ 6418400 h 6859062"/>
              <a:gd name="connsiteX1436" fmla="*/ 4904482 w 12192185"/>
              <a:gd name="connsiteY1436" fmla="*/ 6399643 h 6859062"/>
              <a:gd name="connsiteX1437" fmla="*/ 4905855 w 12192185"/>
              <a:gd name="connsiteY1437" fmla="*/ 6399802 h 6859062"/>
              <a:gd name="connsiteX1438" fmla="*/ 4908054 w 12192185"/>
              <a:gd name="connsiteY1438" fmla="*/ 6396793 h 6859062"/>
              <a:gd name="connsiteX1439" fmla="*/ 4907772 w 12192185"/>
              <a:gd name="connsiteY1439" fmla="*/ 6393311 h 6859062"/>
              <a:gd name="connsiteX1440" fmla="*/ 4910504 w 12192185"/>
              <a:gd name="connsiteY1440" fmla="*/ 6389411 h 6859062"/>
              <a:gd name="connsiteX1441" fmla="*/ 4919189 w 12192185"/>
              <a:gd name="connsiteY1441" fmla="*/ 6376819 h 6859062"/>
              <a:gd name="connsiteX1442" fmla="*/ 4919722 w 12192185"/>
              <a:gd name="connsiteY1442" fmla="*/ 6373707 h 6859062"/>
              <a:gd name="connsiteX1443" fmla="*/ 4923203 w 12192185"/>
              <a:gd name="connsiteY1443" fmla="*/ 6375652 h 6859062"/>
              <a:gd name="connsiteX1444" fmla="*/ 4923436 w 12192185"/>
              <a:gd name="connsiteY1444" fmla="*/ 6376120 h 6859062"/>
              <a:gd name="connsiteX1445" fmla="*/ 4930346 w 12192185"/>
              <a:gd name="connsiteY1445" fmla="*/ 6376203 h 6859062"/>
              <a:gd name="connsiteX1446" fmla="*/ 4937848 w 12192185"/>
              <a:gd name="connsiteY1446" fmla="*/ 6372538 h 6859062"/>
              <a:gd name="connsiteX1447" fmla="*/ 4949571 w 12192185"/>
              <a:gd name="connsiteY1447" fmla="*/ 6369602 h 6859062"/>
              <a:gd name="connsiteX1448" fmla="*/ 4953637 w 12192185"/>
              <a:gd name="connsiteY1448" fmla="*/ 6370417 h 6859062"/>
              <a:gd name="connsiteX1449" fmla="*/ 4965213 w 12192185"/>
              <a:gd name="connsiteY1449" fmla="*/ 6372404 h 6859062"/>
              <a:gd name="connsiteX1450" fmla="*/ 4968649 w 12192185"/>
              <a:gd name="connsiteY1450" fmla="*/ 6375383 h 6859062"/>
              <a:gd name="connsiteX1451" fmla="*/ 4981540 w 12192185"/>
              <a:gd name="connsiteY1451" fmla="*/ 6388354 h 6859062"/>
              <a:gd name="connsiteX1452" fmla="*/ 4984960 w 12192185"/>
              <a:gd name="connsiteY1452" fmla="*/ 6386492 h 6859062"/>
              <a:gd name="connsiteX1453" fmla="*/ 4983240 w 12192185"/>
              <a:gd name="connsiteY1453" fmla="*/ 6382187 h 6859062"/>
              <a:gd name="connsiteX1454" fmla="*/ 4979844 w 12192185"/>
              <a:gd name="connsiteY1454" fmla="*/ 6380398 h 6859062"/>
              <a:gd name="connsiteX1455" fmla="*/ 4978086 w 12192185"/>
              <a:gd name="connsiteY1455" fmla="*/ 6377918 h 6859062"/>
              <a:gd name="connsiteX1456" fmla="*/ 4981147 w 12192185"/>
              <a:gd name="connsiteY1456" fmla="*/ 6376864 h 6859062"/>
              <a:gd name="connsiteX1457" fmla="*/ 4984352 w 12192185"/>
              <a:gd name="connsiteY1457" fmla="*/ 6377945 h 6859062"/>
              <a:gd name="connsiteX1458" fmla="*/ 4989603 w 12192185"/>
              <a:gd name="connsiteY1458" fmla="*/ 6376101 h 6859062"/>
              <a:gd name="connsiteX1459" fmla="*/ 4986387 w 12192185"/>
              <a:gd name="connsiteY1459" fmla="*/ 6372401 h 6859062"/>
              <a:gd name="connsiteX1460" fmla="*/ 4981964 w 12192185"/>
              <a:gd name="connsiteY1460" fmla="*/ 6370568 h 6859062"/>
              <a:gd name="connsiteX1461" fmla="*/ 4982292 w 12192185"/>
              <a:gd name="connsiteY1461" fmla="*/ 6366353 h 6859062"/>
              <a:gd name="connsiteX1462" fmla="*/ 4993027 w 12192185"/>
              <a:gd name="connsiteY1462" fmla="*/ 6364957 h 6859062"/>
              <a:gd name="connsiteX1463" fmla="*/ 5001586 w 12192185"/>
              <a:gd name="connsiteY1463" fmla="*/ 6360303 h 6859062"/>
              <a:gd name="connsiteX1464" fmla="*/ 5003323 w 12192185"/>
              <a:gd name="connsiteY1464" fmla="*/ 6355326 h 6859062"/>
              <a:gd name="connsiteX1465" fmla="*/ 5004524 w 12192185"/>
              <a:gd name="connsiteY1465" fmla="*/ 6353460 h 6859062"/>
              <a:gd name="connsiteX1466" fmla="*/ 5006394 w 12192185"/>
              <a:gd name="connsiteY1466" fmla="*/ 6354667 h 6859062"/>
              <a:gd name="connsiteX1467" fmla="*/ 5011279 w 12192185"/>
              <a:gd name="connsiteY1467" fmla="*/ 6356246 h 6859062"/>
              <a:gd name="connsiteX1468" fmla="*/ 5020499 w 12192185"/>
              <a:gd name="connsiteY1468" fmla="*/ 6356490 h 6859062"/>
              <a:gd name="connsiteX1469" fmla="*/ 5024317 w 12192185"/>
              <a:gd name="connsiteY1469" fmla="*/ 6354615 h 6859062"/>
              <a:gd name="connsiteX1470" fmla="*/ 5026133 w 12192185"/>
              <a:gd name="connsiteY1470" fmla="*/ 6352014 h 6859062"/>
              <a:gd name="connsiteX1471" fmla="*/ 4918672 w 12192185"/>
              <a:gd name="connsiteY1471" fmla="*/ 6351208 h 6859062"/>
              <a:gd name="connsiteX1472" fmla="*/ 4918959 w 12192185"/>
              <a:gd name="connsiteY1472" fmla="*/ 6351519 h 6859062"/>
              <a:gd name="connsiteX1473" fmla="*/ 4918591 w 12192185"/>
              <a:gd name="connsiteY1473" fmla="*/ 6351503 h 6859062"/>
              <a:gd name="connsiteX1474" fmla="*/ 8330861 w 12192185"/>
              <a:gd name="connsiteY1474" fmla="*/ 6347911 h 6859062"/>
              <a:gd name="connsiteX1475" fmla="*/ 8339441 w 12192185"/>
              <a:gd name="connsiteY1475" fmla="*/ 6349587 h 6859062"/>
              <a:gd name="connsiteX1476" fmla="*/ 8355365 w 12192185"/>
              <a:gd name="connsiteY1476" fmla="*/ 6357130 h 6859062"/>
              <a:gd name="connsiteX1477" fmla="*/ 8359346 w 12192185"/>
              <a:gd name="connsiteY1477" fmla="*/ 6360555 h 6859062"/>
              <a:gd name="connsiteX1478" fmla="*/ 8363435 w 12192185"/>
              <a:gd name="connsiteY1478" fmla="*/ 6365962 h 6859062"/>
              <a:gd name="connsiteX1479" fmla="*/ 8365660 w 12192185"/>
              <a:gd name="connsiteY1479" fmla="*/ 6370944 h 6859062"/>
              <a:gd name="connsiteX1480" fmla="*/ 8366721 w 12192185"/>
              <a:gd name="connsiteY1480" fmla="*/ 6383493 h 6859062"/>
              <a:gd name="connsiteX1481" fmla="*/ 8367747 w 12192185"/>
              <a:gd name="connsiteY1481" fmla="*/ 6391278 h 6859062"/>
              <a:gd name="connsiteX1482" fmla="*/ 8367021 w 12192185"/>
              <a:gd name="connsiteY1482" fmla="*/ 6394469 h 6859062"/>
              <a:gd name="connsiteX1483" fmla="*/ 8362372 w 12192185"/>
              <a:gd name="connsiteY1483" fmla="*/ 6400122 h 6859062"/>
              <a:gd name="connsiteX1484" fmla="*/ 8353002 w 12192185"/>
              <a:gd name="connsiteY1484" fmla="*/ 6408057 h 6859062"/>
              <a:gd name="connsiteX1485" fmla="*/ 8350291 w 12192185"/>
              <a:gd name="connsiteY1485" fmla="*/ 6411354 h 6859062"/>
              <a:gd name="connsiteX1486" fmla="*/ 8346793 w 12192185"/>
              <a:gd name="connsiteY1486" fmla="*/ 6411955 h 6859062"/>
              <a:gd name="connsiteX1487" fmla="*/ 8340245 w 12192185"/>
              <a:gd name="connsiteY1487" fmla="*/ 6412421 h 6859062"/>
              <a:gd name="connsiteX1488" fmla="*/ 8337874 w 12192185"/>
              <a:gd name="connsiteY1488" fmla="*/ 6413000 h 6859062"/>
              <a:gd name="connsiteX1489" fmla="*/ 8329112 w 12192185"/>
              <a:gd name="connsiteY1489" fmla="*/ 6412122 h 6859062"/>
              <a:gd name="connsiteX1490" fmla="*/ 8327127 w 12192185"/>
              <a:gd name="connsiteY1490" fmla="*/ 6412229 h 6859062"/>
              <a:gd name="connsiteX1491" fmla="*/ 8310952 w 12192185"/>
              <a:gd name="connsiteY1491" fmla="*/ 6395957 h 6859062"/>
              <a:gd name="connsiteX1492" fmla="*/ 8307578 w 12192185"/>
              <a:gd name="connsiteY1492" fmla="*/ 6383721 h 6859062"/>
              <a:gd name="connsiteX1493" fmla="*/ 8306745 w 12192185"/>
              <a:gd name="connsiteY1493" fmla="*/ 6378776 h 6859062"/>
              <a:gd name="connsiteX1494" fmla="*/ 8307509 w 12192185"/>
              <a:gd name="connsiteY1494" fmla="*/ 6374195 h 6859062"/>
              <a:gd name="connsiteX1495" fmla="*/ 8309095 w 12192185"/>
              <a:gd name="connsiteY1495" fmla="*/ 6370921 h 6859062"/>
              <a:gd name="connsiteX1496" fmla="*/ 8312062 w 12192185"/>
              <a:gd name="connsiteY1496" fmla="*/ 6364045 h 6859062"/>
              <a:gd name="connsiteX1497" fmla="*/ 8312934 w 12192185"/>
              <a:gd name="connsiteY1497" fmla="*/ 6361447 h 6859062"/>
              <a:gd name="connsiteX1498" fmla="*/ 8315187 w 12192185"/>
              <a:gd name="connsiteY1498" fmla="*/ 6355248 h 6859062"/>
              <a:gd name="connsiteX1499" fmla="*/ 8330861 w 12192185"/>
              <a:gd name="connsiteY1499" fmla="*/ 6347911 h 6859062"/>
              <a:gd name="connsiteX1500" fmla="*/ 2422289 w 12192185"/>
              <a:gd name="connsiteY1500" fmla="*/ 6344213 h 6859062"/>
              <a:gd name="connsiteX1501" fmla="*/ 2423151 w 12192185"/>
              <a:gd name="connsiteY1501" fmla="*/ 6345497 h 6859062"/>
              <a:gd name="connsiteX1502" fmla="*/ 2425384 w 12192185"/>
              <a:gd name="connsiteY1502" fmla="*/ 6351377 h 6859062"/>
              <a:gd name="connsiteX1503" fmla="*/ 2425782 w 12192185"/>
              <a:gd name="connsiteY1503" fmla="*/ 6365886 h 6859062"/>
              <a:gd name="connsiteX1504" fmla="*/ 2426016 w 12192185"/>
              <a:gd name="connsiteY1504" fmla="*/ 6369016 h 6859062"/>
              <a:gd name="connsiteX1505" fmla="*/ 2458776 w 12192185"/>
              <a:gd name="connsiteY1505" fmla="*/ 6385027 h 6859062"/>
              <a:gd name="connsiteX1506" fmla="*/ 2462623 w 12192185"/>
              <a:gd name="connsiteY1506" fmla="*/ 6371700 h 6859062"/>
              <a:gd name="connsiteX1507" fmla="*/ 2458992 w 12192185"/>
              <a:gd name="connsiteY1507" fmla="*/ 6364319 h 6859062"/>
              <a:gd name="connsiteX1508" fmla="*/ 2458588 w 12192185"/>
              <a:gd name="connsiteY1508" fmla="*/ 6362492 h 6859062"/>
              <a:gd name="connsiteX1509" fmla="*/ 2451593 w 12192185"/>
              <a:gd name="connsiteY1509" fmla="*/ 6359329 h 6859062"/>
              <a:gd name="connsiteX1510" fmla="*/ 1906981 w 12192185"/>
              <a:gd name="connsiteY1510" fmla="*/ 6342342 h 6859062"/>
              <a:gd name="connsiteX1511" fmla="*/ 1907473 w 12192185"/>
              <a:gd name="connsiteY1511" fmla="*/ 6342619 h 6859062"/>
              <a:gd name="connsiteX1512" fmla="*/ 1907107 w 12192185"/>
              <a:gd name="connsiteY1512" fmla="*/ 6342819 h 6859062"/>
              <a:gd name="connsiteX1513" fmla="*/ 7175276 w 12192185"/>
              <a:gd name="connsiteY1513" fmla="*/ 6338259 h 6859062"/>
              <a:gd name="connsiteX1514" fmla="*/ 7183856 w 12192185"/>
              <a:gd name="connsiteY1514" fmla="*/ 6339935 h 6859062"/>
              <a:gd name="connsiteX1515" fmla="*/ 7199780 w 12192185"/>
              <a:gd name="connsiteY1515" fmla="*/ 6347479 h 6859062"/>
              <a:gd name="connsiteX1516" fmla="*/ 7203760 w 12192185"/>
              <a:gd name="connsiteY1516" fmla="*/ 6350903 h 6859062"/>
              <a:gd name="connsiteX1517" fmla="*/ 7207849 w 12192185"/>
              <a:gd name="connsiteY1517" fmla="*/ 6356310 h 6859062"/>
              <a:gd name="connsiteX1518" fmla="*/ 7210075 w 12192185"/>
              <a:gd name="connsiteY1518" fmla="*/ 6361293 h 6859062"/>
              <a:gd name="connsiteX1519" fmla="*/ 7211136 w 12192185"/>
              <a:gd name="connsiteY1519" fmla="*/ 6373840 h 6859062"/>
              <a:gd name="connsiteX1520" fmla="*/ 7212163 w 12192185"/>
              <a:gd name="connsiteY1520" fmla="*/ 6381627 h 6859062"/>
              <a:gd name="connsiteX1521" fmla="*/ 7211436 w 12192185"/>
              <a:gd name="connsiteY1521" fmla="*/ 6384817 h 6859062"/>
              <a:gd name="connsiteX1522" fmla="*/ 7206787 w 12192185"/>
              <a:gd name="connsiteY1522" fmla="*/ 6390470 h 6859062"/>
              <a:gd name="connsiteX1523" fmla="*/ 7197418 w 12192185"/>
              <a:gd name="connsiteY1523" fmla="*/ 6398405 h 6859062"/>
              <a:gd name="connsiteX1524" fmla="*/ 7194706 w 12192185"/>
              <a:gd name="connsiteY1524" fmla="*/ 6401702 h 6859062"/>
              <a:gd name="connsiteX1525" fmla="*/ 7191208 w 12192185"/>
              <a:gd name="connsiteY1525" fmla="*/ 6402303 h 6859062"/>
              <a:gd name="connsiteX1526" fmla="*/ 7184661 w 12192185"/>
              <a:gd name="connsiteY1526" fmla="*/ 6402769 h 6859062"/>
              <a:gd name="connsiteX1527" fmla="*/ 7182288 w 12192185"/>
              <a:gd name="connsiteY1527" fmla="*/ 6403348 h 6859062"/>
              <a:gd name="connsiteX1528" fmla="*/ 7173527 w 12192185"/>
              <a:gd name="connsiteY1528" fmla="*/ 6402470 h 6859062"/>
              <a:gd name="connsiteX1529" fmla="*/ 7171542 w 12192185"/>
              <a:gd name="connsiteY1529" fmla="*/ 6402577 h 6859062"/>
              <a:gd name="connsiteX1530" fmla="*/ 7155367 w 12192185"/>
              <a:gd name="connsiteY1530" fmla="*/ 6386305 h 6859062"/>
              <a:gd name="connsiteX1531" fmla="*/ 7151993 w 12192185"/>
              <a:gd name="connsiteY1531" fmla="*/ 6374069 h 6859062"/>
              <a:gd name="connsiteX1532" fmla="*/ 7151160 w 12192185"/>
              <a:gd name="connsiteY1532" fmla="*/ 6369124 h 6859062"/>
              <a:gd name="connsiteX1533" fmla="*/ 7151924 w 12192185"/>
              <a:gd name="connsiteY1533" fmla="*/ 6364544 h 6859062"/>
              <a:gd name="connsiteX1534" fmla="*/ 7153510 w 12192185"/>
              <a:gd name="connsiteY1534" fmla="*/ 6361269 h 6859062"/>
              <a:gd name="connsiteX1535" fmla="*/ 7156477 w 12192185"/>
              <a:gd name="connsiteY1535" fmla="*/ 6354393 h 6859062"/>
              <a:gd name="connsiteX1536" fmla="*/ 7157349 w 12192185"/>
              <a:gd name="connsiteY1536" fmla="*/ 6351795 h 6859062"/>
              <a:gd name="connsiteX1537" fmla="*/ 7159603 w 12192185"/>
              <a:gd name="connsiteY1537" fmla="*/ 6345596 h 6859062"/>
              <a:gd name="connsiteX1538" fmla="*/ 7175276 w 12192185"/>
              <a:gd name="connsiteY1538" fmla="*/ 6338259 h 6859062"/>
              <a:gd name="connsiteX1539" fmla="*/ 2552774 w 12192185"/>
              <a:gd name="connsiteY1539" fmla="*/ 6338132 h 6859062"/>
              <a:gd name="connsiteX1540" fmla="*/ 2555173 w 12192185"/>
              <a:gd name="connsiteY1540" fmla="*/ 6342282 h 6859062"/>
              <a:gd name="connsiteX1541" fmla="*/ 2562956 w 12192185"/>
              <a:gd name="connsiteY1541" fmla="*/ 6345390 h 6859062"/>
              <a:gd name="connsiteX1542" fmla="*/ 2565077 w 12192185"/>
              <a:gd name="connsiteY1542" fmla="*/ 6348018 h 6859062"/>
              <a:gd name="connsiteX1543" fmla="*/ 2572708 w 12192185"/>
              <a:gd name="connsiteY1543" fmla="*/ 6365477 h 6859062"/>
              <a:gd name="connsiteX1544" fmla="*/ 2572820 w 12192185"/>
              <a:gd name="connsiteY1544" fmla="*/ 6375849 h 6859062"/>
              <a:gd name="connsiteX1545" fmla="*/ 2636723 w 12192185"/>
              <a:gd name="connsiteY1545" fmla="*/ 6404509 h 6859062"/>
              <a:gd name="connsiteX1546" fmla="*/ 3079353 w 12192185"/>
              <a:gd name="connsiteY1546" fmla="*/ 6537515 h 6859062"/>
              <a:gd name="connsiteX1547" fmla="*/ 3619727 w 12192185"/>
              <a:gd name="connsiteY1547" fmla="*/ 6583165 h 6859062"/>
              <a:gd name="connsiteX1548" fmla="*/ 3633124 w 12192185"/>
              <a:gd name="connsiteY1548" fmla="*/ 6582820 h 6859062"/>
              <a:gd name="connsiteX1549" fmla="*/ 3630512 w 12192185"/>
              <a:gd name="connsiteY1549" fmla="*/ 6569093 h 6859062"/>
              <a:gd name="connsiteX1550" fmla="*/ 3627634 w 12192185"/>
              <a:gd name="connsiteY1550" fmla="*/ 6565096 h 6859062"/>
              <a:gd name="connsiteX1551" fmla="*/ 3633604 w 12192185"/>
              <a:gd name="connsiteY1551" fmla="*/ 6563366 h 6859062"/>
              <a:gd name="connsiteX1552" fmla="*/ 3634403 w 12192185"/>
              <a:gd name="connsiteY1552" fmla="*/ 6563595 h 6859062"/>
              <a:gd name="connsiteX1553" fmla="*/ 3640843 w 12192185"/>
              <a:gd name="connsiteY1553" fmla="*/ 6557225 h 6859062"/>
              <a:gd name="connsiteX1554" fmla="*/ 3579037 w 12192185"/>
              <a:gd name="connsiteY1554" fmla="*/ 6563261 h 6859062"/>
              <a:gd name="connsiteX1555" fmla="*/ 3512801 w 12192185"/>
              <a:gd name="connsiteY1555" fmla="*/ 6559915 h 6859062"/>
              <a:gd name="connsiteX1556" fmla="*/ 2627723 w 12192185"/>
              <a:gd name="connsiteY1556" fmla="*/ 6371582 h 6859062"/>
              <a:gd name="connsiteX1557" fmla="*/ 8097965 w 12192185"/>
              <a:gd name="connsiteY1557" fmla="*/ 6337619 h 6859062"/>
              <a:gd name="connsiteX1558" fmla="*/ 8137222 w 12192185"/>
              <a:gd name="connsiteY1558" fmla="*/ 6352366 h 6859062"/>
              <a:gd name="connsiteX1559" fmla="*/ 8178137 w 12192185"/>
              <a:gd name="connsiteY1559" fmla="*/ 6374981 h 6859062"/>
              <a:gd name="connsiteX1560" fmla="*/ 8198843 w 12192185"/>
              <a:gd name="connsiteY1560" fmla="*/ 6395274 h 6859062"/>
              <a:gd name="connsiteX1561" fmla="*/ 8269490 w 12192185"/>
              <a:gd name="connsiteY1561" fmla="*/ 6426422 h 6859062"/>
              <a:gd name="connsiteX1562" fmla="*/ 8290776 w 12192185"/>
              <a:gd name="connsiteY1562" fmla="*/ 6441665 h 6859062"/>
              <a:gd name="connsiteX1563" fmla="*/ 8296408 w 12192185"/>
              <a:gd name="connsiteY1563" fmla="*/ 6437192 h 6859062"/>
              <a:gd name="connsiteX1564" fmla="*/ 8393971 w 12192185"/>
              <a:gd name="connsiteY1564" fmla="*/ 6479112 h 6859062"/>
              <a:gd name="connsiteX1565" fmla="*/ 8498824 w 12192185"/>
              <a:gd name="connsiteY1565" fmla="*/ 6524427 h 6859062"/>
              <a:gd name="connsiteX1566" fmla="*/ 8500481 w 12192185"/>
              <a:gd name="connsiteY1566" fmla="*/ 6532294 h 6859062"/>
              <a:gd name="connsiteX1567" fmla="*/ 8592495 w 12192185"/>
              <a:gd name="connsiteY1567" fmla="*/ 6555661 h 6859062"/>
              <a:gd name="connsiteX1568" fmla="*/ 8644094 w 12192185"/>
              <a:gd name="connsiteY1568" fmla="*/ 6574383 h 6859062"/>
              <a:gd name="connsiteX1569" fmla="*/ 8644672 w 12192185"/>
              <a:gd name="connsiteY1569" fmla="*/ 6569331 h 6859062"/>
              <a:gd name="connsiteX1570" fmla="*/ 8696850 w 12192185"/>
              <a:gd name="connsiteY1570" fmla="*/ 6583003 h 6859062"/>
              <a:gd name="connsiteX1571" fmla="*/ 8710847 w 12192185"/>
              <a:gd name="connsiteY1571" fmla="*/ 6594847 h 6859062"/>
              <a:gd name="connsiteX1572" fmla="*/ 8678796 w 12192185"/>
              <a:gd name="connsiteY1572" fmla="*/ 6606522 h 6859062"/>
              <a:gd name="connsiteX1573" fmla="*/ 8776443 w 12192185"/>
              <a:gd name="connsiteY1573" fmla="*/ 6625416 h 6859062"/>
              <a:gd name="connsiteX1574" fmla="*/ 8774206 w 12192185"/>
              <a:gd name="connsiteY1574" fmla="*/ 6622600 h 6859062"/>
              <a:gd name="connsiteX1575" fmla="*/ 8766917 w 12192185"/>
              <a:gd name="connsiteY1575" fmla="*/ 6619204 h 6859062"/>
              <a:gd name="connsiteX1576" fmla="*/ 8777021 w 12192185"/>
              <a:gd name="connsiteY1576" fmla="*/ 6620364 h 6859062"/>
              <a:gd name="connsiteX1577" fmla="*/ 8804519 w 12192185"/>
              <a:gd name="connsiteY1577" fmla="*/ 6626082 h 6859062"/>
              <a:gd name="connsiteX1578" fmla="*/ 8812387 w 12192185"/>
              <a:gd name="connsiteY1578" fmla="*/ 6624425 h 6859062"/>
              <a:gd name="connsiteX1579" fmla="*/ 8814621 w 12192185"/>
              <a:gd name="connsiteY1579" fmla="*/ 6627242 h 6859062"/>
              <a:gd name="connsiteX1580" fmla="*/ 8816858 w 12192185"/>
              <a:gd name="connsiteY1580" fmla="*/ 6630059 h 6859062"/>
              <a:gd name="connsiteX1581" fmla="*/ 8811806 w 12192185"/>
              <a:gd name="connsiteY1581" fmla="*/ 6629478 h 6859062"/>
              <a:gd name="connsiteX1582" fmla="*/ 8820254 w 12192185"/>
              <a:gd name="connsiteY1582" fmla="*/ 6622771 h 6859062"/>
              <a:gd name="connsiteX1583" fmla="*/ 8830938 w 12192185"/>
              <a:gd name="connsiteY1583" fmla="*/ 6618880 h 6859062"/>
              <a:gd name="connsiteX1584" fmla="*/ 8816939 w 12192185"/>
              <a:gd name="connsiteY1584" fmla="*/ 6607033 h 6859062"/>
              <a:gd name="connsiteX1585" fmla="*/ 8857935 w 12192185"/>
              <a:gd name="connsiteY1585" fmla="*/ 6606624 h 6859062"/>
              <a:gd name="connsiteX1586" fmla="*/ 8900588 w 12192185"/>
              <a:gd name="connsiteY1586" fmla="*/ 6614083 h 6859062"/>
              <a:gd name="connsiteX1587" fmla="*/ 8869117 w 12192185"/>
              <a:gd name="connsiteY1587" fmla="*/ 6620704 h 6859062"/>
              <a:gd name="connsiteX1588" fmla="*/ 8885931 w 12192185"/>
              <a:gd name="connsiteY1588" fmla="*/ 6630315 h 6859062"/>
              <a:gd name="connsiteX1589" fmla="*/ 8908953 w 12192185"/>
              <a:gd name="connsiteY1589" fmla="*/ 6630401 h 6859062"/>
              <a:gd name="connsiteX1590" fmla="*/ 9103746 w 12192185"/>
              <a:gd name="connsiteY1590" fmla="*/ 6650215 h 6859062"/>
              <a:gd name="connsiteX1591" fmla="*/ 9136874 w 12192185"/>
              <a:gd name="connsiteY1591" fmla="*/ 6651461 h 6859062"/>
              <a:gd name="connsiteX1592" fmla="*/ 9185159 w 12192185"/>
              <a:gd name="connsiteY1592" fmla="*/ 6654448 h 6859062"/>
              <a:gd name="connsiteX1593" fmla="*/ 9190790 w 12192185"/>
              <a:gd name="connsiteY1593" fmla="*/ 6649975 h 6859062"/>
              <a:gd name="connsiteX1594" fmla="*/ 9272780 w 12192185"/>
              <a:gd name="connsiteY1594" fmla="*/ 6649155 h 6859062"/>
              <a:gd name="connsiteX1595" fmla="*/ 9344088 w 12192185"/>
              <a:gd name="connsiteY1595" fmla="*/ 6652227 h 6859062"/>
              <a:gd name="connsiteX1596" fmla="*/ 9337958 w 12192185"/>
              <a:gd name="connsiteY1596" fmla="*/ 6638728 h 6859062"/>
              <a:gd name="connsiteX1597" fmla="*/ 9348642 w 12192185"/>
              <a:gd name="connsiteY1597" fmla="*/ 6634836 h 6859062"/>
              <a:gd name="connsiteX1598" fmla="*/ 9407609 w 12192185"/>
              <a:gd name="connsiteY1598" fmla="*/ 6633931 h 6859062"/>
              <a:gd name="connsiteX1599" fmla="*/ 9412082 w 12192185"/>
              <a:gd name="connsiteY1599" fmla="*/ 6639563 h 6859062"/>
              <a:gd name="connsiteX1600" fmla="*/ 9390715 w 12192185"/>
              <a:gd name="connsiteY1600" fmla="*/ 6647346 h 6859062"/>
              <a:gd name="connsiteX1601" fmla="*/ 9467654 w 12192185"/>
              <a:gd name="connsiteY1601" fmla="*/ 6645945 h 6859062"/>
              <a:gd name="connsiteX1602" fmla="*/ 9539542 w 12192185"/>
              <a:gd name="connsiteY1602" fmla="*/ 6643966 h 6859062"/>
              <a:gd name="connsiteX1603" fmla="*/ 9672133 w 12192185"/>
              <a:gd name="connsiteY1603" fmla="*/ 6625925 h 6859062"/>
              <a:gd name="connsiteX1604" fmla="*/ 9671056 w 12192185"/>
              <a:gd name="connsiteY1604" fmla="*/ 6613004 h 6859062"/>
              <a:gd name="connsiteX1605" fmla="*/ 9694659 w 12192185"/>
              <a:gd name="connsiteY1605" fmla="*/ 6608037 h 6859062"/>
              <a:gd name="connsiteX1606" fmla="*/ 9697974 w 12192185"/>
              <a:gd name="connsiteY1606" fmla="*/ 6623775 h 6859062"/>
              <a:gd name="connsiteX1607" fmla="*/ 9771599 w 12192185"/>
              <a:gd name="connsiteY1607" fmla="*/ 6606637 h 6859062"/>
              <a:gd name="connsiteX1608" fmla="*/ 10008210 w 12192185"/>
              <a:gd name="connsiteY1608" fmla="*/ 6551916 h 6859062"/>
              <a:gd name="connsiteX1609" fmla="*/ 9937320 w 12192185"/>
              <a:gd name="connsiteY1609" fmla="*/ 6589842 h 6859062"/>
              <a:gd name="connsiteX1610" fmla="*/ 9876365 w 12192185"/>
              <a:gd name="connsiteY1610" fmla="*/ 6604215 h 6859062"/>
              <a:gd name="connsiteX1611" fmla="*/ 9883482 w 12192185"/>
              <a:gd name="connsiteY1611" fmla="*/ 6606067 h 6859062"/>
              <a:gd name="connsiteX1612" fmla="*/ 9891837 w 12192185"/>
              <a:gd name="connsiteY1612" fmla="*/ 6613708 h 6859062"/>
              <a:gd name="connsiteX1613" fmla="*/ 9893849 w 12192185"/>
              <a:gd name="connsiteY1613" fmla="*/ 6615650 h 6859062"/>
              <a:gd name="connsiteX1614" fmla="*/ 9927133 w 12192185"/>
              <a:gd name="connsiteY1614" fmla="*/ 6611706 h 6859062"/>
              <a:gd name="connsiteX1615" fmla="*/ 9990075 w 12192185"/>
              <a:gd name="connsiteY1615" fmla="*/ 6598462 h 6859062"/>
              <a:gd name="connsiteX1616" fmla="*/ 9912475 w 12192185"/>
              <a:gd name="connsiteY1616" fmla="*/ 6627938 h 6859062"/>
              <a:gd name="connsiteX1617" fmla="*/ 9915871 w 12192185"/>
              <a:gd name="connsiteY1617" fmla="*/ 6620650 h 6859062"/>
              <a:gd name="connsiteX1618" fmla="*/ 9901507 w 12192185"/>
              <a:gd name="connsiteY1618" fmla="*/ 6626026 h 6859062"/>
              <a:gd name="connsiteX1619" fmla="*/ 9903594 w 12192185"/>
              <a:gd name="connsiteY1619" fmla="*/ 6631516 h 6859062"/>
              <a:gd name="connsiteX1620" fmla="*/ 9904020 w 12192185"/>
              <a:gd name="connsiteY1620" fmla="*/ 6647108 h 6859062"/>
              <a:gd name="connsiteX1621" fmla="*/ 9904741 w 12192185"/>
              <a:gd name="connsiteY1621" fmla="*/ 6656808 h 6859062"/>
              <a:gd name="connsiteX1622" fmla="*/ 9903617 w 12192185"/>
              <a:gd name="connsiteY1622" fmla="*/ 6660702 h 6859062"/>
              <a:gd name="connsiteX1623" fmla="*/ 9897469 w 12192185"/>
              <a:gd name="connsiteY1623" fmla="*/ 6667366 h 6859062"/>
              <a:gd name="connsiteX1624" fmla="*/ 9885324 w 12192185"/>
              <a:gd name="connsiteY1624" fmla="*/ 6676516 h 6859062"/>
              <a:gd name="connsiteX1625" fmla="*/ 9881739 w 12192185"/>
              <a:gd name="connsiteY1625" fmla="*/ 6680403 h 6859062"/>
              <a:gd name="connsiteX1626" fmla="*/ 9877370 w 12192185"/>
              <a:gd name="connsiteY1626" fmla="*/ 6680900 h 6859062"/>
              <a:gd name="connsiteX1627" fmla="*/ 9869242 w 12192185"/>
              <a:gd name="connsiteY1627" fmla="*/ 6681015 h 6859062"/>
              <a:gd name="connsiteX1628" fmla="*/ 9866268 w 12192185"/>
              <a:gd name="connsiteY1628" fmla="*/ 6681563 h 6859062"/>
              <a:gd name="connsiteX1629" fmla="*/ 9855494 w 12192185"/>
              <a:gd name="connsiteY1629" fmla="*/ 6679859 h 6859062"/>
              <a:gd name="connsiteX1630" fmla="*/ 9853032 w 12192185"/>
              <a:gd name="connsiteY1630" fmla="*/ 6679852 h 6859062"/>
              <a:gd name="connsiteX1631" fmla="*/ 9834178 w 12192185"/>
              <a:gd name="connsiteY1631" fmla="*/ 6658589 h 6859062"/>
              <a:gd name="connsiteX1632" fmla="*/ 9830870 w 12192185"/>
              <a:gd name="connsiteY1632" fmla="*/ 6643220 h 6859062"/>
              <a:gd name="connsiteX1633" fmla="*/ 9830678 w 12192185"/>
              <a:gd name="connsiteY1633" fmla="*/ 6641488 h 6859062"/>
              <a:gd name="connsiteX1634" fmla="*/ 9792224 w 12192185"/>
              <a:gd name="connsiteY1634" fmla="*/ 6649956 h 6859062"/>
              <a:gd name="connsiteX1635" fmla="*/ 9773672 w 12192185"/>
              <a:gd name="connsiteY1635" fmla="*/ 6655502 h 6859062"/>
              <a:gd name="connsiteX1636" fmla="*/ 9586585 w 12192185"/>
              <a:gd name="connsiteY1636" fmla="*/ 6680081 h 6859062"/>
              <a:gd name="connsiteX1637" fmla="*/ 9529854 w 12192185"/>
              <a:gd name="connsiteY1637" fmla="*/ 6683803 h 6859062"/>
              <a:gd name="connsiteX1638" fmla="*/ 9495568 w 12192185"/>
              <a:gd name="connsiteY1638" fmla="*/ 6692661 h 6859062"/>
              <a:gd name="connsiteX1639" fmla="*/ 9488858 w 12192185"/>
              <a:gd name="connsiteY1639" fmla="*/ 6684213 h 6859062"/>
              <a:gd name="connsiteX1640" fmla="*/ 9618636 w 12192185"/>
              <a:gd name="connsiteY1640" fmla="*/ 6668406 h 6859062"/>
              <a:gd name="connsiteX1641" fmla="*/ 9624268 w 12192185"/>
              <a:gd name="connsiteY1641" fmla="*/ 6663934 h 6859062"/>
              <a:gd name="connsiteX1642" fmla="*/ 9616399 w 12192185"/>
              <a:gd name="connsiteY1642" fmla="*/ 6665591 h 6859062"/>
              <a:gd name="connsiteX1643" fmla="*/ 9606296 w 12192185"/>
              <a:gd name="connsiteY1643" fmla="*/ 6664431 h 6859062"/>
              <a:gd name="connsiteX1644" fmla="*/ 9614165 w 12192185"/>
              <a:gd name="connsiteY1644" fmla="*/ 6662774 h 6859062"/>
              <a:gd name="connsiteX1645" fmla="*/ 9616980 w 12192185"/>
              <a:gd name="connsiteY1645" fmla="*/ 6660539 h 6859062"/>
              <a:gd name="connsiteX1646" fmla="*/ 9472626 w 12192185"/>
              <a:gd name="connsiteY1646" fmla="*/ 6669552 h 6859062"/>
              <a:gd name="connsiteX1647" fmla="*/ 9326035 w 12192185"/>
              <a:gd name="connsiteY1647" fmla="*/ 6675747 h 6859062"/>
              <a:gd name="connsiteX1648" fmla="*/ 9297380 w 12192185"/>
              <a:gd name="connsiteY1648" fmla="*/ 6680135 h 6859062"/>
              <a:gd name="connsiteX1649" fmla="*/ 9264680 w 12192185"/>
              <a:gd name="connsiteY1649" fmla="*/ 6680328 h 6859062"/>
              <a:gd name="connsiteX1650" fmla="*/ 9268313 w 12192185"/>
              <a:gd name="connsiteY1650" fmla="*/ 6685750 h 6859062"/>
              <a:gd name="connsiteX1651" fmla="*/ 9270547 w 12192185"/>
              <a:gd name="connsiteY1651" fmla="*/ 6691628 h 6859062"/>
              <a:gd name="connsiteX1652" fmla="*/ 9270946 w 12192185"/>
              <a:gd name="connsiteY1652" fmla="*/ 6706139 h 6859062"/>
              <a:gd name="connsiteX1653" fmla="*/ 9271615 w 12192185"/>
              <a:gd name="connsiteY1653" fmla="*/ 6715165 h 6859062"/>
              <a:gd name="connsiteX1654" fmla="*/ 9270569 w 12192185"/>
              <a:gd name="connsiteY1654" fmla="*/ 6718790 h 6859062"/>
              <a:gd name="connsiteX1655" fmla="*/ 9264849 w 12192185"/>
              <a:gd name="connsiteY1655" fmla="*/ 6724990 h 6859062"/>
              <a:gd name="connsiteX1656" fmla="*/ 9253547 w 12192185"/>
              <a:gd name="connsiteY1656" fmla="*/ 6733504 h 6859062"/>
              <a:gd name="connsiteX1657" fmla="*/ 9250209 w 12192185"/>
              <a:gd name="connsiteY1657" fmla="*/ 6737122 h 6859062"/>
              <a:gd name="connsiteX1658" fmla="*/ 9246146 w 12192185"/>
              <a:gd name="connsiteY1658" fmla="*/ 6737584 h 6859062"/>
              <a:gd name="connsiteX1659" fmla="*/ 9238580 w 12192185"/>
              <a:gd name="connsiteY1659" fmla="*/ 6737691 h 6859062"/>
              <a:gd name="connsiteX1660" fmla="*/ 9235813 w 12192185"/>
              <a:gd name="connsiteY1660" fmla="*/ 6738200 h 6859062"/>
              <a:gd name="connsiteX1661" fmla="*/ 9225787 w 12192185"/>
              <a:gd name="connsiteY1661" fmla="*/ 6736616 h 6859062"/>
              <a:gd name="connsiteX1662" fmla="*/ 9223497 w 12192185"/>
              <a:gd name="connsiteY1662" fmla="*/ 6736610 h 6859062"/>
              <a:gd name="connsiteX1663" fmla="*/ 9205949 w 12192185"/>
              <a:gd name="connsiteY1663" fmla="*/ 6716823 h 6859062"/>
              <a:gd name="connsiteX1664" fmla="*/ 9202872 w 12192185"/>
              <a:gd name="connsiteY1664" fmla="*/ 6702521 h 6859062"/>
              <a:gd name="connsiteX1665" fmla="*/ 9202236 w 12192185"/>
              <a:gd name="connsiteY1665" fmla="*/ 6696776 h 6859062"/>
              <a:gd name="connsiteX1666" fmla="*/ 9203415 w 12192185"/>
              <a:gd name="connsiteY1666" fmla="*/ 6691554 h 6859062"/>
              <a:gd name="connsiteX1667" fmla="*/ 9205457 w 12192185"/>
              <a:gd name="connsiteY1667" fmla="*/ 6687890 h 6859062"/>
              <a:gd name="connsiteX1668" fmla="*/ 9209322 w 12192185"/>
              <a:gd name="connsiteY1668" fmla="*/ 6680173 h 6859062"/>
              <a:gd name="connsiteX1669" fmla="*/ 9209850 w 12192185"/>
              <a:gd name="connsiteY1669" fmla="*/ 6678851 h 6859062"/>
              <a:gd name="connsiteX1670" fmla="*/ 9185078 w 12192185"/>
              <a:gd name="connsiteY1670" fmla="*/ 6677473 h 6859062"/>
              <a:gd name="connsiteX1671" fmla="*/ 9178287 w 12192185"/>
              <a:gd name="connsiteY1671" fmla="*/ 6692048 h 6859062"/>
              <a:gd name="connsiteX1672" fmla="*/ 9154683 w 12192185"/>
              <a:gd name="connsiteY1672" fmla="*/ 6697015 h 6859062"/>
              <a:gd name="connsiteX1673" fmla="*/ 9159737 w 12192185"/>
              <a:gd name="connsiteY1673" fmla="*/ 6697596 h 6859062"/>
              <a:gd name="connsiteX1674" fmla="*/ 9161972 w 12192185"/>
              <a:gd name="connsiteY1674" fmla="*/ 6700412 h 6859062"/>
              <a:gd name="connsiteX1675" fmla="*/ 9151869 w 12192185"/>
              <a:gd name="connsiteY1675" fmla="*/ 6699251 h 6859062"/>
              <a:gd name="connsiteX1676" fmla="*/ 9146816 w 12192185"/>
              <a:gd name="connsiteY1676" fmla="*/ 6698671 h 6859062"/>
              <a:gd name="connsiteX1677" fmla="*/ 9102426 w 12192185"/>
              <a:gd name="connsiteY1677" fmla="*/ 6706367 h 6859062"/>
              <a:gd name="connsiteX1678" fmla="*/ 9021593 w 12192185"/>
              <a:gd name="connsiteY1678" fmla="*/ 6697084 h 6859062"/>
              <a:gd name="connsiteX1679" fmla="*/ 9037327 w 12192185"/>
              <a:gd name="connsiteY1679" fmla="*/ 6693772 h 6859062"/>
              <a:gd name="connsiteX1680" fmla="*/ 9032276 w 12192185"/>
              <a:gd name="connsiteY1680" fmla="*/ 6693193 h 6859062"/>
              <a:gd name="connsiteX1681" fmla="*/ 9024988 w 12192185"/>
              <a:gd name="connsiteY1681" fmla="*/ 6689796 h 6859062"/>
              <a:gd name="connsiteX1682" fmla="*/ 9030040 w 12192185"/>
              <a:gd name="connsiteY1682" fmla="*/ 6690376 h 6859062"/>
              <a:gd name="connsiteX1683" fmla="*/ 9032856 w 12192185"/>
              <a:gd name="connsiteY1683" fmla="*/ 6688140 h 6859062"/>
              <a:gd name="connsiteX1684" fmla="*/ 9003124 w 12192185"/>
              <a:gd name="connsiteY1684" fmla="*/ 6679605 h 6859062"/>
              <a:gd name="connsiteX1685" fmla="*/ 9046934 w 12192185"/>
              <a:gd name="connsiteY1685" fmla="*/ 6676961 h 6859062"/>
              <a:gd name="connsiteX1686" fmla="*/ 9041882 w 12192185"/>
              <a:gd name="connsiteY1686" fmla="*/ 6676379 h 6859062"/>
              <a:gd name="connsiteX1687" fmla="*/ 9031779 w 12192185"/>
              <a:gd name="connsiteY1687" fmla="*/ 6675219 h 6859062"/>
              <a:gd name="connsiteX1688" fmla="*/ 9034595 w 12192185"/>
              <a:gd name="connsiteY1688" fmla="*/ 6672984 h 6859062"/>
              <a:gd name="connsiteX1689" fmla="*/ 9039645 w 12192185"/>
              <a:gd name="connsiteY1689" fmla="*/ 6673563 h 6859062"/>
              <a:gd name="connsiteX1690" fmla="*/ 9012150 w 12192185"/>
              <a:gd name="connsiteY1690" fmla="*/ 6667847 h 6859062"/>
              <a:gd name="connsiteX1691" fmla="*/ 8867877 w 12192185"/>
              <a:gd name="connsiteY1691" fmla="*/ 6653834 h 6859062"/>
              <a:gd name="connsiteX1692" fmla="*/ 8828040 w 12192185"/>
              <a:gd name="connsiteY1692" fmla="*/ 6644140 h 6859062"/>
              <a:gd name="connsiteX1693" fmla="*/ 8692794 w 12192185"/>
              <a:gd name="connsiteY1693" fmla="*/ 6618368 h 6859062"/>
              <a:gd name="connsiteX1694" fmla="*/ 8613699 w 12192185"/>
              <a:gd name="connsiteY1694" fmla="*/ 6593926 h 6859062"/>
              <a:gd name="connsiteX1695" fmla="*/ 8611463 w 12192185"/>
              <a:gd name="connsiteY1695" fmla="*/ 6591110 h 6859062"/>
              <a:gd name="connsiteX1696" fmla="*/ 8606411 w 12192185"/>
              <a:gd name="connsiteY1696" fmla="*/ 6590530 h 6859062"/>
              <a:gd name="connsiteX1697" fmla="*/ 8599124 w 12192185"/>
              <a:gd name="connsiteY1697" fmla="*/ 6587133 h 6859062"/>
              <a:gd name="connsiteX1698" fmla="*/ 8604176 w 12192185"/>
              <a:gd name="connsiteY1698" fmla="*/ 6587714 h 6859062"/>
              <a:gd name="connsiteX1699" fmla="*/ 8609227 w 12192185"/>
              <a:gd name="connsiteY1699" fmla="*/ 6588295 h 6859062"/>
              <a:gd name="connsiteX1700" fmla="*/ 8564919 w 12192185"/>
              <a:gd name="connsiteY1700" fmla="*/ 6572968 h 6859062"/>
              <a:gd name="connsiteX1701" fmla="*/ 8556552 w 12192185"/>
              <a:gd name="connsiteY1701" fmla="*/ 6556651 h 6859062"/>
              <a:gd name="connsiteX1702" fmla="*/ 8364158 w 12192185"/>
              <a:gd name="connsiteY1702" fmla="*/ 6493602 h 6859062"/>
              <a:gd name="connsiteX1703" fmla="*/ 8246467 w 12192185"/>
              <a:gd name="connsiteY1703" fmla="*/ 6426338 h 6859062"/>
              <a:gd name="connsiteX1704" fmla="*/ 8229654 w 12192185"/>
              <a:gd name="connsiteY1704" fmla="*/ 6416728 h 6859062"/>
              <a:gd name="connsiteX1705" fmla="*/ 8154534 w 12192185"/>
              <a:gd name="connsiteY1705" fmla="*/ 6379947 h 6859062"/>
              <a:gd name="connsiteX1706" fmla="*/ 8097965 w 12192185"/>
              <a:gd name="connsiteY1706" fmla="*/ 6337619 h 6859062"/>
              <a:gd name="connsiteX1707" fmla="*/ 7162037 w 12192185"/>
              <a:gd name="connsiteY1707" fmla="*/ 6317881 h 6859062"/>
              <a:gd name="connsiteX1708" fmla="*/ 7092451 w 12192185"/>
              <a:gd name="connsiteY1708" fmla="*/ 6364086 h 6859062"/>
              <a:gd name="connsiteX1709" fmla="*/ 7027373 w 12192185"/>
              <a:gd name="connsiteY1709" fmla="*/ 6382750 h 6859062"/>
              <a:gd name="connsiteX1710" fmla="*/ 7027566 w 12192185"/>
              <a:gd name="connsiteY1710" fmla="*/ 6388220 h 6859062"/>
              <a:gd name="connsiteX1711" fmla="*/ 7013984 w 12192185"/>
              <a:gd name="connsiteY1711" fmla="*/ 6391424 h 6859062"/>
              <a:gd name="connsiteX1712" fmla="*/ 7008513 w 12192185"/>
              <a:gd name="connsiteY1712" fmla="*/ 6391611 h 6859062"/>
              <a:gd name="connsiteX1713" fmla="*/ 7011345 w 12192185"/>
              <a:gd name="connsiteY1713" fmla="*/ 6394253 h 6859062"/>
              <a:gd name="connsiteX1714" fmla="*/ 6954763 w 12192185"/>
              <a:gd name="connsiteY1714" fmla="*/ 6420841 h 6859062"/>
              <a:gd name="connsiteX1715" fmla="*/ 6952123 w 12192185"/>
              <a:gd name="connsiteY1715" fmla="*/ 6423670 h 6859062"/>
              <a:gd name="connsiteX1716" fmla="*/ 6949485 w 12192185"/>
              <a:gd name="connsiteY1716" fmla="*/ 6426499 h 6859062"/>
              <a:gd name="connsiteX1717" fmla="*/ 6946844 w 12192185"/>
              <a:gd name="connsiteY1717" fmla="*/ 6429327 h 6859062"/>
              <a:gd name="connsiteX1718" fmla="*/ 6944013 w 12192185"/>
              <a:gd name="connsiteY1718" fmla="*/ 6426686 h 6859062"/>
              <a:gd name="connsiteX1719" fmla="*/ 6944204 w 12192185"/>
              <a:gd name="connsiteY1719" fmla="*/ 6432157 h 6859062"/>
              <a:gd name="connsiteX1720" fmla="*/ 6917425 w 12192185"/>
              <a:gd name="connsiteY1720" fmla="*/ 6449507 h 6859062"/>
              <a:gd name="connsiteX1721" fmla="*/ 6939502 w 12192185"/>
              <a:gd name="connsiteY1721" fmla="*/ 6454228 h 6859062"/>
              <a:gd name="connsiteX1722" fmla="*/ 6932806 w 12192185"/>
              <a:gd name="connsiteY1722" fmla="*/ 6458566 h 6859062"/>
              <a:gd name="connsiteX1723" fmla="*/ 6929459 w 12192185"/>
              <a:gd name="connsiteY1723" fmla="*/ 6460735 h 6859062"/>
              <a:gd name="connsiteX1724" fmla="*/ 6928752 w 12192185"/>
              <a:gd name="connsiteY1724" fmla="*/ 6460075 h 6859062"/>
              <a:gd name="connsiteX1725" fmla="*/ 6926112 w 12192185"/>
              <a:gd name="connsiteY1725" fmla="*/ 6462904 h 6859062"/>
              <a:gd name="connsiteX1726" fmla="*/ 6929459 w 12192185"/>
              <a:gd name="connsiteY1726" fmla="*/ 6460735 h 6859062"/>
              <a:gd name="connsiteX1727" fmla="*/ 6931583 w 12192185"/>
              <a:gd name="connsiteY1727" fmla="*/ 6462716 h 6859062"/>
              <a:gd name="connsiteX1728" fmla="*/ 6928944 w 12192185"/>
              <a:gd name="connsiteY1728" fmla="*/ 6465545 h 6859062"/>
              <a:gd name="connsiteX1729" fmla="*/ 6926304 w 12192185"/>
              <a:gd name="connsiteY1729" fmla="*/ 6468375 h 6859062"/>
              <a:gd name="connsiteX1730" fmla="*/ 6904612 w 12192185"/>
              <a:gd name="connsiteY1730" fmla="*/ 6474595 h 6859062"/>
              <a:gd name="connsiteX1731" fmla="*/ 6899141 w 12192185"/>
              <a:gd name="connsiteY1731" fmla="*/ 6474783 h 6859062"/>
              <a:gd name="connsiteX1732" fmla="*/ 6891030 w 12192185"/>
              <a:gd name="connsiteY1732" fmla="*/ 6477799 h 6859062"/>
              <a:gd name="connsiteX1733" fmla="*/ 6885558 w 12192185"/>
              <a:gd name="connsiteY1733" fmla="*/ 6477987 h 6859062"/>
              <a:gd name="connsiteX1734" fmla="*/ 6893669 w 12192185"/>
              <a:gd name="connsiteY1734" fmla="*/ 6474970 h 6859062"/>
              <a:gd name="connsiteX1735" fmla="*/ 6901780 w 12192185"/>
              <a:gd name="connsiteY1735" fmla="*/ 6471953 h 6859062"/>
              <a:gd name="connsiteX1736" fmla="*/ 6874425 w 12192185"/>
              <a:gd name="connsiteY1736" fmla="*/ 6472891 h 6859062"/>
              <a:gd name="connsiteX1737" fmla="*/ 6873850 w 12192185"/>
              <a:gd name="connsiteY1737" fmla="*/ 6456478 h 6859062"/>
              <a:gd name="connsiteX1738" fmla="*/ 6703338 w 12192185"/>
              <a:gd name="connsiteY1738" fmla="*/ 6514357 h 6859062"/>
              <a:gd name="connsiteX1739" fmla="*/ 6695226 w 12192185"/>
              <a:gd name="connsiteY1739" fmla="*/ 6517375 h 6859062"/>
              <a:gd name="connsiteX1740" fmla="*/ 6689756 w 12192185"/>
              <a:gd name="connsiteY1740" fmla="*/ 6517562 h 6859062"/>
              <a:gd name="connsiteX1741" fmla="*/ 6619208 w 12192185"/>
              <a:gd name="connsiteY1741" fmla="*/ 6536413 h 6859062"/>
              <a:gd name="connsiteX1742" fmla="*/ 6532441 w 12192185"/>
              <a:gd name="connsiteY1742" fmla="*/ 6561296 h 6859062"/>
              <a:gd name="connsiteX1743" fmla="*/ 6439817 w 12192185"/>
              <a:gd name="connsiteY1743" fmla="*/ 6575425 h 6859062"/>
              <a:gd name="connsiteX1744" fmla="*/ 6303617 w 12192185"/>
              <a:gd name="connsiteY1744" fmla="*/ 6596526 h 6859062"/>
              <a:gd name="connsiteX1745" fmla="*/ 6196648 w 12192185"/>
              <a:gd name="connsiteY1745" fmla="*/ 6591976 h 6859062"/>
              <a:gd name="connsiteX1746" fmla="*/ 6213057 w 12192185"/>
              <a:gd name="connsiteY1746" fmla="*/ 6591413 h 6859062"/>
              <a:gd name="connsiteX1747" fmla="*/ 6204758 w 12192185"/>
              <a:gd name="connsiteY1747" fmla="*/ 6588959 h 6859062"/>
              <a:gd name="connsiteX1748" fmla="*/ 6199288 w 12192185"/>
              <a:gd name="connsiteY1748" fmla="*/ 6589146 h 6859062"/>
              <a:gd name="connsiteX1749" fmla="*/ 6207396 w 12192185"/>
              <a:gd name="connsiteY1749" fmla="*/ 6586131 h 6859062"/>
              <a:gd name="connsiteX1750" fmla="*/ 6210034 w 12192185"/>
              <a:gd name="connsiteY1750" fmla="*/ 6583301 h 6859062"/>
              <a:gd name="connsiteX1751" fmla="*/ 6089873 w 12192185"/>
              <a:gd name="connsiteY1751" fmla="*/ 6592897 h 6859062"/>
              <a:gd name="connsiteX1752" fmla="*/ 5971585 w 12192185"/>
              <a:gd name="connsiteY1752" fmla="*/ 6577780 h 6859062"/>
              <a:gd name="connsiteX1753" fmla="*/ 6171356 w 12192185"/>
              <a:gd name="connsiteY1753" fmla="*/ 6573672 h 6859062"/>
              <a:gd name="connsiteX1754" fmla="*/ 6195686 w 12192185"/>
              <a:gd name="connsiteY1754" fmla="*/ 6564622 h 6859062"/>
              <a:gd name="connsiteX1755" fmla="*/ 6250588 w 12192185"/>
              <a:gd name="connsiteY1755" fmla="*/ 6568218 h 6859062"/>
              <a:gd name="connsiteX1756" fmla="*/ 6293972 w 12192185"/>
              <a:gd name="connsiteY1756" fmla="*/ 6555775 h 6859062"/>
              <a:gd name="connsiteX1757" fmla="*/ 6351705 w 12192185"/>
              <a:gd name="connsiteY1757" fmla="*/ 6562013 h 6859062"/>
              <a:gd name="connsiteX1758" fmla="*/ 6352088 w 12192185"/>
              <a:gd name="connsiteY1758" fmla="*/ 6572955 h 6859062"/>
              <a:gd name="connsiteX1759" fmla="*/ 6393025 w 12192185"/>
              <a:gd name="connsiteY1759" fmla="*/ 6568813 h 6859062"/>
              <a:gd name="connsiteX1760" fmla="*/ 6390194 w 12192185"/>
              <a:gd name="connsiteY1760" fmla="*/ 6566171 h 6859062"/>
              <a:gd name="connsiteX1761" fmla="*/ 6384723 w 12192185"/>
              <a:gd name="connsiteY1761" fmla="*/ 6566359 h 6859062"/>
              <a:gd name="connsiteX1762" fmla="*/ 6387362 w 12192185"/>
              <a:gd name="connsiteY1762" fmla="*/ 6563530 h 6859062"/>
              <a:gd name="connsiteX1763" fmla="*/ 6376229 w 12192185"/>
              <a:gd name="connsiteY1763" fmla="*/ 6558434 h 6859062"/>
              <a:gd name="connsiteX1764" fmla="*/ 6406223 w 12192185"/>
              <a:gd name="connsiteY1764" fmla="*/ 6554668 h 6859062"/>
              <a:gd name="connsiteX1765" fmla="*/ 6408863 w 12192185"/>
              <a:gd name="connsiteY1765" fmla="*/ 6551838 h 6859062"/>
              <a:gd name="connsiteX1766" fmla="*/ 6411695 w 12192185"/>
              <a:gd name="connsiteY1766" fmla="*/ 6554480 h 6859062"/>
              <a:gd name="connsiteX1767" fmla="*/ 6419804 w 12192185"/>
              <a:gd name="connsiteY1767" fmla="*/ 6551463 h 6859062"/>
              <a:gd name="connsiteX1768" fmla="*/ 6422636 w 12192185"/>
              <a:gd name="connsiteY1768" fmla="*/ 6554105 h 6859062"/>
              <a:gd name="connsiteX1769" fmla="*/ 6474130 w 12192185"/>
              <a:gd name="connsiteY1769" fmla="*/ 6538645 h 6859062"/>
              <a:gd name="connsiteX1770" fmla="*/ 6518091 w 12192185"/>
              <a:gd name="connsiteY1770" fmla="*/ 6542617 h 6859062"/>
              <a:gd name="connsiteX1771" fmla="*/ 6523563 w 12192185"/>
              <a:gd name="connsiteY1771" fmla="*/ 6542429 h 6859062"/>
              <a:gd name="connsiteX1772" fmla="*/ 6534503 w 12192185"/>
              <a:gd name="connsiteY1772" fmla="*/ 6542054 h 6859062"/>
              <a:gd name="connsiteX1773" fmla="*/ 6531864 w 12192185"/>
              <a:gd name="connsiteY1773" fmla="*/ 6544883 h 6859062"/>
              <a:gd name="connsiteX1774" fmla="*/ 6526394 w 12192185"/>
              <a:gd name="connsiteY1774" fmla="*/ 6545070 h 6859062"/>
              <a:gd name="connsiteX1775" fmla="*/ 6523754 w 12192185"/>
              <a:gd name="connsiteY1775" fmla="*/ 6547901 h 6859062"/>
              <a:gd name="connsiteX1776" fmla="*/ 6553556 w 12192185"/>
              <a:gd name="connsiteY1776" fmla="*/ 6538663 h 6859062"/>
              <a:gd name="connsiteX1777" fmla="*/ 6548085 w 12192185"/>
              <a:gd name="connsiteY1777" fmla="*/ 6538851 h 6859062"/>
              <a:gd name="connsiteX1778" fmla="*/ 6550724 w 12192185"/>
              <a:gd name="connsiteY1778" fmla="*/ 6536020 h 6859062"/>
              <a:gd name="connsiteX1779" fmla="*/ 6553364 w 12192185"/>
              <a:gd name="connsiteY1779" fmla="*/ 6533192 h 6859062"/>
              <a:gd name="connsiteX1780" fmla="*/ 6545061 w 12192185"/>
              <a:gd name="connsiteY1780" fmla="*/ 6530738 h 6859062"/>
              <a:gd name="connsiteX1781" fmla="*/ 6572417 w 12192185"/>
              <a:gd name="connsiteY1781" fmla="*/ 6529800 h 6859062"/>
              <a:gd name="connsiteX1782" fmla="*/ 6577889 w 12192185"/>
              <a:gd name="connsiteY1782" fmla="*/ 6529613 h 6859062"/>
              <a:gd name="connsiteX1783" fmla="*/ 6581685 w 12192185"/>
              <a:gd name="connsiteY1783" fmla="*/ 6530509 h 6859062"/>
              <a:gd name="connsiteX1784" fmla="*/ 6583303 w 12192185"/>
              <a:gd name="connsiteY1784" fmla="*/ 6529462 h 6859062"/>
              <a:gd name="connsiteX1785" fmla="*/ 6630900 w 12192185"/>
              <a:gd name="connsiteY1785" fmla="*/ 6528138 h 6859062"/>
              <a:gd name="connsiteX1786" fmla="*/ 6689563 w 12192185"/>
              <a:gd name="connsiteY1786" fmla="*/ 6512091 h 6859062"/>
              <a:gd name="connsiteX1787" fmla="*/ 6695034 w 12192185"/>
              <a:gd name="connsiteY1787" fmla="*/ 6511904 h 6859062"/>
              <a:gd name="connsiteX1788" fmla="*/ 6703144 w 12192185"/>
              <a:gd name="connsiteY1788" fmla="*/ 6508888 h 6859062"/>
              <a:gd name="connsiteX1789" fmla="*/ 6700505 w 12192185"/>
              <a:gd name="connsiteY1789" fmla="*/ 6511716 h 6859062"/>
              <a:gd name="connsiteX1790" fmla="*/ 6735395 w 12192185"/>
              <a:gd name="connsiteY1790" fmla="*/ 6491350 h 6859062"/>
              <a:gd name="connsiteX1791" fmla="*/ 6727284 w 12192185"/>
              <a:gd name="connsiteY1791" fmla="*/ 6494367 h 6859062"/>
              <a:gd name="connsiteX1792" fmla="*/ 6724454 w 12192185"/>
              <a:gd name="connsiteY1792" fmla="*/ 6491725 h 6859062"/>
              <a:gd name="connsiteX1793" fmla="*/ 6732564 w 12192185"/>
              <a:gd name="connsiteY1793" fmla="*/ 6488708 h 6859062"/>
              <a:gd name="connsiteX1794" fmla="*/ 6733523 w 12192185"/>
              <a:gd name="connsiteY1794" fmla="*/ 6487679 h 6859062"/>
              <a:gd name="connsiteX1795" fmla="*/ 6735936 w 12192185"/>
              <a:gd name="connsiteY1795" fmla="*/ 6487223 h 6859062"/>
              <a:gd name="connsiteX1796" fmla="*/ 6740674 w 12192185"/>
              <a:gd name="connsiteY1796" fmla="*/ 6485691 h 6859062"/>
              <a:gd name="connsiteX1797" fmla="*/ 6735202 w 12192185"/>
              <a:gd name="connsiteY1797" fmla="*/ 6485879 h 6859062"/>
              <a:gd name="connsiteX1798" fmla="*/ 6733523 w 12192185"/>
              <a:gd name="connsiteY1798" fmla="*/ 6487679 h 6859062"/>
              <a:gd name="connsiteX1799" fmla="*/ 6727092 w 12192185"/>
              <a:gd name="connsiteY1799" fmla="*/ 6488896 h 6859062"/>
              <a:gd name="connsiteX1800" fmla="*/ 6889302 w 12192185"/>
              <a:gd name="connsiteY1800" fmla="*/ 6428561 h 6859062"/>
              <a:gd name="connsiteX1801" fmla="*/ 6913827 w 12192185"/>
              <a:gd name="connsiteY1801" fmla="*/ 6424982 h 6859062"/>
              <a:gd name="connsiteX1802" fmla="*/ 6916275 w 12192185"/>
              <a:gd name="connsiteY1802" fmla="*/ 6416683 h 6859062"/>
              <a:gd name="connsiteX1803" fmla="*/ 6921746 w 12192185"/>
              <a:gd name="connsiteY1803" fmla="*/ 6416496 h 6859062"/>
              <a:gd name="connsiteX1804" fmla="*/ 6929855 w 12192185"/>
              <a:gd name="connsiteY1804" fmla="*/ 6413479 h 6859062"/>
              <a:gd name="connsiteX1805" fmla="*/ 6972459 w 12192185"/>
              <a:gd name="connsiteY1805" fmla="*/ 6398324 h 6859062"/>
              <a:gd name="connsiteX1806" fmla="*/ 6999750 w 12192185"/>
              <a:gd name="connsiteY1806" fmla="*/ 6392500 h 6859062"/>
              <a:gd name="connsiteX1807" fmla="*/ 7001369 w 12192185"/>
              <a:gd name="connsiteY1807" fmla="*/ 6392882 h 6859062"/>
              <a:gd name="connsiteX1808" fmla="*/ 7003042 w 12192185"/>
              <a:gd name="connsiteY1808" fmla="*/ 6391798 h 6859062"/>
              <a:gd name="connsiteX1809" fmla="*/ 6999750 w 12192185"/>
              <a:gd name="connsiteY1809" fmla="*/ 6392500 h 6859062"/>
              <a:gd name="connsiteX1810" fmla="*/ 6997571 w 12192185"/>
              <a:gd name="connsiteY1810" fmla="*/ 6391986 h 6859062"/>
              <a:gd name="connsiteX1811" fmla="*/ 6997379 w 12192185"/>
              <a:gd name="connsiteY1811" fmla="*/ 6386515 h 6859062"/>
              <a:gd name="connsiteX1812" fmla="*/ 7002850 w 12192185"/>
              <a:gd name="connsiteY1812" fmla="*/ 6386328 h 6859062"/>
              <a:gd name="connsiteX1813" fmla="*/ 7005490 w 12192185"/>
              <a:gd name="connsiteY1813" fmla="*/ 6383500 h 6859062"/>
              <a:gd name="connsiteX1814" fmla="*/ 7073206 w 12192185"/>
              <a:gd name="connsiteY1814" fmla="*/ 6362007 h 6859062"/>
              <a:gd name="connsiteX1815" fmla="*/ 7162037 w 12192185"/>
              <a:gd name="connsiteY1815" fmla="*/ 6317881 h 6859062"/>
              <a:gd name="connsiteX1816" fmla="*/ 10714022 w 12192185"/>
              <a:gd name="connsiteY1816" fmla="*/ 6303541 h 6859062"/>
              <a:gd name="connsiteX1817" fmla="*/ 10730841 w 12192185"/>
              <a:gd name="connsiteY1817" fmla="*/ 6305724 h 6859062"/>
              <a:gd name="connsiteX1818" fmla="*/ 10744445 w 12192185"/>
              <a:gd name="connsiteY1818" fmla="*/ 6328359 h 6859062"/>
              <a:gd name="connsiteX1819" fmla="*/ 10746203 w 12192185"/>
              <a:gd name="connsiteY1819" fmla="*/ 6336217 h 6859062"/>
              <a:gd name="connsiteX1820" fmla="*/ 10753702 w 12192185"/>
              <a:gd name="connsiteY1820" fmla="*/ 6354417 h 6859062"/>
              <a:gd name="connsiteX1821" fmla="*/ 10761394 w 12192185"/>
              <a:gd name="connsiteY1821" fmla="*/ 6362650 h 6859062"/>
              <a:gd name="connsiteX1822" fmla="*/ 10762946 w 12192185"/>
              <a:gd name="connsiteY1822" fmla="*/ 6389825 h 6859062"/>
              <a:gd name="connsiteX1823" fmla="*/ 10751317 w 12192185"/>
              <a:gd name="connsiteY1823" fmla="*/ 6409186 h 6859062"/>
              <a:gd name="connsiteX1824" fmla="*/ 10730053 w 12192185"/>
              <a:gd name="connsiteY1824" fmla="*/ 6417747 h 6859062"/>
              <a:gd name="connsiteX1825" fmla="*/ 10727483 w 12192185"/>
              <a:gd name="connsiteY1825" fmla="*/ 6419679 h 6859062"/>
              <a:gd name="connsiteX1826" fmla="*/ 10715091 w 12192185"/>
              <a:gd name="connsiteY1826" fmla="*/ 6416102 h 6859062"/>
              <a:gd name="connsiteX1827" fmla="*/ 10703418 w 12192185"/>
              <a:gd name="connsiteY1827" fmla="*/ 6405383 h 6859062"/>
              <a:gd name="connsiteX1828" fmla="*/ 10697330 w 12192185"/>
              <a:gd name="connsiteY1828" fmla="*/ 6391599 h 6859062"/>
              <a:gd name="connsiteX1829" fmla="*/ 10695321 w 12192185"/>
              <a:gd name="connsiteY1829" fmla="*/ 6372978 h 6859062"/>
              <a:gd name="connsiteX1830" fmla="*/ 10691277 w 12192185"/>
              <a:gd name="connsiteY1830" fmla="*/ 6354439 h 6859062"/>
              <a:gd name="connsiteX1831" fmla="*/ 10681562 w 12192185"/>
              <a:gd name="connsiteY1831" fmla="*/ 6336935 h 6859062"/>
              <a:gd name="connsiteX1832" fmla="*/ 10687972 w 12192185"/>
              <a:gd name="connsiteY1832" fmla="*/ 6314731 h 6859062"/>
              <a:gd name="connsiteX1833" fmla="*/ 10697898 w 12192185"/>
              <a:gd name="connsiteY1833" fmla="*/ 6308242 h 6859062"/>
              <a:gd name="connsiteX1834" fmla="*/ 10714022 w 12192185"/>
              <a:gd name="connsiteY1834" fmla="*/ 6303541 h 6859062"/>
              <a:gd name="connsiteX1835" fmla="*/ 10930506 w 12192185"/>
              <a:gd name="connsiteY1835" fmla="*/ 6285725 h 6859062"/>
              <a:gd name="connsiteX1836" fmla="*/ 10934452 w 12192185"/>
              <a:gd name="connsiteY1836" fmla="*/ 6288017 h 6859062"/>
              <a:gd name="connsiteX1837" fmla="*/ 10936114 w 12192185"/>
              <a:gd name="connsiteY1837" fmla="*/ 6292237 h 6859062"/>
              <a:gd name="connsiteX1838" fmla="*/ 10941200 w 12192185"/>
              <a:gd name="connsiteY1838" fmla="*/ 6294570 h 6859062"/>
              <a:gd name="connsiteX1839" fmla="*/ 10958645 w 12192185"/>
              <a:gd name="connsiteY1839" fmla="*/ 6294999 h 6859062"/>
              <a:gd name="connsiteX1840" fmla="*/ 10979233 w 12192185"/>
              <a:gd name="connsiteY1840" fmla="*/ 6299503 h 6859062"/>
              <a:gd name="connsiteX1841" fmla="*/ 10983328 w 12192185"/>
              <a:gd name="connsiteY1841" fmla="*/ 6303274 h 6859062"/>
              <a:gd name="connsiteX1842" fmla="*/ 10995312 w 12192185"/>
              <a:gd name="connsiteY1842" fmla="*/ 6313642 h 6859062"/>
              <a:gd name="connsiteX1843" fmla="*/ 10997433 w 12192185"/>
              <a:gd name="connsiteY1843" fmla="*/ 6316270 h 6859062"/>
              <a:gd name="connsiteX1844" fmla="*/ 11005067 w 12192185"/>
              <a:gd name="connsiteY1844" fmla="*/ 6333729 h 6859062"/>
              <a:gd name="connsiteX1845" fmla="*/ 11005341 w 12192185"/>
              <a:gd name="connsiteY1845" fmla="*/ 6359715 h 6859062"/>
              <a:gd name="connsiteX1846" fmla="*/ 11006419 w 12192185"/>
              <a:gd name="connsiteY1846" fmla="*/ 6368950 h 6859062"/>
              <a:gd name="connsiteX1847" fmla="*/ 11002247 w 12192185"/>
              <a:gd name="connsiteY1847" fmla="*/ 6380412 h 6859062"/>
              <a:gd name="connsiteX1848" fmla="*/ 10998347 w 12192185"/>
              <a:gd name="connsiteY1848" fmla="*/ 6389936 h 6859062"/>
              <a:gd name="connsiteX1849" fmla="*/ 10997463 w 12192185"/>
              <a:gd name="connsiteY1849" fmla="*/ 6393999 h 6859062"/>
              <a:gd name="connsiteX1850" fmla="*/ 10976561 w 12192185"/>
              <a:gd name="connsiteY1850" fmla="*/ 6407541 h 6859062"/>
              <a:gd name="connsiteX1851" fmla="*/ 10959143 w 12192185"/>
              <a:gd name="connsiteY1851" fmla="*/ 6412012 h 6859062"/>
              <a:gd name="connsiteX1852" fmla="*/ 10943758 w 12192185"/>
              <a:gd name="connsiteY1852" fmla="*/ 6423403 h 6859062"/>
              <a:gd name="connsiteX1853" fmla="*/ 10944511 w 12192185"/>
              <a:gd name="connsiteY1853" fmla="*/ 6426787 h 6859062"/>
              <a:gd name="connsiteX1854" fmla="*/ 10954826 w 12192185"/>
              <a:gd name="connsiteY1854" fmla="*/ 6449915 h 6859062"/>
              <a:gd name="connsiteX1855" fmla="*/ 10955727 w 12192185"/>
              <a:gd name="connsiteY1855" fmla="*/ 6454780 h 6859062"/>
              <a:gd name="connsiteX1856" fmla="*/ 10954018 w 12192185"/>
              <a:gd name="connsiteY1856" fmla="*/ 6468680 h 6859062"/>
              <a:gd name="connsiteX1857" fmla="*/ 10953291 w 12192185"/>
              <a:gd name="connsiteY1857" fmla="*/ 6485165 h 6859062"/>
              <a:gd name="connsiteX1858" fmla="*/ 10951185 w 12192185"/>
              <a:gd name="connsiteY1858" fmla="*/ 6491466 h 6859062"/>
              <a:gd name="connsiteX1859" fmla="*/ 10927201 w 12192185"/>
              <a:gd name="connsiteY1859" fmla="*/ 6521677 h 6859062"/>
              <a:gd name="connsiteX1860" fmla="*/ 10923929 w 12192185"/>
              <a:gd name="connsiteY1860" fmla="*/ 6523036 h 6859062"/>
              <a:gd name="connsiteX1861" fmla="*/ 10905488 w 12192185"/>
              <a:gd name="connsiteY1861" fmla="*/ 6526061 h 6859062"/>
              <a:gd name="connsiteX1862" fmla="*/ 10897962 w 12192185"/>
              <a:gd name="connsiteY1862" fmla="*/ 6526191 h 6859062"/>
              <a:gd name="connsiteX1863" fmla="*/ 10885497 w 12192185"/>
              <a:gd name="connsiteY1863" fmla="*/ 6525472 h 6859062"/>
              <a:gd name="connsiteX1864" fmla="*/ 10874500 w 12192185"/>
              <a:gd name="connsiteY1864" fmla="*/ 6530645 h 6859062"/>
              <a:gd name="connsiteX1865" fmla="*/ 10870101 w 12192185"/>
              <a:gd name="connsiteY1865" fmla="*/ 6530923 h 6859062"/>
              <a:gd name="connsiteX1866" fmla="*/ 10868734 w 12192185"/>
              <a:gd name="connsiteY1866" fmla="*/ 6526678 h 6859062"/>
              <a:gd name="connsiteX1867" fmla="*/ 10868856 w 12192185"/>
              <a:gd name="connsiteY1867" fmla="*/ 6523259 h 6859062"/>
              <a:gd name="connsiteX1868" fmla="*/ 10867538 w 12192185"/>
              <a:gd name="connsiteY1868" fmla="*/ 6518848 h 6859062"/>
              <a:gd name="connsiteX1869" fmla="*/ 10863391 w 12192185"/>
              <a:gd name="connsiteY1869" fmla="*/ 6520243 h 6859062"/>
              <a:gd name="connsiteX1870" fmla="*/ 10855799 w 12192185"/>
              <a:gd name="connsiteY1870" fmla="*/ 6516612 h 6859062"/>
              <a:gd name="connsiteX1871" fmla="*/ 10855202 w 12192185"/>
              <a:gd name="connsiteY1871" fmla="*/ 6512697 h 6859062"/>
              <a:gd name="connsiteX1872" fmla="*/ 10850952 w 12192185"/>
              <a:gd name="connsiteY1872" fmla="*/ 6509456 h 6859062"/>
              <a:gd name="connsiteX1873" fmla="*/ 10847787 w 12192185"/>
              <a:gd name="connsiteY1873" fmla="*/ 6513436 h 6859062"/>
              <a:gd name="connsiteX1874" fmla="*/ 10847076 w 12192185"/>
              <a:gd name="connsiteY1874" fmla="*/ 6517585 h 6859062"/>
              <a:gd name="connsiteX1875" fmla="*/ 10832262 w 12192185"/>
              <a:gd name="connsiteY1875" fmla="*/ 6490922 h 6859062"/>
              <a:gd name="connsiteX1876" fmla="*/ 10833938 w 12192185"/>
              <a:gd name="connsiteY1876" fmla="*/ 6489576 h 6859062"/>
              <a:gd name="connsiteX1877" fmla="*/ 10833002 w 12192185"/>
              <a:gd name="connsiteY1877" fmla="*/ 6483838 h 6859062"/>
              <a:gd name="connsiteX1878" fmla="*/ 10828832 w 12192185"/>
              <a:gd name="connsiteY1878" fmla="*/ 6480331 h 6859062"/>
              <a:gd name="connsiteX1879" fmla="*/ 10827481 w 12192185"/>
              <a:gd name="connsiteY1879" fmla="*/ 6473032 h 6859062"/>
              <a:gd name="connsiteX1880" fmla="*/ 10823019 w 12192185"/>
              <a:gd name="connsiteY1880" fmla="*/ 6449579 h 6859062"/>
              <a:gd name="connsiteX1881" fmla="*/ 10820141 w 12192185"/>
              <a:gd name="connsiteY1881" fmla="*/ 6445582 h 6859062"/>
              <a:gd name="connsiteX1882" fmla="*/ 10826112 w 12192185"/>
              <a:gd name="connsiteY1882" fmla="*/ 6443852 h 6859062"/>
              <a:gd name="connsiteX1883" fmla="*/ 10826909 w 12192185"/>
              <a:gd name="connsiteY1883" fmla="*/ 6444082 h 6859062"/>
              <a:gd name="connsiteX1884" fmla="*/ 10834569 w 12192185"/>
              <a:gd name="connsiteY1884" fmla="*/ 6436505 h 6859062"/>
              <a:gd name="connsiteX1885" fmla="*/ 10838706 w 12192185"/>
              <a:gd name="connsiteY1885" fmla="*/ 6424170 h 6859062"/>
              <a:gd name="connsiteX1886" fmla="*/ 10848286 w 12192185"/>
              <a:gd name="connsiteY1886" fmla="*/ 6407938 h 6859062"/>
              <a:gd name="connsiteX1887" fmla="*/ 10853655 w 12192185"/>
              <a:gd name="connsiteY1887" fmla="*/ 6404305 h 6859062"/>
              <a:gd name="connsiteX1888" fmla="*/ 10868543 w 12192185"/>
              <a:gd name="connsiteY1888" fmla="*/ 6393634 h 6859062"/>
              <a:gd name="connsiteX1889" fmla="*/ 10875613 w 12192185"/>
              <a:gd name="connsiteY1889" fmla="*/ 6393084 h 6859062"/>
              <a:gd name="connsiteX1890" fmla="*/ 10904157 w 12192185"/>
              <a:gd name="connsiteY1890" fmla="*/ 6392975 h 6859062"/>
              <a:gd name="connsiteX1891" fmla="*/ 10905844 w 12192185"/>
              <a:gd name="connsiteY1891" fmla="*/ 6387129 h 6859062"/>
              <a:gd name="connsiteX1892" fmla="*/ 10899163 w 12192185"/>
              <a:gd name="connsiteY1892" fmla="*/ 6384336 h 6859062"/>
              <a:gd name="connsiteX1893" fmla="*/ 10893456 w 12192185"/>
              <a:gd name="connsiteY1893" fmla="*/ 6386144 h 6859062"/>
              <a:gd name="connsiteX1894" fmla="*/ 10888784 w 12192185"/>
              <a:gd name="connsiteY1894" fmla="*/ 6385371 h 6859062"/>
              <a:gd name="connsiteX1895" fmla="*/ 10890962 w 12192185"/>
              <a:gd name="connsiteY1895" fmla="*/ 6380819 h 6859062"/>
              <a:gd name="connsiteX1896" fmla="*/ 10895682 w 12192185"/>
              <a:gd name="connsiteY1896" fmla="*/ 6378439 h 6859062"/>
              <a:gd name="connsiteX1897" fmla="*/ 10899388 w 12192185"/>
              <a:gd name="connsiteY1897" fmla="*/ 6370585 h 6859062"/>
              <a:gd name="connsiteX1898" fmla="*/ 10891750 w 12192185"/>
              <a:gd name="connsiteY1898" fmla="*/ 6370107 h 6859062"/>
              <a:gd name="connsiteX1899" fmla="*/ 10884863 w 12192185"/>
              <a:gd name="connsiteY1899" fmla="*/ 6373014 h 6859062"/>
              <a:gd name="connsiteX1900" fmla="*/ 10880543 w 12192185"/>
              <a:gd name="connsiteY1900" fmla="*/ 6368024 h 6859062"/>
              <a:gd name="connsiteX1901" fmla="*/ 10890763 w 12192185"/>
              <a:gd name="connsiteY1901" fmla="*/ 6354566 h 6859062"/>
              <a:gd name="connsiteX1902" fmla="*/ 10894981 w 12192185"/>
              <a:gd name="connsiteY1902" fmla="*/ 6339952 h 6859062"/>
              <a:gd name="connsiteX1903" fmla="*/ 10891351 w 12192185"/>
              <a:gd name="connsiteY1903" fmla="*/ 6332572 h 6859062"/>
              <a:gd name="connsiteX1904" fmla="*/ 10890600 w 12192185"/>
              <a:gd name="connsiteY1904" fmla="*/ 6329188 h 6859062"/>
              <a:gd name="connsiteX1905" fmla="*/ 10893984 w 12192185"/>
              <a:gd name="connsiteY1905" fmla="*/ 6328437 h 6859062"/>
              <a:gd name="connsiteX1906" fmla="*/ 10901102 w 12192185"/>
              <a:gd name="connsiteY1906" fmla="*/ 6324735 h 6859062"/>
              <a:gd name="connsiteX1907" fmla="*/ 10911465 w 12192185"/>
              <a:gd name="connsiteY1907" fmla="*/ 6314773 h 6859062"/>
              <a:gd name="connsiteX1908" fmla="*/ 10913572 w 12192185"/>
              <a:gd name="connsiteY1908" fmla="*/ 6308472 h 6859062"/>
              <a:gd name="connsiteX1909" fmla="*/ 10912673 w 12192185"/>
              <a:gd name="connsiteY1909" fmla="*/ 6303606 h 6859062"/>
              <a:gd name="connsiteX1910" fmla="*/ 10918036 w 12192185"/>
              <a:gd name="connsiteY1910" fmla="*/ 6301988 h 6859062"/>
              <a:gd name="connsiteX1911" fmla="*/ 10921910 w 12192185"/>
              <a:gd name="connsiteY1911" fmla="*/ 6302530 h 6859062"/>
              <a:gd name="connsiteX1912" fmla="*/ 10929575 w 12192185"/>
              <a:gd name="connsiteY1912" fmla="*/ 6292941 h 6859062"/>
              <a:gd name="connsiteX1913" fmla="*/ 10928858 w 12192185"/>
              <a:gd name="connsiteY1913" fmla="*/ 6290432 h 6859062"/>
              <a:gd name="connsiteX1914" fmla="*/ 10930506 w 12192185"/>
              <a:gd name="connsiteY1914" fmla="*/ 6285725 h 6859062"/>
              <a:gd name="connsiteX1915" fmla="*/ 2103880 w 12192185"/>
              <a:gd name="connsiteY1915" fmla="*/ 6280946 h 6859062"/>
              <a:gd name="connsiteX1916" fmla="*/ 2107977 w 12192185"/>
              <a:gd name="connsiteY1916" fmla="*/ 6287982 h 6859062"/>
              <a:gd name="connsiteX1917" fmla="*/ 2106271 w 12192185"/>
              <a:gd name="connsiteY1917" fmla="*/ 6298794 h 6859062"/>
              <a:gd name="connsiteX1918" fmla="*/ 2105452 w 12192185"/>
              <a:gd name="connsiteY1918" fmla="*/ 6303268 h 6859062"/>
              <a:gd name="connsiteX1919" fmla="*/ 2104240 w 12192185"/>
              <a:gd name="connsiteY1919" fmla="*/ 6315635 h 6859062"/>
              <a:gd name="connsiteX1920" fmla="*/ 2103914 w 12192185"/>
              <a:gd name="connsiteY1920" fmla="*/ 6321664 h 6859062"/>
              <a:gd name="connsiteX1921" fmla="*/ 2101883 w 12192185"/>
              <a:gd name="connsiteY1921" fmla="*/ 6327409 h 6859062"/>
              <a:gd name="connsiteX1922" fmla="*/ 2264908 w 12192185"/>
              <a:gd name="connsiteY1922" fmla="*/ 6422757 h 6859062"/>
              <a:gd name="connsiteX1923" fmla="*/ 2262963 w 12192185"/>
              <a:gd name="connsiteY1923" fmla="*/ 6404727 h 6859062"/>
              <a:gd name="connsiteX1924" fmla="*/ 2258919 w 12192185"/>
              <a:gd name="connsiteY1924" fmla="*/ 6386187 h 6859062"/>
              <a:gd name="connsiteX1925" fmla="*/ 2249206 w 12192185"/>
              <a:gd name="connsiteY1925" fmla="*/ 6368683 h 6859062"/>
              <a:gd name="connsiteX1926" fmla="*/ 2251459 w 12192185"/>
              <a:gd name="connsiteY1926" fmla="*/ 6360877 h 6859062"/>
              <a:gd name="connsiteX1927" fmla="*/ 2159578 w 12192185"/>
              <a:gd name="connsiteY1927" fmla="*/ 6314529 h 6859062"/>
              <a:gd name="connsiteX1928" fmla="*/ 7529861 w 12192185"/>
              <a:gd name="connsiteY1928" fmla="*/ 6258515 h 6859062"/>
              <a:gd name="connsiteX1929" fmla="*/ 7539581 w 12192185"/>
              <a:gd name="connsiteY1929" fmla="*/ 6262352 h 6859062"/>
              <a:gd name="connsiteX1930" fmla="*/ 7546873 w 12192185"/>
              <a:gd name="connsiteY1930" fmla="*/ 6269693 h 6859062"/>
              <a:gd name="connsiteX1931" fmla="*/ 7550290 w 12192185"/>
              <a:gd name="connsiteY1931" fmla="*/ 6276150 h 6859062"/>
              <a:gd name="connsiteX1932" fmla="*/ 7547127 w 12192185"/>
              <a:gd name="connsiteY1932" fmla="*/ 6290033 h 6859062"/>
              <a:gd name="connsiteX1933" fmla="*/ 7536672 w 12192185"/>
              <a:gd name="connsiteY1933" fmla="*/ 6296575 h 6859062"/>
              <a:gd name="connsiteX1934" fmla="*/ 7528965 w 12192185"/>
              <a:gd name="connsiteY1934" fmla="*/ 6305365 h 6859062"/>
              <a:gd name="connsiteX1935" fmla="*/ 7522331 w 12192185"/>
              <a:gd name="connsiteY1935" fmla="*/ 6314806 h 6859062"/>
              <a:gd name="connsiteX1936" fmla="*/ 7514939 w 12192185"/>
              <a:gd name="connsiteY1936" fmla="*/ 6320424 h 6859062"/>
              <a:gd name="connsiteX1937" fmla="*/ 7505451 w 12192185"/>
              <a:gd name="connsiteY1937" fmla="*/ 6322723 h 6859062"/>
              <a:gd name="connsiteX1938" fmla="*/ 7497703 w 12192185"/>
              <a:gd name="connsiteY1938" fmla="*/ 6320958 h 6859062"/>
              <a:gd name="connsiteX1939" fmla="*/ 7496894 w 12192185"/>
              <a:gd name="connsiteY1939" fmla="*/ 6319151 h 6859062"/>
              <a:gd name="connsiteX1940" fmla="*/ 7487980 w 12192185"/>
              <a:gd name="connsiteY1940" fmla="*/ 6308196 h 6859062"/>
              <a:gd name="connsiteX1941" fmla="*/ 7487482 w 12192185"/>
              <a:gd name="connsiteY1941" fmla="*/ 6294290 h 6859062"/>
              <a:gd name="connsiteX1942" fmla="*/ 7496419 w 12192185"/>
              <a:gd name="connsiteY1942" fmla="*/ 6280100 h 6859062"/>
              <a:gd name="connsiteX1943" fmla="*/ 7503021 w 12192185"/>
              <a:gd name="connsiteY1943" fmla="*/ 6277954 h 6859062"/>
              <a:gd name="connsiteX1944" fmla="*/ 7512489 w 12192185"/>
              <a:gd name="connsiteY1944" fmla="*/ 6270376 h 6859062"/>
              <a:gd name="connsiteX1945" fmla="*/ 7515780 w 12192185"/>
              <a:gd name="connsiteY1945" fmla="*/ 6266665 h 6859062"/>
              <a:gd name="connsiteX1946" fmla="*/ 7529861 w 12192185"/>
              <a:gd name="connsiteY1946" fmla="*/ 6258515 h 6859062"/>
              <a:gd name="connsiteX1947" fmla="*/ 11340656 w 12192185"/>
              <a:gd name="connsiteY1947" fmla="*/ 6256183 h 6859062"/>
              <a:gd name="connsiteX1948" fmla="*/ 11356349 w 12192185"/>
              <a:gd name="connsiteY1948" fmla="*/ 6260477 h 6859062"/>
              <a:gd name="connsiteX1949" fmla="*/ 11360476 w 12192185"/>
              <a:gd name="connsiteY1949" fmla="*/ 6263228 h 6859062"/>
              <a:gd name="connsiteX1950" fmla="*/ 11371564 w 12192185"/>
              <a:gd name="connsiteY1950" fmla="*/ 6268145 h 6859062"/>
              <a:gd name="connsiteX1951" fmla="*/ 11378493 w 12192185"/>
              <a:gd name="connsiteY1951" fmla="*/ 6268539 h 6859062"/>
              <a:gd name="connsiteX1952" fmla="*/ 11390751 w 12192185"/>
              <a:gd name="connsiteY1952" fmla="*/ 6279983 h 6859062"/>
              <a:gd name="connsiteX1953" fmla="*/ 11393810 w 12192185"/>
              <a:gd name="connsiteY1953" fmla="*/ 6293558 h 6859062"/>
              <a:gd name="connsiteX1954" fmla="*/ 11387982 w 12192185"/>
              <a:gd name="connsiteY1954" fmla="*/ 6306421 h 6859062"/>
              <a:gd name="connsiteX1955" fmla="*/ 11387658 w 12192185"/>
              <a:gd name="connsiteY1955" fmla="*/ 6308376 h 6859062"/>
              <a:gd name="connsiteX1956" fmla="*/ 11380617 w 12192185"/>
              <a:gd name="connsiteY1956" fmla="*/ 6312056 h 6859062"/>
              <a:gd name="connsiteX1957" fmla="*/ 11370855 w 12192185"/>
              <a:gd name="connsiteY1957" fmla="*/ 6312248 h 6859062"/>
              <a:gd name="connsiteX1958" fmla="*/ 11362276 w 12192185"/>
              <a:gd name="connsiteY1958" fmla="*/ 6308699 h 6859062"/>
              <a:gd name="connsiteX1959" fmla="*/ 11353456 w 12192185"/>
              <a:gd name="connsiteY1959" fmla="*/ 6301260 h 6859062"/>
              <a:gd name="connsiteX1960" fmla="*/ 11343764 w 12192185"/>
              <a:gd name="connsiteY1960" fmla="*/ 6294723 h 6859062"/>
              <a:gd name="connsiteX1961" fmla="*/ 11331987 w 12192185"/>
              <a:gd name="connsiteY1961" fmla="*/ 6291060 h 6859062"/>
              <a:gd name="connsiteX1962" fmla="*/ 11325393 w 12192185"/>
              <a:gd name="connsiteY1962" fmla="*/ 6278441 h 6859062"/>
              <a:gd name="connsiteX1963" fmla="*/ 11327054 w 12192185"/>
              <a:gd name="connsiteY1963" fmla="*/ 6271326 h 6859062"/>
              <a:gd name="connsiteX1964" fmla="*/ 11332234 w 12192185"/>
              <a:gd name="connsiteY1964" fmla="*/ 6262370 h 6859062"/>
              <a:gd name="connsiteX1965" fmla="*/ 11340656 w 12192185"/>
              <a:gd name="connsiteY1965" fmla="*/ 6256183 h 6859062"/>
              <a:gd name="connsiteX1966" fmla="*/ 667131 w 12192185"/>
              <a:gd name="connsiteY1966" fmla="*/ 6254575 h 6859062"/>
              <a:gd name="connsiteX1967" fmla="*/ 667623 w 12192185"/>
              <a:gd name="connsiteY1967" fmla="*/ 6254852 h 6859062"/>
              <a:gd name="connsiteX1968" fmla="*/ 667257 w 12192185"/>
              <a:gd name="connsiteY1968" fmla="*/ 6255054 h 6859062"/>
              <a:gd name="connsiteX1969" fmla="*/ 7718045 w 12192185"/>
              <a:gd name="connsiteY1969" fmla="*/ 6253207 h 6859062"/>
              <a:gd name="connsiteX1970" fmla="*/ 7727266 w 12192185"/>
              <a:gd name="connsiteY1970" fmla="*/ 6255007 h 6859062"/>
              <a:gd name="connsiteX1971" fmla="*/ 7744378 w 12192185"/>
              <a:gd name="connsiteY1971" fmla="*/ 6263115 h 6859062"/>
              <a:gd name="connsiteX1972" fmla="*/ 7748655 w 12192185"/>
              <a:gd name="connsiteY1972" fmla="*/ 6266794 h 6859062"/>
              <a:gd name="connsiteX1973" fmla="*/ 7753049 w 12192185"/>
              <a:gd name="connsiteY1973" fmla="*/ 6272605 h 6859062"/>
              <a:gd name="connsiteX1974" fmla="*/ 7755441 w 12192185"/>
              <a:gd name="connsiteY1974" fmla="*/ 6277959 h 6859062"/>
              <a:gd name="connsiteX1975" fmla="*/ 7756581 w 12192185"/>
              <a:gd name="connsiteY1975" fmla="*/ 6291443 h 6859062"/>
              <a:gd name="connsiteX1976" fmla="*/ 7757684 w 12192185"/>
              <a:gd name="connsiteY1976" fmla="*/ 6299809 h 6859062"/>
              <a:gd name="connsiteX1977" fmla="*/ 7756903 w 12192185"/>
              <a:gd name="connsiteY1977" fmla="*/ 6303238 h 6859062"/>
              <a:gd name="connsiteX1978" fmla="*/ 7751907 w 12192185"/>
              <a:gd name="connsiteY1978" fmla="*/ 6309313 h 6859062"/>
              <a:gd name="connsiteX1979" fmla="*/ 7741840 w 12192185"/>
              <a:gd name="connsiteY1979" fmla="*/ 6317840 h 6859062"/>
              <a:gd name="connsiteX1980" fmla="*/ 7738925 w 12192185"/>
              <a:gd name="connsiteY1980" fmla="*/ 6321383 h 6859062"/>
              <a:gd name="connsiteX1981" fmla="*/ 7735166 w 12192185"/>
              <a:gd name="connsiteY1981" fmla="*/ 6322029 h 6859062"/>
              <a:gd name="connsiteX1982" fmla="*/ 7728130 w 12192185"/>
              <a:gd name="connsiteY1982" fmla="*/ 6322530 h 6859062"/>
              <a:gd name="connsiteX1983" fmla="*/ 7725581 w 12192185"/>
              <a:gd name="connsiteY1983" fmla="*/ 6323151 h 6859062"/>
              <a:gd name="connsiteX1984" fmla="*/ 7716166 w 12192185"/>
              <a:gd name="connsiteY1984" fmla="*/ 6322208 h 6859062"/>
              <a:gd name="connsiteX1985" fmla="*/ 7714033 w 12192185"/>
              <a:gd name="connsiteY1985" fmla="*/ 6322323 h 6859062"/>
              <a:gd name="connsiteX1986" fmla="*/ 7696651 w 12192185"/>
              <a:gd name="connsiteY1986" fmla="*/ 6304837 h 6859062"/>
              <a:gd name="connsiteX1987" fmla="*/ 7693026 w 12192185"/>
              <a:gd name="connsiteY1987" fmla="*/ 6291688 h 6859062"/>
              <a:gd name="connsiteX1988" fmla="*/ 7692130 w 12192185"/>
              <a:gd name="connsiteY1988" fmla="*/ 6286374 h 6859062"/>
              <a:gd name="connsiteX1989" fmla="*/ 7692951 w 12192185"/>
              <a:gd name="connsiteY1989" fmla="*/ 6281452 h 6859062"/>
              <a:gd name="connsiteX1990" fmla="*/ 7694655 w 12192185"/>
              <a:gd name="connsiteY1990" fmla="*/ 6277933 h 6859062"/>
              <a:gd name="connsiteX1991" fmla="*/ 7697844 w 12192185"/>
              <a:gd name="connsiteY1991" fmla="*/ 6270545 h 6859062"/>
              <a:gd name="connsiteX1992" fmla="*/ 7698781 w 12192185"/>
              <a:gd name="connsiteY1992" fmla="*/ 6267752 h 6859062"/>
              <a:gd name="connsiteX1993" fmla="*/ 7701202 w 12192185"/>
              <a:gd name="connsiteY1993" fmla="*/ 6261091 h 6859062"/>
              <a:gd name="connsiteX1994" fmla="*/ 7718045 w 12192185"/>
              <a:gd name="connsiteY1994" fmla="*/ 6253207 h 6859062"/>
              <a:gd name="connsiteX1995" fmla="*/ 1146984 w 12192185"/>
              <a:gd name="connsiteY1995" fmla="*/ 6234822 h 6859062"/>
              <a:gd name="connsiteX1996" fmla="*/ 1146985 w 12192185"/>
              <a:gd name="connsiteY1996" fmla="*/ 6234822 h 6859062"/>
              <a:gd name="connsiteX1997" fmla="*/ 1146986 w 12192185"/>
              <a:gd name="connsiteY1997" fmla="*/ 6234822 h 6859062"/>
              <a:gd name="connsiteX1998" fmla="*/ 1156749 w 12192185"/>
              <a:gd name="connsiteY1998" fmla="*/ 6237313 h 6859062"/>
              <a:gd name="connsiteX1999" fmla="*/ 1174579 w 12192185"/>
              <a:gd name="connsiteY1999" fmla="*/ 6247040 h 6859062"/>
              <a:gd name="connsiteX2000" fmla="*/ 1178934 w 12192185"/>
              <a:gd name="connsiteY2000" fmla="*/ 6251241 h 6859062"/>
              <a:gd name="connsiteX2001" fmla="*/ 1183285 w 12192185"/>
              <a:gd name="connsiteY2001" fmla="*/ 6257732 h 6859062"/>
              <a:gd name="connsiteX2002" fmla="*/ 1185519 w 12192185"/>
              <a:gd name="connsiteY2002" fmla="*/ 6263610 h 6859062"/>
              <a:gd name="connsiteX2003" fmla="*/ 1185917 w 12192185"/>
              <a:gd name="connsiteY2003" fmla="*/ 6278120 h 6859062"/>
              <a:gd name="connsiteX2004" fmla="*/ 1186588 w 12192185"/>
              <a:gd name="connsiteY2004" fmla="*/ 6287147 h 6859062"/>
              <a:gd name="connsiteX2005" fmla="*/ 1185541 w 12192185"/>
              <a:gd name="connsiteY2005" fmla="*/ 6290771 h 6859062"/>
              <a:gd name="connsiteX2006" fmla="*/ 1179820 w 12192185"/>
              <a:gd name="connsiteY2006" fmla="*/ 6296972 h 6859062"/>
              <a:gd name="connsiteX2007" fmla="*/ 1168519 w 12192185"/>
              <a:gd name="connsiteY2007" fmla="*/ 6305487 h 6859062"/>
              <a:gd name="connsiteX2008" fmla="*/ 1165181 w 12192185"/>
              <a:gd name="connsiteY2008" fmla="*/ 6309104 h 6859062"/>
              <a:gd name="connsiteX2009" fmla="*/ 1161117 w 12192185"/>
              <a:gd name="connsiteY2009" fmla="*/ 6309566 h 6859062"/>
              <a:gd name="connsiteX2010" fmla="*/ 1161117 w 12192185"/>
              <a:gd name="connsiteY2010" fmla="*/ 6309566 h 6859062"/>
              <a:gd name="connsiteX2011" fmla="*/ 1161115 w 12192185"/>
              <a:gd name="connsiteY2011" fmla="*/ 6309567 h 6859062"/>
              <a:gd name="connsiteX2012" fmla="*/ 1157196 w 12192185"/>
              <a:gd name="connsiteY2012" fmla="*/ 6306268 h 6859062"/>
              <a:gd name="connsiteX2013" fmla="*/ 1153552 w 12192185"/>
              <a:gd name="connsiteY2013" fmla="*/ 6309673 h 6859062"/>
              <a:gd name="connsiteX2014" fmla="*/ 1150785 w 12192185"/>
              <a:gd name="connsiteY2014" fmla="*/ 6310183 h 6859062"/>
              <a:gd name="connsiteX2015" fmla="*/ 1150784 w 12192185"/>
              <a:gd name="connsiteY2015" fmla="*/ 6310183 h 6859062"/>
              <a:gd name="connsiteX2016" fmla="*/ 1146150 w 12192185"/>
              <a:gd name="connsiteY2016" fmla="*/ 6306802 h 6859062"/>
              <a:gd name="connsiteX2017" fmla="*/ 1140760 w 12192185"/>
              <a:gd name="connsiteY2017" fmla="*/ 6308598 h 6859062"/>
              <a:gd name="connsiteX2018" fmla="*/ 1140758 w 12192185"/>
              <a:gd name="connsiteY2018" fmla="*/ 6308598 h 6859062"/>
              <a:gd name="connsiteX2019" fmla="*/ 1138468 w 12192185"/>
              <a:gd name="connsiteY2019" fmla="*/ 6308591 h 6859062"/>
              <a:gd name="connsiteX2020" fmla="*/ 1120920 w 12192185"/>
              <a:gd name="connsiteY2020" fmla="*/ 6288804 h 6859062"/>
              <a:gd name="connsiteX2021" fmla="*/ 1117843 w 12192185"/>
              <a:gd name="connsiteY2021" fmla="*/ 6274503 h 6859062"/>
              <a:gd name="connsiteX2022" fmla="*/ 1117208 w 12192185"/>
              <a:gd name="connsiteY2022" fmla="*/ 6268758 h 6859062"/>
              <a:gd name="connsiteX2023" fmla="*/ 1118387 w 12192185"/>
              <a:gd name="connsiteY2023" fmla="*/ 6263536 h 6859062"/>
              <a:gd name="connsiteX2024" fmla="*/ 1120428 w 12192185"/>
              <a:gd name="connsiteY2024" fmla="*/ 6259873 h 6859062"/>
              <a:gd name="connsiteX2025" fmla="*/ 1124293 w 12192185"/>
              <a:gd name="connsiteY2025" fmla="*/ 6252155 h 6859062"/>
              <a:gd name="connsiteX2026" fmla="*/ 1125467 w 12192185"/>
              <a:gd name="connsiteY2026" fmla="*/ 6249222 h 6859062"/>
              <a:gd name="connsiteX2027" fmla="*/ 1128466 w 12192185"/>
              <a:gd name="connsiteY2027" fmla="*/ 6242236 h 6859062"/>
              <a:gd name="connsiteX2028" fmla="*/ 1146984 w 12192185"/>
              <a:gd name="connsiteY2028" fmla="*/ 6234822 h 6859062"/>
              <a:gd name="connsiteX2029" fmla="*/ 1500181 w 12192185"/>
              <a:gd name="connsiteY2029" fmla="*/ 6234254 h 6859062"/>
              <a:gd name="connsiteX2030" fmla="*/ 1510237 w 12192185"/>
              <a:gd name="connsiteY2030" fmla="*/ 6236431 h 6859062"/>
              <a:gd name="connsiteX2031" fmla="*/ 1522965 w 12192185"/>
              <a:gd name="connsiteY2031" fmla="*/ 6243523 h 6859062"/>
              <a:gd name="connsiteX2032" fmla="*/ 1531868 w 12192185"/>
              <a:gd name="connsiteY2032" fmla="*/ 6255242 h 6859062"/>
              <a:gd name="connsiteX2033" fmla="*/ 1526177 w 12192185"/>
              <a:gd name="connsiteY2033" fmla="*/ 6277435 h 6859062"/>
              <a:gd name="connsiteX2034" fmla="*/ 1522397 w 12192185"/>
              <a:gd name="connsiteY2034" fmla="*/ 6283309 h 6859062"/>
              <a:gd name="connsiteX2035" fmla="*/ 1515726 w 12192185"/>
              <a:gd name="connsiteY2035" fmla="*/ 6299031 h 6859062"/>
              <a:gd name="connsiteX2036" fmla="*/ 1515328 w 12192185"/>
              <a:gd name="connsiteY2036" fmla="*/ 6308798 h 6859062"/>
              <a:gd name="connsiteX2037" fmla="*/ 1499492 w 12192185"/>
              <a:gd name="connsiteY2037" fmla="*/ 6326316 h 6859062"/>
              <a:gd name="connsiteX2038" fmla="*/ 1480449 w 12192185"/>
              <a:gd name="connsiteY2038" fmla="*/ 6330933 h 6859062"/>
              <a:gd name="connsiteX2039" fmla="*/ 1462205 w 12192185"/>
              <a:gd name="connsiteY2039" fmla="*/ 6323018 h 6859062"/>
              <a:gd name="connsiteX2040" fmla="*/ 1459445 w 12192185"/>
              <a:gd name="connsiteY2040" fmla="*/ 6322606 h 6859062"/>
              <a:gd name="connsiteX2041" fmla="*/ 1454104 w 12192185"/>
              <a:gd name="connsiteY2041" fmla="*/ 6312774 h 6859062"/>
              <a:gd name="connsiteX2042" fmla="*/ 1453610 w 12192185"/>
              <a:gd name="connsiteY2042" fmla="*/ 6299035 h 6859062"/>
              <a:gd name="connsiteX2043" fmla="*/ 1458412 w 12192185"/>
              <a:gd name="connsiteY2043" fmla="*/ 6286875 h 6859062"/>
              <a:gd name="connsiteX2044" fmla="*/ 1468688 w 12192185"/>
              <a:gd name="connsiteY2044" fmla="*/ 6274287 h 6859062"/>
              <a:gd name="connsiteX2045" fmla="*/ 1477674 w 12192185"/>
              <a:gd name="connsiteY2045" fmla="*/ 6260492 h 6859062"/>
              <a:gd name="connsiteX2046" fmla="*/ 1482564 w 12192185"/>
              <a:gd name="connsiteY2046" fmla="*/ 6243827 h 6859062"/>
              <a:gd name="connsiteX2047" fmla="*/ 1500181 w 12192185"/>
              <a:gd name="connsiteY2047" fmla="*/ 6234254 h 6859062"/>
              <a:gd name="connsiteX2048" fmla="*/ 5453324 w 12192185"/>
              <a:gd name="connsiteY2048" fmla="*/ 6205687 h 6859062"/>
              <a:gd name="connsiteX2049" fmla="*/ 5457123 w 12192185"/>
              <a:gd name="connsiteY2049" fmla="*/ 6206003 h 6859062"/>
              <a:gd name="connsiteX2050" fmla="*/ 5474169 w 12192185"/>
              <a:gd name="connsiteY2050" fmla="*/ 6213437 h 6859062"/>
              <a:gd name="connsiteX2051" fmla="*/ 5478907 w 12192185"/>
              <a:gd name="connsiteY2051" fmla="*/ 6221547 h 6859062"/>
              <a:gd name="connsiteX2052" fmla="*/ 5484127 w 12192185"/>
              <a:gd name="connsiteY2052" fmla="*/ 6239750 h 6859062"/>
              <a:gd name="connsiteX2053" fmla="*/ 5484190 w 12192185"/>
              <a:gd name="connsiteY2053" fmla="*/ 6245391 h 6859062"/>
              <a:gd name="connsiteX2054" fmla="*/ 5482728 w 12192185"/>
              <a:gd name="connsiteY2054" fmla="*/ 6252528 h 6859062"/>
              <a:gd name="connsiteX2055" fmla="*/ 5480292 w 12192185"/>
              <a:gd name="connsiteY2055" fmla="*/ 6257860 h 6859062"/>
              <a:gd name="connsiteX2056" fmla="*/ 5470927 w 12192185"/>
              <a:gd name="connsiteY2056" fmla="*/ 6267626 h 6859062"/>
              <a:gd name="connsiteX2057" fmla="*/ 5465373 w 12192185"/>
              <a:gd name="connsiteY2057" fmla="*/ 6273982 h 6859062"/>
              <a:gd name="connsiteX2058" fmla="*/ 5462283 w 12192185"/>
              <a:gd name="connsiteY2058" fmla="*/ 6275660 h 6859062"/>
              <a:gd name="connsiteX2059" fmla="*/ 5454427 w 12192185"/>
              <a:gd name="connsiteY2059" fmla="*/ 6275925 h 6859062"/>
              <a:gd name="connsiteX2060" fmla="*/ 5441372 w 12192185"/>
              <a:gd name="connsiteY2060" fmla="*/ 6274000 h 6859062"/>
              <a:gd name="connsiteX2061" fmla="*/ 5436788 w 12192185"/>
              <a:gd name="connsiteY2061" fmla="*/ 6274155 h 6859062"/>
              <a:gd name="connsiteX2062" fmla="*/ 5433819 w 12192185"/>
              <a:gd name="connsiteY2062" fmla="*/ 6271760 h 6859062"/>
              <a:gd name="connsiteX2063" fmla="*/ 5428800 w 12192185"/>
              <a:gd name="connsiteY2063" fmla="*/ 6266809 h 6859062"/>
              <a:gd name="connsiteX2064" fmla="*/ 5426644 w 12192185"/>
              <a:gd name="connsiteY2064" fmla="*/ 6265306 h 6859062"/>
              <a:gd name="connsiteX2065" fmla="*/ 5421138 w 12192185"/>
              <a:gd name="connsiteY2065" fmla="*/ 6257616 h 6859062"/>
              <a:gd name="connsiteX2066" fmla="*/ 5419638 w 12192185"/>
              <a:gd name="connsiteY2066" fmla="*/ 6256090 h 6859062"/>
              <a:gd name="connsiteX2067" fmla="*/ 5421283 w 12192185"/>
              <a:gd name="connsiteY2067" fmla="*/ 6231489 h 6859062"/>
              <a:gd name="connsiteX2068" fmla="*/ 5428754 w 12192185"/>
              <a:gd name="connsiteY2068" fmla="*/ 6220081 h 6859062"/>
              <a:gd name="connsiteX2069" fmla="*/ 5432152 w 12192185"/>
              <a:gd name="connsiteY2069" fmla="*/ 6215898 h 6859062"/>
              <a:gd name="connsiteX2070" fmla="*/ 5436390 w 12192185"/>
              <a:gd name="connsiteY2070" fmla="*/ 6213262 h 6859062"/>
              <a:gd name="connsiteX2071" fmla="*/ 5440157 w 12192185"/>
              <a:gd name="connsiteY2071" fmla="*/ 6212216 h 6859062"/>
              <a:gd name="connsiteX2072" fmla="*/ 5447808 w 12192185"/>
              <a:gd name="connsiteY2072" fmla="*/ 6209728 h 6859062"/>
              <a:gd name="connsiteX2073" fmla="*/ 5450528 w 12192185"/>
              <a:gd name="connsiteY2073" fmla="*/ 6208587 h 6859062"/>
              <a:gd name="connsiteX2074" fmla="*/ 5453324 w 12192185"/>
              <a:gd name="connsiteY2074" fmla="*/ 6205687 h 6859062"/>
              <a:gd name="connsiteX2075" fmla="*/ 11645733 w 12192185"/>
              <a:gd name="connsiteY2075" fmla="*/ 6195621 h 6859062"/>
              <a:gd name="connsiteX2076" fmla="*/ 11653293 w 12192185"/>
              <a:gd name="connsiteY2076" fmla="*/ 6195656 h 6859062"/>
              <a:gd name="connsiteX2077" fmla="*/ 11662822 w 12192185"/>
              <a:gd name="connsiteY2077" fmla="*/ 6197764 h 6859062"/>
              <a:gd name="connsiteX2078" fmla="*/ 11669912 w 12192185"/>
              <a:gd name="connsiteY2078" fmla="*/ 6201146 h 6859062"/>
              <a:gd name="connsiteX2079" fmla="*/ 11682791 w 12192185"/>
              <a:gd name="connsiteY2079" fmla="*/ 6213907 h 6859062"/>
              <a:gd name="connsiteX2080" fmla="*/ 11691185 w 12192185"/>
              <a:gd name="connsiteY2080" fmla="*/ 6221481 h 6859062"/>
              <a:gd name="connsiteX2081" fmla="*/ 11693368 w 12192185"/>
              <a:gd name="connsiteY2081" fmla="*/ 6225656 h 6859062"/>
              <a:gd name="connsiteX2082" fmla="*/ 11693552 w 12192185"/>
              <a:gd name="connsiteY2082" fmla="*/ 6236193 h 6859062"/>
              <a:gd name="connsiteX2083" fmla="*/ 11690692 w 12192185"/>
              <a:gd name="connsiteY2083" fmla="*/ 6253635 h 6859062"/>
              <a:gd name="connsiteX2084" fmla="*/ 11690799 w 12192185"/>
              <a:gd name="connsiteY2084" fmla="*/ 6259781 h 6859062"/>
              <a:gd name="connsiteX2085" fmla="*/ 11687527 w 12192185"/>
              <a:gd name="connsiteY2085" fmla="*/ 6263706 h 6859062"/>
              <a:gd name="connsiteX2086" fmla="*/ 11680788 w 12192185"/>
              <a:gd name="connsiteY2086" fmla="*/ 6270329 h 6859062"/>
              <a:gd name="connsiteX2087" fmla="*/ 11678727 w 12192185"/>
              <a:gd name="connsiteY2087" fmla="*/ 6273178 h 6859062"/>
              <a:gd name="connsiteX2088" fmla="*/ 11668306 w 12192185"/>
              <a:gd name="connsiteY2088" fmla="*/ 6280396 h 6859062"/>
              <a:gd name="connsiteX2089" fmla="*/ 11666232 w 12192185"/>
              <a:gd name="connsiteY2089" fmla="*/ 6282367 h 6859062"/>
              <a:gd name="connsiteX2090" fmla="*/ 11633312 w 12192185"/>
              <a:gd name="connsiteY2090" fmla="*/ 6279637 h 6859062"/>
              <a:gd name="connsiteX2091" fmla="*/ 11618191 w 12192185"/>
              <a:gd name="connsiteY2091" fmla="*/ 6269376 h 6859062"/>
              <a:gd name="connsiteX2092" fmla="*/ 11612661 w 12192185"/>
              <a:gd name="connsiteY2092" fmla="*/ 6264736 h 6859062"/>
              <a:gd name="connsiteX2093" fmla="*/ 11609220 w 12192185"/>
              <a:gd name="connsiteY2093" fmla="*/ 6259004 h 6859062"/>
              <a:gd name="connsiteX2094" fmla="*/ 11607902 w 12192185"/>
              <a:gd name="connsiteY2094" fmla="*/ 6253934 h 6859062"/>
              <a:gd name="connsiteX2095" fmla="*/ 11604734 w 12192185"/>
              <a:gd name="connsiteY2095" fmla="*/ 6243628 h 6859062"/>
              <a:gd name="connsiteX2096" fmla="*/ 11603264 w 12192185"/>
              <a:gd name="connsiteY2096" fmla="*/ 6239967 h 6859062"/>
              <a:gd name="connsiteX2097" fmla="*/ 11599944 w 12192185"/>
              <a:gd name="connsiteY2097" fmla="*/ 6231069 h 6859062"/>
              <a:gd name="connsiteX2098" fmla="*/ 11610271 w 12192185"/>
              <a:gd name="connsiteY2098" fmla="*/ 6208395 h 6859062"/>
              <a:gd name="connsiteX2099" fmla="*/ 11621238 w 12192185"/>
              <a:gd name="connsiteY2099" fmla="*/ 6202220 h 6859062"/>
              <a:gd name="connsiteX2100" fmla="*/ 11645733 w 12192185"/>
              <a:gd name="connsiteY2100" fmla="*/ 6195621 h 6859062"/>
              <a:gd name="connsiteX2101" fmla="*/ 10783451 w 12192185"/>
              <a:gd name="connsiteY2101" fmla="*/ 6186207 h 6859062"/>
              <a:gd name="connsiteX2102" fmla="*/ 10783342 w 12192185"/>
              <a:gd name="connsiteY2102" fmla="*/ 6186553 h 6859062"/>
              <a:gd name="connsiteX2103" fmla="*/ 10782978 w 12192185"/>
              <a:gd name="connsiteY2103" fmla="*/ 6186328 h 6859062"/>
              <a:gd name="connsiteX2104" fmla="*/ 8137660 w 12192185"/>
              <a:gd name="connsiteY2104" fmla="*/ 6176348 h 6859062"/>
              <a:gd name="connsiteX2105" fmla="*/ 8146879 w 12192185"/>
              <a:gd name="connsiteY2105" fmla="*/ 6178148 h 6859062"/>
              <a:gd name="connsiteX2106" fmla="*/ 8163991 w 12192185"/>
              <a:gd name="connsiteY2106" fmla="*/ 6186256 h 6859062"/>
              <a:gd name="connsiteX2107" fmla="*/ 8168269 w 12192185"/>
              <a:gd name="connsiteY2107" fmla="*/ 6189935 h 6859062"/>
              <a:gd name="connsiteX2108" fmla="*/ 8172663 w 12192185"/>
              <a:gd name="connsiteY2108" fmla="*/ 6195745 h 6859062"/>
              <a:gd name="connsiteX2109" fmla="*/ 8175054 w 12192185"/>
              <a:gd name="connsiteY2109" fmla="*/ 6201100 h 6859062"/>
              <a:gd name="connsiteX2110" fmla="*/ 8176195 w 12192185"/>
              <a:gd name="connsiteY2110" fmla="*/ 6214584 h 6859062"/>
              <a:gd name="connsiteX2111" fmla="*/ 8177299 w 12192185"/>
              <a:gd name="connsiteY2111" fmla="*/ 6222950 h 6859062"/>
              <a:gd name="connsiteX2112" fmla="*/ 8176517 w 12192185"/>
              <a:gd name="connsiteY2112" fmla="*/ 6226379 h 6859062"/>
              <a:gd name="connsiteX2113" fmla="*/ 8171521 w 12192185"/>
              <a:gd name="connsiteY2113" fmla="*/ 6232454 h 6859062"/>
              <a:gd name="connsiteX2114" fmla="*/ 8161453 w 12192185"/>
              <a:gd name="connsiteY2114" fmla="*/ 6240981 h 6859062"/>
              <a:gd name="connsiteX2115" fmla="*/ 8158538 w 12192185"/>
              <a:gd name="connsiteY2115" fmla="*/ 6244524 h 6859062"/>
              <a:gd name="connsiteX2116" fmla="*/ 8154780 w 12192185"/>
              <a:gd name="connsiteY2116" fmla="*/ 6245170 h 6859062"/>
              <a:gd name="connsiteX2117" fmla="*/ 8147744 w 12192185"/>
              <a:gd name="connsiteY2117" fmla="*/ 6245671 h 6859062"/>
              <a:gd name="connsiteX2118" fmla="*/ 8145196 w 12192185"/>
              <a:gd name="connsiteY2118" fmla="*/ 6246292 h 6859062"/>
              <a:gd name="connsiteX2119" fmla="*/ 8135780 w 12192185"/>
              <a:gd name="connsiteY2119" fmla="*/ 6245350 h 6859062"/>
              <a:gd name="connsiteX2120" fmla="*/ 8133647 w 12192185"/>
              <a:gd name="connsiteY2120" fmla="*/ 6245465 h 6859062"/>
              <a:gd name="connsiteX2121" fmla="*/ 8116265 w 12192185"/>
              <a:gd name="connsiteY2121" fmla="*/ 6227978 h 6859062"/>
              <a:gd name="connsiteX2122" fmla="*/ 8112640 w 12192185"/>
              <a:gd name="connsiteY2122" fmla="*/ 6214829 h 6859062"/>
              <a:gd name="connsiteX2123" fmla="*/ 8111745 w 12192185"/>
              <a:gd name="connsiteY2123" fmla="*/ 6209515 h 6859062"/>
              <a:gd name="connsiteX2124" fmla="*/ 8112565 w 12192185"/>
              <a:gd name="connsiteY2124" fmla="*/ 6204593 h 6859062"/>
              <a:gd name="connsiteX2125" fmla="*/ 8114269 w 12192185"/>
              <a:gd name="connsiteY2125" fmla="*/ 6201074 h 6859062"/>
              <a:gd name="connsiteX2126" fmla="*/ 8117458 w 12192185"/>
              <a:gd name="connsiteY2126" fmla="*/ 6193686 h 6859062"/>
              <a:gd name="connsiteX2127" fmla="*/ 8118395 w 12192185"/>
              <a:gd name="connsiteY2127" fmla="*/ 6190894 h 6859062"/>
              <a:gd name="connsiteX2128" fmla="*/ 8120816 w 12192185"/>
              <a:gd name="connsiteY2128" fmla="*/ 6184232 h 6859062"/>
              <a:gd name="connsiteX2129" fmla="*/ 8137660 w 12192185"/>
              <a:gd name="connsiteY2129" fmla="*/ 6176348 h 6859062"/>
              <a:gd name="connsiteX2130" fmla="*/ 1086212 w 12192185"/>
              <a:gd name="connsiteY2130" fmla="*/ 6170798 h 6859062"/>
              <a:gd name="connsiteX2131" fmla="*/ 1089748 w 12192185"/>
              <a:gd name="connsiteY2131" fmla="*/ 6171090 h 6859062"/>
              <a:gd name="connsiteX2132" fmla="*/ 1105610 w 12192185"/>
              <a:gd name="connsiteY2132" fmla="*/ 6178009 h 6859062"/>
              <a:gd name="connsiteX2133" fmla="*/ 1110021 w 12192185"/>
              <a:gd name="connsiteY2133" fmla="*/ 6185557 h 6859062"/>
              <a:gd name="connsiteX2134" fmla="*/ 1114879 w 12192185"/>
              <a:gd name="connsiteY2134" fmla="*/ 6202495 h 6859062"/>
              <a:gd name="connsiteX2135" fmla="*/ 1114939 w 12192185"/>
              <a:gd name="connsiteY2135" fmla="*/ 6207745 h 6859062"/>
              <a:gd name="connsiteX2136" fmla="*/ 1113582 w 12192185"/>
              <a:gd name="connsiteY2136" fmla="*/ 6214387 h 6859062"/>
              <a:gd name="connsiteX2137" fmla="*/ 1111312 w 12192185"/>
              <a:gd name="connsiteY2137" fmla="*/ 6219349 h 6859062"/>
              <a:gd name="connsiteX2138" fmla="*/ 1102595 w 12192185"/>
              <a:gd name="connsiteY2138" fmla="*/ 6228436 h 6859062"/>
              <a:gd name="connsiteX2139" fmla="*/ 1097429 w 12192185"/>
              <a:gd name="connsiteY2139" fmla="*/ 6234351 h 6859062"/>
              <a:gd name="connsiteX2140" fmla="*/ 1094553 w 12192185"/>
              <a:gd name="connsiteY2140" fmla="*/ 6235913 h 6859062"/>
              <a:gd name="connsiteX2141" fmla="*/ 1087238 w 12192185"/>
              <a:gd name="connsiteY2141" fmla="*/ 6236158 h 6859062"/>
              <a:gd name="connsiteX2142" fmla="*/ 1075092 w 12192185"/>
              <a:gd name="connsiteY2142" fmla="*/ 6234367 h 6859062"/>
              <a:gd name="connsiteX2143" fmla="*/ 1070824 w 12192185"/>
              <a:gd name="connsiteY2143" fmla="*/ 6234511 h 6859062"/>
              <a:gd name="connsiteX2144" fmla="*/ 1068062 w 12192185"/>
              <a:gd name="connsiteY2144" fmla="*/ 6232283 h 6859062"/>
              <a:gd name="connsiteX2145" fmla="*/ 1063387 w 12192185"/>
              <a:gd name="connsiteY2145" fmla="*/ 6227677 h 6859062"/>
              <a:gd name="connsiteX2146" fmla="*/ 1061385 w 12192185"/>
              <a:gd name="connsiteY2146" fmla="*/ 6226277 h 6859062"/>
              <a:gd name="connsiteX2147" fmla="*/ 1056255 w 12192185"/>
              <a:gd name="connsiteY2147" fmla="*/ 6219120 h 6859062"/>
              <a:gd name="connsiteX2148" fmla="*/ 1054863 w 12192185"/>
              <a:gd name="connsiteY2148" fmla="*/ 6217702 h 6859062"/>
              <a:gd name="connsiteX2149" fmla="*/ 1056390 w 12192185"/>
              <a:gd name="connsiteY2149" fmla="*/ 6194808 h 6859062"/>
              <a:gd name="connsiteX2150" fmla="*/ 1063348 w 12192185"/>
              <a:gd name="connsiteY2150" fmla="*/ 6184192 h 6859062"/>
              <a:gd name="connsiteX2151" fmla="*/ 1066509 w 12192185"/>
              <a:gd name="connsiteY2151" fmla="*/ 6180299 h 6859062"/>
              <a:gd name="connsiteX2152" fmla="*/ 1070451 w 12192185"/>
              <a:gd name="connsiteY2152" fmla="*/ 6177846 h 6859062"/>
              <a:gd name="connsiteX2153" fmla="*/ 1073958 w 12192185"/>
              <a:gd name="connsiteY2153" fmla="*/ 6176873 h 6859062"/>
              <a:gd name="connsiteX2154" fmla="*/ 1081079 w 12192185"/>
              <a:gd name="connsiteY2154" fmla="*/ 6174557 h 6859062"/>
              <a:gd name="connsiteX2155" fmla="*/ 1083605 w 12192185"/>
              <a:gd name="connsiteY2155" fmla="*/ 6173496 h 6859062"/>
              <a:gd name="connsiteX2156" fmla="*/ 1086212 w 12192185"/>
              <a:gd name="connsiteY2156" fmla="*/ 6170798 h 6859062"/>
              <a:gd name="connsiteX2157" fmla="*/ 893435 w 12192185"/>
              <a:gd name="connsiteY2157" fmla="*/ 6150484 h 6859062"/>
              <a:gd name="connsiteX2158" fmla="*/ 896587 w 12192185"/>
              <a:gd name="connsiteY2158" fmla="*/ 6152201 h 6859062"/>
              <a:gd name="connsiteX2159" fmla="*/ 898084 w 12192185"/>
              <a:gd name="connsiteY2159" fmla="*/ 6154214 h 6859062"/>
              <a:gd name="connsiteX2160" fmla="*/ 905907 w 12192185"/>
              <a:gd name="connsiteY2160" fmla="*/ 6153393 h 6859062"/>
              <a:gd name="connsiteX2161" fmla="*/ 906730 w 12192185"/>
              <a:gd name="connsiteY2161" fmla="*/ 6151937 h 6859062"/>
              <a:gd name="connsiteX2162" fmla="*/ 909617 w 12192185"/>
              <a:gd name="connsiteY2162" fmla="*/ 6150571 h 6859062"/>
              <a:gd name="connsiteX2163" fmla="*/ 910349 w 12192185"/>
              <a:gd name="connsiteY2163" fmla="*/ 6153402 h 6859062"/>
              <a:gd name="connsiteX2164" fmla="*/ 909172 w 12192185"/>
              <a:gd name="connsiteY2164" fmla="*/ 6156059 h 6859062"/>
              <a:gd name="connsiteX2165" fmla="*/ 910397 w 12192185"/>
              <a:gd name="connsiteY2165" fmla="*/ 6159429 h 6859062"/>
              <a:gd name="connsiteX2166" fmla="*/ 918052 w 12192185"/>
              <a:gd name="connsiteY2166" fmla="*/ 6167580 h 6859062"/>
              <a:gd name="connsiteX2167" fmla="*/ 925264 w 12192185"/>
              <a:gd name="connsiteY2167" fmla="*/ 6178998 h 6859062"/>
              <a:gd name="connsiteX2168" fmla="*/ 925388 w 12192185"/>
              <a:gd name="connsiteY2168" fmla="*/ 6182564 h 6859062"/>
              <a:gd name="connsiteX2169" fmla="*/ 926052 w 12192185"/>
              <a:gd name="connsiteY2169" fmla="*/ 6192696 h 6859062"/>
              <a:gd name="connsiteX2170" fmla="*/ 925808 w 12192185"/>
              <a:gd name="connsiteY2170" fmla="*/ 6194847 h 6859062"/>
              <a:gd name="connsiteX2171" fmla="*/ 921280 w 12192185"/>
              <a:gd name="connsiteY2171" fmla="*/ 6206186 h 6859062"/>
              <a:gd name="connsiteX2172" fmla="*/ 909550 w 12192185"/>
              <a:gd name="connsiteY2172" fmla="*/ 6218008 h 6859062"/>
              <a:gd name="connsiteX2173" fmla="*/ 905822 w 12192185"/>
              <a:gd name="connsiteY2173" fmla="*/ 6222657 h 6859062"/>
              <a:gd name="connsiteX2174" fmla="*/ 898717 w 12192185"/>
              <a:gd name="connsiteY2174" fmla="*/ 6225912 h 6859062"/>
              <a:gd name="connsiteX2175" fmla="*/ 892617 w 12192185"/>
              <a:gd name="connsiteY2175" fmla="*/ 6228419 h 6859062"/>
              <a:gd name="connsiteX2176" fmla="*/ 890365 w 12192185"/>
              <a:gd name="connsiteY2176" fmla="*/ 6229844 h 6859062"/>
              <a:gd name="connsiteX2177" fmla="*/ 874782 w 12192185"/>
              <a:gd name="connsiteY2177" fmla="*/ 6226406 h 6859062"/>
              <a:gd name="connsiteX2178" fmla="*/ 865093 w 12192185"/>
              <a:gd name="connsiteY2178" fmla="*/ 6220587 h 6859062"/>
              <a:gd name="connsiteX2179" fmla="*/ 864378 w 12192185"/>
              <a:gd name="connsiteY2179" fmla="*/ 6227868 h 6859062"/>
              <a:gd name="connsiteX2180" fmla="*/ 864054 w 12192185"/>
              <a:gd name="connsiteY2180" fmla="*/ 6233898 h 6859062"/>
              <a:gd name="connsiteX2181" fmla="*/ 861485 w 12192185"/>
              <a:gd name="connsiteY2181" fmla="*/ 6241164 h 6859062"/>
              <a:gd name="connsiteX2182" fmla="*/ 856304 w 12192185"/>
              <a:gd name="connsiteY2182" fmla="*/ 6247675 h 6859062"/>
              <a:gd name="connsiteX2183" fmla="*/ 841581 w 12192185"/>
              <a:gd name="connsiteY2183" fmla="*/ 6262737 h 6859062"/>
              <a:gd name="connsiteX2184" fmla="*/ 805025 w 12192185"/>
              <a:gd name="connsiteY2184" fmla="*/ 6273380 h 6859062"/>
              <a:gd name="connsiteX2185" fmla="*/ 802229 w 12192185"/>
              <a:gd name="connsiteY2185" fmla="*/ 6271631 h 6859062"/>
              <a:gd name="connsiteX2186" fmla="*/ 788800 w 12192185"/>
              <a:gd name="connsiteY2186" fmla="*/ 6265871 h 6859062"/>
              <a:gd name="connsiteX2187" fmla="*/ 785819 w 12192185"/>
              <a:gd name="connsiteY2187" fmla="*/ 6263127 h 6859062"/>
              <a:gd name="connsiteX2188" fmla="*/ 776685 w 12192185"/>
              <a:gd name="connsiteY2188" fmla="*/ 6257194 h 6859062"/>
              <a:gd name="connsiteX2189" fmla="*/ 772088 w 12192185"/>
              <a:gd name="connsiteY2189" fmla="*/ 6253512 h 6859062"/>
              <a:gd name="connsiteX2190" fmla="*/ 770798 w 12192185"/>
              <a:gd name="connsiteY2190" fmla="*/ 6246545 h 6859062"/>
              <a:gd name="connsiteX2191" fmla="*/ 763562 w 12192185"/>
              <a:gd name="connsiteY2191" fmla="*/ 6227500 h 6859062"/>
              <a:gd name="connsiteX2192" fmla="*/ 761349 w 12192185"/>
              <a:gd name="connsiteY2192" fmla="*/ 6215558 h 6859062"/>
              <a:gd name="connsiteX2193" fmla="*/ 762855 w 12192185"/>
              <a:gd name="connsiteY2193" fmla="*/ 6210341 h 6859062"/>
              <a:gd name="connsiteX2194" fmla="*/ 770597 w 12192185"/>
              <a:gd name="connsiteY2194" fmla="*/ 6199858 h 6859062"/>
              <a:gd name="connsiteX2195" fmla="*/ 775186 w 12192185"/>
              <a:gd name="connsiteY2195" fmla="*/ 6192996 h 6859062"/>
              <a:gd name="connsiteX2196" fmla="*/ 775089 w 12192185"/>
              <a:gd name="connsiteY2196" fmla="*/ 6191780 h 6859062"/>
              <a:gd name="connsiteX2197" fmla="*/ 777811 w 12192185"/>
              <a:gd name="connsiteY2197" fmla="*/ 6187879 h 6859062"/>
              <a:gd name="connsiteX2198" fmla="*/ 786499 w 12192185"/>
              <a:gd name="connsiteY2198" fmla="*/ 6175288 h 6859062"/>
              <a:gd name="connsiteX2199" fmla="*/ 787027 w 12192185"/>
              <a:gd name="connsiteY2199" fmla="*/ 6172176 h 6859062"/>
              <a:gd name="connsiteX2200" fmla="*/ 790505 w 12192185"/>
              <a:gd name="connsiteY2200" fmla="*/ 6174121 h 6859062"/>
              <a:gd name="connsiteX2201" fmla="*/ 790759 w 12192185"/>
              <a:gd name="connsiteY2201" fmla="*/ 6174589 h 6859062"/>
              <a:gd name="connsiteX2202" fmla="*/ 794845 w 12192185"/>
              <a:gd name="connsiteY2202" fmla="*/ 6174638 h 6859062"/>
              <a:gd name="connsiteX2203" fmla="*/ 799724 w 12192185"/>
              <a:gd name="connsiteY2203" fmla="*/ 6172469 h 6859062"/>
              <a:gd name="connsiteX2204" fmla="*/ 803969 w 12192185"/>
              <a:gd name="connsiteY2204" fmla="*/ 6171584 h 6859062"/>
              <a:gd name="connsiteX2205" fmla="*/ 805150 w 12192185"/>
              <a:gd name="connsiteY2205" fmla="*/ 6171007 h 6859062"/>
              <a:gd name="connsiteX2206" fmla="*/ 816866 w 12192185"/>
              <a:gd name="connsiteY2206" fmla="*/ 6168071 h 6859062"/>
              <a:gd name="connsiteX2207" fmla="*/ 819663 w 12192185"/>
              <a:gd name="connsiteY2207" fmla="*/ 6168631 h 6859062"/>
              <a:gd name="connsiteX2208" fmla="*/ 823181 w 12192185"/>
              <a:gd name="connsiteY2208" fmla="*/ 6167995 h 6859062"/>
              <a:gd name="connsiteX2209" fmla="*/ 831941 w 12192185"/>
              <a:gd name="connsiteY2209" fmla="*/ 6170776 h 6859062"/>
              <a:gd name="connsiteX2210" fmla="*/ 832508 w 12192185"/>
              <a:gd name="connsiteY2210" fmla="*/ 6170874 h 6859062"/>
              <a:gd name="connsiteX2211" fmla="*/ 832658 w 12192185"/>
              <a:gd name="connsiteY2211" fmla="*/ 6171004 h 6859062"/>
              <a:gd name="connsiteX2212" fmla="*/ 837438 w 12192185"/>
              <a:gd name="connsiteY2212" fmla="*/ 6172522 h 6859062"/>
              <a:gd name="connsiteX2213" fmla="*/ 847334 w 12192185"/>
              <a:gd name="connsiteY2213" fmla="*/ 6175716 h 6859062"/>
              <a:gd name="connsiteX2214" fmla="*/ 848445 w 12192185"/>
              <a:gd name="connsiteY2214" fmla="*/ 6175333 h 6859062"/>
              <a:gd name="connsiteX2215" fmla="*/ 851653 w 12192185"/>
              <a:gd name="connsiteY2215" fmla="*/ 6176414 h 6859062"/>
              <a:gd name="connsiteX2216" fmla="*/ 856904 w 12192185"/>
              <a:gd name="connsiteY2216" fmla="*/ 6174569 h 6859062"/>
              <a:gd name="connsiteX2217" fmla="*/ 853684 w 12192185"/>
              <a:gd name="connsiteY2217" fmla="*/ 6170870 h 6859062"/>
              <a:gd name="connsiteX2218" fmla="*/ 849260 w 12192185"/>
              <a:gd name="connsiteY2218" fmla="*/ 6169038 h 6859062"/>
              <a:gd name="connsiteX2219" fmla="*/ 849591 w 12192185"/>
              <a:gd name="connsiteY2219" fmla="*/ 6164822 h 6859062"/>
              <a:gd name="connsiteX2220" fmla="*/ 860329 w 12192185"/>
              <a:gd name="connsiteY2220" fmla="*/ 6163426 h 6859062"/>
              <a:gd name="connsiteX2221" fmla="*/ 868893 w 12192185"/>
              <a:gd name="connsiteY2221" fmla="*/ 6158772 h 6859062"/>
              <a:gd name="connsiteX2222" fmla="*/ 870627 w 12192185"/>
              <a:gd name="connsiteY2222" fmla="*/ 6153795 h 6859062"/>
              <a:gd name="connsiteX2223" fmla="*/ 871832 w 12192185"/>
              <a:gd name="connsiteY2223" fmla="*/ 6151929 h 6859062"/>
              <a:gd name="connsiteX2224" fmla="*/ 873698 w 12192185"/>
              <a:gd name="connsiteY2224" fmla="*/ 6153135 h 6859062"/>
              <a:gd name="connsiteX2225" fmla="*/ 878590 w 12192185"/>
              <a:gd name="connsiteY2225" fmla="*/ 6154715 h 6859062"/>
              <a:gd name="connsiteX2226" fmla="*/ 887799 w 12192185"/>
              <a:gd name="connsiteY2226" fmla="*/ 6154959 h 6859062"/>
              <a:gd name="connsiteX2227" fmla="*/ 891621 w 12192185"/>
              <a:gd name="connsiteY2227" fmla="*/ 6153084 h 6859062"/>
              <a:gd name="connsiteX2228" fmla="*/ 893435 w 12192185"/>
              <a:gd name="connsiteY2228" fmla="*/ 6150484 h 6859062"/>
              <a:gd name="connsiteX2229" fmla="*/ 785989 w 12192185"/>
              <a:gd name="connsiteY2229" fmla="*/ 6149678 h 6859062"/>
              <a:gd name="connsiteX2230" fmla="*/ 786267 w 12192185"/>
              <a:gd name="connsiteY2230" fmla="*/ 6149988 h 6859062"/>
              <a:gd name="connsiteX2231" fmla="*/ 785902 w 12192185"/>
              <a:gd name="connsiteY2231" fmla="*/ 6149972 h 6859062"/>
              <a:gd name="connsiteX2232" fmla="*/ 11114116 w 12192185"/>
              <a:gd name="connsiteY2232" fmla="*/ 6133606 h 6859062"/>
              <a:gd name="connsiteX2233" fmla="*/ 11124427 w 12192185"/>
              <a:gd name="connsiteY2233" fmla="*/ 6134465 h 6859062"/>
              <a:gd name="connsiteX2234" fmla="*/ 11131217 w 12192185"/>
              <a:gd name="connsiteY2234" fmla="*/ 6137164 h 6859062"/>
              <a:gd name="connsiteX2235" fmla="*/ 11137812 w 12192185"/>
              <a:gd name="connsiteY2235" fmla="*/ 6149783 h 6859062"/>
              <a:gd name="connsiteX2236" fmla="*/ 11134096 w 12192185"/>
              <a:gd name="connsiteY2236" fmla="*/ 6161543 h 6859062"/>
              <a:gd name="connsiteX2237" fmla="*/ 11133930 w 12192185"/>
              <a:gd name="connsiteY2237" fmla="*/ 6173233 h 6859062"/>
              <a:gd name="connsiteX2238" fmla="*/ 11135004 w 12192185"/>
              <a:gd name="connsiteY2238" fmla="*/ 6184721 h 6859062"/>
              <a:gd name="connsiteX2239" fmla="*/ 11133019 w 12192185"/>
              <a:gd name="connsiteY2239" fmla="*/ 6193790 h 6859062"/>
              <a:gd name="connsiteX2240" fmla="*/ 11127288 w 12192185"/>
              <a:gd name="connsiteY2240" fmla="*/ 6201695 h 6859062"/>
              <a:gd name="connsiteX2241" fmla="*/ 11120246 w 12192185"/>
              <a:gd name="connsiteY2241" fmla="*/ 6205376 h 6859062"/>
              <a:gd name="connsiteX2242" fmla="*/ 11118457 w 12192185"/>
              <a:gd name="connsiteY2242" fmla="*/ 6204525 h 6859062"/>
              <a:gd name="connsiteX2243" fmla="*/ 11104569 w 12192185"/>
              <a:gd name="connsiteY2243" fmla="*/ 6201966 h 6859062"/>
              <a:gd name="connsiteX2244" fmla="*/ 11095170 w 12192185"/>
              <a:gd name="connsiteY2244" fmla="*/ 6191704 h 6859062"/>
              <a:gd name="connsiteX2245" fmla="*/ 11092772 w 12192185"/>
              <a:gd name="connsiteY2245" fmla="*/ 6175107 h 6859062"/>
              <a:gd name="connsiteX2246" fmla="*/ 11096404 w 12192185"/>
              <a:gd name="connsiteY2246" fmla="*/ 6169193 h 6859062"/>
              <a:gd name="connsiteX2247" fmla="*/ 11098698 w 12192185"/>
              <a:gd name="connsiteY2247" fmla="*/ 6157284 h 6859062"/>
              <a:gd name="connsiteX2248" fmla="*/ 11098796 w 12192185"/>
              <a:gd name="connsiteY2248" fmla="*/ 6152324 h 6859062"/>
              <a:gd name="connsiteX2249" fmla="*/ 11104228 w 12192185"/>
              <a:gd name="connsiteY2249" fmla="*/ 6136989 h 6859062"/>
              <a:gd name="connsiteX2250" fmla="*/ 11114116 w 12192185"/>
              <a:gd name="connsiteY2250" fmla="*/ 6133606 h 6859062"/>
              <a:gd name="connsiteX2251" fmla="*/ 1546784 w 12192185"/>
              <a:gd name="connsiteY2251" fmla="*/ 6118317 h 6859062"/>
              <a:gd name="connsiteX2252" fmla="*/ 1562181 w 12192185"/>
              <a:gd name="connsiteY2252" fmla="*/ 6125434 h 6859062"/>
              <a:gd name="connsiteX2253" fmla="*/ 1573318 w 12192185"/>
              <a:gd name="connsiteY2253" fmla="*/ 6138003 h 6859062"/>
              <a:gd name="connsiteX2254" fmla="*/ 1578261 w 12192185"/>
              <a:gd name="connsiteY2254" fmla="*/ 6148785 h 6859062"/>
              <a:gd name="connsiteX2255" fmla="*/ 1571852 w 12192185"/>
              <a:gd name="connsiteY2255" fmla="*/ 6170988 h 6859062"/>
              <a:gd name="connsiteX2256" fmla="*/ 1554305 w 12192185"/>
              <a:gd name="connsiteY2256" fmla="*/ 6180623 h 6859062"/>
              <a:gd name="connsiteX2257" fmla="*/ 1541003 w 12192185"/>
              <a:gd name="connsiteY2257" fmla="*/ 6194155 h 6859062"/>
              <a:gd name="connsiteX2258" fmla="*/ 1529380 w 12192185"/>
              <a:gd name="connsiteY2258" fmla="*/ 6208841 h 6859062"/>
              <a:gd name="connsiteX2259" fmla="*/ 1516883 w 12192185"/>
              <a:gd name="connsiteY2259" fmla="*/ 6217262 h 6859062"/>
              <a:gd name="connsiteX2260" fmla="*/ 1501294 w 12192185"/>
              <a:gd name="connsiteY2260" fmla="*/ 6220112 h 6859062"/>
              <a:gd name="connsiteX2261" fmla="*/ 1488903 w 12192185"/>
              <a:gd name="connsiteY2261" fmla="*/ 6216535 h 6859062"/>
              <a:gd name="connsiteX2262" fmla="*/ 1487756 w 12192185"/>
              <a:gd name="connsiteY2262" fmla="*/ 6213531 h 6859062"/>
              <a:gd name="connsiteX2263" fmla="*/ 1474325 w 12192185"/>
              <a:gd name="connsiteY2263" fmla="*/ 6194955 h 6859062"/>
              <a:gd name="connsiteX2264" fmla="*/ 1474802 w 12192185"/>
              <a:gd name="connsiteY2264" fmla="*/ 6172376 h 6859062"/>
              <a:gd name="connsiteX2265" fmla="*/ 1490597 w 12192185"/>
              <a:gd name="connsiteY2265" fmla="*/ 6150208 h 6859062"/>
              <a:gd name="connsiteX2266" fmla="*/ 1501492 w 12192185"/>
              <a:gd name="connsiteY2266" fmla="*/ 6147338 h 6859062"/>
              <a:gd name="connsiteX2267" fmla="*/ 1517537 w 12192185"/>
              <a:gd name="connsiteY2267" fmla="*/ 6135933 h 6859062"/>
              <a:gd name="connsiteX2268" fmla="*/ 1523212 w 12192185"/>
              <a:gd name="connsiteY2268" fmla="*/ 6130222 h 6859062"/>
              <a:gd name="connsiteX2269" fmla="*/ 1546784 w 12192185"/>
              <a:gd name="connsiteY2269" fmla="*/ 6118317 h 6859062"/>
              <a:gd name="connsiteX2270" fmla="*/ 2020447 w 12192185"/>
              <a:gd name="connsiteY2270" fmla="*/ 6105797 h 6859062"/>
              <a:gd name="connsiteX2271" fmla="*/ 2018465 w 12192185"/>
              <a:gd name="connsiteY2271" fmla="*/ 6107814 h 6859062"/>
              <a:gd name="connsiteX2272" fmla="*/ 2010212 w 12192185"/>
              <a:gd name="connsiteY2272" fmla="*/ 6118243 h 6859062"/>
              <a:gd name="connsiteX2273" fmla="*/ 2005737 w 12192185"/>
              <a:gd name="connsiteY2273" fmla="*/ 6121257 h 6859062"/>
              <a:gd name="connsiteX2274" fmla="*/ 2103452 w 12192185"/>
              <a:gd name="connsiteY2274" fmla="*/ 6187855 h 6859062"/>
              <a:gd name="connsiteX2275" fmla="*/ 2354403 w 12192185"/>
              <a:gd name="connsiteY2275" fmla="*/ 6334019 h 6859062"/>
              <a:gd name="connsiteX2276" fmla="*/ 2364537 w 12192185"/>
              <a:gd name="connsiteY2276" fmla="*/ 6338972 h 6859062"/>
              <a:gd name="connsiteX2277" fmla="*/ 2365331 w 12192185"/>
              <a:gd name="connsiteY2277" fmla="*/ 6336988 h 6859062"/>
              <a:gd name="connsiteX2278" fmla="*/ 2368331 w 12192185"/>
              <a:gd name="connsiteY2278" fmla="*/ 6330002 h 6859062"/>
              <a:gd name="connsiteX2279" fmla="*/ 2377252 w 12192185"/>
              <a:gd name="connsiteY2279" fmla="*/ 6325339 h 6859062"/>
              <a:gd name="connsiteX2280" fmla="*/ 2382683 w 12192185"/>
              <a:gd name="connsiteY2280" fmla="*/ 6323782 h 6859062"/>
              <a:gd name="connsiteX2281" fmla="*/ 2305710 w 12192185"/>
              <a:gd name="connsiteY2281" fmla="*/ 6284079 h 6859062"/>
              <a:gd name="connsiteX2282" fmla="*/ 2026223 w 12192185"/>
              <a:gd name="connsiteY2282" fmla="*/ 6108861 h 6859062"/>
              <a:gd name="connsiteX2283" fmla="*/ 9958716 w 12192185"/>
              <a:gd name="connsiteY2283" fmla="*/ 6095819 h 6859062"/>
              <a:gd name="connsiteX2284" fmla="*/ 9957760 w 12192185"/>
              <a:gd name="connsiteY2284" fmla="*/ 6096084 h 6859062"/>
              <a:gd name="connsiteX2285" fmla="*/ 9901208 w 12192185"/>
              <a:gd name="connsiteY2285" fmla="*/ 6117114 h 6859062"/>
              <a:gd name="connsiteX2286" fmla="*/ 9928866 w 12192185"/>
              <a:gd name="connsiteY2286" fmla="*/ 6115556 h 6859062"/>
              <a:gd name="connsiteX2287" fmla="*/ 9931050 w 12192185"/>
              <a:gd name="connsiteY2287" fmla="*/ 6116331 h 6859062"/>
              <a:gd name="connsiteX2288" fmla="*/ 9933860 w 12192185"/>
              <a:gd name="connsiteY2288" fmla="*/ 6115590 h 6859062"/>
              <a:gd name="connsiteX2289" fmla="*/ 9949905 w 12192185"/>
              <a:gd name="connsiteY2289" fmla="*/ 6104185 h 6859062"/>
              <a:gd name="connsiteX2290" fmla="*/ 9955581 w 12192185"/>
              <a:gd name="connsiteY2290" fmla="*/ 6098474 h 6859062"/>
              <a:gd name="connsiteX2291" fmla="*/ 7253326 w 12192185"/>
              <a:gd name="connsiteY2291" fmla="*/ 6087735 h 6859062"/>
              <a:gd name="connsiteX2292" fmla="*/ 7253765 w 12192185"/>
              <a:gd name="connsiteY2292" fmla="*/ 6087951 h 6859062"/>
              <a:gd name="connsiteX2293" fmla="*/ 7253459 w 12192185"/>
              <a:gd name="connsiteY2293" fmla="*/ 6088142 h 6859062"/>
              <a:gd name="connsiteX2294" fmla="*/ 7667994 w 12192185"/>
              <a:gd name="connsiteY2294" fmla="*/ 6046925 h 6859062"/>
              <a:gd name="connsiteX2295" fmla="*/ 7676574 w 12192185"/>
              <a:gd name="connsiteY2295" fmla="*/ 6048601 h 6859062"/>
              <a:gd name="connsiteX2296" fmla="*/ 7692498 w 12192185"/>
              <a:gd name="connsiteY2296" fmla="*/ 6056144 h 6859062"/>
              <a:gd name="connsiteX2297" fmla="*/ 7696478 w 12192185"/>
              <a:gd name="connsiteY2297" fmla="*/ 6059569 h 6859062"/>
              <a:gd name="connsiteX2298" fmla="*/ 7700568 w 12192185"/>
              <a:gd name="connsiteY2298" fmla="*/ 6064976 h 6859062"/>
              <a:gd name="connsiteX2299" fmla="*/ 7702793 w 12192185"/>
              <a:gd name="connsiteY2299" fmla="*/ 6069958 h 6859062"/>
              <a:gd name="connsiteX2300" fmla="*/ 7703854 w 12192185"/>
              <a:gd name="connsiteY2300" fmla="*/ 6082507 h 6859062"/>
              <a:gd name="connsiteX2301" fmla="*/ 7704880 w 12192185"/>
              <a:gd name="connsiteY2301" fmla="*/ 6090292 h 6859062"/>
              <a:gd name="connsiteX2302" fmla="*/ 7704154 w 12192185"/>
              <a:gd name="connsiteY2302" fmla="*/ 6093483 h 6859062"/>
              <a:gd name="connsiteX2303" fmla="*/ 7699506 w 12192185"/>
              <a:gd name="connsiteY2303" fmla="*/ 6099136 h 6859062"/>
              <a:gd name="connsiteX2304" fmla="*/ 7690136 w 12192185"/>
              <a:gd name="connsiteY2304" fmla="*/ 6107070 h 6859062"/>
              <a:gd name="connsiteX2305" fmla="*/ 7687424 w 12192185"/>
              <a:gd name="connsiteY2305" fmla="*/ 6110368 h 6859062"/>
              <a:gd name="connsiteX2306" fmla="*/ 7683926 w 12192185"/>
              <a:gd name="connsiteY2306" fmla="*/ 6110969 h 6859062"/>
              <a:gd name="connsiteX2307" fmla="*/ 7677378 w 12192185"/>
              <a:gd name="connsiteY2307" fmla="*/ 6111435 h 6859062"/>
              <a:gd name="connsiteX2308" fmla="*/ 7675007 w 12192185"/>
              <a:gd name="connsiteY2308" fmla="*/ 6112014 h 6859062"/>
              <a:gd name="connsiteX2309" fmla="*/ 7666245 w 12192185"/>
              <a:gd name="connsiteY2309" fmla="*/ 6111136 h 6859062"/>
              <a:gd name="connsiteX2310" fmla="*/ 7664260 w 12192185"/>
              <a:gd name="connsiteY2310" fmla="*/ 6111244 h 6859062"/>
              <a:gd name="connsiteX2311" fmla="*/ 7648085 w 12192185"/>
              <a:gd name="connsiteY2311" fmla="*/ 6094971 h 6859062"/>
              <a:gd name="connsiteX2312" fmla="*/ 7644711 w 12192185"/>
              <a:gd name="connsiteY2312" fmla="*/ 6082735 h 6859062"/>
              <a:gd name="connsiteX2313" fmla="*/ 7643878 w 12192185"/>
              <a:gd name="connsiteY2313" fmla="*/ 6077790 h 6859062"/>
              <a:gd name="connsiteX2314" fmla="*/ 7644642 w 12192185"/>
              <a:gd name="connsiteY2314" fmla="*/ 6073209 h 6859062"/>
              <a:gd name="connsiteX2315" fmla="*/ 7646228 w 12192185"/>
              <a:gd name="connsiteY2315" fmla="*/ 6069935 h 6859062"/>
              <a:gd name="connsiteX2316" fmla="*/ 7649195 w 12192185"/>
              <a:gd name="connsiteY2316" fmla="*/ 6063060 h 6859062"/>
              <a:gd name="connsiteX2317" fmla="*/ 7650067 w 12192185"/>
              <a:gd name="connsiteY2317" fmla="*/ 6060461 h 6859062"/>
              <a:gd name="connsiteX2318" fmla="*/ 7652320 w 12192185"/>
              <a:gd name="connsiteY2318" fmla="*/ 6054262 h 6859062"/>
              <a:gd name="connsiteX2319" fmla="*/ 7667994 w 12192185"/>
              <a:gd name="connsiteY2319" fmla="*/ 6046925 h 6859062"/>
              <a:gd name="connsiteX2320" fmla="*/ 552329 w 12192185"/>
              <a:gd name="connsiteY2320" fmla="*/ 6014419 h 6859062"/>
              <a:gd name="connsiteX2321" fmla="*/ 557417 w 12192185"/>
              <a:gd name="connsiteY2321" fmla="*/ 6014841 h 6859062"/>
              <a:gd name="connsiteX2322" fmla="*/ 580255 w 12192185"/>
              <a:gd name="connsiteY2322" fmla="*/ 6024802 h 6859062"/>
              <a:gd name="connsiteX2323" fmla="*/ 586605 w 12192185"/>
              <a:gd name="connsiteY2323" fmla="*/ 6035668 h 6859062"/>
              <a:gd name="connsiteX2324" fmla="*/ 593599 w 12192185"/>
              <a:gd name="connsiteY2324" fmla="*/ 6060054 h 6859062"/>
              <a:gd name="connsiteX2325" fmla="*/ 593685 w 12192185"/>
              <a:gd name="connsiteY2325" fmla="*/ 6067613 h 6859062"/>
              <a:gd name="connsiteX2326" fmla="*/ 591731 w 12192185"/>
              <a:gd name="connsiteY2326" fmla="*/ 6077175 h 6859062"/>
              <a:gd name="connsiteX2327" fmla="*/ 590375 w 12192185"/>
              <a:gd name="connsiteY2327" fmla="*/ 6080141 h 6859062"/>
              <a:gd name="connsiteX2328" fmla="*/ 605575 w 12192185"/>
              <a:gd name="connsiteY2328" fmla="*/ 6085633 h 6859062"/>
              <a:gd name="connsiteX2329" fmla="*/ 618566 w 12192185"/>
              <a:gd name="connsiteY2329" fmla="*/ 6093373 h 6859062"/>
              <a:gd name="connsiteX2330" fmla="*/ 623373 w 12192185"/>
              <a:gd name="connsiteY2330" fmla="*/ 6094013 h 6859062"/>
              <a:gd name="connsiteX2331" fmla="*/ 626542 w 12192185"/>
              <a:gd name="connsiteY2331" fmla="*/ 6091684 h 6859062"/>
              <a:gd name="connsiteX2332" fmla="*/ 630494 w 12192185"/>
              <a:gd name="connsiteY2332" fmla="*/ 6091827 h 6859062"/>
              <a:gd name="connsiteX2333" fmla="*/ 629528 w 12192185"/>
              <a:gd name="connsiteY2333" fmla="*/ 6096039 h 6859062"/>
              <a:gd name="connsiteX2334" fmla="*/ 627844 w 12192185"/>
              <a:gd name="connsiteY2334" fmla="*/ 6097548 h 6859062"/>
              <a:gd name="connsiteX2335" fmla="*/ 629035 w 12192185"/>
              <a:gd name="connsiteY2335" fmla="*/ 6108121 h 6859062"/>
              <a:gd name="connsiteX2336" fmla="*/ 632128 w 12192185"/>
              <a:gd name="connsiteY2336" fmla="*/ 6109512 h 6859062"/>
              <a:gd name="connsiteX2337" fmla="*/ 635314 w 12192185"/>
              <a:gd name="connsiteY2337" fmla="*/ 6113176 h 6859062"/>
              <a:gd name="connsiteX2338" fmla="*/ 632407 w 12192185"/>
              <a:gd name="connsiteY2338" fmla="*/ 6116327 h 6859062"/>
              <a:gd name="connsiteX2339" fmla="*/ 631042 w 12192185"/>
              <a:gd name="connsiteY2339" fmla="*/ 6121921 h 6859062"/>
              <a:gd name="connsiteX2340" fmla="*/ 634041 w 12192185"/>
              <a:gd name="connsiteY2340" fmla="*/ 6134013 h 6859062"/>
              <a:gd name="connsiteX2341" fmla="*/ 637551 w 12192185"/>
              <a:gd name="connsiteY2341" fmla="*/ 6140015 h 6859062"/>
              <a:gd name="connsiteX2342" fmla="*/ 639686 w 12192185"/>
              <a:gd name="connsiteY2342" fmla="*/ 6142129 h 6859062"/>
              <a:gd name="connsiteX2343" fmla="*/ 637573 w 12192185"/>
              <a:gd name="connsiteY2343" fmla="*/ 6144262 h 6859062"/>
              <a:gd name="connsiteX2344" fmla="*/ 631503 w 12192185"/>
              <a:gd name="connsiteY2344" fmla="*/ 6147998 h 6859062"/>
              <a:gd name="connsiteX2345" fmla="*/ 627847 w 12192185"/>
              <a:gd name="connsiteY2345" fmla="*/ 6160663 h 6859062"/>
              <a:gd name="connsiteX2346" fmla="*/ 629127 w 12192185"/>
              <a:gd name="connsiteY2346" fmla="*/ 6175253 h 6859062"/>
              <a:gd name="connsiteX2347" fmla="*/ 623655 w 12192185"/>
              <a:gd name="connsiteY2347" fmla="*/ 6176917 h 6859062"/>
              <a:gd name="connsiteX2348" fmla="*/ 619947 w 12192185"/>
              <a:gd name="connsiteY2348" fmla="*/ 6171605 h 6859062"/>
              <a:gd name="connsiteX2349" fmla="*/ 614124 w 12192185"/>
              <a:gd name="connsiteY2349" fmla="*/ 6168428 h 6859062"/>
              <a:gd name="connsiteX2350" fmla="*/ 613216 w 12192185"/>
              <a:gd name="connsiteY2350" fmla="*/ 6175899 h 6859062"/>
              <a:gd name="connsiteX2351" fmla="*/ 615577 w 12192185"/>
              <a:gd name="connsiteY2351" fmla="*/ 6179823 h 6859062"/>
              <a:gd name="connsiteX2352" fmla="*/ 615072 w 12192185"/>
              <a:gd name="connsiteY2352" fmla="*/ 6184168 h 6859062"/>
              <a:gd name="connsiteX2353" fmla="*/ 611289 w 12192185"/>
              <a:gd name="connsiteY2353" fmla="*/ 6182577 h 6859062"/>
              <a:gd name="connsiteX2354" fmla="*/ 607939 w 12192185"/>
              <a:gd name="connsiteY2354" fmla="*/ 6178617 h 6859062"/>
              <a:gd name="connsiteX2355" fmla="*/ 601749 w 12192185"/>
              <a:gd name="connsiteY2355" fmla="*/ 6177579 h 6859062"/>
              <a:gd name="connsiteX2356" fmla="*/ 600286 w 12192185"/>
              <a:gd name="connsiteY2356" fmla="*/ 6182645 h 6859062"/>
              <a:gd name="connsiteX2357" fmla="*/ 621169 w 12192185"/>
              <a:gd name="connsiteY2357" fmla="*/ 6195906 h 6859062"/>
              <a:gd name="connsiteX2358" fmla="*/ 626100 w 12192185"/>
              <a:gd name="connsiteY2358" fmla="*/ 6199576 h 6859062"/>
              <a:gd name="connsiteX2359" fmla="*/ 632090 w 12192185"/>
              <a:gd name="connsiteY2359" fmla="*/ 6214276 h 6859062"/>
              <a:gd name="connsiteX2360" fmla="*/ 634350 w 12192185"/>
              <a:gd name="connsiteY2360" fmla="*/ 6219419 h 6859062"/>
              <a:gd name="connsiteX2361" fmla="*/ 633879 w 12192185"/>
              <a:gd name="connsiteY2361" fmla="*/ 6235748 h 6859062"/>
              <a:gd name="connsiteX2362" fmla="*/ 631217 w 12192185"/>
              <a:gd name="connsiteY2362" fmla="*/ 6246704 h 6859062"/>
              <a:gd name="connsiteX2363" fmla="*/ 633333 w 12192185"/>
              <a:gd name="connsiteY2363" fmla="*/ 6255798 h 6859062"/>
              <a:gd name="connsiteX2364" fmla="*/ 634025 w 12192185"/>
              <a:gd name="connsiteY2364" fmla="*/ 6255996 h 6859062"/>
              <a:gd name="connsiteX2365" fmla="*/ 637605 w 12192185"/>
              <a:gd name="connsiteY2365" fmla="*/ 6260023 h 6859062"/>
              <a:gd name="connsiteX2366" fmla="*/ 633648 w 12192185"/>
              <a:gd name="connsiteY2366" fmla="*/ 6261625 h 6859062"/>
              <a:gd name="connsiteX2367" fmla="*/ 619545 w 12192185"/>
              <a:gd name="connsiteY2367" fmla="*/ 6276764 h 6859062"/>
              <a:gd name="connsiteX2368" fmla="*/ 615185 w 12192185"/>
              <a:gd name="connsiteY2368" fmla="*/ 6281493 h 6859062"/>
              <a:gd name="connsiteX2369" fmla="*/ 610506 w 12192185"/>
              <a:gd name="connsiteY2369" fmla="*/ 6282138 h 6859062"/>
              <a:gd name="connsiteX2370" fmla="*/ 607170 w 12192185"/>
              <a:gd name="connsiteY2370" fmla="*/ 6285914 h 6859062"/>
              <a:gd name="connsiteX2371" fmla="*/ 607778 w 12192185"/>
              <a:gd name="connsiteY2371" fmla="*/ 6287675 h 6859062"/>
              <a:gd name="connsiteX2372" fmla="*/ 584602 w 12192185"/>
              <a:gd name="connsiteY2372" fmla="*/ 6300386 h 6859062"/>
              <a:gd name="connsiteX2373" fmla="*/ 585995 w 12192185"/>
              <a:gd name="connsiteY2373" fmla="*/ 6297015 h 6859062"/>
              <a:gd name="connsiteX2374" fmla="*/ 585512 w 12192185"/>
              <a:gd name="connsiteY2374" fmla="*/ 6292635 h 6859062"/>
              <a:gd name="connsiteX2375" fmla="*/ 580900 w 12192185"/>
              <a:gd name="connsiteY2375" fmla="*/ 6293050 h 6859062"/>
              <a:gd name="connsiteX2376" fmla="*/ 578654 w 12192185"/>
              <a:gd name="connsiteY2376" fmla="*/ 6295645 h 6859062"/>
              <a:gd name="connsiteX2377" fmla="*/ 571409 w 12192185"/>
              <a:gd name="connsiteY2377" fmla="*/ 6294802 h 6859062"/>
              <a:gd name="connsiteX2378" fmla="*/ 569012 w 12192185"/>
              <a:gd name="connsiteY2378" fmla="*/ 6291864 h 6859062"/>
              <a:gd name="connsiteX2379" fmla="*/ 566008 w 12192185"/>
              <a:gd name="connsiteY2379" fmla="*/ 6294490 h 6859062"/>
              <a:gd name="connsiteX2380" fmla="*/ 564519 w 12192185"/>
              <a:gd name="connsiteY2380" fmla="*/ 6297053 h 6859062"/>
              <a:gd name="connsiteX2381" fmla="*/ 561556 w 12192185"/>
              <a:gd name="connsiteY2381" fmla="*/ 6299535 h 6859062"/>
              <a:gd name="connsiteX2382" fmla="*/ 558458 w 12192185"/>
              <a:gd name="connsiteY2382" fmla="*/ 6297300 h 6859062"/>
              <a:gd name="connsiteX2383" fmla="*/ 552782 w 12192185"/>
              <a:gd name="connsiteY2383" fmla="*/ 6288427 h 6859062"/>
              <a:gd name="connsiteX2384" fmla="*/ 543309 w 12192185"/>
              <a:gd name="connsiteY2384" fmla="*/ 6283199 h 6859062"/>
              <a:gd name="connsiteX2385" fmla="*/ 537851 w 12192185"/>
              <a:gd name="connsiteY2385" fmla="*/ 6279627 h 6859062"/>
              <a:gd name="connsiteX2386" fmla="*/ 525724 w 12192185"/>
              <a:gd name="connsiteY2386" fmla="*/ 6268893 h 6859062"/>
              <a:gd name="connsiteX2387" fmla="*/ 523952 w 12192185"/>
              <a:gd name="connsiteY2387" fmla="*/ 6266386 h 6859062"/>
              <a:gd name="connsiteX2388" fmla="*/ 520315 w 12192185"/>
              <a:gd name="connsiteY2388" fmla="*/ 6233154 h 6859062"/>
              <a:gd name="connsiteX2389" fmla="*/ 521680 w 12192185"/>
              <a:gd name="connsiteY2389" fmla="*/ 6227562 h 6859062"/>
              <a:gd name="connsiteX2390" fmla="*/ 528760 w 12192185"/>
              <a:gd name="connsiteY2390" fmla="*/ 6215135 h 6859062"/>
              <a:gd name="connsiteX2391" fmla="*/ 533927 w 12192185"/>
              <a:gd name="connsiteY2391" fmla="*/ 6204154 h 6859062"/>
              <a:gd name="connsiteX2392" fmla="*/ 536835 w 12192185"/>
              <a:gd name="connsiteY2392" fmla="*/ 6201001 h 6859062"/>
              <a:gd name="connsiteX2393" fmla="*/ 555081 w 12192185"/>
              <a:gd name="connsiteY2393" fmla="*/ 6188805 h 6859062"/>
              <a:gd name="connsiteX2394" fmla="*/ 557194 w 12192185"/>
              <a:gd name="connsiteY2394" fmla="*/ 6186671 h 6859062"/>
              <a:gd name="connsiteX2395" fmla="*/ 551173 w 12192185"/>
              <a:gd name="connsiteY2395" fmla="*/ 6171213 h 6859062"/>
              <a:gd name="connsiteX2396" fmla="*/ 540463 w 12192185"/>
              <a:gd name="connsiteY2396" fmla="*/ 6159889 h 6859062"/>
              <a:gd name="connsiteX2397" fmla="*/ 531390 w 12192185"/>
              <a:gd name="connsiteY2397" fmla="*/ 6140307 h 6859062"/>
              <a:gd name="connsiteX2398" fmla="*/ 532618 w 12192185"/>
              <a:gd name="connsiteY2398" fmla="*/ 6136919 h 6859062"/>
              <a:gd name="connsiteX2399" fmla="*/ 534155 w 12192185"/>
              <a:gd name="connsiteY2399" fmla="*/ 6128133 h 6859062"/>
              <a:gd name="connsiteX2400" fmla="*/ 536388 w 12192185"/>
              <a:gd name="connsiteY2400" fmla="*/ 6117801 h 6859062"/>
              <a:gd name="connsiteX2401" fmla="*/ 541444 w 12192185"/>
              <a:gd name="connsiteY2401" fmla="*/ 6111527 h 6859062"/>
              <a:gd name="connsiteX2402" fmla="*/ 542629 w 12192185"/>
              <a:gd name="connsiteY2402" fmla="*/ 6109689 h 6859062"/>
              <a:gd name="connsiteX2403" fmla="*/ 536317 w 12192185"/>
              <a:gd name="connsiteY2403" fmla="*/ 6105942 h 6859062"/>
              <a:gd name="connsiteX2404" fmla="*/ 530173 w 12192185"/>
              <a:gd name="connsiteY2404" fmla="*/ 6106147 h 6859062"/>
              <a:gd name="connsiteX2405" fmla="*/ 526197 w 12192185"/>
              <a:gd name="connsiteY2405" fmla="*/ 6102940 h 6859062"/>
              <a:gd name="connsiteX2406" fmla="*/ 519465 w 12192185"/>
              <a:gd name="connsiteY2406" fmla="*/ 6096306 h 6859062"/>
              <a:gd name="connsiteX2407" fmla="*/ 516584 w 12192185"/>
              <a:gd name="connsiteY2407" fmla="*/ 6094293 h 6859062"/>
              <a:gd name="connsiteX2408" fmla="*/ 509199 w 12192185"/>
              <a:gd name="connsiteY2408" fmla="*/ 6083989 h 6859062"/>
              <a:gd name="connsiteX2409" fmla="*/ 507195 w 12192185"/>
              <a:gd name="connsiteY2409" fmla="*/ 6081947 h 6859062"/>
              <a:gd name="connsiteX2410" fmla="*/ 509394 w 12192185"/>
              <a:gd name="connsiteY2410" fmla="*/ 6048987 h 6859062"/>
              <a:gd name="connsiteX2411" fmla="*/ 519409 w 12192185"/>
              <a:gd name="connsiteY2411" fmla="*/ 6033703 h 6859062"/>
              <a:gd name="connsiteX2412" fmla="*/ 523960 w 12192185"/>
              <a:gd name="connsiteY2412" fmla="*/ 6028098 h 6859062"/>
              <a:gd name="connsiteX2413" fmla="*/ 529637 w 12192185"/>
              <a:gd name="connsiteY2413" fmla="*/ 6024568 h 6859062"/>
              <a:gd name="connsiteX2414" fmla="*/ 534684 w 12192185"/>
              <a:gd name="connsiteY2414" fmla="*/ 6023167 h 6859062"/>
              <a:gd name="connsiteX2415" fmla="*/ 544937 w 12192185"/>
              <a:gd name="connsiteY2415" fmla="*/ 6019833 h 6859062"/>
              <a:gd name="connsiteX2416" fmla="*/ 548575 w 12192185"/>
              <a:gd name="connsiteY2416" fmla="*/ 6018304 h 6859062"/>
              <a:gd name="connsiteX2417" fmla="*/ 552329 w 12192185"/>
              <a:gd name="connsiteY2417" fmla="*/ 6014419 h 6859062"/>
              <a:gd name="connsiteX2418" fmla="*/ 9283161 w 12192185"/>
              <a:gd name="connsiteY2418" fmla="*/ 6013625 h 6859062"/>
              <a:gd name="connsiteX2419" fmla="*/ 9283853 w 12192185"/>
              <a:gd name="connsiteY2419" fmla="*/ 6014195 h 6859062"/>
              <a:gd name="connsiteX2420" fmla="*/ 9277283 w 12192185"/>
              <a:gd name="connsiteY2420" fmla="*/ 6014191 h 6859062"/>
              <a:gd name="connsiteX2421" fmla="*/ 9283161 w 12192185"/>
              <a:gd name="connsiteY2421" fmla="*/ 6013625 h 6859062"/>
              <a:gd name="connsiteX2422" fmla="*/ 11738761 w 12192185"/>
              <a:gd name="connsiteY2422" fmla="*/ 6004428 h 6859062"/>
              <a:gd name="connsiteX2423" fmla="*/ 11738740 w 12192185"/>
              <a:gd name="connsiteY2423" fmla="*/ 6004792 h 6859062"/>
              <a:gd name="connsiteX2424" fmla="*/ 11738446 w 12192185"/>
              <a:gd name="connsiteY2424" fmla="*/ 6004701 h 6859062"/>
              <a:gd name="connsiteX2425" fmla="*/ 1320630 w 12192185"/>
              <a:gd name="connsiteY2425" fmla="*/ 6004156 h 6859062"/>
              <a:gd name="connsiteX2426" fmla="*/ 1324428 w 12192185"/>
              <a:gd name="connsiteY2426" fmla="*/ 6004471 h 6859062"/>
              <a:gd name="connsiteX2427" fmla="*/ 1341475 w 12192185"/>
              <a:gd name="connsiteY2427" fmla="*/ 6011906 h 6859062"/>
              <a:gd name="connsiteX2428" fmla="*/ 1346214 w 12192185"/>
              <a:gd name="connsiteY2428" fmla="*/ 6020017 h 6859062"/>
              <a:gd name="connsiteX2429" fmla="*/ 1351435 w 12192185"/>
              <a:gd name="connsiteY2429" fmla="*/ 6038218 h 6859062"/>
              <a:gd name="connsiteX2430" fmla="*/ 1351499 w 12192185"/>
              <a:gd name="connsiteY2430" fmla="*/ 6043861 h 6859062"/>
              <a:gd name="connsiteX2431" fmla="*/ 1350040 w 12192185"/>
              <a:gd name="connsiteY2431" fmla="*/ 6050998 h 6859062"/>
              <a:gd name="connsiteX2432" fmla="*/ 1347602 w 12192185"/>
              <a:gd name="connsiteY2432" fmla="*/ 6056329 h 6859062"/>
              <a:gd name="connsiteX2433" fmla="*/ 1338233 w 12192185"/>
              <a:gd name="connsiteY2433" fmla="*/ 6066095 h 6859062"/>
              <a:gd name="connsiteX2434" fmla="*/ 1332681 w 12192185"/>
              <a:gd name="connsiteY2434" fmla="*/ 6072451 h 6859062"/>
              <a:gd name="connsiteX2435" fmla="*/ 1329592 w 12192185"/>
              <a:gd name="connsiteY2435" fmla="*/ 6074129 h 6859062"/>
              <a:gd name="connsiteX2436" fmla="*/ 1321731 w 12192185"/>
              <a:gd name="connsiteY2436" fmla="*/ 6074394 h 6859062"/>
              <a:gd name="connsiteX2437" fmla="*/ 1308678 w 12192185"/>
              <a:gd name="connsiteY2437" fmla="*/ 6072469 h 6859062"/>
              <a:gd name="connsiteX2438" fmla="*/ 1304094 w 12192185"/>
              <a:gd name="connsiteY2438" fmla="*/ 6072623 h 6859062"/>
              <a:gd name="connsiteX2439" fmla="*/ 1301125 w 12192185"/>
              <a:gd name="connsiteY2439" fmla="*/ 6070228 h 6859062"/>
              <a:gd name="connsiteX2440" fmla="*/ 1296101 w 12192185"/>
              <a:gd name="connsiteY2440" fmla="*/ 6065278 h 6859062"/>
              <a:gd name="connsiteX2441" fmla="*/ 1293950 w 12192185"/>
              <a:gd name="connsiteY2441" fmla="*/ 6063775 h 6859062"/>
              <a:gd name="connsiteX2442" fmla="*/ 1288437 w 12192185"/>
              <a:gd name="connsiteY2442" fmla="*/ 6056085 h 6859062"/>
              <a:gd name="connsiteX2443" fmla="*/ 1286942 w 12192185"/>
              <a:gd name="connsiteY2443" fmla="*/ 6054559 h 6859062"/>
              <a:gd name="connsiteX2444" fmla="*/ 1288583 w 12192185"/>
              <a:gd name="connsiteY2444" fmla="*/ 6029958 h 6859062"/>
              <a:gd name="connsiteX2445" fmla="*/ 1296059 w 12192185"/>
              <a:gd name="connsiteY2445" fmla="*/ 6018550 h 6859062"/>
              <a:gd name="connsiteX2446" fmla="*/ 1299455 w 12192185"/>
              <a:gd name="connsiteY2446" fmla="*/ 6014367 h 6859062"/>
              <a:gd name="connsiteX2447" fmla="*/ 1303694 w 12192185"/>
              <a:gd name="connsiteY2447" fmla="*/ 6011730 h 6859062"/>
              <a:gd name="connsiteX2448" fmla="*/ 1307461 w 12192185"/>
              <a:gd name="connsiteY2448" fmla="*/ 6010685 h 6859062"/>
              <a:gd name="connsiteX2449" fmla="*/ 1315113 w 12192185"/>
              <a:gd name="connsiteY2449" fmla="*/ 6008197 h 6859062"/>
              <a:gd name="connsiteX2450" fmla="*/ 1317828 w 12192185"/>
              <a:gd name="connsiteY2450" fmla="*/ 6007056 h 6859062"/>
              <a:gd name="connsiteX2451" fmla="*/ 1320630 w 12192185"/>
              <a:gd name="connsiteY2451" fmla="*/ 6004156 h 6859062"/>
              <a:gd name="connsiteX2452" fmla="*/ 11270502 w 12192185"/>
              <a:gd name="connsiteY2452" fmla="*/ 6001372 h 6859062"/>
              <a:gd name="connsiteX2453" fmla="*/ 11276144 w 12192185"/>
              <a:gd name="connsiteY2453" fmla="*/ 6001399 h 6859062"/>
              <a:gd name="connsiteX2454" fmla="*/ 11283258 w 12192185"/>
              <a:gd name="connsiteY2454" fmla="*/ 6002972 h 6859062"/>
              <a:gd name="connsiteX2455" fmla="*/ 11288549 w 12192185"/>
              <a:gd name="connsiteY2455" fmla="*/ 6005497 h 6859062"/>
              <a:gd name="connsiteX2456" fmla="*/ 11298162 w 12192185"/>
              <a:gd name="connsiteY2456" fmla="*/ 6015021 h 6859062"/>
              <a:gd name="connsiteX2457" fmla="*/ 11304427 w 12192185"/>
              <a:gd name="connsiteY2457" fmla="*/ 6020675 h 6859062"/>
              <a:gd name="connsiteX2458" fmla="*/ 11306056 w 12192185"/>
              <a:gd name="connsiteY2458" fmla="*/ 6023791 h 6859062"/>
              <a:gd name="connsiteX2459" fmla="*/ 11306194 w 12192185"/>
              <a:gd name="connsiteY2459" fmla="*/ 6031655 h 6859062"/>
              <a:gd name="connsiteX2460" fmla="*/ 11304059 w 12192185"/>
              <a:gd name="connsiteY2460" fmla="*/ 6044675 h 6859062"/>
              <a:gd name="connsiteX2461" fmla="*/ 11304140 w 12192185"/>
              <a:gd name="connsiteY2461" fmla="*/ 6049262 h 6859062"/>
              <a:gd name="connsiteX2462" fmla="*/ 11301697 w 12192185"/>
              <a:gd name="connsiteY2462" fmla="*/ 6052191 h 6859062"/>
              <a:gd name="connsiteX2463" fmla="*/ 11296666 w 12192185"/>
              <a:gd name="connsiteY2463" fmla="*/ 6057136 h 6859062"/>
              <a:gd name="connsiteX2464" fmla="*/ 11295130 w 12192185"/>
              <a:gd name="connsiteY2464" fmla="*/ 6059263 h 6859062"/>
              <a:gd name="connsiteX2465" fmla="*/ 11287350 w 12192185"/>
              <a:gd name="connsiteY2465" fmla="*/ 6064650 h 6859062"/>
              <a:gd name="connsiteX2466" fmla="*/ 11285801 w 12192185"/>
              <a:gd name="connsiteY2466" fmla="*/ 6066120 h 6859062"/>
              <a:gd name="connsiteX2467" fmla="*/ 11261231 w 12192185"/>
              <a:gd name="connsiteY2467" fmla="*/ 6064083 h 6859062"/>
              <a:gd name="connsiteX2468" fmla="*/ 11249944 w 12192185"/>
              <a:gd name="connsiteY2468" fmla="*/ 6056425 h 6859062"/>
              <a:gd name="connsiteX2469" fmla="*/ 11245815 w 12192185"/>
              <a:gd name="connsiteY2469" fmla="*/ 6052961 h 6859062"/>
              <a:gd name="connsiteX2470" fmla="*/ 11243248 w 12192185"/>
              <a:gd name="connsiteY2470" fmla="*/ 6048682 h 6859062"/>
              <a:gd name="connsiteX2471" fmla="*/ 11242263 w 12192185"/>
              <a:gd name="connsiteY2471" fmla="*/ 6044897 h 6859062"/>
              <a:gd name="connsiteX2472" fmla="*/ 11239899 w 12192185"/>
              <a:gd name="connsiteY2472" fmla="*/ 6037206 h 6859062"/>
              <a:gd name="connsiteX2473" fmla="*/ 11238801 w 12192185"/>
              <a:gd name="connsiteY2473" fmla="*/ 6034472 h 6859062"/>
              <a:gd name="connsiteX2474" fmla="*/ 11236325 w 12192185"/>
              <a:gd name="connsiteY2474" fmla="*/ 6027832 h 6859062"/>
              <a:gd name="connsiteX2475" fmla="*/ 11244032 w 12192185"/>
              <a:gd name="connsiteY2475" fmla="*/ 6010907 h 6859062"/>
              <a:gd name="connsiteX2476" fmla="*/ 11252219 w 12192185"/>
              <a:gd name="connsiteY2476" fmla="*/ 6006298 h 6859062"/>
              <a:gd name="connsiteX2477" fmla="*/ 11270502 w 12192185"/>
              <a:gd name="connsiteY2477" fmla="*/ 6001372 h 6859062"/>
              <a:gd name="connsiteX2478" fmla="*/ 9822375 w 12192185"/>
              <a:gd name="connsiteY2478" fmla="*/ 5976414 h 6859062"/>
              <a:gd name="connsiteX2479" fmla="*/ 9825598 w 12192185"/>
              <a:gd name="connsiteY2479" fmla="*/ 5979069 h 6859062"/>
              <a:gd name="connsiteX2480" fmla="*/ 9819719 w 12192185"/>
              <a:gd name="connsiteY2480" fmla="*/ 5979637 h 6859062"/>
              <a:gd name="connsiteX2481" fmla="*/ 9822375 w 12192185"/>
              <a:gd name="connsiteY2481" fmla="*/ 5976414 h 6859062"/>
              <a:gd name="connsiteX2482" fmla="*/ 782721 w 12192185"/>
              <a:gd name="connsiteY2482" fmla="*/ 5966194 h 6859062"/>
              <a:gd name="connsiteX2483" fmla="*/ 793653 w 12192185"/>
              <a:gd name="connsiteY2483" fmla="*/ 5971247 h 6859062"/>
              <a:gd name="connsiteX2484" fmla="*/ 801562 w 12192185"/>
              <a:gd name="connsiteY2484" fmla="*/ 5980172 h 6859062"/>
              <a:gd name="connsiteX2485" fmla="*/ 805072 w 12192185"/>
              <a:gd name="connsiteY2485" fmla="*/ 5987829 h 6859062"/>
              <a:gd name="connsiteX2486" fmla="*/ 800521 w 12192185"/>
              <a:gd name="connsiteY2486" fmla="*/ 6003596 h 6859062"/>
              <a:gd name="connsiteX2487" fmla="*/ 788062 w 12192185"/>
              <a:gd name="connsiteY2487" fmla="*/ 6010438 h 6859062"/>
              <a:gd name="connsiteX2488" fmla="*/ 778615 w 12192185"/>
              <a:gd name="connsiteY2488" fmla="*/ 6020047 h 6859062"/>
              <a:gd name="connsiteX2489" fmla="*/ 770362 w 12192185"/>
              <a:gd name="connsiteY2489" fmla="*/ 6030477 h 6859062"/>
              <a:gd name="connsiteX2490" fmla="*/ 761487 w 12192185"/>
              <a:gd name="connsiteY2490" fmla="*/ 6036455 h 6859062"/>
              <a:gd name="connsiteX2491" fmla="*/ 750417 w 12192185"/>
              <a:gd name="connsiteY2491" fmla="*/ 6038480 h 6859062"/>
              <a:gd name="connsiteX2492" fmla="*/ 741619 w 12192185"/>
              <a:gd name="connsiteY2492" fmla="*/ 6035940 h 6859062"/>
              <a:gd name="connsiteX2493" fmla="*/ 740804 w 12192185"/>
              <a:gd name="connsiteY2493" fmla="*/ 6033807 h 6859062"/>
              <a:gd name="connsiteX2494" fmla="*/ 731266 w 12192185"/>
              <a:gd name="connsiteY2494" fmla="*/ 6020616 h 6859062"/>
              <a:gd name="connsiteX2495" fmla="*/ 731606 w 12192185"/>
              <a:gd name="connsiteY2495" fmla="*/ 6004581 h 6859062"/>
              <a:gd name="connsiteX2496" fmla="*/ 742822 w 12192185"/>
              <a:gd name="connsiteY2496" fmla="*/ 5988839 h 6859062"/>
              <a:gd name="connsiteX2497" fmla="*/ 750558 w 12192185"/>
              <a:gd name="connsiteY2497" fmla="*/ 5986802 h 6859062"/>
              <a:gd name="connsiteX2498" fmla="*/ 761951 w 12192185"/>
              <a:gd name="connsiteY2498" fmla="*/ 5978704 h 6859062"/>
              <a:gd name="connsiteX2499" fmla="*/ 765982 w 12192185"/>
              <a:gd name="connsiteY2499" fmla="*/ 5974648 h 6859062"/>
              <a:gd name="connsiteX2500" fmla="*/ 782721 w 12192185"/>
              <a:gd name="connsiteY2500" fmla="*/ 5966194 h 6859062"/>
              <a:gd name="connsiteX2501" fmla="*/ 9812142 w 12192185"/>
              <a:gd name="connsiteY2501" fmla="*/ 5962571 h 6859062"/>
              <a:gd name="connsiteX2502" fmla="*/ 9809486 w 12192185"/>
              <a:gd name="connsiteY2502" fmla="*/ 5965794 h 6859062"/>
              <a:gd name="connsiteX2503" fmla="*/ 9806264 w 12192185"/>
              <a:gd name="connsiteY2503" fmla="*/ 5963138 h 6859062"/>
              <a:gd name="connsiteX2504" fmla="*/ 9812142 w 12192185"/>
              <a:gd name="connsiteY2504" fmla="*/ 5962571 h 6859062"/>
              <a:gd name="connsiteX2505" fmla="*/ 11514286 w 12192185"/>
              <a:gd name="connsiteY2505" fmla="*/ 5956658 h 6859062"/>
              <a:gd name="connsiteX2506" fmla="*/ 11519930 w 12192185"/>
              <a:gd name="connsiteY2506" fmla="*/ 5956685 h 6859062"/>
              <a:gd name="connsiteX2507" fmla="*/ 11527042 w 12192185"/>
              <a:gd name="connsiteY2507" fmla="*/ 5958258 h 6859062"/>
              <a:gd name="connsiteX2508" fmla="*/ 11532334 w 12192185"/>
              <a:gd name="connsiteY2508" fmla="*/ 5960782 h 6859062"/>
              <a:gd name="connsiteX2509" fmla="*/ 11541947 w 12192185"/>
              <a:gd name="connsiteY2509" fmla="*/ 5970308 h 6859062"/>
              <a:gd name="connsiteX2510" fmla="*/ 11548212 w 12192185"/>
              <a:gd name="connsiteY2510" fmla="*/ 5975961 h 6859062"/>
              <a:gd name="connsiteX2511" fmla="*/ 11549841 w 12192185"/>
              <a:gd name="connsiteY2511" fmla="*/ 5979077 h 6859062"/>
              <a:gd name="connsiteX2512" fmla="*/ 11549978 w 12192185"/>
              <a:gd name="connsiteY2512" fmla="*/ 5986942 h 6859062"/>
              <a:gd name="connsiteX2513" fmla="*/ 11547845 w 12192185"/>
              <a:gd name="connsiteY2513" fmla="*/ 5999961 h 6859062"/>
              <a:gd name="connsiteX2514" fmla="*/ 11547924 w 12192185"/>
              <a:gd name="connsiteY2514" fmla="*/ 6004548 h 6859062"/>
              <a:gd name="connsiteX2515" fmla="*/ 11545483 w 12192185"/>
              <a:gd name="connsiteY2515" fmla="*/ 6007478 h 6859062"/>
              <a:gd name="connsiteX2516" fmla="*/ 11540451 w 12192185"/>
              <a:gd name="connsiteY2516" fmla="*/ 6012421 h 6859062"/>
              <a:gd name="connsiteX2517" fmla="*/ 11538914 w 12192185"/>
              <a:gd name="connsiteY2517" fmla="*/ 6014548 h 6859062"/>
              <a:gd name="connsiteX2518" fmla="*/ 11531135 w 12192185"/>
              <a:gd name="connsiteY2518" fmla="*/ 6019936 h 6859062"/>
              <a:gd name="connsiteX2519" fmla="*/ 11529586 w 12192185"/>
              <a:gd name="connsiteY2519" fmla="*/ 6021407 h 6859062"/>
              <a:gd name="connsiteX2520" fmla="*/ 11505015 w 12192185"/>
              <a:gd name="connsiteY2520" fmla="*/ 6019370 h 6859062"/>
              <a:gd name="connsiteX2521" fmla="*/ 11493728 w 12192185"/>
              <a:gd name="connsiteY2521" fmla="*/ 6011711 h 6859062"/>
              <a:gd name="connsiteX2522" fmla="*/ 11489600 w 12192185"/>
              <a:gd name="connsiteY2522" fmla="*/ 6008247 h 6859062"/>
              <a:gd name="connsiteX2523" fmla="*/ 11487033 w 12192185"/>
              <a:gd name="connsiteY2523" fmla="*/ 6003968 h 6859062"/>
              <a:gd name="connsiteX2524" fmla="*/ 11486048 w 12192185"/>
              <a:gd name="connsiteY2524" fmla="*/ 6000184 h 6859062"/>
              <a:gd name="connsiteX2525" fmla="*/ 11483685 w 12192185"/>
              <a:gd name="connsiteY2525" fmla="*/ 5992491 h 6859062"/>
              <a:gd name="connsiteX2526" fmla="*/ 11482586 w 12192185"/>
              <a:gd name="connsiteY2526" fmla="*/ 5989759 h 6859062"/>
              <a:gd name="connsiteX2527" fmla="*/ 11480109 w 12192185"/>
              <a:gd name="connsiteY2527" fmla="*/ 5983117 h 6859062"/>
              <a:gd name="connsiteX2528" fmla="*/ 11487818 w 12192185"/>
              <a:gd name="connsiteY2528" fmla="*/ 5966193 h 6859062"/>
              <a:gd name="connsiteX2529" fmla="*/ 11496003 w 12192185"/>
              <a:gd name="connsiteY2529" fmla="*/ 5961584 h 6859062"/>
              <a:gd name="connsiteX2530" fmla="*/ 11514286 w 12192185"/>
              <a:gd name="connsiteY2530" fmla="*/ 5956658 h 6859062"/>
              <a:gd name="connsiteX2531" fmla="*/ 9991148 w 12192185"/>
              <a:gd name="connsiteY2531" fmla="*/ 5926814 h 6859062"/>
              <a:gd name="connsiteX2532" fmla="*/ 9975596 w 12192185"/>
              <a:gd name="connsiteY2532" fmla="*/ 5928335 h 6859062"/>
              <a:gd name="connsiteX2533" fmla="*/ 9978232 w 12192185"/>
              <a:gd name="connsiteY2533" fmla="*/ 5931710 h 6859062"/>
              <a:gd name="connsiteX2534" fmla="*/ 10023063 w 12192185"/>
              <a:gd name="connsiteY2534" fmla="*/ 5923690 h 6859062"/>
              <a:gd name="connsiteX2535" fmla="*/ 9995354 w 12192185"/>
              <a:gd name="connsiteY2535" fmla="*/ 5926402 h 6859062"/>
              <a:gd name="connsiteX2536" fmla="*/ 10001741 w 12192185"/>
              <a:gd name="connsiteY2536" fmla="*/ 5929442 h 6859062"/>
              <a:gd name="connsiteX2537" fmla="*/ 10023740 w 12192185"/>
              <a:gd name="connsiteY2537" fmla="*/ 5923982 h 6859062"/>
              <a:gd name="connsiteX2538" fmla="*/ 10084246 w 12192185"/>
              <a:gd name="connsiteY2538" fmla="*/ 5912296 h 6859062"/>
              <a:gd name="connsiteX2539" fmla="*/ 10066843 w 12192185"/>
              <a:gd name="connsiteY2539" fmla="*/ 5916828 h 6859062"/>
              <a:gd name="connsiteX2540" fmla="*/ 10065828 w 12192185"/>
              <a:gd name="connsiteY2540" fmla="*/ 5917325 h 6859062"/>
              <a:gd name="connsiteX2541" fmla="*/ 10063600 w 12192185"/>
              <a:gd name="connsiteY2541" fmla="*/ 5917673 h 6859062"/>
              <a:gd name="connsiteX2542" fmla="*/ 10059679 w 12192185"/>
              <a:gd name="connsiteY2542" fmla="*/ 5918693 h 6859062"/>
              <a:gd name="connsiteX2543" fmla="*/ 10059749 w 12192185"/>
              <a:gd name="connsiteY2543" fmla="*/ 5919162 h 6859062"/>
              <a:gd name="connsiteX2544" fmla="*/ 10069052 w 12192185"/>
              <a:gd name="connsiteY2544" fmla="*/ 5919979 h 6859062"/>
              <a:gd name="connsiteX2545" fmla="*/ 10060780 w 12192185"/>
              <a:gd name="connsiteY2545" fmla="*/ 5922631 h 6859062"/>
              <a:gd name="connsiteX2546" fmla="*/ 10063661 w 12192185"/>
              <a:gd name="connsiteY2546" fmla="*/ 5926324 h 6859062"/>
              <a:gd name="connsiteX2547" fmla="*/ 10063965 w 12192185"/>
              <a:gd name="connsiteY2547" fmla="*/ 5926270 h 6859062"/>
              <a:gd name="connsiteX2548" fmla="*/ 1085900 w 12192185"/>
              <a:gd name="connsiteY2548" fmla="*/ 5911880 h 6859062"/>
              <a:gd name="connsiteX2549" fmla="*/ 1089698 w 12192185"/>
              <a:gd name="connsiteY2549" fmla="*/ 5912195 h 6859062"/>
              <a:gd name="connsiteX2550" fmla="*/ 1106745 w 12192185"/>
              <a:gd name="connsiteY2550" fmla="*/ 5919630 h 6859062"/>
              <a:gd name="connsiteX2551" fmla="*/ 1111485 w 12192185"/>
              <a:gd name="connsiteY2551" fmla="*/ 5927741 h 6859062"/>
              <a:gd name="connsiteX2552" fmla="*/ 1116706 w 12192185"/>
              <a:gd name="connsiteY2552" fmla="*/ 5945942 h 6859062"/>
              <a:gd name="connsiteX2553" fmla="*/ 1116769 w 12192185"/>
              <a:gd name="connsiteY2553" fmla="*/ 5951584 h 6859062"/>
              <a:gd name="connsiteX2554" fmla="*/ 1115311 w 12192185"/>
              <a:gd name="connsiteY2554" fmla="*/ 5958721 h 6859062"/>
              <a:gd name="connsiteX2555" fmla="*/ 1112873 w 12192185"/>
              <a:gd name="connsiteY2555" fmla="*/ 5964054 h 6859062"/>
              <a:gd name="connsiteX2556" fmla="*/ 1103504 w 12192185"/>
              <a:gd name="connsiteY2556" fmla="*/ 5973820 h 6859062"/>
              <a:gd name="connsiteX2557" fmla="*/ 1097952 w 12192185"/>
              <a:gd name="connsiteY2557" fmla="*/ 5980176 h 6859062"/>
              <a:gd name="connsiteX2558" fmla="*/ 1094862 w 12192185"/>
              <a:gd name="connsiteY2558" fmla="*/ 5981854 h 6859062"/>
              <a:gd name="connsiteX2559" fmla="*/ 1087001 w 12192185"/>
              <a:gd name="connsiteY2559" fmla="*/ 5982117 h 6859062"/>
              <a:gd name="connsiteX2560" fmla="*/ 1073949 w 12192185"/>
              <a:gd name="connsiteY2560" fmla="*/ 5980193 h 6859062"/>
              <a:gd name="connsiteX2561" fmla="*/ 1069363 w 12192185"/>
              <a:gd name="connsiteY2561" fmla="*/ 5980347 h 6859062"/>
              <a:gd name="connsiteX2562" fmla="*/ 1066395 w 12192185"/>
              <a:gd name="connsiteY2562" fmla="*/ 5977952 h 6859062"/>
              <a:gd name="connsiteX2563" fmla="*/ 1061371 w 12192185"/>
              <a:gd name="connsiteY2563" fmla="*/ 5973003 h 6859062"/>
              <a:gd name="connsiteX2564" fmla="*/ 1059221 w 12192185"/>
              <a:gd name="connsiteY2564" fmla="*/ 5971500 h 6859062"/>
              <a:gd name="connsiteX2565" fmla="*/ 1053708 w 12192185"/>
              <a:gd name="connsiteY2565" fmla="*/ 5963808 h 6859062"/>
              <a:gd name="connsiteX2566" fmla="*/ 1052212 w 12192185"/>
              <a:gd name="connsiteY2566" fmla="*/ 5962283 h 6859062"/>
              <a:gd name="connsiteX2567" fmla="*/ 1053854 w 12192185"/>
              <a:gd name="connsiteY2567" fmla="*/ 5937682 h 6859062"/>
              <a:gd name="connsiteX2568" fmla="*/ 1061329 w 12192185"/>
              <a:gd name="connsiteY2568" fmla="*/ 5926273 h 6859062"/>
              <a:gd name="connsiteX2569" fmla="*/ 1064725 w 12192185"/>
              <a:gd name="connsiteY2569" fmla="*/ 5922091 h 6859062"/>
              <a:gd name="connsiteX2570" fmla="*/ 1068963 w 12192185"/>
              <a:gd name="connsiteY2570" fmla="*/ 5919455 h 6859062"/>
              <a:gd name="connsiteX2571" fmla="*/ 1072731 w 12192185"/>
              <a:gd name="connsiteY2571" fmla="*/ 5918410 h 6859062"/>
              <a:gd name="connsiteX2572" fmla="*/ 1080383 w 12192185"/>
              <a:gd name="connsiteY2572" fmla="*/ 5915921 h 6859062"/>
              <a:gd name="connsiteX2573" fmla="*/ 1083099 w 12192185"/>
              <a:gd name="connsiteY2573" fmla="*/ 5914780 h 6859062"/>
              <a:gd name="connsiteX2574" fmla="*/ 1085900 w 12192185"/>
              <a:gd name="connsiteY2574" fmla="*/ 5911880 h 6859062"/>
              <a:gd name="connsiteX2575" fmla="*/ 9132277 w 12192185"/>
              <a:gd name="connsiteY2575" fmla="*/ 5899042 h 6859062"/>
              <a:gd name="connsiteX2576" fmla="*/ 9141942 w 12192185"/>
              <a:gd name="connsiteY2576" fmla="*/ 5902676 h 6859062"/>
              <a:gd name="connsiteX2577" fmla="*/ 9146325 w 12192185"/>
              <a:gd name="connsiteY2577" fmla="*/ 5901942 h 6859062"/>
              <a:gd name="connsiteX2578" fmla="*/ 10141842 w 12192185"/>
              <a:gd name="connsiteY2578" fmla="*/ 5897299 h 6859062"/>
              <a:gd name="connsiteX2579" fmla="*/ 10118708 w 12192185"/>
              <a:gd name="connsiteY2579" fmla="*/ 5903323 h 6859062"/>
              <a:gd name="connsiteX2580" fmla="*/ 10120814 w 12192185"/>
              <a:gd name="connsiteY2580" fmla="*/ 5903119 h 6859062"/>
              <a:gd name="connsiteX2581" fmla="*/ 10141103 w 12192185"/>
              <a:gd name="connsiteY2581" fmla="*/ 5898194 h 6859062"/>
              <a:gd name="connsiteX2582" fmla="*/ 799605 w 12192185"/>
              <a:gd name="connsiteY2582" fmla="*/ 5890711 h 6859062"/>
              <a:gd name="connsiteX2583" fmla="*/ 803403 w 12192185"/>
              <a:gd name="connsiteY2583" fmla="*/ 5891026 h 6859062"/>
              <a:gd name="connsiteX2584" fmla="*/ 820449 w 12192185"/>
              <a:gd name="connsiteY2584" fmla="*/ 5898462 h 6859062"/>
              <a:gd name="connsiteX2585" fmla="*/ 825190 w 12192185"/>
              <a:gd name="connsiteY2585" fmla="*/ 5906572 h 6859062"/>
              <a:gd name="connsiteX2586" fmla="*/ 830409 w 12192185"/>
              <a:gd name="connsiteY2586" fmla="*/ 5924773 h 6859062"/>
              <a:gd name="connsiteX2587" fmla="*/ 830475 w 12192185"/>
              <a:gd name="connsiteY2587" fmla="*/ 5930415 h 6859062"/>
              <a:gd name="connsiteX2588" fmla="*/ 829016 w 12192185"/>
              <a:gd name="connsiteY2588" fmla="*/ 5937553 h 6859062"/>
              <a:gd name="connsiteX2589" fmla="*/ 826577 w 12192185"/>
              <a:gd name="connsiteY2589" fmla="*/ 5942885 h 6859062"/>
              <a:gd name="connsiteX2590" fmla="*/ 817207 w 12192185"/>
              <a:gd name="connsiteY2590" fmla="*/ 5952650 h 6859062"/>
              <a:gd name="connsiteX2591" fmla="*/ 811656 w 12192185"/>
              <a:gd name="connsiteY2591" fmla="*/ 5959006 h 6859062"/>
              <a:gd name="connsiteX2592" fmla="*/ 808566 w 12192185"/>
              <a:gd name="connsiteY2592" fmla="*/ 5960685 h 6859062"/>
              <a:gd name="connsiteX2593" fmla="*/ 800705 w 12192185"/>
              <a:gd name="connsiteY2593" fmla="*/ 5960949 h 6859062"/>
              <a:gd name="connsiteX2594" fmla="*/ 787654 w 12192185"/>
              <a:gd name="connsiteY2594" fmla="*/ 5959024 h 6859062"/>
              <a:gd name="connsiteX2595" fmla="*/ 783068 w 12192185"/>
              <a:gd name="connsiteY2595" fmla="*/ 5959179 h 6859062"/>
              <a:gd name="connsiteX2596" fmla="*/ 780099 w 12192185"/>
              <a:gd name="connsiteY2596" fmla="*/ 5956784 h 6859062"/>
              <a:gd name="connsiteX2597" fmla="*/ 775075 w 12192185"/>
              <a:gd name="connsiteY2597" fmla="*/ 5951833 h 6859062"/>
              <a:gd name="connsiteX2598" fmla="*/ 772925 w 12192185"/>
              <a:gd name="connsiteY2598" fmla="*/ 5950330 h 6859062"/>
              <a:gd name="connsiteX2599" fmla="*/ 767411 w 12192185"/>
              <a:gd name="connsiteY2599" fmla="*/ 5942639 h 6859062"/>
              <a:gd name="connsiteX2600" fmla="*/ 765916 w 12192185"/>
              <a:gd name="connsiteY2600" fmla="*/ 5941114 h 6859062"/>
              <a:gd name="connsiteX2601" fmla="*/ 767558 w 12192185"/>
              <a:gd name="connsiteY2601" fmla="*/ 5916513 h 6859062"/>
              <a:gd name="connsiteX2602" fmla="*/ 775033 w 12192185"/>
              <a:gd name="connsiteY2602" fmla="*/ 5905105 h 6859062"/>
              <a:gd name="connsiteX2603" fmla="*/ 778429 w 12192185"/>
              <a:gd name="connsiteY2603" fmla="*/ 5900922 h 6859062"/>
              <a:gd name="connsiteX2604" fmla="*/ 782668 w 12192185"/>
              <a:gd name="connsiteY2604" fmla="*/ 5898286 h 6859062"/>
              <a:gd name="connsiteX2605" fmla="*/ 786435 w 12192185"/>
              <a:gd name="connsiteY2605" fmla="*/ 5897240 h 6859062"/>
              <a:gd name="connsiteX2606" fmla="*/ 794087 w 12192185"/>
              <a:gd name="connsiteY2606" fmla="*/ 5894752 h 6859062"/>
              <a:gd name="connsiteX2607" fmla="*/ 796802 w 12192185"/>
              <a:gd name="connsiteY2607" fmla="*/ 5893611 h 6859062"/>
              <a:gd name="connsiteX2608" fmla="*/ 799605 w 12192185"/>
              <a:gd name="connsiteY2608" fmla="*/ 5890711 h 6859062"/>
              <a:gd name="connsiteX2609" fmla="*/ 10169971 w 12192185"/>
              <a:gd name="connsiteY2609" fmla="*/ 5889974 h 6859062"/>
              <a:gd name="connsiteX2610" fmla="*/ 10154906 w 12192185"/>
              <a:gd name="connsiteY2610" fmla="*/ 5893897 h 6859062"/>
              <a:gd name="connsiteX2611" fmla="*/ 10161390 w 12192185"/>
              <a:gd name="connsiteY2611" fmla="*/ 5893271 h 6859062"/>
              <a:gd name="connsiteX2612" fmla="*/ 10164613 w 12192185"/>
              <a:gd name="connsiteY2612" fmla="*/ 5895927 h 6859062"/>
              <a:gd name="connsiteX2613" fmla="*/ 10170490 w 12192185"/>
              <a:gd name="connsiteY2613" fmla="*/ 5895358 h 6859062"/>
              <a:gd name="connsiteX2614" fmla="*/ 11783717 w 12192185"/>
              <a:gd name="connsiteY2614" fmla="*/ 5865349 h 6859062"/>
              <a:gd name="connsiteX2615" fmla="*/ 11785862 w 12192185"/>
              <a:gd name="connsiteY2615" fmla="*/ 5865627 h 6859062"/>
              <a:gd name="connsiteX2616" fmla="*/ 11797128 w 12192185"/>
              <a:gd name="connsiteY2616" fmla="*/ 5870338 h 6859062"/>
              <a:gd name="connsiteX2617" fmla="*/ 11808759 w 12192185"/>
              <a:gd name="connsiteY2617" fmla="*/ 5882257 h 6859062"/>
              <a:gd name="connsiteX2618" fmla="*/ 11813347 w 12192185"/>
              <a:gd name="connsiteY2618" fmla="*/ 5886058 h 6859062"/>
              <a:gd name="connsiteX2619" fmla="*/ 11816488 w 12192185"/>
              <a:gd name="connsiteY2619" fmla="*/ 5893216 h 6859062"/>
              <a:gd name="connsiteX2620" fmla="*/ 11818897 w 12192185"/>
              <a:gd name="connsiteY2620" fmla="*/ 5899356 h 6859062"/>
              <a:gd name="connsiteX2621" fmla="*/ 11820284 w 12192185"/>
              <a:gd name="connsiteY2621" fmla="*/ 5901630 h 6859062"/>
              <a:gd name="connsiteX2622" fmla="*/ 11816596 w 12192185"/>
              <a:gd name="connsiteY2622" fmla="*/ 5917155 h 6859062"/>
              <a:gd name="connsiteX2623" fmla="*/ 11810503 w 12192185"/>
              <a:gd name="connsiteY2623" fmla="*/ 5926938 h 6859062"/>
              <a:gd name="connsiteX2624" fmla="*/ 11808419 w 12192185"/>
              <a:gd name="connsiteY2624" fmla="*/ 5939026 h 6859062"/>
              <a:gd name="connsiteX2625" fmla="*/ 11810265 w 12192185"/>
              <a:gd name="connsiteY2625" fmla="*/ 5940261 h 6859062"/>
              <a:gd name="connsiteX2626" fmla="*/ 11825282 w 12192185"/>
              <a:gd name="connsiteY2626" fmla="*/ 5946411 h 6859062"/>
              <a:gd name="connsiteX2627" fmla="*/ 11827853 w 12192185"/>
              <a:gd name="connsiteY2627" fmla="*/ 5948266 h 6859062"/>
              <a:gd name="connsiteX2628" fmla="*/ 11833215 w 12192185"/>
              <a:gd name="connsiteY2628" fmla="*/ 5955463 h 6859062"/>
              <a:gd name="connsiteX2629" fmla="*/ 11840176 w 12192185"/>
              <a:gd name="connsiteY2629" fmla="*/ 5963423 h 6859062"/>
              <a:gd name="connsiteX2630" fmla="*/ 11841989 w 12192185"/>
              <a:gd name="connsiteY2630" fmla="*/ 5967275 h 6859062"/>
              <a:gd name="connsiteX2631" fmla="*/ 11844249 w 12192185"/>
              <a:gd name="connsiteY2631" fmla="*/ 5991889 h 6859062"/>
              <a:gd name="connsiteX2632" fmla="*/ 11843335 w 12192185"/>
              <a:gd name="connsiteY2632" fmla="*/ 5993967 h 6859062"/>
              <a:gd name="connsiteX2633" fmla="*/ 11836129 w 12192185"/>
              <a:gd name="connsiteY2633" fmla="*/ 6003532 h 6859062"/>
              <a:gd name="connsiteX2634" fmla="*/ 11832700 w 12192185"/>
              <a:gd name="connsiteY2634" fmla="*/ 6006924 h 6859062"/>
              <a:gd name="connsiteX2635" fmla="*/ 11826606 w 12192185"/>
              <a:gd name="connsiteY2635" fmla="*/ 6012109 h 6859062"/>
              <a:gd name="connsiteX2636" fmla="*/ 11823801 w 12192185"/>
              <a:gd name="connsiteY2636" fmla="*/ 6019374 h 6859062"/>
              <a:gd name="connsiteX2637" fmla="*/ 11821886 w 12192185"/>
              <a:gd name="connsiteY2637" fmla="*/ 6021450 h 6859062"/>
              <a:gd name="connsiteX2638" fmla="*/ 11819374 w 12192185"/>
              <a:gd name="connsiteY2638" fmla="*/ 6020089 h 6859062"/>
              <a:gd name="connsiteX2639" fmla="*/ 11817917 w 12192185"/>
              <a:gd name="connsiteY2639" fmla="*/ 6018450 h 6859062"/>
              <a:gd name="connsiteX2640" fmla="*/ 11815354 w 12192185"/>
              <a:gd name="connsiteY2640" fmla="*/ 6016990 h 6859062"/>
              <a:gd name="connsiteX2641" fmla="*/ 11814049 w 12192185"/>
              <a:gd name="connsiteY2641" fmla="*/ 6019472 h 6859062"/>
              <a:gd name="connsiteX2642" fmla="*/ 11808924 w 12192185"/>
              <a:gd name="connsiteY2642" fmla="*/ 6021150 h 6859062"/>
              <a:gd name="connsiteX2643" fmla="*/ 11806915 w 12192185"/>
              <a:gd name="connsiteY2643" fmla="*/ 6019602 h 6859062"/>
              <a:gd name="connsiteX2644" fmla="*/ 11803510 w 12192185"/>
              <a:gd name="connsiteY2644" fmla="*/ 6019980 h 6859062"/>
              <a:gd name="connsiteX2645" fmla="*/ 11803807 w 12192185"/>
              <a:gd name="connsiteY2645" fmla="*/ 6023225 h 6859062"/>
              <a:gd name="connsiteX2646" fmla="*/ 11805313 w 12192185"/>
              <a:gd name="connsiteY2646" fmla="*/ 6025463 h 6859062"/>
              <a:gd name="connsiteX2647" fmla="*/ 11786645 w 12192185"/>
              <a:gd name="connsiteY2647" fmla="*/ 6019666 h 6859062"/>
              <a:gd name="connsiteX2648" fmla="*/ 11786827 w 12192185"/>
              <a:gd name="connsiteY2648" fmla="*/ 6018301 h 6859062"/>
              <a:gd name="connsiteX2649" fmla="*/ 11783853 w 12192185"/>
              <a:gd name="connsiteY2649" fmla="*/ 6016056 h 6859062"/>
              <a:gd name="connsiteX2650" fmla="*/ 11780368 w 12192185"/>
              <a:gd name="connsiteY2650" fmla="*/ 6016279 h 6859062"/>
              <a:gd name="connsiteX2651" fmla="*/ 11776511 w 12192185"/>
              <a:gd name="connsiteY2651" fmla="*/ 6013494 h 6859062"/>
              <a:gd name="connsiteX2652" fmla="*/ 11764062 w 12192185"/>
              <a:gd name="connsiteY2652" fmla="*/ 6004603 h 6859062"/>
              <a:gd name="connsiteX2653" fmla="*/ 11760960 w 12192185"/>
              <a:gd name="connsiteY2653" fmla="*/ 6004025 h 6859062"/>
              <a:gd name="connsiteX2654" fmla="*/ 11762960 w 12192185"/>
              <a:gd name="connsiteY2654" fmla="*/ 6000579 h 6859062"/>
              <a:gd name="connsiteX2655" fmla="*/ 11763431 w 12192185"/>
              <a:gd name="connsiteY2655" fmla="*/ 6000333 h 6859062"/>
              <a:gd name="connsiteX2656" fmla="*/ 11763625 w 12192185"/>
              <a:gd name="connsiteY2656" fmla="*/ 5993432 h 6859062"/>
              <a:gd name="connsiteX2657" fmla="*/ 11760083 w 12192185"/>
              <a:gd name="connsiteY2657" fmla="*/ 5985885 h 6859062"/>
              <a:gd name="connsiteX2658" fmla="*/ 11757335 w 12192185"/>
              <a:gd name="connsiteY2658" fmla="*/ 5974123 h 6859062"/>
              <a:gd name="connsiteX2659" fmla="*/ 11758216 w 12192185"/>
              <a:gd name="connsiteY2659" fmla="*/ 5970064 h 6859062"/>
              <a:gd name="connsiteX2660" fmla="*/ 11760389 w 12192185"/>
              <a:gd name="connsiteY2660" fmla="*/ 5958529 h 6859062"/>
              <a:gd name="connsiteX2661" fmla="*/ 11763423 w 12192185"/>
              <a:gd name="connsiteY2661" fmla="*/ 5955144 h 6859062"/>
              <a:gd name="connsiteX2662" fmla="*/ 11776599 w 12192185"/>
              <a:gd name="connsiteY2662" fmla="*/ 5942459 h 6859062"/>
              <a:gd name="connsiteX2663" fmla="*/ 11774794 w 12192185"/>
              <a:gd name="connsiteY2663" fmla="*/ 5939002 h 6859062"/>
              <a:gd name="connsiteX2664" fmla="*/ 11770461 w 12192185"/>
              <a:gd name="connsiteY2664" fmla="*/ 5940667 h 6859062"/>
              <a:gd name="connsiteX2665" fmla="*/ 11768618 w 12192185"/>
              <a:gd name="connsiteY2665" fmla="*/ 5944031 h 6859062"/>
              <a:gd name="connsiteX2666" fmla="*/ 11766111 w 12192185"/>
              <a:gd name="connsiteY2666" fmla="*/ 5945741 h 6859062"/>
              <a:gd name="connsiteX2667" fmla="*/ 11765104 w 12192185"/>
              <a:gd name="connsiteY2667" fmla="*/ 5942667 h 6859062"/>
              <a:gd name="connsiteX2668" fmla="*/ 11766237 w 12192185"/>
              <a:gd name="connsiteY2668" fmla="*/ 5939475 h 6859062"/>
              <a:gd name="connsiteX2669" fmla="*/ 11764479 w 12192185"/>
              <a:gd name="connsiteY2669" fmla="*/ 5934195 h 6859062"/>
              <a:gd name="connsiteX2670" fmla="*/ 11760727 w 12192185"/>
              <a:gd name="connsiteY2670" fmla="*/ 5937355 h 6859062"/>
              <a:gd name="connsiteX2671" fmla="*/ 11758823 w 12192185"/>
              <a:gd name="connsiteY2671" fmla="*/ 5941750 h 6859062"/>
              <a:gd name="connsiteX2672" fmla="*/ 11754613 w 12192185"/>
              <a:gd name="connsiteY2672" fmla="*/ 5941352 h 6859062"/>
              <a:gd name="connsiteX2673" fmla="*/ 11753391 w 12192185"/>
              <a:gd name="connsiteY2673" fmla="*/ 5930591 h 6859062"/>
              <a:gd name="connsiteX2674" fmla="*/ 11748876 w 12192185"/>
              <a:gd name="connsiteY2674" fmla="*/ 5921952 h 6859062"/>
              <a:gd name="connsiteX2675" fmla="*/ 11743927 w 12192185"/>
              <a:gd name="connsiteY2675" fmla="*/ 5920140 h 6859062"/>
              <a:gd name="connsiteX2676" fmla="*/ 11742081 w 12192185"/>
              <a:gd name="connsiteY2676" fmla="*/ 5918905 h 6859062"/>
              <a:gd name="connsiteX2677" fmla="*/ 11743317 w 12192185"/>
              <a:gd name="connsiteY2677" fmla="*/ 5917059 h 6859062"/>
              <a:gd name="connsiteX2678" fmla="*/ 11744976 w 12192185"/>
              <a:gd name="connsiteY2678" fmla="*/ 5912192 h 6859062"/>
              <a:gd name="connsiteX2679" fmla="*/ 11745367 w 12192185"/>
              <a:gd name="connsiteY2679" fmla="*/ 5902989 h 6859062"/>
              <a:gd name="connsiteX2680" fmla="*/ 11743555 w 12192185"/>
              <a:gd name="connsiteY2680" fmla="*/ 5899137 h 6859062"/>
              <a:gd name="connsiteX2681" fmla="*/ 11740983 w 12192185"/>
              <a:gd name="connsiteY2681" fmla="*/ 5897281 h 6859062"/>
              <a:gd name="connsiteX2682" fmla="*/ 11742753 w 12192185"/>
              <a:gd name="connsiteY2682" fmla="*/ 5894157 h 6859062"/>
              <a:gd name="connsiteX2683" fmla="*/ 11744788 w 12192185"/>
              <a:gd name="connsiteY2683" fmla="*/ 5892693 h 6859062"/>
              <a:gd name="connsiteX2684" fmla="*/ 11744094 w 12192185"/>
              <a:gd name="connsiteY2684" fmla="*/ 5884857 h 6859062"/>
              <a:gd name="connsiteX2685" fmla="*/ 11742651 w 12192185"/>
              <a:gd name="connsiteY2685" fmla="*/ 5884011 h 6859062"/>
              <a:gd name="connsiteX2686" fmla="*/ 11741332 w 12192185"/>
              <a:gd name="connsiteY2686" fmla="*/ 5881102 h 6859062"/>
              <a:gd name="connsiteX2687" fmla="*/ 11744174 w 12192185"/>
              <a:gd name="connsiteY2687" fmla="*/ 5880416 h 6859062"/>
              <a:gd name="connsiteX2688" fmla="*/ 11746812 w 12192185"/>
              <a:gd name="connsiteY2688" fmla="*/ 5881637 h 6859062"/>
              <a:gd name="connsiteX2689" fmla="*/ 11750201 w 12192185"/>
              <a:gd name="connsiteY2689" fmla="*/ 5880465 h 6859062"/>
              <a:gd name="connsiteX2690" fmla="*/ 11758474 w 12192185"/>
              <a:gd name="connsiteY2690" fmla="*/ 5872942 h 6859062"/>
              <a:gd name="connsiteX2691" fmla="*/ 11770007 w 12192185"/>
              <a:gd name="connsiteY2691" fmla="*/ 5865915 h 6859062"/>
              <a:gd name="connsiteX2692" fmla="*/ 11773574 w 12192185"/>
              <a:gd name="connsiteY2692" fmla="*/ 5865850 h 6859062"/>
              <a:gd name="connsiteX2693" fmla="*/ 11783717 w 12192185"/>
              <a:gd name="connsiteY2693" fmla="*/ 5865349 h 6859062"/>
              <a:gd name="connsiteX2694" fmla="*/ 1182581 w 12192185"/>
              <a:gd name="connsiteY2694" fmla="*/ 5811483 h 6859062"/>
              <a:gd name="connsiteX2695" fmla="*/ 1196837 w 12192185"/>
              <a:gd name="connsiteY2695" fmla="*/ 5816009 h 6859062"/>
              <a:gd name="connsiteX2696" fmla="*/ 1210642 w 12192185"/>
              <a:gd name="connsiteY2696" fmla="*/ 5820465 h 6859062"/>
              <a:gd name="connsiteX2697" fmla="*/ 1227515 w 12192185"/>
              <a:gd name="connsiteY2697" fmla="*/ 5843705 h 6859062"/>
              <a:gd name="connsiteX2698" fmla="*/ 1225809 w 12192185"/>
              <a:gd name="connsiteY2698" fmla="*/ 5854516 h 6859062"/>
              <a:gd name="connsiteX2699" fmla="*/ 1224989 w 12192185"/>
              <a:gd name="connsiteY2699" fmla="*/ 5858990 h 6859062"/>
              <a:gd name="connsiteX2700" fmla="*/ 1223778 w 12192185"/>
              <a:gd name="connsiteY2700" fmla="*/ 5871357 h 6859062"/>
              <a:gd name="connsiteX2701" fmla="*/ 1223452 w 12192185"/>
              <a:gd name="connsiteY2701" fmla="*/ 5877386 h 6859062"/>
              <a:gd name="connsiteX2702" fmla="*/ 1220884 w 12192185"/>
              <a:gd name="connsiteY2702" fmla="*/ 5884651 h 6859062"/>
              <a:gd name="connsiteX2703" fmla="*/ 1215703 w 12192185"/>
              <a:gd name="connsiteY2703" fmla="*/ 5891163 h 6859062"/>
              <a:gd name="connsiteX2704" fmla="*/ 1200980 w 12192185"/>
              <a:gd name="connsiteY2704" fmla="*/ 5906225 h 6859062"/>
              <a:gd name="connsiteX2705" fmla="*/ 1164424 w 12192185"/>
              <a:gd name="connsiteY2705" fmla="*/ 5916869 h 6859062"/>
              <a:gd name="connsiteX2706" fmla="*/ 1161628 w 12192185"/>
              <a:gd name="connsiteY2706" fmla="*/ 5915119 h 6859062"/>
              <a:gd name="connsiteX2707" fmla="*/ 1148199 w 12192185"/>
              <a:gd name="connsiteY2707" fmla="*/ 5909359 h 6859062"/>
              <a:gd name="connsiteX2708" fmla="*/ 1145217 w 12192185"/>
              <a:gd name="connsiteY2708" fmla="*/ 5906615 h 6859062"/>
              <a:gd name="connsiteX2709" fmla="*/ 1136084 w 12192185"/>
              <a:gd name="connsiteY2709" fmla="*/ 5900682 h 6859062"/>
              <a:gd name="connsiteX2710" fmla="*/ 1131487 w 12192185"/>
              <a:gd name="connsiteY2710" fmla="*/ 5897000 h 6859062"/>
              <a:gd name="connsiteX2711" fmla="*/ 1130197 w 12192185"/>
              <a:gd name="connsiteY2711" fmla="*/ 5890033 h 6859062"/>
              <a:gd name="connsiteX2712" fmla="*/ 1122960 w 12192185"/>
              <a:gd name="connsiteY2712" fmla="*/ 5870989 h 6859062"/>
              <a:gd name="connsiteX2713" fmla="*/ 1120749 w 12192185"/>
              <a:gd name="connsiteY2713" fmla="*/ 5859046 h 6859062"/>
              <a:gd name="connsiteX2714" fmla="*/ 1122254 w 12192185"/>
              <a:gd name="connsiteY2714" fmla="*/ 5853829 h 6859062"/>
              <a:gd name="connsiteX2715" fmla="*/ 1129996 w 12192185"/>
              <a:gd name="connsiteY2715" fmla="*/ 5843346 h 6859062"/>
              <a:gd name="connsiteX2716" fmla="*/ 1141612 w 12192185"/>
              <a:gd name="connsiteY2716" fmla="*/ 5825975 h 6859062"/>
              <a:gd name="connsiteX2717" fmla="*/ 1148844 w 12192185"/>
              <a:gd name="connsiteY2717" fmla="*/ 5820526 h 6859062"/>
              <a:gd name="connsiteX2718" fmla="*/ 1159123 w 12192185"/>
              <a:gd name="connsiteY2718" fmla="*/ 5815957 h 6859062"/>
              <a:gd name="connsiteX2719" fmla="*/ 1167654 w 12192185"/>
              <a:gd name="connsiteY2719" fmla="*/ 5814180 h 6859062"/>
              <a:gd name="connsiteX2720" fmla="*/ 1182581 w 12192185"/>
              <a:gd name="connsiteY2720" fmla="*/ 5811483 h 6859062"/>
              <a:gd name="connsiteX2721" fmla="*/ 8493760 w 12192185"/>
              <a:gd name="connsiteY2721" fmla="*/ 5763534 h 6859062"/>
              <a:gd name="connsiteX2722" fmla="*/ 8482005 w 12192185"/>
              <a:gd name="connsiteY2722" fmla="*/ 5764669 h 6859062"/>
              <a:gd name="connsiteX2723" fmla="*/ 8533948 w 12192185"/>
              <a:gd name="connsiteY2723" fmla="*/ 5780419 h 6859062"/>
              <a:gd name="connsiteX2724" fmla="*/ 8540394 w 12192185"/>
              <a:gd name="connsiteY2724" fmla="*/ 5785730 h 6859062"/>
              <a:gd name="connsiteX2725" fmla="*/ 8546271 w 12192185"/>
              <a:gd name="connsiteY2725" fmla="*/ 5785162 h 6859062"/>
              <a:gd name="connsiteX2726" fmla="*/ 8611105 w 12192185"/>
              <a:gd name="connsiteY2726" fmla="*/ 5811533 h 6859062"/>
              <a:gd name="connsiteX2727" fmla="*/ 8767507 w 12192185"/>
              <a:gd name="connsiteY2727" fmla="*/ 5864660 h 6859062"/>
              <a:gd name="connsiteX2728" fmla="*/ 8920116 w 12192185"/>
              <a:gd name="connsiteY2728" fmla="*/ 5909254 h 6859062"/>
              <a:gd name="connsiteX2729" fmla="*/ 8944193 w 12192185"/>
              <a:gd name="connsiteY2729" fmla="*/ 5912863 h 6859062"/>
              <a:gd name="connsiteX2730" fmla="*/ 9056615 w 12192185"/>
              <a:gd name="connsiteY2730" fmla="*/ 5940572 h 6859062"/>
              <a:gd name="connsiteX2731" fmla="*/ 9095670 w 12192185"/>
              <a:gd name="connsiteY2731" fmla="*/ 5945702 h 6859062"/>
              <a:gd name="connsiteX2732" fmla="*/ 9179659 w 12192185"/>
              <a:gd name="connsiteY2732" fmla="*/ 5955392 h 6859062"/>
              <a:gd name="connsiteX2733" fmla="*/ 9180953 w 12192185"/>
              <a:gd name="connsiteY2733" fmla="*/ 5955573 h 6859062"/>
              <a:gd name="connsiteX2734" fmla="*/ 9182923 w 12192185"/>
              <a:gd name="connsiteY2734" fmla="*/ 5955055 h 6859062"/>
              <a:gd name="connsiteX2735" fmla="*/ 9194318 w 12192185"/>
              <a:gd name="connsiteY2735" fmla="*/ 5946956 h 6859062"/>
              <a:gd name="connsiteX2736" fmla="*/ 9198347 w 12192185"/>
              <a:gd name="connsiteY2736" fmla="*/ 5942900 h 6859062"/>
              <a:gd name="connsiteX2737" fmla="*/ 9212737 w 12192185"/>
              <a:gd name="connsiteY2737" fmla="*/ 5935632 h 6859062"/>
              <a:gd name="connsiteX2738" fmla="*/ 9129234 w 12192185"/>
              <a:gd name="connsiteY2738" fmla="*/ 5924665 h 6859062"/>
              <a:gd name="connsiteX2739" fmla="*/ 9126011 w 12192185"/>
              <a:gd name="connsiteY2739" fmla="*/ 5922010 h 6859062"/>
              <a:gd name="connsiteX2740" fmla="*/ 9120136 w 12192185"/>
              <a:gd name="connsiteY2740" fmla="*/ 5922577 h 6859062"/>
              <a:gd name="connsiteX2741" fmla="*/ 9090179 w 12192185"/>
              <a:gd name="connsiteY2741" fmla="*/ 5919535 h 6859062"/>
              <a:gd name="connsiteX2742" fmla="*/ 9077857 w 12192185"/>
              <a:gd name="connsiteY2742" fmla="*/ 5914792 h 6859062"/>
              <a:gd name="connsiteX2743" fmla="*/ 9071980 w 12192185"/>
              <a:gd name="connsiteY2743" fmla="*/ 5915361 h 6859062"/>
              <a:gd name="connsiteX2744" fmla="*/ 9036147 w 12192185"/>
              <a:gd name="connsiteY2744" fmla="*/ 5912885 h 6859062"/>
              <a:gd name="connsiteX2745" fmla="*/ 9030269 w 12192185"/>
              <a:gd name="connsiteY2745" fmla="*/ 5913454 h 6859062"/>
              <a:gd name="connsiteX2746" fmla="*/ 9020602 w 12192185"/>
              <a:gd name="connsiteY2746" fmla="*/ 5905488 h 6859062"/>
              <a:gd name="connsiteX2747" fmla="*/ 8984771 w 12192185"/>
              <a:gd name="connsiteY2747" fmla="*/ 5903014 h 6859062"/>
              <a:gd name="connsiteX2748" fmla="*/ 8978893 w 12192185"/>
              <a:gd name="connsiteY2748" fmla="*/ 5903582 h 6859062"/>
              <a:gd name="connsiteX2749" fmla="*/ 8975671 w 12192185"/>
              <a:gd name="connsiteY2749" fmla="*/ 5900926 h 6859062"/>
              <a:gd name="connsiteX2750" fmla="*/ 8850925 w 12192185"/>
              <a:gd name="connsiteY2750" fmla="*/ 5868473 h 6859062"/>
              <a:gd name="connsiteX2751" fmla="*/ 8835949 w 12192185"/>
              <a:gd name="connsiteY2751" fmla="*/ 5866952 h 6859062"/>
              <a:gd name="connsiteX2752" fmla="*/ 8826280 w 12192185"/>
              <a:gd name="connsiteY2752" fmla="*/ 5858987 h 6859062"/>
              <a:gd name="connsiteX2753" fmla="*/ 8820970 w 12192185"/>
              <a:gd name="connsiteY2753" fmla="*/ 5865432 h 6859062"/>
              <a:gd name="connsiteX2754" fmla="*/ 8811871 w 12192185"/>
              <a:gd name="connsiteY2754" fmla="*/ 5863343 h 6859062"/>
              <a:gd name="connsiteX2755" fmla="*/ 8753480 w 12192185"/>
              <a:gd name="connsiteY2755" fmla="*/ 5842284 h 6859062"/>
              <a:gd name="connsiteX2756" fmla="*/ 8750259 w 12192185"/>
              <a:gd name="connsiteY2756" fmla="*/ 5839629 h 6859062"/>
              <a:gd name="connsiteX2757" fmla="*/ 8743815 w 12192185"/>
              <a:gd name="connsiteY2757" fmla="*/ 5834319 h 6859062"/>
              <a:gd name="connsiteX2758" fmla="*/ 8741160 w 12192185"/>
              <a:gd name="connsiteY2758" fmla="*/ 5837541 h 6859062"/>
              <a:gd name="connsiteX2759" fmla="*/ 8674238 w 12192185"/>
              <a:gd name="connsiteY2759" fmla="*/ 5820270 h 6859062"/>
              <a:gd name="connsiteX2760" fmla="*/ 8588548 w 12192185"/>
              <a:gd name="connsiteY2760" fmla="*/ 5792947 h 6859062"/>
              <a:gd name="connsiteX2761" fmla="*/ 8542481 w 12192185"/>
              <a:gd name="connsiteY2761" fmla="*/ 5776629 h 6859062"/>
              <a:gd name="connsiteX2762" fmla="*/ 8539258 w 12192185"/>
              <a:gd name="connsiteY2762" fmla="*/ 5773974 h 6859062"/>
              <a:gd name="connsiteX2763" fmla="*/ 8536036 w 12192185"/>
              <a:gd name="connsiteY2763" fmla="*/ 5771320 h 6859062"/>
              <a:gd name="connsiteX2764" fmla="*/ 8532815 w 12192185"/>
              <a:gd name="connsiteY2764" fmla="*/ 5768664 h 6859062"/>
              <a:gd name="connsiteX2765" fmla="*/ 8530159 w 12192185"/>
              <a:gd name="connsiteY2765" fmla="*/ 5771886 h 6859062"/>
              <a:gd name="connsiteX2766" fmla="*/ 8521626 w 12192185"/>
              <a:gd name="connsiteY2766" fmla="*/ 5775676 h 6859062"/>
              <a:gd name="connsiteX2767" fmla="*/ 8493760 w 12192185"/>
              <a:gd name="connsiteY2767" fmla="*/ 5763534 h 6859062"/>
              <a:gd name="connsiteX2768" fmla="*/ 8394795 w 12192185"/>
              <a:gd name="connsiteY2768" fmla="*/ 5752323 h 6859062"/>
              <a:gd name="connsiteX2769" fmla="*/ 8389484 w 12192185"/>
              <a:gd name="connsiteY2769" fmla="*/ 5758768 h 6859062"/>
              <a:gd name="connsiteX2770" fmla="*/ 8401807 w 12192185"/>
              <a:gd name="connsiteY2770" fmla="*/ 5763511 h 6859062"/>
              <a:gd name="connsiteX2771" fmla="*/ 8399152 w 12192185"/>
              <a:gd name="connsiteY2771" fmla="*/ 5766733 h 6859062"/>
              <a:gd name="connsiteX2772" fmla="*/ 8435552 w 12192185"/>
              <a:gd name="connsiteY2772" fmla="*/ 5775084 h 6859062"/>
              <a:gd name="connsiteX2773" fmla="*/ 8441996 w 12192185"/>
              <a:gd name="connsiteY2773" fmla="*/ 5780395 h 6859062"/>
              <a:gd name="connsiteX2774" fmla="*/ 8445218 w 12192185"/>
              <a:gd name="connsiteY2774" fmla="*/ 5783049 h 6859062"/>
              <a:gd name="connsiteX2775" fmla="*/ 8448442 w 12192185"/>
              <a:gd name="connsiteY2775" fmla="*/ 5785706 h 6859062"/>
              <a:gd name="connsiteX2776" fmla="*/ 8451097 w 12192185"/>
              <a:gd name="connsiteY2776" fmla="*/ 5782482 h 6859062"/>
              <a:gd name="connsiteX2777" fmla="*/ 8457542 w 12192185"/>
              <a:gd name="connsiteY2777" fmla="*/ 5787794 h 6859062"/>
              <a:gd name="connsiteX2778" fmla="*/ 8449007 w 12192185"/>
              <a:gd name="connsiteY2778" fmla="*/ 5791583 h 6859062"/>
              <a:gd name="connsiteX2779" fmla="*/ 8461330 w 12192185"/>
              <a:gd name="connsiteY2779" fmla="*/ 5796325 h 6859062"/>
              <a:gd name="connsiteX2780" fmla="*/ 8464554 w 12192185"/>
              <a:gd name="connsiteY2780" fmla="*/ 5798981 h 6859062"/>
              <a:gd name="connsiteX2781" fmla="*/ 8467776 w 12192185"/>
              <a:gd name="connsiteY2781" fmla="*/ 5801636 h 6859062"/>
              <a:gd name="connsiteX2782" fmla="*/ 8470997 w 12192185"/>
              <a:gd name="connsiteY2782" fmla="*/ 5804291 h 6859062"/>
              <a:gd name="connsiteX2783" fmla="*/ 8486544 w 12192185"/>
              <a:gd name="connsiteY2783" fmla="*/ 5811688 h 6859062"/>
              <a:gd name="connsiteX2784" fmla="*/ 8492420 w 12192185"/>
              <a:gd name="connsiteY2784" fmla="*/ 5811122 h 6859062"/>
              <a:gd name="connsiteX2785" fmla="*/ 8495642 w 12192185"/>
              <a:gd name="connsiteY2785" fmla="*/ 5813778 h 6859062"/>
              <a:gd name="connsiteX2786" fmla="*/ 8492420 w 12192185"/>
              <a:gd name="connsiteY2786" fmla="*/ 5811122 h 6859062"/>
              <a:gd name="connsiteX2787" fmla="*/ 8532608 w 12192185"/>
              <a:gd name="connsiteY2787" fmla="*/ 5828007 h 6859062"/>
              <a:gd name="connsiteX2788" fmla="*/ 8539055 w 12192185"/>
              <a:gd name="connsiteY2788" fmla="*/ 5833316 h 6859062"/>
              <a:gd name="connsiteX2789" fmla="*/ 8541709 w 12192185"/>
              <a:gd name="connsiteY2789" fmla="*/ 5830095 h 6859062"/>
              <a:gd name="connsiteX2790" fmla="*/ 8578675 w 12192185"/>
              <a:gd name="connsiteY2790" fmla="*/ 5844324 h 6859062"/>
              <a:gd name="connsiteX2791" fmla="*/ 8581332 w 12192185"/>
              <a:gd name="connsiteY2791" fmla="*/ 5841101 h 6859062"/>
              <a:gd name="connsiteX2792" fmla="*/ 8584553 w 12192185"/>
              <a:gd name="connsiteY2792" fmla="*/ 5843757 h 6859062"/>
              <a:gd name="connsiteX2793" fmla="*/ 8581898 w 12192185"/>
              <a:gd name="connsiteY2793" fmla="*/ 5846978 h 6859062"/>
              <a:gd name="connsiteX2794" fmla="*/ 8585121 w 12192185"/>
              <a:gd name="connsiteY2794" fmla="*/ 5849635 h 6859062"/>
              <a:gd name="connsiteX2795" fmla="*/ 8590998 w 12192185"/>
              <a:gd name="connsiteY2795" fmla="*/ 5849066 h 6859062"/>
              <a:gd name="connsiteX2796" fmla="*/ 8705122 w 12192185"/>
              <a:gd name="connsiteY2796" fmla="*/ 5894409 h 6859062"/>
              <a:gd name="connsiteX2797" fmla="*/ 8736210 w 12192185"/>
              <a:gd name="connsiteY2797" fmla="*/ 5909205 h 6859062"/>
              <a:gd name="connsiteX2798" fmla="*/ 8760288 w 12192185"/>
              <a:gd name="connsiteY2798" fmla="*/ 5912815 h 6859062"/>
              <a:gd name="connsiteX2799" fmla="*/ 8796688 w 12192185"/>
              <a:gd name="connsiteY2799" fmla="*/ 5921166 h 6859062"/>
              <a:gd name="connsiteX2800" fmla="*/ 9057931 w 12192185"/>
              <a:gd name="connsiteY2800" fmla="*/ 5984938 h 6859062"/>
              <a:gd name="connsiteX2801" fmla="*/ 9061721 w 12192185"/>
              <a:gd name="connsiteY2801" fmla="*/ 5993470 h 6859062"/>
              <a:gd name="connsiteX2802" fmla="*/ 9058498 w 12192185"/>
              <a:gd name="connsiteY2802" fmla="*/ 5990816 h 6859062"/>
              <a:gd name="connsiteX2803" fmla="*/ 9055843 w 12192185"/>
              <a:gd name="connsiteY2803" fmla="*/ 5994037 h 6859062"/>
              <a:gd name="connsiteX2804" fmla="*/ 9064944 w 12192185"/>
              <a:gd name="connsiteY2804" fmla="*/ 5996125 h 6859062"/>
              <a:gd name="connsiteX2805" fmla="*/ 9074610 w 12192185"/>
              <a:gd name="connsiteY2805" fmla="*/ 6004090 h 6859062"/>
              <a:gd name="connsiteX2806" fmla="*/ 9094898 w 12192185"/>
              <a:gd name="connsiteY2806" fmla="*/ 5999167 h 6859062"/>
              <a:gd name="connsiteX2807" fmla="*/ 9098119 w 12192185"/>
              <a:gd name="connsiteY2807" fmla="*/ 6001821 h 6859062"/>
              <a:gd name="connsiteX2808" fmla="*/ 9103998 w 12192185"/>
              <a:gd name="connsiteY2808" fmla="*/ 6001254 h 6859062"/>
              <a:gd name="connsiteX2809" fmla="*/ 9107220 w 12192185"/>
              <a:gd name="connsiteY2809" fmla="*/ 6003909 h 6859062"/>
              <a:gd name="connsiteX2810" fmla="*/ 9109875 w 12192185"/>
              <a:gd name="connsiteY2810" fmla="*/ 6000687 h 6859062"/>
              <a:gd name="connsiteX2811" fmla="*/ 9118976 w 12192185"/>
              <a:gd name="connsiteY2811" fmla="*/ 6002774 h 6859062"/>
              <a:gd name="connsiteX2812" fmla="*/ 9140396 w 12192185"/>
              <a:gd name="connsiteY2812" fmla="*/ 6009607 h 6859062"/>
              <a:gd name="connsiteX2813" fmla="*/ 9137743 w 12192185"/>
              <a:gd name="connsiteY2813" fmla="*/ 6012828 h 6859062"/>
              <a:gd name="connsiteX2814" fmla="*/ 9131865 w 12192185"/>
              <a:gd name="connsiteY2814" fmla="*/ 6013396 h 6859062"/>
              <a:gd name="connsiteX2815" fmla="*/ 9140965 w 12192185"/>
              <a:gd name="connsiteY2815" fmla="*/ 6015484 h 6859062"/>
              <a:gd name="connsiteX2816" fmla="*/ 9146843 w 12192185"/>
              <a:gd name="connsiteY2816" fmla="*/ 6014917 h 6859062"/>
              <a:gd name="connsiteX2817" fmla="*/ 9167696 w 12192185"/>
              <a:gd name="connsiteY2817" fmla="*/ 6015869 h 6859062"/>
              <a:gd name="connsiteX2818" fmla="*/ 9170919 w 12192185"/>
              <a:gd name="connsiteY2818" fmla="*/ 6018524 h 6859062"/>
              <a:gd name="connsiteX2819" fmla="*/ 9180020 w 12192185"/>
              <a:gd name="connsiteY2819" fmla="*/ 6020613 h 6859062"/>
              <a:gd name="connsiteX2820" fmla="*/ 9182675 w 12192185"/>
              <a:gd name="connsiteY2820" fmla="*/ 6017390 h 6859062"/>
              <a:gd name="connsiteX2821" fmla="*/ 9179452 w 12192185"/>
              <a:gd name="connsiteY2821" fmla="*/ 6014735 h 6859062"/>
              <a:gd name="connsiteX2822" fmla="*/ 9191775 w 12192185"/>
              <a:gd name="connsiteY2822" fmla="*/ 6019479 h 6859062"/>
              <a:gd name="connsiteX2823" fmla="*/ 9197085 w 12192185"/>
              <a:gd name="connsiteY2823" fmla="*/ 6013033 h 6859062"/>
              <a:gd name="connsiteX2824" fmla="*/ 9203530 w 12192185"/>
              <a:gd name="connsiteY2824" fmla="*/ 6018343 h 6859062"/>
              <a:gd name="connsiteX2825" fmla="*/ 9209408 w 12192185"/>
              <a:gd name="connsiteY2825" fmla="*/ 6017776 h 6859062"/>
              <a:gd name="connsiteX2826" fmla="*/ 9212630 w 12192185"/>
              <a:gd name="connsiteY2826" fmla="*/ 6020431 h 6859062"/>
              <a:gd name="connsiteX2827" fmla="*/ 9215286 w 12192185"/>
              <a:gd name="connsiteY2827" fmla="*/ 6017210 h 6859062"/>
              <a:gd name="connsiteX2828" fmla="*/ 9212063 w 12192185"/>
              <a:gd name="connsiteY2828" fmla="*/ 6014554 h 6859062"/>
              <a:gd name="connsiteX2829" fmla="*/ 9268750 w 12192185"/>
              <a:gd name="connsiteY2829" fmla="*/ 6017981 h 6859062"/>
              <a:gd name="connsiteX2830" fmla="*/ 9277850 w 12192185"/>
              <a:gd name="connsiteY2830" fmla="*/ 6020069 h 6859062"/>
              <a:gd name="connsiteX2831" fmla="*/ 9286383 w 12192185"/>
              <a:gd name="connsiteY2831" fmla="*/ 6016280 h 6859062"/>
              <a:gd name="connsiteX2832" fmla="*/ 9283853 w 12192185"/>
              <a:gd name="connsiteY2832" fmla="*/ 6014195 h 6859062"/>
              <a:gd name="connsiteX2833" fmla="*/ 9300688 w 12192185"/>
              <a:gd name="connsiteY2833" fmla="*/ 6014205 h 6859062"/>
              <a:gd name="connsiteX2834" fmla="*/ 9360702 w 12192185"/>
              <a:gd name="connsiteY2834" fmla="*/ 6018005 h 6859062"/>
              <a:gd name="connsiteX2835" fmla="*/ 9383647 w 12192185"/>
              <a:gd name="connsiteY2835" fmla="*/ 6009858 h 6859062"/>
              <a:gd name="connsiteX2836" fmla="*/ 9393313 w 12192185"/>
              <a:gd name="connsiteY2836" fmla="*/ 6017824 h 6859062"/>
              <a:gd name="connsiteX2837" fmla="*/ 9425924 w 12192185"/>
              <a:gd name="connsiteY2837" fmla="*/ 6017643 h 6859062"/>
              <a:gd name="connsiteX2838" fmla="*/ 9442988 w 12192185"/>
              <a:gd name="connsiteY2838" fmla="*/ 6010064 h 6859062"/>
              <a:gd name="connsiteX2839" fmla="*/ 9467067 w 12192185"/>
              <a:gd name="connsiteY2839" fmla="*/ 6013672 h 6859062"/>
              <a:gd name="connsiteX2840" fmla="*/ 9464411 w 12192185"/>
              <a:gd name="connsiteY2840" fmla="*/ 6016895 h 6859062"/>
              <a:gd name="connsiteX2841" fmla="*/ 9455878 w 12192185"/>
              <a:gd name="connsiteY2841" fmla="*/ 6020685 h 6859062"/>
              <a:gd name="connsiteX2842" fmla="*/ 9464978 w 12192185"/>
              <a:gd name="connsiteY2842" fmla="*/ 6022773 h 6859062"/>
              <a:gd name="connsiteX2843" fmla="*/ 9470857 w 12192185"/>
              <a:gd name="connsiteY2843" fmla="*/ 6022205 h 6859062"/>
              <a:gd name="connsiteX2844" fmla="*/ 9456447 w 12192185"/>
              <a:gd name="connsiteY2844" fmla="*/ 6026562 h 6859062"/>
              <a:gd name="connsiteX2845" fmla="*/ 9479956 w 12192185"/>
              <a:gd name="connsiteY2845" fmla="*/ 6024292 h 6859062"/>
              <a:gd name="connsiteX2846" fmla="*/ 9485833 w 12192185"/>
              <a:gd name="connsiteY2846" fmla="*/ 6023725 h 6859062"/>
              <a:gd name="connsiteX2847" fmla="*/ 9500244 w 12192185"/>
              <a:gd name="connsiteY2847" fmla="*/ 6019369 h 6859062"/>
              <a:gd name="connsiteX2848" fmla="*/ 9491144 w 12192185"/>
              <a:gd name="connsiteY2848" fmla="*/ 6017280 h 6859062"/>
              <a:gd name="connsiteX2849" fmla="*/ 9487921 w 12192185"/>
              <a:gd name="connsiteY2849" fmla="*/ 6014625 h 6859062"/>
              <a:gd name="connsiteX2850" fmla="*/ 9505555 w 12192185"/>
              <a:gd name="connsiteY2850" fmla="*/ 6012923 h 6859062"/>
              <a:gd name="connsiteX2851" fmla="*/ 9490010 w 12192185"/>
              <a:gd name="connsiteY2851" fmla="*/ 6005526 h 6859062"/>
              <a:gd name="connsiteX2852" fmla="*/ 9523187 w 12192185"/>
              <a:gd name="connsiteY2852" fmla="*/ 6011222 h 6859062"/>
              <a:gd name="connsiteX2853" fmla="*/ 9517308 w 12192185"/>
              <a:gd name="connsiteY2853" fmla="*/ 6011790 h 6859062"/>
              <a:gd name="connsiteX2854" fmla="*/ 9511999 w 12192185"/>
              <a:gd name="connsiteY2854" fmla="*/ 6018234 h 6859062"/>
              <a:gd name="connsiteX2855" fmla="*/ 9523752 w 12192185"/>
              <a:gd name="connsiteY2855" fmla="*/ 6017099 h 6859062"/>
              <a:gd name="connsiteX2856" fmla="*/ 9526976 w 12192185"/>
              <a:gd name="connsiteY2856" fmla="*/ 6019755 h 6859062"/>
              <a:gd name="connsiteX2857" fmla="*/ 9530198 w 12192185"/>
              <a:gd name="connsiteY2857" fmla="*/ 6022411 h 6859062"/>
              <a:gd name="connsiteX2858" fmla="*/ 9527545 w 12192185"/>
              <a:gd name="connsiteY2858" fmla="*/ 6025632 h 6859062"/>
              <a:gd name="connsiteX2859" fmla="*/ 9536076 w 12192185"/>
              <a:gd name="connsiteY2859" fmla="*/ 6021842 h 6859062"/>
              <a:gd name="connsiteX2860" fmla="*/ 9541955 w 12192185"/>
              <a:gd name="connsiteY2860" fmla="*/ 6021275 h 6859062"/>
              <a:gd name="connsiteX2861" fmla="*/ 9560153 w 12192185"/>
              <a:gd name="connsiteY2861" fmla="*/ 6025452 h 6859062"/>
              <a:gd name="connsiteX2862" fmla="*/ 9554276 w 12192185"/>
              <a:gd name="connsiteY2862" fmla="*/ 6026018 h 6859062"/>
              <a:gd name="connsiteX2863" fmla="*/ 9545743 w 12192185"/>
              <a:gd name="connsiteY2863" fmla="*/ 6029808 h 6859062"/>
              <a:gd name="connsiteX2864" fmla="*/ 9560720 w 12192185"/>
              <a:gd name="connsiteY2864" fmla="*/ 6031328 h 6859062"/>
              <a:gd name="connsiteX2865" fmla="*/ 9566598 w 12192185"/>
              <a:gd name="connsiteY2865" fmla="*/ 6030762 h 6859062"/>
              <a:gd name="connsiteX2866" fmla="*/ 9572476 w 12192185"/>
              <a:gd name="connsiteY2866" fmla="*/ 6030194 h 6859062"/>
              <a:gd name="connsiteX2867" fmla="*/ 9577785 w 12192185"/>
              <a:gd name="connsiteY2867" fmla="*/ 6023749 h 6859062"/>
              <a:gd name="connsiteX2868" fmla="*/ 9568686 w 12192185"/>
              <a:gd name="connsiteY2868" fmla="*/ 6021661 h 6859062"/>
              <a:gd name="connsiteX2869" fmla="*/ 9566031 w 12192185"/>
              <a:gd name="connsiteY2869" fmla="*/ 6024884 h 6859062"/>
              <a:gd name="connsiteX2870" fmla="*/ 9560153 w 12192185"/>
              <a:gd name="connsiteY2870" fmla="*/ 6025452 h 6859062"/>
              <a:gd name="connsiteX2871" fmla="*/ 9544609 w 12192185"/>
              <a:gd name="connsiteY2871" fmla="*/ 6018053 h 6859062"/>
              <a:gd name="connsiteX2872" fmla="*/ 9550486 w 12192185"/>
              <a:gd name="connsiteY2872" fmla="*/ 6017486 h 6859062"/>
              <a:gd name="connsiteX2873" fmla="*/ 9547263 w 12192185"/>
              <a:gd name="connsiteY2873" fmla="*/ 6014832 h 6859062"/>
              <a:gd name="connsiteX2874" fmla="*/ 9544042 w 12192185"/>
              <a:gd name="connsiteY2874" fmla="*/ 6012176 h 6859062"/>
              <a:gd name="connsiteX2875" fmla="*/ 9541387 w 12192185"/>
              <a:gd name="connsiteY2875" fmla="*/ 6015398 h 6859062"/>
              <a:gd name="connsiteX2876" fmla="*/ 9535508 w 12192185"/>
              <a:gd name="connsiteY2876" fmla="*/ 6015964 h 6859062"/>
              <a:gd name="connsiteX2877" fmla="*/ 9538164 w 12192185"/>
              <a:gd name="connsiteY2877" fmla="*/ 6012743 h 6859062"/>
              <a:gd name="connsiteX2878" fmla="*/ 9532287 w 12192185"/>
              <a:gd name="connsiteY2878" fmla="*/ 6013310 h 6859062"/>
              <a:gd name="connsiteX2879" fmla="*/ 9529065 w 12192185"/>
              <a:gd name="connsiteY2879" fmla="*/ 6010655 h 6859062"/>
              <a:gd name="connsiteX2880" fmla="*/ 9570207 w 12192185"/>
              <a:gd name="connsiteY2880" fmla="*/ 6006684 h 6859062"/>
              <a:gd name="connsiteX2881" fmla="*/ 9567552 w 12192185"/>
              <a:gd name="connsiteY2881" fmla="*/ 6009906 h 6859062"/>
              <a:gd name="connsiteX2882" fmla="*/ 9564896 w 12192185"/>
              <a:gd name="connsiteY2882" fmla="*/ 6013129 h 6859062"/>
              <a:gd name="connsiteX2883" fmla="*/ 9570774 w 12192185"/>
              <a:gd name="connsiteY2883" fmla="*/ 6012562 h 6859062"/>
              <a:gd name="connsiteX2884" fmla="*/ 9573429 w 12192185"/>
              <a:gd name="connsiteY2884" fmla="*/ 6009339 h 6859062"/>
              <a:gd name="connsiteX2885" fmla="*/ 9579307 w 12192185"/>
              <a:gd name="connsiteY2885" fmla="*/ 6008772 h 6859062"/>
              <a:gd name="connsiteX2886" fmla="*/ 9597507 w 12192185"/>
              <a:gd name="connsiteY2886" fmla="*/ 6012948 h 6859062"/>
              <a:gd name="connsiteX2887" fmla="*/ 9600729 w 12192185"/>
              <a:gd name="connsiteY2887" fmla="*/ 6015603 h 6859062"/>
              <a:gd name="connsiteX2888" fmla="*/ 9606607 w 12192185"/>
              <a:gd name="connsiteY2888" fmla="*/ 6015036 h 6859062"/>
              <a:gd name="connsiteX2889" fmla="*/ 9609263 w 12192185"/>
              <a:gd name="connsiteY2889" fmla="*/ 6011813 h 6859062"/>
              <a:gd name="connsiteX2890" fmla="*/ 9606041 w 12192185"/>
              <a:gd name="connsiteY2890" fmla="*/ 6009158 h 6859062"/>
              <a:gd name="connsiteX2891" fmla="*/ 9632771 w 12192185"/>
              <a:gd name="connsiteY2891" fmla="*/ 6009544 h 6859062"/>
              <a:gd name="connsiteX2892" fmla="*/ 9638649 w 12192185"/>
              <a:gd name="connsiteY2892" fmla="*/ 6008977 h 6859062"/>
              <a:gd name="connsiteX2893" fmla="*/ 9641305 w 12192185"/>
              <a:gd name="connsiteY2893" fmla="*/ 6005754 h 6859062"/>
              <a:gd name="connsiteX2894" fmla="*/ 9638082 w 12192185"/>
              <a:gd name="connsiteY2894" fmla="*/ 6003098 h 6859062"/>
              <a:gd name="connsiteX2895" fmla="*/ 9655148 w 12192185"/>
              <a:gd name="connsiteY2895" fmla="*/ 5995520 h 6859062"/>
              <a:gd name="connsiteX2896" fmla="*/ 9735346 w 12192185"/>
              <a:gd name="connsiteY2896" fmla="*/ 5996679 h 6859062"/>
              <a:gd name="connsiteX2897" fmla="*/ 9734778 w 12192185"/>
              <a:gd name="connsiteY2897" fmla="*/ 5990802 h 6859062"/>
              <a:gd name="connsiteX2898" fmla="*/ 9738000 w 12192185"/>
              <a:gd name="connsiteY2898" fmla="*/ 5993456 h 6859062"/>
              <a:gd name="connsiteX2899" fmla="*/ 9743878 w 12192185"/>
              <a:gd name="connsiteY2899" fmla="*/ 5992889 h 6859062"/>
              <a:gd name="connsiteX2900" fmla="*/ 9740656 w 12192185"/>
              <a:gd name="connsiteY2900" fmla="*/ 5990234 h 6859062"/>
              <a:gd name="connsiteX2901" fmla="*/ 9785588 w 12192185"/>
              <a:gd name="connsiteY2901" fmla="*/ 5994796 h 6859062"/>
              <a:gd name="connsiteX2902" fmla="*/ 9787678 w 12192185"/>
              <a:gd name="connsiteY2902" fmla="*/ 5985696 h 6859062"/>
              <a:gd name="connsiteX2903" fmla="*/ 9796776 w 12192185"/>
              <a:gd name="connsiteY2903" fmla="*/ 5987784 h 6859062"/>
              <a:gd name="connsiteX2904" fmla="*/ 9808531 w 12192185"/>
              <a:gd name="connsiteY2904" fmla="*/ 5986648 h 6859062"/>
              <a:gd name="connsiteX2905" fmla="*/ 9805876 w 12192185"/>
              <a:gd name="connsiteY2905" fmla="*/ 5989872 h 6859062"/>
              <a:gd name="connsiteX2906" fmla="*/ 9809099 w 12192185"/>
              <a:gd name="connsiteY2906" fmla="*/ 5992528 h 6859062"/>
              <a:gd name="connsiteX2907" fmla="*/ 9817632 w 12192185"/>
              <a:gd name="connsiteY2907" fmla="*/ 5988737 h 6859062"/>
              <a:gd name="connsiteX2908" fmla="*/ 9820287 w 12192185"/>
              <a:gd name="connsiteY2908" fmla="*/ 5985515 h 6859062"/>
              <a:gd name="connsiteX2909" fmla="*/ 9858207 w 12192185"/>
              <a:gd name="connsiteY2909" fmla="*/ 5978888 h 6859062"/>
              <a:gd name="connsiteX2910" fmla="*/ 9843230 w 12192185"/>
              <a:gd name="connsiteY2910" fmla="*/ 5977368 h 6859062"/>
              <a:gd name="connsiteX2911" fmla="*/ 9826164 w 12192185"/>
              <a:gd name="connsiteY2911" fmla="*/ 5984947 h 6859062"/>
              <a:gd name="connsiteX2912" fmla="*/ 9832042 w 12192185"/>
              <a:gd name="connsiteY2912" fmla="*/ 5984380 h 6859062"/>
              <a:gd name="connsiteX2913" fmla="*/ 9834697 w 12192185"/>
              <a:gd name="connsiteY2913" fmla="*/ 5981157 h 6859062"/>
              <a:gd name="connsiteX2914" fmla="*/ 9831476 w 12192185"/>
              <a:gd name="connsiteY2914" fmla="*/ 5978502 h 6859062"/>
              <a:gd name="connsiteX2915" fmla="*/ 9825598 w 12192185"/>
              <a:gd name="connsiteY2915" fmla="*/ 5979069 h 6859062"/>
              <a:gd name="connsiteX2916" fmla="*/ 9828253 w 12192185"/>
              <a:gd name="connsiteY2916" fmla="*/ 5975848 h 6859062"/>
              <a:gd name="connsiteX2917" fmla="*/ 9834130 w 12192185"/>
              <a:gd name="connsiteY2917" fmla="*/ 5975280 h 6859062"/>
              <a:gd name="connsiteX2918" fmla="*/ 9830907 w 12192185"/>
              <a:gd name="connsiteY2918" fmla="*/ 5972625 h 6859062"/>
              <a:gd name="connsiteX2919" fmla="*/ 9825030 w 12192185"/>
              <a:gd name="connsiteY2919" fmla="*/ 5973191 h 6859062"/>
              <a:gd name="connsiteX2920" fmla="*/ 9819151 w 12192185"/>
              <a:gd name="connsiteY2920" fmla="*/ 5973760 h 6859062"/>
              <a:gd name="connsiteX2921" fmla="*/ 9827684 w 12192185"/>
              <a:gd name="connsiteY2921" fmla="*/ 5969971 h 6859062"/>
              <a:gd name="connsiteX2922" fmla="*/ 9833562 w 12192185"/>
              <a:gd name="connsiteY2922" fmla="*/ 5969403 h 6859062"/>
              <a:gd name="connsiteX2923" fmla="*/ 9839440 w 12192185"/>
              <a:gd name="connsiteY2923" fmla="*/ 5968835 h 6859062"/>
              <a:gd name="connsiteX2924" fmla="*/ 9851195 w 12192185"/>
              <a:gd name="connsiteY2924" fmla="*/ 5967701 h 6859062"/>
              <a:gd name="connsiteX2925" fmla="*/ 9844750 w 12192185"/>
              <a:gd name="connsiteY2925" fmla="*/ 5962391 h 6859062"/>
              <a:gd name="connsiteX2926" fmla="*/ 9841529 w 12192185"/>
              <a:gd name="connsiteY2926" fmla="*/ 5959736 h 6859062"/>
              <a:gd name="connsiteX2927" fmla="*/ 9868259 w 12192185"/>
              <a:gd name="connsiteY2927" fmla="*/ 5960120 h 6859062"/>
              <a:gd name="connsiteX2928" fmla="*/ 9865605 w 12192185"/>
              <a:gd name="connsiteY2928" fmla="*/ 5963344 h 6859062"/>
              <a:gd name="connsiteX2929" fmla="*/ 9868827 w 12192185"/>
              <a:gd name="connsiteY2929" fmla="*/ 5965999 h 6859062"/>
              <a:gd name="connsiteX2930" fmla="*/ 9871483 w 12192185"/>
              <a:gd name="connsiteY2930" fmla="*/ 5962776 h 6859062"/>
              <a:gd name="connsiteX2931" fmla="*/ 9874138 w 12192185"/>
              <a:gd name="connsiteY2931" fmla="*/ 5959554 h 6859062"/>
              <a:gd name="connsiteX2932" fmla="*/ 9880015 w 12192185"/>
              <a:gd name="connsiteY2932" fmla="*/ 5958987 h 6859062"/>
              <a:gd name="connsiteX2933" fmla="*/ 9897649 w 12192185"/>
              <a:gd name="connsiteY2933" fmla="*/ 5957285 h 6859062"/>
              <a:gd name="connsiteX2934" fmla="*/ 9913579 w 12192185"/>
              <a:gd name="connsiteY2934" fmla="*/ 5937950 h 6859062"/>
              <a:gd name="connsiteX2935" fmla="*/ 9890637 w 12192185"/>
              <a:gd name="connsiteY2935" fmla="*/ 5946098 h 6859062"/>
              <a:gd name="connsiteX2936" fmla="*/ 9895947 w 12192185"/>
              <a:gd name="connsiteY2936" fmla="*/ 5939653 h 6859062"/>
              <a:gd name="connsiteX2937" fmla="*/ 9892724 w 12192185"/>
              <a:gd name="connsiteY2937" fmla="*/ 5936998 h 6859062"/>
              <a:gd name="connsiteX2938" fmla="*/ 9939745 w 12192185"/>
              <a:gd name="connsiteY2938" fmla="*/ 5932459 h 6859062"/>
              <a:gd name="connsiteX2939" fmla="*/ 9949039 w 12192185"/>
              <a:gd name="connsiteY2939" fmla="*/ 5930932 h 6859062"/>
              <a:gd name="connsiteX2940" fmla="*/ 9781481 w 12192185"/>
              <a:gd name="connsiteY2940" fmla="*/ 5947325 h 6859062"/>
              <a:gd name="connsiteX2941" fmla="*/ 9510682 w 12192185"/>
              <a:gd name="connsiteY2941" fmla="*/ 5951964 h 6859062"/>
              <a:gd name="connsiteX2942" fmla="*/ 9233903 w 12192185"/>
              <a:gd name="connsiteY2942" fmla="*/ 5920018 h 6859062"/>
              <a:gd name="connsiteX2943" fmla="*/ 9166105 w 12192185"/>
              <a:gd name="connsiteY2943" fmla="*/ 5906024 h 6859062"/>
              <a:gd name="connsiteX2944" fmla="*/ 9158019 w 12192185"/>
              <a:gd name="connsiteY2944" fmla="*/ 5906454 h 6859062"/>
              <a:gd name="connsiteX2945" fmla="*/ 9106109 w 12192185"/>
              <a:gd name="connsiteY2945" fmla="*/ 5900202 h 6859062"/>
              <a:gd name="connsiteX2946" fmla="*/ 9102888 w 12192185"/>
              <a:gd name="connsiteY2946" fmla="*/ 5897546 h 6859062"/>
              <a:gd name="connsiteX2947" fmla="*/ 9099666 w 12192185"/>
              <a:gd name="connsiteY2947" fmla="*/ 5894892 h 6859062"/>
              <a:gd name="connsiteX2948" fmla="*/ 9097010 w 12192185"/>
              <a:gd name="connsiteY2948" fmla="*/ 5898113 h 6859062"/>
              <a:gd name="connsiteX2949" fmla="*/ 9075589 w 12192185"/>
              <a:gd name="connsiteY2949" fmla="*/ 5891284 h 6859062"/>
              <a:gd name="connsiteX2950" fmla="*/ 9072366 w 12192185"/>
              <a:gd name="connsiteY2950" fmla="*/ 5888627 h 6859062"/>
              <a:gd name="connsiteX2951" fmla="*/ 9066488 w 12192185"/>
              <a:gd name="connsiteY2951" fmla="*/ 5889194 h 6859062"/>
              <a:gd name="connsiteX2952" fmla="*/ 9069711 w 12192185"/>
              <a:gd name="connsiteY2952" fmla="*/ 5891850 h 6859062"/>
              <a:gd name="connsiteX2953" fmla="*/ 9015678 w 12192185"/>
              <a:gd name="connsiteY2953" fmla="*/ 5885201 h 6859062"/>
              <a:gd name="connsiteX2954" fmla="*/ 9018333 w 12192185"/>
              <a:gd name="connsiteY2954" fmla="*/ 5881977 h 6859062"/>
              <a:gd name="connsiteX2955" fmla="*/ 9015111 w 12192185"/>
              <a:gd name="connsiteY2955" fmla="*/ 5879322 h 6859062"/>
              <a:gd name="connsiteX2956" fmla="*/ 9009234 w 12192185"/>
              <a:gd name="connsiteY2956" fmla="*/ 5879889 h 6859062"/>
              <a:gd name="connsiteX2957" fmla="*/ 9006578 w 12192185"/>
              <a:gd name="connsiteY2957" fmla="*/ 5883113 h 6859062"/>
              <a:gd name="connsiteX2958" fmla="*/ 9003356 w 12192185"/>
              <a:gd name="connsiteY2958" fmla="*/ 5880458 h 6859062"/>
              <a:gd name="connsiteX2959" fmla="*/ 8978711 w 12192185"/>
              <a:gd name="connsiteY2959" fmla="*/ 5870971 h 6859062"/>
              <a:gd name="connsiteX2960" fmla="*/ 8970178 w 12192185"/>
              <a:gd name="connsiteY2960" fmla="*/ 5874762 h 6859062"/>
              <a:gd name="connsiteX2961" fmla="*/ 8961079 w 12192185"/>
              <a:gd name="connsiteY2961" fmla="*/ 5872672 h 6859062"/>
              <a:gd name="connsiteX2962" fmla="*/ 8960511 w 12192185"/>
              <a:gd name="connsiteY2962" fmla="*/ 5866796 h 6859062"/>
              <a:gd name="connsiteX2963" fmla="*/ 8954634 w 12192185"/>
              <a:gd name="connsiteY2963" fmla="*/ 5867363 h 6859062"/>
              <a:gd name="connsiteX2964" fmla="*/ 8948756 w 12192185"/>
              <a:gd name="connsiteY2964" fmla="*/ 5867930 h 6859062"/>
              <a:gd name="connsiteX2965" fmla="*/ 8906479 w 12192185"/>
              <a:gd name="connsiteY2965" fmla="*/ 5860146 h 6859062"/>
              <a:gd name="connsiteX2966" fmla="*/ 8922024 w 12192185"/>
              <a:gd name="connsiteY2966" fmla="*/ 5867544 h 6859062"/>
              <a:gd name="connsiteX2967" fmla="*/ 8942878 w 12192185"/>
              <a:gd name="connsiteY2967" fmla="*/ 5868496 h 6859062"/>
              <a:gd name="connsiteX2968" fmla="*/ 8946101 w 12192185"/>
              <a:gd name="connsiteY2968" fmla="*/ 5871153 h 6859062"/>
              <a:gd name="connsiteX2969" fmla="*/ 8949324 w 12192185"/>
              <a:gd name="connsiteY2969" fmla="*/ 5873807 h 6859062"/>
              <a:gd name="connsiteX2970" fmla="*/ 8958423 w 12192185"/>
              <a:gd name="connsiteY2970" fmla="*/ 5875895 h 6859062"/>
              <a:gd name="connsiteX2971" fmla="*/ 8997480 w 12192185"/>
              <a:gd name="connsiteY2971" fmla="*/ 5881024 h 6859062"/>
              <a:gd name="connsiteX2972" fmla="*/ 9003923 w 12192185"/>
              <a:gd name="connsiteY2972" fmla="*/ 5886334 h 6859062"/>
              <a:gd name="connsiteX2973" fmla="*/ 9007146 w 12192185"/>
              <a:gd name="connsiteY2973" fmla="*/ 5888990 h 6859062"/>
              <a:gd name="connsiteX2974" fmla="*/ 9013592 w 12192185"/>
              <a:gd name="connsiteY2974" fmla="*/ 5894300 h 6859062"/>
              <a:gd name="connsiteX2975" fmla="*/ 9016244 w 12192185"/>
              <a:gd name="connsiteY2975" fmla="*/ 5891079 h 6859062"/>
              <a:gd name="connsiteX2976" fmla="*/ 9018900 w 12192185"/>
              <a:gd name="connsiteY2976" fmla="*/ 5887855 h 6859062"/>
              <a:gd name="connsiteX2977" fmla="*/ 9039757 w 12192185"/>
              <a:gd name="connsiteY2977" fmla="*/ 5888810 h 6859062"/>
              <a:gd name="connsiteX2978" fmla="*/ 9067055 w 12192185"/>
              <a:gd name="connsiteY2978" fmla="*/ 5895073 h 6859062"/>
              <a:gd name="connsiteX2979" fmla="*/ 9070278 w 12192185"/>
              <a:gd name="connsiteY2979" fmla="*/ 5897728 h 6859062"/>
              <a:gd name="connsiteX2980" fmla="*/ 9073499 w 12192185"/>
              <a:gd name="connsiteY2980" fmla="*/ 5900383 h 6859062"/>
              <a:gd name="connsiteX2981" fmla="*/ 9094355 w 12192185"/>
              <a:gd name="connsiteY2981" fmla="*/ 5901336 h 6859062"/>
              <a:gd name="connsiteX2982" fmla="*/ 9088477 w 12192185"/>
              <a:gd name="connsiteY2982" fmla="*/ 5901903 h 6859062"/>
              <a:gd name="connsiteX2983" fmla="*/ 9091700 w 12192185"/>
              <a:gd name="connsiteY2983" fmla="*/ 5904558 h 6859062"/>
              <a:gd name="connsiteX2984" fmla="*/ 9097578 w 12192185"/>
              <a:gd name="connsiteY2984" fmla="*/ 5903990 h 6859062"/>
              <a:gd name="connsiteX2985" fmla="*/ 9103455 w 12192185"/>
              <a:gd name="connsiteY2985" fmla="*/ 5903424 h 6859062"/>
              <a:gd name="connsiteX2986" fmla="*/ 9115777 w 12192185"/>
              <a:gd name="connsiteY2986" fmla="*/ 5908166 h 6859062"/>
              <a:gd name="connsiteX2987" fmla="*/ 9127533 w 12192185"/>
              <a:gd name="connsiteY2987" fmla="*/ 5907034 h 6859062"/>
              <a:gd name="connsiteX2988" fmla="*/ 9119000 w 12192185"/>
              <a:gd name="connsiteY2988" fmla="*/ 5910822 h 6859062"/>
              <a:gd name="connsiteX2989" fmla="*/ 9136631 w 12192185"/>
              <a:gd name="connsiteY2989" fmla="*/ 5909121 h 6859062"/>
              <a:gd name="connsiteX2990" fmla="*/ 9160711 w 12192185"/>
              <a:gd name="connsiteY2990" fmla="*/ 5912729 h 6859062"/>
              <a:gd name="connsiteX2991" fmla="*/ 9152744 w 12192185"/>
              <a:gd name="connsiteY2991" fmla="*/ 5922396 h 6859062"/>
              <a:gd name="connsiteX2992" fmla="*/ 9176254 w 12192185"/>
              <a:gd name="connsiteY2992" fmla="*/ 5920127 h 6859062"/>
              <a:gd name="connsiteX2993" fmla="*/ 9173600 w 12192185"/>
              <a:gd name="connsiteY2993" fmla="*/ 5923349 h 6859062"/>
              <a:gd name="connsiteX2994" fmla="*/ 9176822 w 12192185"/>
              <a:gd name="connsiteY2994" fmla="*/ 5926005 h 6859062"/>
              <a:gd name="connsiteX2995" fmla="*/ 9182699 w 12192185"/>
              <a:gd name="connsiteY2995" fmla="*/ 5925437 h 6859062"/>
              <a:gd name="connsiteX2996" fmla="*/ 9200332 w 12192185"/>
              <a:gd name="connsiteY2996" fmla="*/ 5923735 h 6859062"/>
              <a:gd name="connsiteX2997" fmla="*/ 9209431 w 12192185"/>
              <a:gd name="connsiteY2997" fmla="*/ 5925823 h 6859062"/>
              <a:gd name="connsiteX2998" fmla="*/ 9215309 w 12192185"/>
              <a:gd name="connsiteY2998" fmla="*/ 5925256 h 6859062"/>
              <a:gd name="connsiteX2999" fmla="*/ 9212087 w 12192185"/>
              <a:gd name="connsiteY2999" fmla="*/ 5922601 h 6859062"/>
              <a:gd name="connsiteX3000" fmla="*/ 9208865 w 12192185"/>
              <a:gd name="connsiteY3000" fmla="*/ 5919946 h 6859062"/>
              <a:gd name="connsiteX3001" fmla="*/ 9247920 w 12192185"/>
              <a:gd name="connsiteY3001" fmla="*/ 5925076 h 6859062"/>
              <a:gd name="connsiteX3002" fmla="*/ 9236731 w 12192185"/>
              <a:gd name="connsiteY3002" fmla="*/ 5932087 h 6859062"/>
              <a:gd name="connsiteX3003" fmla="*/ 9271997 w 12192185"/>
              <a:gd name="connsiteY3003" fmla="*/ 5928683 h 6859062"/>
              <a:gd name="connsiteX3004" fmla="*/ 9311052 w 12192185"/>
              <a:gd name="connsiteY3004" fmla="*/ 5933813 h 6859062"/>
              <a:gd name="connsiteX3005" fmla="*/ 9305174 w 12192185"/>
              <a:gd name="connsiteY3005" fmla="*/ 5934380 h 6859062"/>
              <a:gd name="connsiteX3006" fmla="*/ 9302519 w 12192185"/>
              <a:gd name="connsiteY3006" fmla="*/ 5937601 h 6859062"/>
              <a:gd name="connsiteX3007" fmla="*/ 9299863 w 12192185"/>
              <a:gd name="connsiteY3007" fmla="*/ 5940826 h 6859062"/>
              <a:gd name="connsiteX3008" fmla="*/ 9308964 w 12192185"/>
              <a:gd name="connsiteY3008" fmla="*/ 5942913 h 6859062"/>
              <a:gd name="connsiteX3009" fmla="*/ 9306310 w 12192185"/>
              <a:gd name="connsiteY3009" fmla="*/ 5946135 h 6859062"/>
              <a:gd name="connsiteX3010" fmla="*/ 9300431 w 12192185"/>
              <a:gd name="connsiteY3010" fmla="*/ 5946703 h 6859062"/>
              <a:gd name="connsiteX3011" fmla="*/ 9297209 w 12192185"/>
              <a:gd name="connsiteY3011" fmla="*/ 5944047 h 6859062"/>
              <a:gd name="connsiteX3012" fmla="*/ 9291332 w 12192185"/>
              <a:gd name="connsiteY3012" fmla="*/ 5944614 h 6859062"/>
              <a:gd name="connsiteX3013" fmla="*/ 9285454 w 12192185"/>
              <a:gd name="connsiteY3013" fmla="*/ 5945182 h 6859062"/>
              <a:gd name="connsiteX3014" fmla="*/ 9219601 w 12192185"/>
              <a:gd name="connsiteY3014" fmla="*/ 5936533 h 6859062"/>
              <a:gd name="connsiteX3015" fmla="*/ 9226019 w 12192185"/>
              <a:gd name="connsiteY3015" fmla="*/ 5939499 h 6859062"/>
              <a:gd name="connsiteX3016" fmla="*/ 9233929 w 12192185"/>
              <a:gd name="connsiteY3016" fmla="*/ 5948425 h 6859062"/>
              <a:gd name="connsiteX3017" fmla="*/ 9237439 w 12192185"/>
              <a:gd name="connsiteY3017" fmla="*/ 5956081 h 6859062"/>
              <a:gd name="connsiteX3018" fmla="*/ 9235387 w 12192185"/>
              <a:gd name="connsiteY3018" fmla="*/ 5963185 h 6859062"/>
              <a:gd name="connsiteX3019" fmla="*/ 9251820 w 12192185"/>
              <a:gd name="connsiteY3019" fmla="*/ 5965482 h 6859062"/>
              <a:gd name="connsiteX3020" fmla="*/ 9323555 w 12192185"/>
              <a:gd name="connsiteY3020" fmla="*/ 5971167 h 6859062"/>
              <a:gd name="connsiteX3021" fmla="*/ 9352944 w 12192185"/>
              <a:gd name="connsiteY3021" fmla="*/ 5968330 h 6859062"/>
              <a:gd name="connsiteX3022" fmla="*/ 9395220 w 12192185"/>
              <a:gd name="connsiteY3022" fmla="*/ 5976114 h 6859062"/>
              <a:gd name="connsiteX3023" fmla="*/ 9403754 w 12192185"/>
              <a:gd name="connsiteY3023" fmla="*/ 5972324 h 6859062"/>
              <a:gd name="connsiteX3024" fmla="*/ 9475418 w 12192185"/>
              <a:gd name="connsiteY3024" fmla="*/ 5977272 h 6859062"/>
              <a:gd name="connsiteX3025" fmla="*/ 9492484 w 12192185"/>
              <a:gd name="connsiteY3025" fmla="*/ 5969693 h 6859062"/>
              <a:gd name="connsiteX3026" fmla="*/ 9510684 w 12192185"/>
              <a:gd name="connsiteY3026" fmla="*/ 5973869 h 6859062"/>
              <a:gd name="connsiteX3027" fmla="*/ 9693454 w 12192185"/>
              <a:gd name="connsiteY3027" fmla="*/ 5962162 h 6859062"/>
              <a:gd name="connsiteX3028" fmla="*/ 9773086 w 12192185"/>
              <a:gd name="connsiteY3028" fmla="*/ 5957442 h 6859062"/>
              <a:gd name="connsiteX3029" fmla="*/ 9813662 w 12192185"/>
              <a:gd name="connsiteY3029" fmla="*/ 5947594 h 6859062"/>
              <a:gd name="connsiteX3030" fmla="*/ 9828638 w 12192185"/>
              <a:gd name="connsiteY3030" fmla="*/ 5949115 h 6859062"/>
              <a:gd name="connsiteX3031" fmla="*/ 9848925 w 12192185"/>
              <a:gd name="connsiteY3031" fmla="*/ 5944189 h 6859062"/>
              <a:gd name="connsiteX3032" fmla="*/ 9852149 w 12192185"/>
              <a:gd name="connsiteY3032" fmla="*/ 5946845 h 6859062"/>
              <a:gd name="connsiteX3033" fmla="*/ 9829206 w 12192185"/>
              <a:gd name="connsiteY3033" fmla="*/ 5954993 h 6859062"/>
              <a:gd name="connsiteX3034" fmla="*/ 9825983 w 12192185"/>
              <a:gd name="connsiteY3034" fmla="*/ 5952337 h 6859062"/>
              <a:gd name="connsiteX3035" fmla="*/ 9817450 w 12192185"/>
              <a:gd name="connsiteY3035" fmla="*/ 5956126 h 6859062"/>
              <a:gd name="connsiteX3036" fmla="*/ 9814795 w 12192185"/>
              <a:gd name="connsiteY3036" fmla="*/ 5959350 h 6859062"/>
              <a:gd name="connsiteX3037" fmla="*/ 9808918 w 12192185"/>
              <a:gd name="connsiteY3037" fmla="*/ 5959916 h 6859062"/>
              <a:gd name="connsiteX3038" fmla="*/ 9806264 w 12192185"/>
              <a:gd name="connsiteY3038" fmla="*/ 5963138 h 6859062"/>
              <a:gd name="connsiteX3039" fmla="*/ 9774219 w 12192185"/>
              <a:gd name="connsiteY3039" fmla="*/ 5969197 h 6859062"/>
              <a:gd name="connsiteX3040" fmla="*/ 9768342 w 12192185"/>
              <a:gd name="connsiteY3040" fmla="*/ 5969766 h 6859062"/>
              <a:gd name="connsiteX3041" fmla="*/ 9765688 w 12192185"/>
              <a:gd name="connsiteY3041" fmla="*/ 5972987 h 6859062"/>
              <a:gd name="connsiteX3042" fmla="*/ 9762465 w 12192185"/>
              <a:gd name="connsiteY3042" fmla="*/ 5970332 h 6859062"/>
              <a:gd name="connsiteX3043" fmla="*/ 9761897 w 12192185"/>
              <a:gd name="connsiteY3043" fmla="*/ 5964454 h 6859062"/>
              <a:gd name="connsiteX3044" fmla="*/ 9745400 w 12192185"/>
              <a:gd name="connsiteY3044" fmla="*/ 5977912 h 6859062"/>
              <a:gd name="connsiteX3045" fmla="*/ 9701034 w 12192185"/>
              <a:gd name="connsiteY3045" fmla="*/ 5979227 h 6859062"/>
              <a:gd name="connsiteX3046" fmla="*/ 9703689 w 12192185"/>
              <a:gd name="connsiteY3046" fmla="*/ 5976005 h 6859062"/>
              <a:gd name="connsiteX3047" fmla="*/ 9697811 w 12192185"/>
              <a:gd name="connsiteY3047" fmla="*/ 5976572 h 6859062"/>
              <a:gd name="connsiteX3048" fmla="*/ 9709000 w 12192185"/>
              <a:gd name="connsiteY3048" fmla="*/ 5969559 h 6859062"/>
              <a:gd name="connsiteX3049" fmla="*/ 9686057 w 12192185"/>
              <a:gd name="connsiteY3049" fmla="*/ 5977706 h 6859062"/>
              <a:gd name="connsiteX3050" fmla="*/ 9676957 w 12192185"/>
              <a:gd name="connsiteY3050" fmla="*/ 5975618 h 6859062"/>
              <a:gd name="connsiteX3051" fmla="*/ 9671078 w 12192185"/>
              <a:gd name="connsiteY3051" fmla="*/ 5976186 h 6859062"/>
              <a:gd name="connsiteX3052" fmla="*/ 9671646 w 12192185"/>
              <a:gd name="connsiteY3052" fmla="*/ 5982064 h 6859062"/>
              <a:gd name="connsiteX3053" fmla="*/ 9636382 w 12192185"/>
              <a:gd name="connsiteY3053" fmla="*/ 5985467 h 6859062"/>
              <a:gd name="connsiteX3054" fmla="*/ 9630503 w 12192185"/>
              <a:gd name="connsiteY3054" fmla="*/ 5986035 h 6859062"/>
              <a:gd name="connsiteX3055" fmla="*/ 9627849 w 12192185"/>
              <a:gd name="connsiteY3055" fmla="*/ 5989257 h 6859062"/>
              <a:gd name="connsiteX3056" fmla="*/ 9516174 w 12192185"/>
              <a:gd name="connsiteY3056" fmla="*/ 6000033 h 6859062"/>
              <a:gd name="connsiteX3057" fmla="*/ 9503852 w 12192185"/>
              <a:gd name="connsiteY3057" fmla="*/ 5995291 h 6859062"/>
              <a:gd name="connsiteX3058" fmla="*/ 9495319 w 12192185"/>
              <a:gd name="connsiteY3058" fmla="*/ 5999082 h 6859062"/>
              <a:gd name="connsiteX3059" fmla="*/ 9403367 w 12192185"/>
              <a:gd name="connsiteY3059" fmla="*/ 5999057 h 6859062"/>
              <a:gd name="connsiteX3060" fmla="*/ 9308192 w 12192185"/>
              <a:gd name="connsiteY3060" fmla="*/ 5996378 h 6859062"/>
              <a:gd name="connsiteX3061" fmla="*/ 9295869 w 12192185"/>
              <a:gd name="connsiteY3061" fmla="*/ 5991635 h 6859062"/>
              <a:gd name="connsiteX3062" fmla="*/ 9296437 w 12192185"/>
              <a:gd name="connsiteY3062" fmla="*/ 5997513 h 6859062"/>
              <a:gd name="connsiteX3063" fmla="*/ 9242404 w 12192185"/>
              <a:gd name="connsiteY3063" fmla="*/ 5990863 h 6859062"/>
              <a:gd name="connsiteX3064" fmla="*/ 9215671 w 12192185"/>
              <a:gd name="connsiteY3064" fmla="*/ 5990476 h 6859062"/>
              <a:gd name="connsiteX3065" fmla="*/ 9210243 w 12192185"/>
              <a:gd name="connsiteY3065" fmla="*/ 5989231 h 6859062"/>
              <a:gd name="connsiteX3066" fmla="*/ 9202728 w 12192185"/>
              <a:gd name="connsiteY3066" fmla="*/ 5998729 h 6859062"/>
              <a:gd name="connsiteX3067" fmla="*/ 9193852 w 12192185"/>
              <a:gd name="connsiteY3067" fmla="*/ 6004708 h 6859062"/>
              <a:gd name="connsiteX3068" fmla="*/ 9182782 w 12192185"/>
              <a:gd name="connsiteY3068" fmla="*/ 6006731 h 6859062"/>
              <a:gd name="connsiteX3069" fmla="*/ 9173983 w 12192185"/>
              <a:gd name="connsiteY3069" fmla="*/ 6004191 h 6859062"/>
              <a:gd name="connsiteX3070" fmla="*/ 9173169 w 12192185"/>
              <a:gd name="connsiteY3070" fmla="*/ 6002059 h 6859062"/>
              <a:gd name="connsiteX3071" fmla="*/ 9163631 w 12192185"/>
              <a:gd name="connsiteY3071" fmla="*/ 5988868 h 6859062"/>
              <a:gd name="connsiteX3072" fmla="*/ 9163699 w 12192185"/>
              <a:gd name="connsiteY3072" fmla="*/ 5985631 h 6859062"/>
              <a:gd name="connsiteX3073" fmla="*/ 9146661 w 12192185"/>
              <a:gd name="connsiteY3073" fmla="*/ 5982305 h 6859062"/>
              <a:gd name="connsiteX3074" fmla="*/ 9068551 w 12192185"/>
              <a:gd name="connsiteY3074" fmla="*/ 5972048 h 6859062"/>
              <a:gd name="connsiteX3075" fmla="*/ 9062108 w 12192185"/>
              <a:gd name="connsiteY3075" fmla="*/ 5966737 h 6859062"/>
              <a:gd name="connsiteX3076" fmla="*/ 8977553 w 12192185"/>
              <a:gd name="connsiteY3076" fmla="*/ 5951168 h 6859062"/>
              <a:gd name="connsiteX3077" fmla="*/ 8965798 w 12192185"/>
              <a:gd name="connsiteY3077" fmla="*/ 5952303 h 6859062"/>
              <a:gd name="connsiteX3078" fmla="*/ 8926175 w 12192185"/>
              <a:gd name="connsiteY3078" fmla="*/ 5941296 h 6859062"/>
              <a:gd name="connsiteX3079" fmla="*/ 8899443 w 12192185"/>
              <a:gd name="connsiteY3079" fmla="*/ 5940911 h 6859062"/>
              <a:gd name="connsiteX3080" fmla="*/ 8807309 w 12192185"/>
              <a:gd name="connsiteY3080" fmla="*/ 5908276 h 6859062"/>
              <a:gd name="connsiteX3081" fmla="*/ 8681998 w 12192185"/>
              <a:gd name="connsiteY3081" fmla="*/ 5869946 h 6859062"/>
              <a:gd name="connsiteX3082" fmla="*/ 8645599 w 12192185"/>
              <a:gd name="connsiteY3082" fmla="*/ 5861594 h 6859062"/>
              <a:gd name="connsiteX3083" fmla="*/ 8651476 w 12192185"/>
              <a:gd name="connsiteY3083" fmla="*/ 5861028 h 6859062"/>
              <a:gd name="connsiteX3084" fmla="*/ 8605408 w 12192185"/>
              <a:gd name="connsiteY3084" fmla="*/ 5844710 h 6859062"/>
              <a:gd name="connsiteX3085" fmla="*/ 8595742 w 12192185"/>
              <a:gd name="connsiteY3085" fmla="*/ 5836745 h 6859062"/>
              <a:gd name="connsiteX3086" fmla="*/ 8466075 w 12192185"/>
              <a:gd name="connsiteY3086" fmla="*/ 5784003 h 6859062"/>
              <a:gd name="connsiteX3087" fmla="*/ 8468730 w 12192185"/>
              <a:gd name="connsiteY3087" fmla="*/ 5780781 h 6859062"/>
              <a:gd name="connsiteX3088" fmla="*/ 8465506 w 12192185"/>
              <a:gd name="connsiteY3088" fmla="*/ 5778126 h 6859062"/>
              <a:gd name="connsiteX3089" fmla="*/ 8459629 w 12192185"/>
              <a:gd name="connsiteY3089" fmla="*/ 5778692 h 6859062"/>
              <a:gd name="connsiteX3090" fmla="*/ 8416217 w 12192185"/>
              <a:gd name="connsiteY3090" fmla="*/ 5759154 h 6859062"/>
              <a:gd name="connsiteX3091" fmla="*/ 8412994 w 12192185"/>
              <a:gd name="connsiteY3091" fmla="*/ 5756499 h 6859062"/>
              <a:gd name="connsiteX3092" fmla="*/ 8409772 w 12192185"/>
              <a:gd name="connsiteY3092" fmla="*/ 5753843 h 6859062"/>
              <a:gd name="connsiteX3093" fmla="*/ 8407116 w 12192185"/>
              <a:gd name="connsiteY3093" fmla="*/ 5757066 h 6859062"/>
              <a:gd name="connsiteX3094" fmla="*/ 8410339 w 12192185"/>
              <a:gd name="connsiteY3094" fmla="*/ 5759722 h 6859062"/>
              <a:gd name="connsiteX3095" fmla="*/ 8394795 w 12192185"/>
              <a:gd name="connsiteY3095" fmla="*/ 5752323 h 6859062"/>
              <a:gd name="connsiteX3096" fmla="*/ 505628 w 12192185"/>
              <a:gd name="connsiteY3096" fmla="*/ 5741089 h 6859062"/>
              <a:gd name="connsiteX3097" fmla="*/ 512770 w 12192185"/>
              <a:gd name="connsiteY3097" fmla="*/ 5742635 h 6859062"/>
              <a:gd name="connsiteX3098" fmla="*/ 521809 w 12192185"/>
              <a:gd name="connsiteY3098" fmla="*/ 5747672 h 6859062"/>
              <a:gd name="connsiteX3099" fmla="*/ 528130 w 12192185"/>
              <a:gd name="connsiteY3099" fmla="*/ 5755992 h 6859062"/>
              <a:gd name="connsiteX3100" fmla="*/ 524089 w 12192185"/>
              <a:gd name="connsiteY3100" fmla="*/ 5771752 h 6859062"/>
              <a:gd name="connsiteX3101" fmla="*/ 521404 w 12192185"/>
              <a:gd name="connsiteY3101" fmla="*/ 5775923 h 6859062"/>
              <a:gd name="connsiteX3102" fmla="*/ 516667 w 12192185"/>
              <a:gd name="connsiteY3102" fmla="*/ 5787088 h 6859062"/>
              <a:gd name="connsiteX3103" fmla="*/ 516384 w 12192185"/>
              <a:gd name="connsiteY3103" fmla="*/ 5794023 h 6859062"/>
              <a:gd name="connsiteX3104" fmla="*/ 505139 w 12192185"/>
              <a:gd name="connsiteY3104" fmla="*/ 5806463 h 6859062"/>
              <a:gd name="connsiteX3105" fmla="*/ 491617 w 12192185"/>
              <a:gd name="connsiteY3105" fmla="*/ 5809741 h 6859062"/>
              <a:gd name="connsiteX3106" fmla="*/ 478661 w 12192185"/>
              <a:gd name="connsiteY3106" fmla="*/ 5804121 h 6859062"/>
              <a:gd name="connsiteX3107" fmla="*/ 476701 w 12192185"/>
              <a:gd name="connsiteY3107" fmla="*/ 5803829 h 6859062"/>
              <a:gd name="connsiteX3108" fmla="*/ 472908 w 12192185"/>
              <a:gd name="connsiteY3108" fmla="*/ 5796848 h 6859062"/>
              <a:gd name="connsiteX3109" fmla="*/ 472558 w 12192185"/>
              <a:gd name="connsiteY3109" fmla="*/ 5787090 h 6859062"/>
              <a:gd name="connsiteX3110" fmla="*/ 475968 w 12192185"/>
              <a:gd name="connsiteY3110" fmla="*/ 5778455 h 6859062"/>
              <a:gd name="connsiteX3111" fmla="*/ 483265 w 12192185"/>
              <a:gd name="connsiteY3111" fmla="*/ 5769517 h 6859062"/>
              <a:gd name="connsiteX3112" fmla="*/ 489645 w 12192185"/>
              <a:gd name="connsiteY3112" fmla="*/ 5759720 h 6859062"/>
              <a:gd name="connsiteX3113" fmla="*/ 493118 w 12192185"/>
              <a:gd name="connsiteY3113" fmla="*/ 5747887 h 6859062"/>
              <a:gd name="connsiteX3114" fmla="*/ 505628 w 12192185"/>
              <a:gd name="connsiteY3114" fmla="*/ 5741089 h 6859062"/>
              <a:gd name="connsiteX3115" fmla="*/ 1886246 w 12192185"/>
              <a:gd name="connsiteY3115" fmla="*/ 5722665 h 6859062"/>
              <a:gd name="connsiteX3116" fmla="*/ 1950679 w 12192185"/>
              <a:gd name="connsiteY3116" fmla="*/ 5788877 h 6859062"/>
              <a:gd name="connsiteX3117" fmla="*/ 1957059 w 12192185"/>
              <a:gd name="connsiteY3117" fmla="*/ 5797744 h 6859062"/>
              <a:gd name="connsiteX3118" fmla="*/ 2006132 w 12192185"/>
              <a:gd name="connsiteY3118" fmla="*/ 5833966 h 6859062"/>
              <a:gd name="connsiteX3119" fmla="*/ 2117821 w 12192185"/>
              <a:gd name="connsiteY3119" fmla="*/ 5904706 h 6859062"/>
              <a:gd name="connsiteX3120" fmla="*/ 1996551 w 12192185"/>
              <a:gd name="connsiteY3120" fmla="*/ 5807152 h 6859062"/>
              <a:gd name="connsiteX3121" fmla="*/ 1913614 w 12192185"/>
              <a:gd name="connsiteY3121" fmla="*/ 5734963 h 6859062"/>
              <a:gd name="connsiteX3122" fmla="*/ 1886246 w 12192185"/>
              <a:gd name="connsiteY3122" fmla="*/ 5722665 h 6859062"/>
              <a:gd name="connsiteX3123" fmla="*/ 1468787 w 12192185"/>
              <a:gd name="connsiteY3123" fmla="*/ 5703656 h 6859062"/>
              <a:gd name="connsiteX3124" fmla="*/ 1474672 w 12192185"/>
              <a:gd name="connsiteY3124" fmla="*/ 5761870 h 6859062"/>
              <a:gd name="connsiteX3125" fmla="*/ 1892344 w 12192185"/>
              <a:gd name="connsiteY3125" fmla="*/ 6178449 h 6859062"/>
              <a:gd name="connsiteX3126" fmla="*/ 2021322 w 12192185"/>
              <a:gd name="connsiteY3126" fmla="*/ 6271362 h 6859062"/>
              <a:gd name="connsiteX3127" fmla="*/ 2022063 w 12192185"/>
              <a:gd name="connsiteY3127" fmla="*/ 6270253 h 6859062"/>
              <a:gd name="connsiteX3128" fmla="*/ 2029295 w 12192185"/>
              <a:gd name="connsiteY3128" fmla="*/ 6264804 h 6859062"/>
              <a:gd name="connsiteX3129" fmla="*/ 2039575 w 12192185"/>
              <a:gd name="connsiteY3129" fmla="*/ 6260236 h 6859062"/>
              <a:gd name="connsiteX3130" fmla="*/ 2048105 w 12192185"/>
              <a:gd name="connsiteY3130" fmla="*/ 6258458 h 6859062"/>
              <a:gd name="connsiteX3131" fmla="*/ 2062315 w 12192185"/>
              <a:gd name="connsiteY3131" fmla="*/ 6255890 h 6859062"/>
              <a:gd name="connsiteX3132" fmla="*/ 2026126 w 12192185"/>
              <a:gd name="connsiteY3132" fmla="*/ 6234070 h 6859062"/>
              <a:gd name="connsiteX3133" fmla="*/ 1783014 w 12192185"/>
              <a:gd name="connsiteY3133" fmla="*/ 6039788 h 6859062"/>
              <a:gd name="connsiteX3134" fmla="*/ 1760467 w 12192185"/>
              <a:gd name="connsiteY3134" fmla="*/ 5992733 h 6859062"/>
              <a:gd name="connsiteX3135" fmla="*/ 1751616 w 12192185"/>
              <a:gd name="connsiteY3135" fmla="*/ 5974738 h 6859062"/>
              <a:gd name="connsiteX3136" fmla="*/ 1479232 w 12192185"/>
              <a:gd name="connsiteY3136" fmla="*/ 5708408 h 6859062"/>
              <a:gd name="connsiteX3137" fmla="*/ 1468787 w 12192185"/>
              <a:gd name="connsiteY3137" fmla="*/ 5703656 h 6859062"/>
              <a:gd name="connsiteX3138" fmla="*/ 1516558 w 12192185"/>
              <a:gd name="connsiteY3138" fmla="*/ 5693020 h 6859062"/>
              <a:gd name="connsiteX3139" fmla="*/ 1648599 w 12192185"/>
              <a:gd name="connsiteY3139" fmla="*/ 5841675 h 6859062"/>
              <a:gd name="connsiteX3140" fmla="*/ 1863360 w 12192185"/>
              <a:gd name="connsiteY3140" fmla="*/ 6024210 h 6859062"/>
              <a:gd name="connsiteX3141" fmla="*/ 1971340 w 12192185"/>
              <a:gd name="connsiteY3141" fmla="*/ 6097811 h 6859062"/>
              <a:gd name="connsiteX3142" fmla="*/ 1971455 w 12192185"/>
              <a:gd name="connsiteY3142" fmla="*/ 6092347 h 6859062"/>
              <a:gd name="connsiteX3143" fmla="*/ 1982671 w 12192185"/>
              <a:gd name="connsiteY3143" fmla="*/ 6076605 h 6859062"/>
              <a:gd name="connsiteX3144" fmla="*/ 1990409 w 12192185"/>
              <a:gd name="connsiteY3144" fmla="*/ 6074568 h 6859062"/>
              <a:gd name="connsiteX3145" fmla="*/ 2001801 w 12192185"/>
              <a:gd name="connsiteY3145" fmla="*/ 6066470 h 6859062"/>
              <a:gd name="connsiteX3146" fmla="*/ 2005832 w 12192185"/>
              <a:gd name="connsiteY3146" fmla="*/ 6062414 h 6859062"/>
              <a:gd name="connsiteX3147" fmla="*/ 2022570 w 12192185"/>
              <a:gd name="connsiteY3147" fmla="*/ 6053959 h 6859062"/>
              <a:gd name="connsiteX3148" fmla="*/ 2033503 w 12192185"/>
              <a:gd name="connsiteY3148" fmla="*/ 6059014 h 6859062"/>
              <a:gd name="connsiteX3149" fmla="*/ 2041413 w 12192185"/>
              <a:gd name="connsiteY3149" fmla="*/ 6067938 h 6859062"/>
              <a:gd name="connsiteX3150" fmla="*/ 2044922 w 12192185"/>
              <a:gd name="connsiteY3150" fmla="*/ 6075595 h 6859062"/>
              <a:gd name="connsiteX3151" fmla="*/ 2042651 w 12192185"/>
              <a:gd name="connsiteY3151" fmla="*/ 6083466 h 6859062"/>
              <a:gd name="connsiteX3152" fmla="*/ 2044480 w 12192185"/>
              <a:gd name="connsiteY3152" fmla="*/ 6084459 h 6859062"/>
              <a:gd name="connsiteX3153" fmla="*/ 2219597 w 12192185"/>
              <a:gd name="connsiteY3153" fmla="*/ 6203638 h 6859062"/>
              <a:gd name="connsiteX3154" fmla="*/ 2425937 w 12192185"/>
              <a:gd name="connsiteY3154" fmla="*/ 6309977 h 6859062"/>
              <a:gd name="connsiteX3155" fmla="*/ 2481634 w 12192185"/>
              <a:gd name="connsiteY3155" fmla="*/ 6334956 h 6859062"/>
              <a:gd name="connsiteX3156" fmla="*/ 2485678 w 12192185"/>
              <a:gd name="connsiteY3156" fmla="*/ 6333736 h 6859062"/>
              <a:gd name="connsiteX3157" fmla="*/ 2489553 w 12192185"/>
              <a:gd name="connsiteY3157" fmla="*/ 6334278 h 6859062"/>
              <a:gd name="connsiteX3158" fmla="*/ 2497218 w 12192185"/>
              <a:gd name="connsiteY3158" fmla="*/ 6324689 h 6859062"/>
              <a:gd name="connsiteX3159" fmla="*/ 2496501 w 12192185"/>
              <a:gd name="connsiteY3159" fmla="*/ 6322180 h 6859062"/>
              <a:gd name="connsiteX3160" fmla="*/ 2498148 w 12192185"/>
              <a:gd name="connsiteY3160" fmla="*/ 6317473 h 6859062"/>
              <a:gd name="connsiteX3161" fmla="*/ 2502095 w 12192185"/>
              <a:gd name="connsiteY3161" fmla="*/ 6319764 h 6859062"/>
              <a:gd name="connsiteX3162" fmla="*/ 2503757 w 12192185"/>
              <a:gd name="connsiteY3162" fmla="*/ 6323986 h 6859062"/>
              <a:gd name="connsiteX3163" fmla="*/ 2508844 w 12192185"/>
              <a:gd name="connsiteY3163" fmla="*/ 6326318 h 6859062"/>
              <a:gd name="connsiteX3164" fmla="*/ 2526286 w 12192185"/>
              <a:gd name="connsiteY3164" fmla="*/ 6326746 h 6859062"/>
              <a:gd name="connsiteX3165" fmla="*/ 2528198 w 12192185"/>
              <a:gd name="connsiteY3165" fmla="*/ 6327165 h 6859062"/>
              <a:gd name="connsiteX3166" fmla="*/ 2480913 w 12192185"/>
              <a:gd name="connsiteY3166" fmla="*/ 6306063 h 6859062"/>
              <a:gd name="connsiteX3167" fmla="*/ 2071007 w 12192185"/>
              <a:gd name="connsiteY3167" fmla="*/ 6058365 h 6859062"/>
              <a:gd name="connsiteX3168" fmla="*/ 1918751 w 12192185"/>
              <a:gd name="connsiteY3168" fmla="*/ 5941403 h 6859062"/>
              <a:gd name="connsiteX3169" fmla="*/ 1872932 w 12192185"/>
              <a:gd name="connsiteY3169" fmla="*/ 5944750 h 6859062"/>
              <a:gd name="connsiteX3170" fmla="*/ 1896099 w 12192185"/>
              <a:gd name="connsiteY3170" fmla="*/ 5982204 h 6859062"/>
              <a:gd name="connsiteX3171" fmla="*/ 1939669 w 12192185"/>
              <a:gd name="connsiteY3171" fmla="*/ 6030987 h 6859062"/>
              <a:gd name="connsiteX3172" fmla="*/ 1659665 w 12192185"/>
              <a:gd name="connsiteY3172" fmla="*/ 5836827 h 6859062"/>
              <a:gd name="connsiteX3173" fmla="*/ 1516558 w 12192185"/>
              <a:gd name="connsiteY3173" fmla="*/ 5693020 h 6859062"/>
              <a:gd name="connsiteX3174" fmla="*/ 10702562 w 12192185"/>
              <a:gd name="connsiteY3174" fmla="*/ 5680374 h 6859062"/>
              <a:gd name="connsiteX3175" fmla="*/ 10574792 w 12192185"/>
              <a:gd name="connsiteY3175" fmla="*/ 5744619 h 6859062"/>
              <a:gd name="connsiteX3176" fmla="*/ 10482829 w 12192185"/>
              <a:gd name="connsiteY3176" fmla="*/ 5786482 h 6859062"/>
              <a:gd name="connsiteX3177" fmla="*/ 10462119 w 12192185"/>
              <a:gd name="connsiteY3177" fmla="*/ 5804685 h 6859062"/>
              <a:gd name="connsiteX3178" fmla="*/ 10542035 w 12192185"/>
              <a:gd name="connsiteY3178" fmla="*/ 5776021 h 6859062"/>
              <a:gd name="connsiteX3179" fmla="*/ 10551882 w 12192185"/>
              <a:gd name="connsiteY3179" fmla="*/ 5774063 h 6859062"/>
              <a:gd name="connsiteX3180" fmla="*/ 10600867 w 12192185"/>
              <a:gd name="connsiteY3180" fmla="*/ 5746819 h 6859062"/>
              <a:gd name="connsiteX3181" fmla="*/ 11796556 w 12192185"/>
              <a:gd name="connsiteY3181" fmla="*/ 5676702 h 6859062"/>
              <a:gd name="connsiteX3182" fmla="*/ 11801807 w 12192185"/>
              <a:gd name="connsiteY3182" fmla="*/ 5676727 h 6859062"/>
              <a:gd name="connsiteX3183" fmla="*/ 11808426 w 12192185"/>
              <a:gd name="connsiteY3183" fmla="*/ 5678191 h 6859062"/>
              <a:gd name="connsiteX3184" fmla="*/ 11813351 w 12192185"/>
              <a:gd name="connsiteY3184" fmla="*/ 5680540 h 6859062"/>
              <a:gd name="connsiteX3185" fmla="*/ 11822298 w 12192185"/>
              <a:gd name="connsiteY3185" fmla="*/ 5689403 h 6859062"/>
              <a:gd name="connsiteX3186" fmla="*/ 11828127 w 12192185"/>
              <a:gd name="connsiteY3186" fmla="*/ 5694664 h 6859062"/>
              <a:gd name="connsiteX3187" fmla="*/ 11829643 w 12192185"/>
              <a:gd name="connsiteY3187" fmla="*/ 5697564 h 6859062"/>
              <a:gd name="connsiteX3188" fmla="*/ 11829771 w 12192185"/>
              <a:gd name="connsiteY3188" fmla="*/ 5704883 h 6859062"/>
              <a:gd name="connsiteX3189" fmla="*/ 11827784 w 12192185"/>
              <a:gd name="connsiteY3189" fmla="*/ 5716999 h 6859062"/>
              <a:gd name="connsiteX3190" fmla="*/ 11827858 w 12192185"/>
              <a:gd name="connsiteY3190" fmla="*/ 5721267 h 6859062"/>
              <a:gd name="connsiteX3191" fmla="*/ 11825586 w 12192185"/>
              <a:gd name="connsiteY3191" fmla="*/ 5723994 h 6859062"/>
              <a:gd name="connsiteX3192" fmla="*/ 11820905 w 12192185"/>
              <a:gd name="connsiteY3192" fmla="*/ 5728594 h 6859062"/>
              <a:gd name="connsiteX3193" fmla="*/ 11819474 w 12192185"/>
              <a:gd name="connsiteY3193" fmla="*/ 5730572 h 6859062"/>
              <a:gd name="connsiteX3194" fmla="*/ 11812236 w 12192185"/>
              <a:gd name="connsiteY3194" fmla="*/ 5735586 h 6859062"/>
              <a:gd name="connsiteX3195" fmla="*/ 11810794 w 12192185"/>
              <a:gd name="connsiteY3195" fmla="*/ 5736956 h 6859062"/>
              <a:gd name="connsiteX3196" fmla="*/ 11787929 w 12192185"/>
              <a:gd name="connsiteY3196" fmla="*/ 5735059 h 6859062"/>
              <a:gd name="connsiteX3197" fmla="*/ 11777426 w 12192185"/>
              <a:gd name="connsiteY3197" fmla="*/ 5727933 h 6859062"/>
              <a:gd name="connsiteX3198" fmla="*/ 11773584 w 12192185"/>
              <a:gd name="connsiteY3198" fmla="*/ 5724709 h 6859062"/>
              <a:gd name="connsiteX3199" fmla="*/ 11771196 w 12192185"/>
              <a:gd name="connsiteY3199" fmla="*/ 5720728 h 6859062"/>
              <a:gd name="connsiteX3200" fmla="*/ 11770279 w 12192185"/>
              <a:gd name="connsiteY3200" fmla="*/ 5717206 h 6859062"/>
              <a:gd name="connsiteX3201" fmla="*/ 11768078 w 12192185"/>
              <a:gd name="connsiteY3201" fmla="*/ 5710047 h 6859062"/>
              <a:gd name="connsiteX3202" fmla="*/ 11767057 w 12192185"/>
              <a:gd name="connsiteY3202" fmla="*/ 5707505 h 6859062"/>
              <a:gd name="connsiteX3203" fmla="*/ 11764751 w 12192185"/>
              <a:gd name="connsiteY3203" fmla="*/ 5701325 h 6859062"/>
              <a:gd name="connsiteX3204" fmla="*/ 11771926 w 12192185"/>
              <a:gd name="connsiteY3204" fmla="*/ 5685575 h 6859062"/>
              <a:gd name="connsiteX3205" fmla="*/ 11779542 w 12192185"/>
              <a:gd name="connsiteY3205" fmla="*/ 5681287 h 6859062"/>
              <a:gd name="connsiteX3206" fmla="*/ 11796556 w 12192185"/>
              <a:gd name="connsiteY3206" fmla="*/ 5676702 h 6859062"/>
              <a:gd name="connsiteX3207" fmla="*/ 11540067 w 12192185"/>
              <a:gd name="connsiteY3207" fmla="*/ 5670740 h 6859062"/>
              <a:gd name="connsiteX3208" fmla="*/ 11545710 w 12192185"/>
              <a:gd name="connsiteY3208" fmla="*/ 5670767 h 6859062"/>
              <a:gd name="connsiteX3209" fmla="*/ 11552824 w 12192185"/>
              <a:gd name="connsiteY3209" fmla="*/ 5672340 h 6859062"/>
              <a:gd name="connsiteX3210" fmla="*/ 11558115 w 12192185"/>
              <a:gd name="connsiteY3210" fmla="*/ 5674865 h 6859062"/>
              <a:gd name="connsiteX3211" fmla="*/ 11567728 w 12192185"/>
              <a:gd name="connsiteY3211" fmla="*/ 5684389 h 6859062"/>
              <a:gd name="connsiteX3212" fmla="*/ 11573993 w 12192185"/>
              <a:gd name="connsiteY3212" fmla="*/ 5690042 h 6859062"/>
              <a:gd name="connsiteX3213" fmla="*/ 11575622 w 12192185"/>
              <a:gd name="connsiteY3213" fmla="*/ 5693159 h 6859062"/>
              <a:gd name="connsiteX3214" fmla="*/ 11575759 w 12192185"/>
              <a:gd name="connsiteY3214" fmla="*/ 5701023 h 6859062"/>
              <a:gd name="connsiteX3215" fmla="*/ 11573625 w 12192185"/>
              <a:gd name="connsiteY3215" fmla="*/ 5714044 h 6859062"/>
              <a:gd name="connsiteX3216" fmla="*/ 11573705 w 12192185"/>
              <a:gd name="connsiteY3216" fmla="*/ 5718630 h 6859062"/>
              <a:gd name="connsiteX3217" fmla="*/ 11571263 w 12192185"/>
              <a:gd name="connsiteY3217" fmla="*/ 5721559 h 6859062"/>
              <a:gd name="connsiteX3218" fmla="*/ 11566232 w 12192185"/>
              <a:gd name="connsiteY3218" fmla="*/ 5726504 h 6859062"/>
              <a:gd name="connsiteX3219" fmla="*/ 11564695 w 12192185"/>
              <a:gd name="connsiteY3219" fmla="*/ 5728630 h 6859062"/>
              <a:gd name="connsiteX3220" fmla="*/ 11556916 w 12192185"/>
              <a:gd name="connsiteY3220" fmla="*/ 5734018 h 6859062"/>
              <a:gd name="connsiteX3221" fmla="*/ 11555368 w 12192185"/>
              <a:gd name="connsiteY3221" fmla="*/ 5735489 h 6859062"/>
              <a:gd name="connsiteX3222" fmla="*/ 11530796 w 12192185"/>
              <a:gd name="connsiteY3222" fmla="*/ 5733451 h 6859062"/>
              <a:gd name="connsiteX3223" fmla="*/ 11519509 w 12192185"/>
              <a:gd name="connsiteY3223" fmla="*/ 5725793 h 6859062"/>
              <a:gd name="connsiteX3224" fmla="*/ 11515381 w 12192185"/>
              <a:gd name="connsiteY3224" fmla="*/ 5722329 h 6859062"/>
              <a:gd name="connsiteX3225" fmla="*/ 11512814 w 12192185"/>
              <a:gd name="connsiteY3225" fmla="*/ 5718050 h 6859062"/>
              <a:gd name="connsiteX3226" fmla="*/ 11511829 w 12192185"/>
              <a:gd name="connsiteY3226" fmla="*/ 5714265 h 6859062"/>
              <a:gd name="connsiteX3227" fmla="*/ 11509465 w 12192185"/>
              <a:gd name="connsiteY3227" fmla="*/ 5706574 h 6859062"/>
              <a:gd name="connsiteX3228" fmla="*/ 11508367 w 12192185"/>
              <a:gd name="connsiteY3228" fmla="*/ 5703840 h 6859062"/>
              <a:gd name="connsiteX3229" fmla="*/ 11505890 w 12192185"/>
              <a:gd name="connsiteY3229" fmla="*/ 5697200 h 6859062"/>
              <a:gd name="connsiteX3230" fmla="*/ 11513599 w 12192185"/>
              <a:gd name="connsiteY3230" fmla="*/ 5680275 h 6859062"/>
              <a:gd name="connsiteX3231" fmla="*/ 11521785 w 12192185"/>
              <a:gd name="connsiteY3231" fmla="*/ 5675666 h 6859062"/>
              <a:gd name="connsiteX3232" fmla="*/ 11540067 w 12192185"/>
              <a:gd name="connsiteY3232" fmla="*/ 5670740 h 6859062"/>
              <a:gd name="connsiteX3233" fmla="*/ 750968 w 12192185"/>
              <a:gd name="connsiteY3233" fmla="*/ 5647678 h 6859062"/>
              <a:gd name="connsiteX3234" fmla="*/ 754766 w 12192185"/>
              <a:gd name="connsiteY3234" fmla="*/ 5647993 h 6859062"/>
              <a:gd name="connsiteX3235" fmla="*/ 771813 w 12192185"/>
              <a:gd name="connsiteY3235" fmla="*/ 5655428 h 6859062"/>
              <a:gd name="connsiteX3236" fmla="*/ 776554 w 12192185"/>
              <a:gd name="connsiteY3236" fmla="*/ 5663539 h 6859062"/>
              <a:gd name="connsiteX3237" fmla="*/ 781773 w 12192185"/>
              <a:gd name="connsiteY3237" fmla="*/ 5681740 h 6859062"/>
              <a:gd name="connsiteX3238" fmla="*/ 781838 w 12192185"/>
              <a:gd name="connsiteY3238" fmla="*/ 5687382 h 6859062"/>
              <a:gd name="connsiteX3239" fmla="*/ 780380 w 12192185"/>
              <a:gd name="connsiteY3239" fmla="*/ 5694519 h 6859062"/>
              <a:gd name="connsiteX3240" fmla="*/ 777940 w 12192185"/>
              <a:gd name="connsiteY3240" fmla="*/ 5699852 h 6859062"/>
              <a:gd name="connsiteX3241" fmla="*/ 768572 w 12192185"/>
              <a:gd name="connsiteY3241" fmla="*/ 5709618 h 6859062"/>
              <a:gd name="connsiteX3242" fmla="*/ 763020 w 12192185"/>
              <a:gd name="connsiteY3242" fmla="*/ 5715974 h 6859062"/>
              <a:gd name="connsiteX3243" fmla="*/ 759931 w 12192185"/>
              <a:gd name="connsiteY3243" fmla="*/ 5717652 h 6859062"/>
              <a:gd name="connsiteX3244" fmla="*/ 752069 w 12192185"/>
              <a:gd name="connsiteY3244" fmla="*/ 5717915 h 6859062"/>
              <a:gd name="connsiteX3245" fmla="*/ 739018 w 12192185"/>
              <a:gd name="connsiteY3245" fmla="*/ 5715991 h 6859062"/>
              <a:gd name="connsiteX3246" fmla="*/ 734432 w 12192185"/>
              <a:gd name="connsiteY3246" fmla="*/ 5716145 h 6859062"/>
              <a:gd name="connsiteX3247" fmla="*/ 731464 w 12192185"/>
              <a:gd name="connsiteY3247" fmla="*/ 5713751 h 6859062"/>
              <a:gd name="connsiteX3248" fmla="*/ 726439 w 12192185"/>
              <a:gd name="connsiteY3248" fmla="*/ 5708801 h 6859062"/>
              <a:gd name="connsiteX3249" fmla="*/ 724288 w 12192185"/>
              <a:gd name="connsiteY3249" fmla="*/ 5707297 h 6859062"/>
              <a:gd name="connsiteX3250" fmla="*/ 718776 w 12192185"/>
              <a:gd name="connsiteY3250" fmla="*/ 5699606 h 6859062"/>
              <a:gd name="connsiteX3251" fmla="*/ 717281 w 12192185"/>
              <a:gd name="connsiteY3251" fmla="*/ 5698081 h 6859062"/>
              <a:gd name="connsiteX3252" fmla="*/ 718922 w 12192185"/>
              <a:gd name="connsiteY3252" fmla="*/ 5673480 h 6859062"/>
              <a:gd name="connsiteX3253" fmla="*/ 726397 w 12192185"/>
              <a:gd name="connsiteY3253" fmla="*/ 5662071 h 6859062"/>
              <a:gd name="connsiteX3254" fmla="*/ 729794 w 12192185"/>
              <a:gd name="connsiteY3254" fmla="*/ 5657889 h 6859062"/>
              <a:gd name="connsiteX3255" fmla="*/ 734031 w 12192185"/>
              <a:gd name="connsiteY3255" fmla="*/ 5655253 h 6859062"/>
              <a:gd name="connsiteX3256" fmla="*/ 737799 w 12192185"/>
              <a:gd name="connsiteY3256" fmla="*/ 5654207 h 6859062"/>
              <a:gd name="connsiteX3257" fmla="*/ 745451 w 12192185"/>
              <a:gd name="connsiteY3257" fmla="*/ 5651719 h 6859062"/>
              <a:gd name="connsiteX3258" fmla="*/ 748166 w 12192185"/>
              <a:gd name="connsiteY3258" fmla="*/ 5650578 h 6859062"/>
              <a:gd name="connsiteX3259" fmla="*/ 750968 w 12192185"/>
              <a:gd name="connsiteY3259" fmla="*/ 5647678 h 6859062"/>
              <a:gd name="connsiteX3260" fmla="*/ 121418 w 12192185"/>
              <a:gd name="connsiteY3260" fmla="*/ 5646776 h 6859062"/>
              <a:gd name="connsiteX3261" fmla="*/ 129189 w 12192185"/>
              <a:gd name="connsiteY3261" fmla="*/ 5647922 h 6859062"/>
              <a:gd name="connsiteX3262" fmla="*/ 138275 w 12192185"/>
              <a:gd name="connsiteY3262" fmla="*/ 5651486 h 6859062"/>
              <a:gd name="connsiteX3263" fmla="*/ 144570 w 12192185"/>
              <a:gd name="connsiteY3263" fmla="*/ 5655670 h 6859062"/>
              <a:gd name="connsiteX3264" fmla="*/ 161223 w 12192185"/>
              <a:gd name="connsiteY3264" fmla="*/ 5674808 h 6859062"/>
              <a:gd name="connsiteX3265" fmla="*/ 166884 w 12192185"/>
              <a:gd name="connsiteY3265" fmla="*/ 5686049 h 6859062"/>
              <a:gd name="connsiteX3266" fmla="*/ 162814 w 12192185"/>
              <a:gd name="connsiteY3266" fmla="*/ 5710630 h 6859062"/>
              <a:gd name="connsiteX3267" fmla="*/ 155098 w 12192185"/>
              <a:gd name="connsiteY3267" fmla="*/ 5716165 h 6859062"/>
              <a:gd name="connsiteX3268" fmla="*/ 151836 w 12192185"/>
              <a:gd name="connsiteY3268" fmla="*/ 5718384 h 6859062"/>
              <a:gd name="connsiteX3269" fmla="*/ 143460 w 12192185"/>
              <a:gd name="connsiteY3269" fmla="*/ 5725172 h 6859062"/>
              <a:gd name="connsiteX3270" fmla="*/ 139537 w 12192185"/>
              <a:gd name="connsiteY3270" fmla="*/ 5728645 h 6859062"/>
              <a:gd name="connsiteX3271" fmla="*/ 133485 w 12192185"/>
              <a:gd name="connsiteY3271" fmla="*/ 5731486 h 6859062"/>
              <a:gd name="connsiteX3272" fmla="*/ 126307 w 12192185"/>
              <a:gd name="connsiteY3272" fmla="*/ 5732255 h 6859062"/>
              <a:gd name="connsiteX3273" fmla="*/ 108034 w 12192185"/>
              <a:gd name="connsiteY3273" fmla="*/ 5732341 h 6859062"/>
              <a:gd name="connsiteX3274" fmla="*/ 79186 w 12192185"/>
              <a:gd name="connsiteY3274" fmla="*/ 5716250 h 6859062"/>
              <a:gd name="connsiteX3275" fmla="*/ 78562 w 12192185"/>
              <a:gd name="connsiteY3275" fmla="*/ 5713458 h 6859062"/>
              <a:gd name="connsiteX3276" fmla="*/ 73936 w 12192185"/>
              <a:gd name="connsiteY3276" fmla="*/ 5701654 h 6859062"/>
              <a:gd name="connsiteX3277" fmla="*/ 73814 w 12192185"/>
              <a:gd name="connsiteY3277" fmla="*/ 5698142 h 6859062"/>
              <a:gd name="connsiteX3278" fmla="*/ 71912 w 12192185"/>
              <a:gd name="connsiteY3278" fmla="*/ 5688885 h 6859062"/>
              <a:gd name="connsiteX3279" fmla="*/ 71385 w 12192185"/>
              <a:gd name="connsiteY3279" fmla="*/ 5683802 h 6859062"/>
              <a:gd name="connsiteX3280" fmla="*/ 74901 w 12192185"/>
              <a:gd name="connsiteY3280" fmla="*/ 5678761 h 6859062"/>
              <a:gd name="connsiteX3281" fmla="*/ 82254 w 12192185"/>
              <a:gd name="connsiteY3281" fmla="*/ 5662686 h 6859062"/>
              <a:gd name="connsiteX3282" fmla="*/ 88281 w 12192185"/>
              <a:gd name="connsiteY3282" fmla="*/ 5654043 h 6859062"/>
              <a:gd name="connsiteX3283" fmla="*/ 92420 w 12192185"/>
              <a:gd name="connsiteY3283" fmla="*/ 5651794 h 6859062"/>
              <a:gd name="connsiteX3284" fmla="*/ 103611 w 12192185"/>
              <a:gd name="connsiteY3284" fmla="*/ 5650187 h 6859062"/>
              <a:gd name="connsiteX3285" fmla="*/ 121418 w 12192185"/>
              <a:gd name="connsiteY3285" fmla="*/ 5646776 h 6859062"/>
              <a:gd name="connsiteX3286" fmla="*/ 1143220 w 12192185"/>
              <a:gd name="connsiteY3286" fmla="*/ 5642129 h 6859062"/>
              <a:gd name="connsiteX3287" fmla="*/ 1155228 w 12192185"/>
              <a:gd name="connsiteY3287" fmla="*/ 5642211 h 6859062"/>
              <a:gd name="connsiteX3288" fmla="*/ 1163639 w 12192185"/>
              <a:gd name="connsiteY3288" fmla="*/ 5647192 h 6859062"/>
              <a:gd name="connsiteX3289" fmla="*/ 1180460 w 12192185"/>
              <a:gd name="connsiteY3289" fmla="*/ 5650150 h 6859062"/>
              <a:gd name="connsiteX3290" fmla="*/ 1187445 w 12192185"/>
              <a:gd name="connsiteY3290" fmla="*/ 5650175 h 6859062"/>
              <a:gd name="connsiteX3291" fmla="*/ 1209161 w 12192185"/>
              <a:gd name="connsiteY3291" fmla="*/ 5657478 h 6859062"/>
              <a:gd name="connsiteX3292" fmla="*/ 1214148 w 12192185"/>
              <a:gd name="connsiteY3292" fmla="*/ 5671323 h 6859062"/>
              <a:gd name="connsiteX3293" fmla="*/ 1213172 w 12192185"/>
              <a:gd name="connsiteY3293" fmla="*/ 5685861 h 6859062"/>
              <a:gd name="connsiteX3294" fmla="*/ 1209527 w 12192185"/>
              <a:gd name="connsiteY3294" fmla="*/ 5695483 h 6859062"/>
              <a:gd name="connsiteX3295" fmla="*/ 1191909 w 12192185"/>
              <a:gd name="connsiteY3295" fmla="*/ 5705055 h 6859062"/>
              <a:gd name="connsiteX3296" fmla="*/ 1175266 w 12192185"/>
              <a:gd name="connsiteY3296" fmla="*/ 5700090 h 6859062"/>
              <a:gd name="connsiteX3297" fmla="*/ 1158803 w 12192185"/>
              <a:gd name="connsiteY3297" fmla="*/ 5700121 h 6859062"/>
              <a:gd name="connsiteX3298" fmla="*/ 1142651 w 12192185"/>
              <a:gd name="connsiteY3298" fmla="*/ 5701892 h 6859062"/>
              <a:gd name="connsiteX3299" fmla="*/ 1129836 w 12192185"/>
              <a:gd name="connsiteY3299" fmla="*/ 5699304 h 6859062"/>
              <a:gd name="connsiteX3300" fmla="*/ 1118576 w 12192185"/>
              <a:gd name="connsiteY3300" fmla="*/ 5691415 h 6859062"/>
              <a:gd name="connsiteX3301" fmla="*/ 1113234 w 12192185"/>
              <a:gd name="connsiteY3301" fmla="*/ 5681582 h 6859062"/>
              <a:gd name="connsiteX3302" fmla="*/ 1114390 w 12192185"/>
              <a:gd name="connsiteY3302" fmla="*/ 5679044 h 6859062"/>
              <a:gd name="connsiteX3303" fmla="*/ 1117679 w 12192185"/>
              <a:gd name="connsiteY3303" fmla="*/ 5659430 h 6859062"/>
              <a:gd name="connsiteX3304" fmla="*/ 1131914 w 12192185"/>
              <a:gd name="connsiteY3304" fmla="*/ 5645965 h 6859062"/>
              <a:gd name="connsiteX3305" fmla="*/ 1143220 w 12192185"/>
              <a:gd name="connsiteY3305" fmla="*/ 5642129 h 6859062"/>
              <a:gd name="connsiteX3306" fmla="*/ 8024278 w 12192185"/>
              <a:gd name="connsiteY3306" fmla="*/ 5627074 h 6859062"/>
              <a:gd name="connsiteX3307" fmla="*/ 8007546 w 12192185"/>
              <a:gd name="connsiteY3307" fmla="*/ 5642637 h 6859062"/>
              <a:gd name="connsiteX3308" fmla="*/ 8054494 w 12192185"/>
              <a:gd name="connsiteY3308" fmla="*/ 5676160 h 6859062"/>
              <a:gd name="connsiteX3309" fmla="*/ 8169179 w 12192185"/>
              <a:gd name="connsiteY3309" fmla="*/ 5750369 h 6859062"/>
              <a:gd name="connsiteX3310" fmla="*/ 8979798 w 12192185"/>
              <a:gd name="connsiteY3310" fmla="*/ 6066632 h 6859062"/>
              <a:gd name="connsiteX3311" fmla="*/ 8982039 w 12192185"/>
              <a:gd name="connsiteY3311" fmla="*/ 6067008 h 6859062"/>
              <a:gd name="connsiteX3312" fmla="*/ 8982073 w 12192185"/>
              <a:gd name="connsiteY3312" fmla="*/ 6066957 h 6859062"/>
              <a:gd name="connsiteX3313" fmla="*/ 8979798 w 12192185"/>
              <a:gd name="connsiteY3313" fmla="*/ 6066632 h 6859062"/>
              <a:gd name="connsiteX3314" fmla="*/ 8091875 w 12192185"/>
              <a:gd name="connsiteY3314" fmla="*/ 5677332 h 6859062"/>
              <a:gd name="connsiteX3315" fmla="*/ 11245478 w 12192185"/>
              <a:gd name="connsiteY3315" fmla="*/ 5595247 h 6859062"/>
              <a:gd name="connsiteX3316" fmla="*/ 11243697 w 12192185"/>
              <a:gd name="connsiteY3316" fmla="*/ 5596393 h 6859062"/>
              <a:gd name="connsiteX3317" fmla="*/ 11243812 w 12192185"/>
              <a:gd name="connsiteY3317" fmla="*/ 5607158 h 6859062"/>
              <a:gd name="connsiteX3318" fmla="*/ 11246589 w 12192185"/>
              <a:gd name="connsiteY3318" fmla="*/ 5607994 h 6859062"/>
              <a:gd name="connsiteX3319" fmla="*/ 11245342 w 12192185"/>
              <a:gd name="connsiteY3319" fmla="*/ 5602229 h 6859062"/>
              <a:gd name="connsiteX3320" fmla="*/ 12040081 w 12192185"/>
              <a:gd name="connsiteY3320" fmla="*/ 5570704 h 6859062"/>
              <a:gd name="connsiteX3321" fmla="*/ 12064592 w 12192185"/>
              <a:gd name="connsiteY3321" fmla="*/ 5575170 h 6859062"/>
              <a:gd name="connsiteX3322" fmla="*/ 12070002 w 12192185"/>
              <a:gd name="connsiteY3322" fmla="*/ 5582974 h 6859062"/>
              <a:gd name="connsiteX3323" fmla="*/ 12072169 w 12192185"/>
              <a:gd name="connsiteY3323" fmla="*/ 5586271 h 6859062"/>
              <a:gd name="connsiteX3324" fmla="*/ 12078822 w 12192185"/>
              <a:gd name="connsiteY3324" fmla="*/ 5594756 h 6859062"/>
              <a:gd name="connsiteX3325" fmla="*/ 12082231 w 12192185"/>
              <a:gd name="connsiteY3325" fmla="*/ 5598733 h 6859062"/>
              <a:gd name="connsiteX3326" fmla="*/ 12084973 w 12192185"/>
              <a:gd name="connsiteY3326" fmla="*/ 5604830 h 6859062"/>
              <a:gd name="connsiteX3327" fmla="*/ 12085626 w 12192185"/>
              <a:gd name="connsiteY3327" fmla="*/ 5612020 h 6859062"/>
              <a:gd name="connsiteX3328" fmla="*/ 12085417 w 12192185"/>
              <a:gd name="connsiteY3328" fmla="*/ 5630293 h 6859062"/>
              <a:gd name="connsiteX3329" fmla="*/ 12068865 w 12192185"/>
              <a:gd name="connsiteY3329" fmla="*/ 5658878 h 6859062"/>
              <a:gd name="connsiteX3330" fmla="*/ 12066062 w 12192185"/>
              <a:gd name="connsiteY3330" fmla="*/ 5659457 h 6859062"/>
              <a:gd name="connsiteX3331" fmla="*/ 12054186 w 12192185"/>
              <a:gd name="connsiteY3331" fmla="*/ 5663892 h 6859062"/>
              <a:gd name="connsiteX3332" fmla="*/ 12050672 w 12192185"/>
              <a:gd name="connsiteY3332" fmla="*/ 5663956 h 6859062"/>
              <a:gd name="connsiteX3333" fmla="*/ 12041386 w 12192185"/>
              <a:gd name="connsiteY3333" fmla="*/ 5665709 h 6859062"/>
              <a:gd name="connsiteX3334" fmla="*/ 12036295 w 12192185"/>
              <a:gd name="connsiteY3334" fmla="*/ 5666155 h 6859062"/>
              <a:gd name="connsiteX3335" fmla="*/ 12031311 w 12192185"/>
              <a:gd name="connsiteY3335" fmla="*/ 5662558 h 6859062"/>
              <a:gd name="connsiteX3336" fmla="*/ 12015357 w 12192185"/>
              <a:gd name="connsiteY3336" fmla="*/ 5654948 h 6859062"/>
              <a:gd name="connsiteX3337" fmla="*/ 12006812 w 12192185"/>
              <a:gd name="connsiteY3337" fmla="*/ 5648782 h 6859062"/>
              <a:gd name="connsiteX3338" fmla="*/ 12004629 w 12192185"/>
              <a:gd name="connsiteY3338" fmla="*/ 5644606 h 6859062"/>
              <a:gd name="connsiteX3339" fmla="*/ 12003203 w 12192185"/>
              <a:gd name="connsiteY3339" fmla="*/ 5633391 h 6859062"/>
              <a:gd name="connsiteX3340" fmla="*/ 12000079 w 12192185"/>
              <a:gd name="connsiteY3340" fmla="*/ 5615531 h 6859062"/>
              <a:gd name="connsiteX3341" fmla="*/ 12001351 w 12192185"/>
              <a:gd name="connsiteY3341" fmla="*/ 5607779 h 6859062"/>
              <a:gd name="connsiteX3342" fmla="*/ 12005061 w 12192185"/>
              <a:gd name="connsiteY3342" fmla="*/ 5598753 h 6859062"/>
              <a:gd name="connsiteX3343" fmla="*/ 12009347 w 12192185"/>
              <a:gd name="connsiteY3343" fmla="*/ 5592525 h 6859062"/>
              <a:gd name="connsiteX3344" fmla="*/ 12028750 w 12192185"/>
              <a:gd name="connsiteY3344" fmla="*/ 5576182 h 6859062"/>
              <a:gd name="connsiteX3345" fmla="*/ 12040081 w 12192185"/>
              <a:gd name="connsiteY3345" fmla="*/ 5570704 h 6859062"/>
              <a:gd name="connsiteX3346" fmla="*/ 378601 w 12192185"/>
              <a:gd name="connsiteY3346" fmla="*/ 5540013 h 6859062"/>
              <a:gd name="connsiteX3347" fmla="*/ 382136 w 12192185"/>
              <a:gd name="connsiteY3347" fmla="*/ 5540307 h 6859062"/>
              <a:gd name="connsiteX3348" fmla="*/ 397999 w 12192185"/>
              <a:gd name="connsiteY3348" fmla="*/ 5547225 h 6859062"/>
              <a:gd name="connsiteX3349" fmla="*/ 402410 w 12192185"/>
              <a:gd name="connsiteY3349" fmla="*/ 5554773 h 6859062"/>
              <a:gd name="connsiteX3350" fmla="*/ 407268 w 12192185"/>
              <a:gd name="connsiteY3350" fmla="*/ 5571710 h 6859062"/>
              <a:gd name="connsiteX3351" fmla="*/ 407328 w 12192185"/>
              <a:gd name="connsiteY3351" fmla="*/ 5576962 h 6859062"/>
              <a:gd name="connsiteX3352" fmla="*/ 405971 w 12192185"/>
              <a:gd name="connsiteY3352" fmla="*/ 5583602 h 6859062"/>
              <a:gd name="connsiteX3353" fmla="*/ 403701 w 12192185"/>
              <a:gd name="connsiteY3353" fmla="*/ 5588565 h 6859062"/>
              <a:gd name="connsiteX3354" fmla="*/ 394983 w 12192185"/>
              <a:gd name="connsiteY3354" fmla="*/ 5597653 h 6859062"/>
              <a:gd name="connsiteX3355" fmla="*/ 389817 w 12192185"/>
              <a:gd name="connsiteY3355" fmla="*/ 5603566 h 6859062"/>
              <a:gd name="connsiteX3356" fmla="*/ 386942 w 12192185"/>
              <a:gd name="connsiteY3356" fmla="*/ 5605129 h 6859062"/>
              <a:gd name="connsiteX3357" fmla="*/ 379626 w 12192185"/>
              <a:gd name="connsiteY3357" fmla="*/ 5605375 h 6859062"/>
              <a:gd name="connsiteX3358" fmla="*/ 367480 w 12192185"/>
              <a:gd name="connsiteY3358" fmla="*/ 5603584 h 6859062"/>
              <a:gd name="connsiteX3359" fmla="*/ 363213 w 12192185"/>
              <a:gd name="connsiteY3359" fmla="*/ 5603727 h 6859062"/>
              <a:gd name="connsiteX3360" fmla="*/ 360451 w 12192185"/>
              <a:gd name="connsiteY3360" fmla="*/ 5601499 h 6859062"/>
              <a:gd name="connsiteX3361" fmla="*/ 355775 w 12192185"/>
              <a:gd name="connsiteY3361" fmla="*/ 5596892 h 6859062"/>
              <a:gd name="connsiteX3362" fmla="*/ 353774 w 12192185"/>
              <a:gd name="connsiteY3362" fmla="*/ 5595493 h 6859062"/>
              <a:gd name="connsiteX3363" fmla="*/ 348644 w 12192185"/>
              <a:gd name="connsiteY3363" fmla="*/ 5588337 h 6859062"/>
              <a:gd name="connsiteX3364" fmla="*/ 347252 w 12192185"/>
              <a:gd name="connsiteY3364" fmla="*/ 5586918 h 6859062"/>
              <a:gd name="connsiteX3365" fmla="*/ 348780 w 12192185"/>
              <a:gd name="connsiteY3365" fmla="*/ 5564024 h 6859062"/>
              <a:gd name="connsiteX3366" fmla="*/ 355737 w 12192185"/>
              <a:gd name="connsiteY3366" fmla="*/ 5553408 h 6859062"/>
              <a:gd name="connsiteX3367" fmla="*/ 358897 w 12192185"/>
              <a:gd name="connsiteY3367" fmla="*/ 5549516 h 6859062"/>
              <a:gd name="connsiteX3368" fmla="*/ 362840 w 12192185"/>
              <a:gd name="connsiteY3368" fmla="*/ 5547062 h 6859062"/>
              <a:gd name="connsiteX3369" fmla="*/ 366346 w 12192185"/>
              <a:gd name="connsiteY3369" fmla="*/ 5546090 h 6859062"/>
              <a:gd name="connsiteX3370" fmla="*/ 373468 w 12192185"/>
              <a:gd name="connsiteY3370" fmla="*/ 5543774 h 6859062"/>
              <a:gd name="connsiteX3371" fmla="*/ 375994 w 12192185"/>
              <a:gd name="connsiteY3371" fmla="*/ 5542712 h 6859062"/>
              <a:gd name="connsiteX3372" fmla="*/ 378601 w 12192185"/>
              <a:gd name="connsiteY3372" fmla="*/ 5540013 h 6859062"/>
              <a:gd name="connsiteX3373" fmla="*/ 8303664 w 12192185"/>
              <a:gd name="connsiteY3373" fmla="*/ 5514927 h 6859062"/>
              <a:gd name="connsiteX3374" fmla="*/ 8312763 w 12192185"/>
              <a:gd name="connsiteY3374" fmla="*/ 5517015 h 6859062"/>
              <a:gd name="connsiteX3375" fmla="*/ 8325654 w 12192185"/>
              <a:gd name="connsiteY3375" fmla="*/ 5527636 h 6859062"/>
              <a:gd name="connsiteX3376" fmla="*/ 8313330 w 12192185"/>
              <a:gd name="connsiteY3376" fmla="*/ 5522893 h 6859062"/>
              <a:gd name="connsiteX3377" fmla="*/ 8310108 w 12192185"/>
              <a:gd name="connsiteY3377" fmla="*/ 5520238 h 6859062"/>
              <a:gd name="connsiteX3378" fmla="*/ 8306886 w 12192185"/>
              <a:gd name="connsiteY3378" fmla="*/ 5517583 h 6859062"/>
              <a:gd name="connsiteX3379" fmla="*/ 596671 w 12192185"/>
              <a:gd name="connsiteY3379" fmla="*/ 5506776 h 6859062"/>
              <a:gd name="connsiteX3380" fmla="*/ 605198 w 12192185"/>
              <a:gd name="connsiteY3380" fmla="*/ 5506834 h 6859062"/>
              <a:gd name="connsiteX3381" fmla="*/ 611171 w 12192185"/>
              <a:gd name="connsiteY3381" fmla="*/ 5510371 h 6859062"/>
              <a:gd name="connsiteX3382" fmla="*/ 623115 w 12192185"/>
              <a:gd name="connsiteY3382" fmla="*/ 5512471 h 6859062"/>
              <a:gd name="connsiteX3383" fmla="*/ 628076 w 12192185"/>
              <a:gd name="connsiteY3383" fmla="*/ 5512489 h 6859062"/>
              <a:gd name="connsiteX3384" fmla="*/ 643496 w 12192185"/>
              <a:gd name="connsiteY3384" fmla="*/ 5517674 h 6859062"/>
              <a:gd name="connsiteX3385" fmla="*/ 647038 w 12192185"/>
              <a:gd name="connsiteY3385" fmla="*/ 5527506 h 6859062"/>
              <a:gd name="connsiteX3386" fmla="*/ 646345 w 12192185"/>
              <a:gd name="connsiteY3386" fmla="*/ 5537829 h 6859062"/>
              <a:gd name="connsiteX3387" fmla="*/ 643756 w 12192185"/>
              <a:gd name="connsiteY3387" fmla="*/ 5544661 h 6859062"/>
              <a:gd name="connsiteX3388" fmla="*/ 631244 w 12192185"/>
              <a:gd name="connsiteY3388" fmla="*/ 5551460 h 6859062"/>
              <a:gd name="connsiteX3389" fmla="*/ 619427 w 12192185"/>
              <a:gd name="connsiteY3389" fmla="*/ 5547934 h 6859062"/>
              <a:gd name="connsiteX3390" fmla="*/ 607736 w 12192185"/>
              <a:gd name="connsiteY3390" fmla="*/ 5547956 h 6859062"/>
              <a:gd name="connsiteX3391" fmla="*/ 596266 w 12192185"/>
              <a:gd name="connsiteY3391" fmla="*/ 5549214 h 6859062"/>
              <a:gd name="connsiteX3392" fmla="*/ 587166 w 12192185"/>
              <a:gd name="connsiteY3392" fmla="*/ 5547376 h 6859062"/>
              <a:gd name="connsiteX3393" fmla="*/ 579171 w 12192185"/>
              <a:gd name="connsiteY3393" fmla="*/ 5541773 h 6859062"/>
              <a:gd name="connsiteX3394" fmla="*/ 575377 w 12192185"/>
              <a:gd name="connsiteY3394" fmla="*/ 5534791 h 6859062"/>
              <a:gd name="connsiteX3395" fmla="*/ 576198 w 12192185"/>
              <a:gd name="connsiteY3395" fmla="*/ 5532990 h 6859062"/>
              <a:gd name="connsiteX3396" fmla="*/ 578533 w 12192185"/>
              <a:gd name="connsiteY3396" fmla="*/ 5519061 h 6859062"/>
              <a:gd name="connsiteX3397" fmla="*/ 588642 w 12192185"/>
              <a:gd name="connsiteY3397" fmla="*/ 5509499 h 6859062"/>
              <a:gd name="connsiteX3398" fmla="*/ 596671 w 12192185"/>
              <a:gd name="connsiteY3398" fmla="*/ 5506776 h 6859062"/>
              <a:gd name="connsiteX3399" fmla="*/ 1659334 w 12192185"/>
              <a:gd name="connsiteY3399" fmla="*/ 5458672 h 6859062"/>
              <a:gd name="connsiteX3400" fmla="*/ 1662878 w 12192185"/>
              <a:gd name="connsiteY3400" fmla="*/ 5464811 h 6859062"/>
              <a:gd name="connsiteX3401" fmla="*/ 1661702 w 12192185"/>
              <a:gd name="connsiteY3401" fmla="*/ 5469200 h 6859062"/>
              <a:gd name="connsiteX3402" fmla="*/ 1664916 w 12192185"/>
              <a:gd name="connsiteY3402" fmla="*/ 5474763 h 6859062"/>
              <a:gd name="connsiteX3403" fmla="*/ 1670015 w 12192185"/>
              <a:gd name="connsiteY3403" fmla="*/ 5471820 h 6859062"/>
              <a:gd name="connsiteX3404" fmla="*/ 8206133 w 12192185"/>
              <a:gd name="connsiteY3404" fmla="*/ 5450796 h 6859062"/>
              <a:gd name="connsiteX3405" fmla="*/ 8203558 w 12192185"/>
              <a:gd name="connsiteY3405" fmla="*/ 5454085 h 6859062"/>
              <a:gd name="connsiteX3406" fmla="*/ 8206038 w 12192185"/>
              <a:gd name="connsiteY3406" fmla="*/ 5456128 h 6859062"/>
              <a:gd name="connsiteX3407" fmla="*/ 8202750 w 12192185"/>
              <a:gd name="connsiteY3407" fmla="*/ 5455116 h 6859062"/>
              <a:gd name="connsiteX3408" fmla="*/ 8185580 w 12192185"/>
              <a:gd name="connsiteY3408" fmla="*/ 5477043 h 6859062"/>
              <a:gd name="connsiteX3409" fmla="*/ 8040223 w 12192185"/>
              <a:gd name="connsiteY3409" fmla="*/ 5612243 h 6859062"/>
              <a:gd name="connsiteX3410" fmla="*/ 8045530 w 12192185"/>
              <a:gd name="connsiteY3410" fmla="*/ 5613995 h 6859062"/>
              <a:gd name="connsiteX3411" fmla="*/ 8103802 w 12192185"/>
              <a:gd name="connsiteY3411" fmla="*/ 5626168 h 6859062"/>
              <a:gd name="connsiteX3412" fmla="*/ 8093568 w 12192185"/>
              <a:gd name="connsiteY3412" fmla="*/ 5612324 h 6859062"/>
              <a:gd name="connsiteX3413" fmla="*/ 8156881 w 12192185"/>
              <a:gd name="connsiteY3413" fmla="*/ 5653672 h 6859062"/>
              <a:gd name="connsiteX3414" fmla="*/ 8212049 w 12192185"/>
              <a:gd name="connsiteY3414" fmla="*/ 5672076 h 6859062"/>
              <a:gd name="connsiteX3415" fmla="*/ 8185134 w 12192185"/>
              <a:gd name="connsiteY3415" fmla="*/ 5639081 h 6859062"/>
              <a:gd name="connsiteX3416" fmla="*/ 8191013 w 12192185"/>
              <a:gd name="connsiteY3416" fmla="*/ 5638513 h 6859062"/>
              <a:gd name="connsiteX3417" fmla="*/ 8194235 w 12192185"/>
              <a:gd name="connsiteY3417" fmla="*/ 5641168 h 6859062"/>
              <a:gd name="connsiteX3418" fmla="*/ 8197458 w 12192185"/>
              <a:gd name="connsiteY3418" fmla="*/ 5643824 h 6859062"/>
              <a:gd name="connsiteX3419" fmla="*/ 8203901 w 12192185"/>
              <a:gd name="connsiteY3419" fmla="*/ 5649133 h 6859062"/>
              <a:gd name="connsiteX3420" fmla="*/ 8203335 w 12192185"/>
              <a:gd name="connsiteY3420" fmla="*/ 5643257 h 6859062"/>
              <a:gd name="connsiteX3421" fmla="*/ 8200111 w 12192185"/>
              <a:gd name="connsiteY3421" fmla="*/ 5640601 h 6859062"/>
              <a:gd name="connsiteX3422" fmla="*/ 8196890 w 12192185"/>
              <a:gd name="connsiteY3422" fmla="*/ 5637946 h 6859062"/>
              <a:gd name="connsiteX3423" fmla="*/ 8189877 w 12192185"/>
              <a:gd name="connsiteY3423" fmla="*/ 5626759 h 6859062"/>
              <a:gd name="connsiteX3424" fmla="*/ 8184001 w 12192185"/>
              <a:gd name="connsiteY3424" fmla="*/ 5627327 h 6859062"/>
              <a:gd name="connsiteX3425" fmla="*/ 8187222 w 12192185"/>
              <a:gd name="connsiteY3425" fmla="*/ 5629981 h 6859062"/>
              <a:gd name="connsiteX3426" fmla="*/ 8187790 w 12192185"/>
              <a:gd name="connsiteY3426" fmla="*/ 5635858 h 6859062"/>
              <a:gd name="connsiteX3427" fmla="*/ 8178124 w 12192185"/>
              <a:gd name="connsiteY3427" fmla="*/ 5627894 h 6859062"/>
              <a:gd name="connsiteX3428" fmla="*/ 8174900 w 12192185"/>
              <a:gd name="connsiteY3428" fmla="*/ 5625238 h 6859062"/>
              <a:gd name="connsiteX3429" fmla="*/ 8162398 w 12192185"/>
              <a:gd name="connsiteY3429" fmla="*/ 5587884 h 6859062"/>
              <a:gd name="connsiteX3430" fmla="*/ 8203720 w 12192185"/>
              <a:gd name="connsiteY3430" fmla="*/ 5616524 h 6859062"/>
              <a:gd name="connsiteX3431" fmla="*/ 8201452 w 12192185"/>
              <a:gd name="connsiteY3431" fmla="*/ 5593015 h 6859062"/>
              <a:gd name="connsiteX3432" fmla="*/ 8305340 w 12192185"/>
              <a:gd name="connsiteY3432" fmla="*/ 5624514 h 6859062"/>
              <a:gd name="connsiteX3433" fmla="*/ 8308564 w 12192185"/>
              <a:gd name="connsiteY3433" fmla="*/ 5627170 h 6859062"/>
              <a:gd name="connsiteX3434" fmla="*/ 8315008 w 12192185"/>
              <a:gd name="connsiteY3434" fmla="*/ 5632478 h 6859062"/>
              <a:gd name="connsiteX3435" fmla="*/ 8320886 w 12192185"/>
              <a:gd name="connsiteY3435" fmla="*/ 5631913 h 6859062"/>
              <a:gd name="connsiteX3436" fmla="*/ 8364297 w 12192185"/>
              <a:gd name="connsiteY3436" fmla="*/ 5651450 h 6859062"/>
              <a:gd name="connsiteX3437" fmla="*/ 8379841 w 12192185"/>
              <a:gd name="connsiteY3437" fmla="*/ 5658850 h 6859062"/>
              <a:gd name="connsiteX3438" fmla="*/ 8385719 w 12192185"/>
              <a:gd name="connsiteY3438" fmla="*/ 5658282 h 6859062"/>
              <a:gd name="connsiteX3439" fmla="*/ 8388941 w 12192185"/>
              <a:gd name="connsiteY3439" fmla="*/ 5660937 h 6859062"/>
              <a:gd name="connsiteX3440" fmla="*/ 8391596 w 12192185"/>
              <a:gd name="connsiteY3440" fmla="*/ 5657715 h 6859062"/>
              <a:gd name="connsiteX3441" fmla="*/ 8394818 w 12192185"/>
              <a:gd name="connsiteY3441" fmla="*/ 5660370 h 6859062"/>
              <a:gd name="connsiteX3442" fmla="*/ 8413020 w 12192185"/>
              <a:gd name="connsiteY3442" fmla="*/ 5664545 h 6859062"/>
              <a:gd name="connsiteX3443" fmla="*/ 8406007 w 12192185"/>
              <a:gd name="connsiteY3443" fmla="*/ 5653358 h 6859062"/>
              <a:gd name="connsiteX3444" fmla="*/ 8417761 w 12192185"/>
              <a:gd name="connsiteY3444" fmla="*/ 5652223 h 6859062"/>
              <a:gd name="connsiteX3445" fmla="*/ 8449419 w 12192185"/>
              <a:gd name="connsiteY3445" fmla="*/ 5672898 h 6859062"/>
              <a:gd name="connsiteX3446" fmla="*/ 8547997 w 12192185"/>
              <a:gd name="connsiteY3446" fmla="*/ 5710842 h 6859062"/>
              <a:gd name="connsiteX3447" fmla="*/ 8572642 w 12192185"/>
              <a:gd name="connsiteY3447" fmla="*/ 5720328 h 6859062"/>
              <a:gd name="connsiteX3448" fmla="*/ 8655675 w 12192185"/>
              <a:gd name="connsiteY3448" fmla="*/ 5750874 h 6859062"/>
              <a:gd name="connsiteX3449" fmla="*/ 8665343 w 12192185"/>
              <a:gd name="connsiteY3449" fmla="*/ 5758840 h 6859062"/>
              <a:gd name="connsiteX3450" fmla="*/ 8677097 w 12192185"/>
              <a:gd name="connsiteY3450" fmla="*/ 5757705 h 6859062"/>
              <a:gd name="connsiteX3451" fmla="*/ 8677664 w 12192185"/>
              <a:gd name="connsiteY3451" fmla="*/ 5763583 h 6859062"/>
              <a:gd name="connsiteX3452" fmla="*/ 8738708 w 12192185"/>
              <a:gd name="connsiteY3452" fmla="*/ 5781421 h 6859062"/>
              <a:gd name="connsiteX3453" fmla="*/ 8733400 w 12192185"/>
              <a:gd name="connsiteY3453" fmla="*/ 5787865 h 6859062"/>
              <a:gd name="connsiteX3454" fmla="*/ 8751032 w 12192185"/>
              <a:gd name="connsiteY3454" fmla="*/ 5786163 h 6859062"/>
              <a:gd name="connsiteX3455" fmla="*/ 8781555 w 12192185"/>
              <a:gd name="connsiteY3455" fmla="*/ 5795083 h 6859062"/>
              <a:gd name="connsiteX3456" fmla="*/ 8784776 w 12192185"/>
              <a:gd name="connsiteY3456" fmla="*/ 5797737 h 6859062"/>
              <a:gd name="connsiteX3457" fmla="*/ 8782121 w 12192185"/>
              <a:gd name="connsiteY3457" fmla="*/ 5800959 h 6859062"/>
              <a:gd name="connsiteX3458" fmla="*/ 8779466 w 12192185"/>
              <a:gd name="connsiteY3458" fmla="*/ 5804182 h 6859062"/>
              <a:gd name="connsiteX3459" fmla="*/ 8782688 w 12192185"/>
              <a:gd name="connsiteY3459" fmla="*/ 5806837 h 6859062"/>
              <a:gd name="connsiteX3460" fmla="*/ 8801456 w 12192185"/>
              <a:gd name="connsiteY3460" fmla="*/ 5816890 h 6859062"/>
              <a:gd name="connsiteX3461" fmla="*/ 8798801 w 12192185"/>
              <a:gd name="connsiteY3461" fmla="*/ 5820113 h 6859062"/>
              <a:gd name="connsiteX3462" fmla="*/ 8802023 w 12192185"/>
              <a:gd name="connsiteY3462" fmla="*/ 5822768 h 6859062"/>
              <a:gd name="connsiteX3463" fmla="*/ 8807901 w 12192185"/>
              <a:gd name="connsiteY3463" fmla="*/ 5822201 h 6859062"/>
              <a:gd name="connsiteX3464" fmla="*/ 8890366 w 12192185"/>
              <a:gd name="connsiteY3464" fmla="*/ 5846871 h 6859062"/>
              <a:gd name="connsiteX3465" fmla="*/ 8980798 w 12192185"/>
              <a:gd name="connsiteY3465" fmla="*/ 5861871 h 6859062"/>
              <a:gd name="connsiteX3466" fmla="*/ 9013526 w 12192185"/>
              <a:gd name="connsiteY3466" fmla="*/ 5870577 h 6859062"/>
              <a:gd name="connsiteX3467" fmla="*/ 9027059 w 12192185"/>
              <a:gd name="connsiteY3467" fmla="*/ 5872765 h 6859062"/>
              <a:gd name="connsiteX3468" fmla="*/ 8967041 w 12192185"/>
              <a:gd name="connsiteY3468" fmla="*/ 5856588 h 6859062"/>
              <a:gd name="connsiteX3469" fmla="*/ 8461674 w 12192185"/>
              <a:gd name="connsiteY3469" fmla="*/ 5636082 h 6859062"/>
              <a:gd name="connsiteX3470" fmla="*/ 8282113 w 12192185"/>
              <a:gd name="connsiteY3470" fmla="*/ 5526222 h 6859062"/>
              <a:gd name="connsiteX3471" fmla="*/ 8270507 w 12192185"/>
              <a:gd name="connsiteY3471" fmla="*/ 5510444 h 6859062"/>
              <a:gd name="connsiteX3472" fmla="*/ 8282036 w 12192185"/>
              <a:gd name="connsiteY3472" fmla="*/ 5508784 h 6859062"/>
              <a:gd name="connsiteX3473" fmla="*/ 8891501 w 12192185"/>
              <a:gd name="connsiteY3473" fmla="*/ 5798742 h 6859062"/>
              <a:gd name="connsiteX3474" fmla="*/ 9234329 w 12192185"/>
              <a:gd name="connsiteY3474" fmla="*/ 5884258 h 6859062"/>
              <a:gd name="connsiteX3475" fmla="*/ 9276088 w 12192185"/>
              <a:gd name="connsiteY3475" fmla="*/ 5893863 h 6859062"/>
              <a:gd name="connsiteX3476" fmla="*/ 9296191 w 12192185"/>
              <a:gd name="connsiteY3476" fmla="*/ 5889747 h 6859062"/>
              <a:gd name="connsiteX3477" fmla="*/ 9280152 w 12192185"/>
              <a:gd name="connsiteY3477" fmla="*/ 5872784 h 6859062"/>
              <a:gd name="connsiteX3478" fmla="*/ 9115965 w 12192185"/>
              <a:gd name="connsiteY3478" fmla="*/ 5841462 h 6859062"/>
              <a:gd name="connsiteX3479" fmla="*/ 8951099 w 12192185"/>
              <a:gd name="connsiteY3479" fmla="*/ 5795416 h 6859062"/>
              <a:gd name="connsiteX3480" fmla="*/ 8830912 w 12192185"/>
              <a:gd name="connsiteY3480" fmla="*/ 5753291 h 6859062"/>
              <a:gd name="connsiteX3481" fmla="*/ 8831050 w 12192185"/>
              <a:gd name="connsiteY3481" fmla="*/ 5754713 h 6859062"/>
              <a:gd name="connsiteX3482" fmla="*/ 8779105 w 12192185"/>
              <a:gd name="connsiteY3482" fmla="*/ 5738963 h 6859062"/>
              <a:gd name="connsiteX3483" fmla="*/ 8781760 w 12192185"/>
              <a:gd name="connsiteY3483" fmla="*/ 5735740 h 6859062"/>
              <a:gd name="connsiteX3484" fmla="*/ 8797304 w 12192185"/>
              <a:gd name="connsiteY3484" fmla="*/ 5743138 h 6859062"/>
              <a:gd name="connsiteX3485" fmla="*/ 8810745 w 12192185"/>
              <a:gd name="connsiteY3485" fmla="*/ 5746222 h 6859062"/>
              <a:gd name="connsiteX3486" fmla="*/ 8791975 w 12192185"/>
              <a:gd name="connsiteY3486" fmla="*/ 5739643 h 6859062"/>
              <a:gd name="connsiteX3487" fmla="*/ 8756766 w 12192185"/>
              <a:gd name="connsiteY3487" fmla="*/ 5724464 h 6859062"/>
              <a:gd name="connsiteX3488" fmla="*/ 8751973 w 12192185"/>
              <a:gd name="connsiteY3488" fmla="*/ 5726749 h 6859062"/>
              <a:gd name="connsiteX3489" fmla="*/ 8748582 w 12192185"/>
              <a:gd name="connsiteY3489" fmla="*/ 5730043 h 6859062"/>
              <a:gd name="connsiteX3490" fmla="*/ 8742137 w 12192185"/>
              <a:gd name="connsiteY3490" fmla="*/ 5724733 h 6859062"/>
              <a:gd name="connsiteX3491" fmla="*/ 8744792 w 12192185"/>
              <a:gd name="connsiteY3491" fmla="*/ 5721510 h 6859062"/>
              <a:gd name="connsiteX3492" fmla="*/ 8741570 w 12192185"/>
              <a:gd name="connsiteY3492" fmla="*/ 5718857 h 6859062"/>
              <a:gd name="connsiteX3493" fmla="*/ 8739173 w 12192185"/>
              <a:gd name="connsiteY3493" fmla="*/ 5716880 h 6859062"/>
              <a:gd name="connsiteX3494" fmla="*/ 8638893 w 12192185"/>
              <a:gd name="connsiteY3494" fmla="*/ 5673651 h 6859062"/>
              <a:gd name="connsiteX3495" fmla="*/ 8612911 w 12192185"/>
              <a:gd name="connsiteY3495" fmla="*/ 5660070 h 6859062"/>
              <a:gd name="connsiteX3496" fmla="*/ 8596357 w 12192185"/>
              <a:gd name="connsiteY3496" fmla="*/ 5658716 h 6859062"/>
              <a:gd name="connsiteX3497" fmla="*/ 8574936 w 12192185"/>
              <a:gd name="connsiteY3497" fmla="*/ 5651885 h 6859062"/>
              <a:gd name="connsiteX3498" fmla="*/ 8552945 w 12192185"/>
              <a:gd name="connsiteY3498" fmla="*/ 5639177 h 6859062"/>
              <a:gd name="connsiteX3499" fmla="*/ 8525079 w 12192185"/>
              <a:gd name="connsiteY3499" fmla="*/ 5627035 h 6859062"/>
              <a:gd name="connsiteX3500" fmla="*/ 8487544 w 12192185"/>
              <a:gd name="connsiteY3500" fmla="*/ 5606928 h 6859062"/>
              <a:gd name="connsiteX3501" fmla="*/ 8462899 w 12192185"/>
              <a:gd name="connsiteY3501" fmla="*/ 5597442 h 6859062"/>
              <a:gd name="connsiteX3502" fmla="*/ 8459677 w 12192185"/>
              <a:gd name="connsiteY3502" fmla="*/ 5594787 h 6859062"/>
              <a:gd name="connsiteX3503" fmla="*/ 8428589 w 12192185"/>
              <a:gd name="connsiteY3503" fmla="*/ 5579992 h 6859062"/>
              <a:gd name="connsiteX3504" fmla="*/ 8400722 w 12192185"/>
              <a:gd name="connsiteY3504" fmla="*/ 5567850 h 6859062"/>
              <a:gd name="connsiteX3505" fmla="*/ 8388400 w 12192185"/>
              <a:gd name="connsiteY3505" fmla="*/ 5563106 h 6859062"/>
              <a:gd name="connsiteX3506" fmla="*/ 8385176 w 12192185"/>
              <a:gd name="connsiteY3506" fmla="*/ 5560451 h 6859062"/>
              <a:gd name="connsiteX3507" fmla="*/ 8378165 w 12192185"/>
              <a:gd name="connsiteY3507" fmla="*/ 5549263 h 6859062"/>
              <a:gd name="connsiteX3508" fmla="*/ 8374943 w 12192185"/>
              <a:gd name="connsiteY3508" fmla="*/ 5546610 h 6859062"/>
              <a:gd name="connsiteX3509" fmla="*/ 8365842 w 12192185"/>
              <a:gd name="connsiteY3509" fmla="*/ 5544521 h 6859062"/>
              <a:gd name="connsiteX3510" fmla="*/ 8363186 w 12192185"/>
              <a:gd name="connsiteY3510" fmla="*/ 5547743 h 6859062"/>
              <a:gd name="connsiteX3511" fmla="*/ 8347075 w 12192185"/>
              <a:gd name="connsiteY3511" fmla="*/ 5534467 h 6859062"/>
              <a:gd name="connsiteX3512" fmla="*/ 8341197 w 12192185"/>
              <a:gd name="connsiteY3512" fmla="*/ 5535034 h 6859062"/>
              <a:gd name="connsiteX3513" fmla="*/ 8344420 w 12192185"/>
              <a:gd name="connsiteY3513" fmla="*/ 5537689 h 6859062"/>
              <a:gd name="connsiteX3514" fmla="*/ 8363186 w 12192185"/>
              <a:gd name="connsiteY3514" fmla="*/ 5547743 h 6859062"/>
              <a:gd name="connsiteX3515" fmla="*/ 8360533 w 12192185"/>
              <a:gd name="connsiteY3515" fmla="*/ 5550964 h 6859062"/>
              <a:gd name="connsiteX3516" fmla="*/ 8354087 w 12192185"/>
              <a:gd name="connsiteY3516" fmla="*/ 5545655 h 6859062"/>
              <a:gd name="connsiteX3517" fmla="*/ 8350865 w 12192185"/>
              <a:gd name="connsiteY3517" fmla="*/ 5543000 h 6859062"/>
              <a:gd name="connsiteX3518" fmla="*/ 8338542 w 12192185"/>
              <a:gd name="connsiteY3518" fmla="*/ 5538257 h 6859062"/>
              <a:gd name="connsiteX3519" fmla="*/ 8325654 w 12192185"/>
              <a:gd name="connsiteY3519" fmla="*/ 5527636 h 6859062"/>
              <a:gd name="connsiteX3520" fmla="*/ 8331532 w 12192185"/>
              <a:gd name="connsiteY3520" fmla="*/ 5527069 h 6859062"/>
              <a:gd name="connsiteX3521" fmla="*/ 8325086 w 12192185"/>
              <a:gd name="connsiteY3521" fmla="*/ 5521758 h 6859062"/>
              <a:gd name="connsiteX3522" fmla="*/ 8318641 w 12192185"/>
              <a:gd name="connsiteY3522" fmla="*/ 5516448 h 6859062"/>
              <a:gd name="connsiteX3523" fmla="*/ 8306317 w 12192185"/>
              <a:gd name="connsiteY3523" fmla="*/ 5511705 h 6859062"/>
              <a:gd name="connsiteX3524" fmla="*/ 8299875 w 12192185"/>
              <a:gd name="connsiteY3524" fmla="*/ 5506396 h 6859062"/>
              <a:gd name="connsiteX3525" fmla="*/ 8293996 w 12192185"/>
              <a:gd name="connsiteY3525" fmla="*/ 5506962 h 6859062"/>
              <a:gd name="connsiteX3526" fmla="*/ 8281673 w 12192185"/>
              <a:gd name="connsiteY3526" fmla="*/ 5502220 h 6859062"/>
              <a:gd name="connsiteX3527" fmla="*/ 8275229 w 12192185"/>
              <a:gd name="connsiteY3527" fmla="*/ 5496909 h 6859062"/>
              <a:gd name="connsiteX3528" fmla="*/ 8274662 w 12192185"/>
              <a:gd name="connsiteY3528" fmla="*/ 5491031 h 6859062"/>
              <a:gd name="connsiteX3529" fmla="*/ 8268785 w 12192185"/>
              <a:gd name="connsiteY3529" fmla="*/ 5491599 h 6859062"/>
              <a:gd name="connsiteX3530" fmla="*/ 8264995 w 12192185"/>
              <a:gd name="connsiteY3530" fmla="*/ 5483065 h 6859062"/>
              <a:gd name="connsiteX3531" fmla="*/ 8255894 w 12192185"/>
              <a:gd name="connsiteY3531" fmla="*/ 5480978 h 6859062"/>
              <a:gd name="connsiteX3532" fmla="*/ 8256462 w 12192185"/>
              <a:gd name="connsiteY3532" fmla="*/ 5486855 h 6859062"/>
              <a:gd name="connsiteX3533" fmla="*/ 8246795 w 12192185"/>
              <a:gd name="connsiteY3533" fmla="*/ 5478889 h 6859062"/>
              <a:gd name="connsiteX3534" fmla="*/ 8243574 w 12192185"/>
              <a:gd name="connsiteY3534" fmla="*/ 5476234 h 6859062"/>
              <a:gd name="connsiteX3535" fmla="*/ 8242763 w 12192185"/>
              <a:gd name="connsiteY3535" fmla="*/ 5475848 h 6859062"/>
              <a:gd name="connsiteX3536" fmla="*/ 8123803 w 12192185"/>
              <a:gd name="connsiteY3536" fmla="*/ 5596115 h 6859062"/>
              <a:gd name="connsiteX3537" fmla="*/ 8152870 w 12192185"/>
              <a:gd name="connsiteY3537" fmla="*/ 5537327 h 6859062"/>
              <a:gd name="connsiteX3538" fmla="*/ 8194038 w 12192185"/>
              <a:gd name="connsiteY3538" fmla="*/ 5482084 h 6859062"/>
              <a:gd name="connsiteX3539" fmla="*/ 8215650 w 12192185"/>
              <a:gd name="connsiteY3539" fmla="*/ 5458636 h 6859062"/>
              <a:gd name="connsiteX3540" fmla="*/ 8215139 w 12192185"/>
              <a:gd name="connsiteY3540" fmla="*/ 5458216 h 6859062"/>
              <a:gd name="connsiteX3541" fmla="*/ 8211513 w 12192185"/>
              <a:gd name="connsiteY3541" fmla="*/ 5455228 h 6859062"/>
              <a:gd name="connsiteX3542" fmla="*/ 11636113 w 12192185"/>
              <a:gd name="connsiteY3542" fmla="*/ 5437527 h 6859062"/>
              <a:gd name="connsiteX3543" fmla="*/ 11641756 w 12192185"/>
              <a:gd name="connsiteY3543" fmla="*/ 5437554 h 6859062"/>
              <a:gd name="connsiteX3544" fmla="*/ 11648869 w 12192185"/>
              <a:gd name="connsiteY3544" fmla="*/ 5439127 h 6859062"/>
              <a:gd name="connsiteX3545" fmla="*/ 11654162 w 12192185"/>
              <a:gd name="connsiteY3545" fmla="*/ 5441651 h 6859062"/>
              <a:gd name="connsiteX3546" fmla="*/ 11663775 w 12192185"/>
              <a:gd name="connsiteY3546" fmla="*/ 5451177 h 6859062"/>
              <a:gd name="connsiteX3547" fmla="*/ 11670040 w 12192185"/>
              <a:gd name="connsiteY3547" fmla="*/ 5456830 h 6859062"/>
              <a:gd name="connsiteX3548" fmla="*/ 11671669 w 12192185"/>
              <a:gd name="connsiteY3548" fmla="*/ 5459946 h 6859062"/>
              <a:gd name="connsiteX3549" fmla="*/ 11671805 w 12192185"/>
              <a:gd name="connsiteY3549" fmla="*/ 5467811 h 6859062"/>
              <a:gd name="connsiteX3550" fmla="*/ 11669671 w 12192185"/>
              <a:gd name="connsiteY3550" fmla="*/ 5480830 h 6859062"/>
              <a:gd name="connsiteX3551" fmla="*/ 11669752 w 12192185"/>
              <a:gd name="connsiteY3551" fmla="*/ 5485417 h 6859062"/>
              <a:gd name="connsiteX3552" fmla="*/ 11667309 w 12192185"/>
              <a:gd name="connsiteY3552" fmla="*/ 5488347 h 6859062"/>
              <a:gd name="connsiteX3553" fmla="*/ 11662278 w 12192185"/>
              <a:gd name="connsiteY3553" fmla="*/ 5493290 h 6859062"/>
              <a:gd name="connsiteX3554" fmla="*/ 11660742 w 12192185"/>
              <a:gd name="connsiteY3554" fmla="*/ 5495417 h 6859062"/>
              <a:gd name="connsiteX3555" fmla="*/ 11652963 w 12192185"/>
              <a:gd name="connsiteY3555" fmla="*/ 5500805 h 6859062"/>
              <a:gd name="connsiteX3556" fmla="*/ 11651413 w 12192185"/>
              <a:gd name="connsiteY3556" fmla="*/ 5502276 h 6859062"/>
              <a:gd name="connsiteX3557" fmla="*/ 11626843 w 12192185"/>
              <a:gd name="connsiteY3557" fmla="*/ 5500239 h 6859062"/>
              <a:gd name="connsiteX3558" fmla="*/ 11615556 w 12192185"/>
              <a:gd name="connsiteY3558" fmla="*/ 5492580 h 6859062"/>
              <a:gd name="connsiteX3559" fmla="*/ 11611428 w 12192185"/>
              <a:gd name="connsiteY3559" fmla="*/ 5489116 h 6859062"/>
              <a:gd name="connsiteX3560" fmla="*/ 11608861 w 12192185"/>
              <a:gd name="connsiteY3560" fmla="*/ 5484837 h 6859062"/>
              <a:gd name="connsiteX3561" fmla="*/ 11607876 w 12192185"/>
              <a:gd name="connsiteY3561" fmla="*/ 5481053 h 6859062"/>
              <a:gd name="connsiteX3562" fmla="*/ 11605511 w 12192185"/>
              <a:gd name="connsiteY3562" fmla="*/ 5473361 h 6859062"/>
              <a:gd name="connsiteX3563" fmla="*/ 11604414 w 12192185"/>
              <a:gd name="connsiteY3563" fmla="*/ 5470628 h 6859062"/>
              <a:gd name="connsiteX3564" fmla="*/ 11601937 w 12192185"/>
              <a:gd name="connsiteY3564" fmla="*/ 5463986 h 6859062"/>
              <a:gd name="connsiteX3565" fmla="*/ 11609644 w 12192185"/>
              <a:gd name="connsiteY3565" fmla="*/ 5447062 h 6859062"/>
              <a:gd name="connsiteX3566" fmla="*/ 11617830 w 12192185"/>
              <a:gd name="connsiteY3566" fmla="*/ 5442453 h 6859062"/>
              <a:gd name="connsiteX3567" fmla="*/ 11636113 w 12192185"/>
              <a:gd name="connsiteY3567" fmla="*/ 5437527 h 6859062"/>
              <a:gd name="connsiteX3568" fmla="*/ 1633673 w 12192185"/>
              <a:gd name="connsiteY3568" fmla="*/ 5427074 h 6859062"/>
              <a:gd name="connsiteX3569" fmla="*/ 1634824 w 12192185"/>
              <a:gd name="connsiteY3569" fmla="*/ 5429070 h 6859062"/>
              <a:gd name="connsiteX3570" fmla="*/ 1648853 w 12192185"/>
              <a:gd name="connsiteY3570" fmla="*/ 5446940 h 6859062"/>
              <a:gd name="connsiteX3571" fmla="*/ 1650072 w 12192185"/>
              <a:gd name="connsiteY3571" fmla="*/ 5447267 h 6859062"/>
              <a:gd name="connsiteX3572" fmla="*/ 1591827 w 12192185"/>
              <a:gd name="connsiteY3572" fmla="*/ 5375552 h 6859062"/>
              <a:gd name="connsiteX3573" fmla="*/ 1591395 w 12192185"/>
              <a:gd name="connsiteY3573" fmla="*/ 5375834 h 6859062"/>
              <a:gd name="connsiteX3574" fmla="*/ 1594782 w 12192185"/>
              <a:gd name="connsiteY3574" fmla="*/ 5385413 h 6859062"/>
              <a:gd name="connsiteX3575" fmla="*/ 1588422 w 12192185"/>
              <a:gd name="connsiteY3575" fmla="*/ 5378418 h 6859062"/>
              <a:gd name="connsiteX3576" fmla="*/ 1586067 w 12192185"/>
              <a:gd name="connsiteY3576" fmla="*/ 5382938 h 6859062"/>
              <a:gd name="connsiteX3577" fmla="*/ 1586257 w 12192185"/>
              <a:gd name="connsiteY3577" fmla="*/ 5383215 h 6859062"/>
              <a:gd name="connsiteX3578" fmla="*/ 1609242 w 12192185"/>
              <a:gd name="connsiteY3578" fmla="*/ 5396996 h 6859062"/>
              <a:gd name="connsiteX3579" fmla="*/ 1596906 w 12192185"/>
              <a:gd name="connsiteY3579" fmla="*/ 5381805 h 6859062"/>
              <a:gd name="connsiteX3580" fmla="*/ 1595956 w 12192185"/>
              <a:gd name="connsiteY3580" fmla="*/ 5381024 h 6859062"/>
              <a:gd name="connsiteX3581" fmla="*/ 1594606 w 12192185"/>
              <a:gd name="connsiteY3581" fmla="*/ 5378975 h 6859062"/>
              <a:gd name="connsiteX3582" fmla="*/ 59700 w 12192185"/>
              <a:gd name="connsiteY3582" fmla="*/ 5360465 h 6859062"/>
              <a:gd name="connsiteX3583" fmla="*/ 70622 w 12192185"/>
              <a:gd name="connsiteY3583" fmla="*/ 5365302 h 6859062"/>
              <a:gd name="connsiteX3584" fmla="*/ 87249 w 12192185"/>
              <a:gd name="connsiteY3584" fmla="*/ 5380588 h 6859062"/>
              <a:gd name="connsiteX3585" fmla="*/ 93441 w 12192185"/>
              <a:gd name="connsiteY3585" fmla="*/ 5407092 h 6859062"/>
              <a:gd name="connsiteX3586" fmla="*/ 88390 w 12192185"/>
              <a:gd name="connsiteY3586" fmla="*/ 5417164 h 6859062"/>
              <a:gd name="connsiteX3587" fmla="*/ 86341 w 12192185"/>
              <a:gd name="connsiteY3587" fmla="*/ 5436742 h 6859062"/>
              <a:gd name="connsiteX3588" fmla="*/ 86875 w 12192185"/>
              <a:gd name="connsiteY3588" fmla="*/ 5444776 h 6859062"/>
              <a:gd name="connsiteX3589" fmla="*/ 80225 w 12192185"/>
              <a:gd name="connsiteY3589" fmla="*/ 5470334 h 6859062"/>
              <a:gd name="connsiteX3590" fmla="*/ 64707 w 12192185"/>
              <a:gd name="connsiteY3590" fmla="*/ 5477181 h 6859062"/>
              <a:gd name="connsiteX3591" fmla="*/ 47913 w 12192185"/>
              <a:gd name="connsiteY3591" fmla="*/ 5477229 h 6859062"/>
              <a:gd name="connsiteX3592" fmla="*/ 36557 w 12192185"/>
              <a:gd name="connsiteY3592" fmla="*/ 5473810 h 6859062"/>
              <a:gd name="connsiteX3593" fmla="*/ 24133 w 12192185"/>
              <a:gd name="connsiteY3593" fmla="*/ 5454323 h 6859062"/>
              <a:gd name="connsiteX3594" fmla="*/ 28504 w 12192185"/>
              <a:gd name="connsiteY3594" fmla="*/ 5434788 h 6859062"/>
              <a:gd name="connsiteX3595" fmla="*/ 27143 w 12192185"/>
              <a:gd name="connsiteY3595" fmla="*/ 5415861 h 6859062"/>
              <a:gd name="connsiteX3596" fmla="*/ 23807 w 12192185"/>
              <a:gd name="connsiteY3596" fmla="*/ 5397432 h 6859062"/>
              <a:gd name="connsiteX3597" fmla="*/ 25752 w 12192185"/>
              <a:gd name="connsiteY3597" fmla="*/ 5382488 h 6859062"/>
              <a:gd name="connsiteX3598" fmla="*/ 33917 w 12192185"/>
              <a:gd name="connsiteY3598" fmla="*/ 5368908 h 6859062"/>
              <a:gd name="connsiteX3599" fmla="*/ 44793 w 12192185"/>
              <a:gd name="connsiteY3599" fmla="*/ 5361974 h 6859062"/>
              <a:gd name="connsiteX3600" fmla="*/ 47805 w 12192185"/>
              <a:gd name="connsiteY3600" fmla="*/ 5363100 h 6859062"/>
              <a:gd name="connsiteX3601" fmla="*/ 59700 w 12192185"/>
              <a:gd name="connsiteY3601" fmla="*/ 5360465 h 6859062"/>
              <a:gd name="connsiteX3602" fmla="*/ 8041692 w 12192185"/>
              <a:gd name="connsiteY3602" fmla="*/ 5348396 h 6859062"/>
              <a:gd name="connsiteX3603" fmla="*/ 7998314 w 12192185"/>
              <a:gd name="connsiteY3603" fmla="*/ 5387913 h 6859062"/>
              <a:gd name="connsiteX3604" fmla="*/ 7965104 w 12192185"/>
              <a:gd name="connsiteY3604" fmla="*/ 5433632 h 6859062"/>
              <a:gd name="connsiteX3605" fmla="*/ 8047196 w 12192185"/>
              <a:gd name="connsiteY3605" fmla="*/ 5352809 h 6859062"/>
              <a:gd name="connsiteX3606" fmla="*/ 1555181 w 12192185"/>
              <a:gd name="connsiteY3606" fmla="*/ 5315328 h 6859062"/>
              <a:gd name="connsiteX3607" fmla="*/ 1555051 w 12192185"/>
              <a:gd name="connsiteY3607" fmla="*/ 5323024 h 6859062"/>
              <a:gd name="connsiteX3608" fmla="*/ 1570379 w 12192185"/>
              <a:gd name="connsiteY3608" fmla="*/ 5342347 h 6859062"/>
              <a:gd name="connsiteX3609" fmla="*/ 1570362 w 12192185"/>
              <a:gd name="connsiteY3609" fmla="*/ 5341545 h 6859062"/>
              <a:gd name="connsiteX3610" fmla="*/ 8078670 w 12192185"/>
              <a:gd name="connsiteY3610" fmla="*/ 5314125 h 6859062"/>
              <a:gd name="connsiteX3611" fmla="*/ 8075219 w 12192185"/>
              <a:gd name="connsiteY3611" fmla="*/ 5317854 h 6859062"/>
              <a:gd name="connsiteX3612" fmla="*/ 8043174 w 12192185"/>
              <a:gd name="connsiteY3612" fmla="*/ 5347046 h 6859062"/>
              <a:gd name="connsiteX3613" fmla="*/ 8044532 w 12192185"/>
              <a:gd name="connsiteY3613" fmla="*/ 5350103 h 6859062"/>
              <a:gd name="connsiteX3614" fmla="*/ 8048870 w 12192185"/>
              <a:gd name="connsiteY3614" fmla="*/ 5348944 h 6859062"/>
              <a:gd name="connsiteX3615" fmla="*/ 8050200 w 12192185"/>
              <a:gd name="connsiteY3615" fmla="*/ 5349851 h 6859062"/>
              <a:gd name="connsiteX3616" fmla="*/ 8067707 w 12192185"/>
              <a:gd name="connsiteY3616" fmla="*/ 5332616 h 6859062"/>
              <a:gd name="connsiteX3617" fmla="*/ 8069239 w 12192185"/>
              <a:gd name="connsiteY3617" fmla="*/ 5329120 h 6859062"/>
              <a:gd name="connsiteX3618" fmla="*/ 8079534 w 12192185"/>
              <a:gd name="connsiteY3618" fmla="*/ 5315147 h 6859062"/>
              <a:gd name="connsiteX3619" fmla="*/ 723119 w 12192185"/>
              <a:gd name="connsiteY3619" fmla="*/ 5305066 h 6859062"/>
              <a:gd name="connsiteX3620" fmla="*/ 721754 w 12192185"/>
              <a:gd name="connsiteY3620" fmla="*/ 5306274 h 6859062"/>
              <a:gd name="connsiteX3621" fmla="*/ 715701 w 12192185"/>
              <a:gd name="connsiteY3621" fmla="*/ 5309115 h 6859062"/>
              <a:gd name="connsiteX3622" fmla="*/ 715689 w 12192185"/>
              <a:gd name="connsiteY3622" fmla="*/ 5309117 h 6859062"/>
              <a:gd name="connsiteX3623" fmla="*/ 716662 w 12192185"/>
              <a:gd name="connsiteY3623" fmla="*/ 5310760 h 6859062"/>
              <a:gd name="connsiteX3624" fmla="*/ 723456 w 12192185"/>
              <a:gd name="connsiteY3624" fmla="*/ 5309286 h 6859062"/>
              <a:gd name="connsiteX3625" fmla="*/ 520826 w 12192185"/>
              <a:gd name="connsiteY3625" fmla="*/ 5305029 h 6859062"/>
              <a:gd name="connsiteX3626" fmla="*/ 526906 w 12192185"/>
              <a:gd name="connsiteY3626" fmla="*/ 5308666 h 6859062"/>
              <a:gd name="connsiteX3627" fmla="*/ 545980 w 12192185"/>
              <a:gd name="connsiteY3627" fmla="*/ 5315827 h 6859062"/>
              <a:gd name="connsiteX3628" fmla="*/ 556403 w 12192185"/>
              <a:gd name="connsiteY3628" fmla="*/ 5322062 h 6859062"/>
              <a:gd name="connsiteX3629" fmla="*/ 559322 w 12192185"/>
              <a:gd name="connsiteY3629" fmla="*/ 5326641 h 6859062"/>
              <a:gd name="connsiteX3630" fmla="*/ 562069 w 12192185"/>
              <a:gd name="connsiteY3630" fmla="*/ 5339378 h 6859062"/>
              <a:gd name="connsiteX3631" fmla="*/ 567423 w 12192185"/>
              <a:gd name="connsiteY3631" fmla="*/ 5359579 h 6859062"/>
              <a:gd name="connsiteX3632" fmla="*/ 566732 w 12192185"/>
              <a:gd name="connsiteY3632" fmla="*/ 5368607 h 6859062"/>
              <a:gd name="connsiteX3633" fmla="*/ 563364 w 12192185"/>
              <a:gd name="connsiteY3633" fmla="*/ 5379340 h 6859062"/>
              <a:gd name="connsiteX3634" fmla="*/ 559058 w 12192185"/>
              <a:gd name="connsiteY3634" fmla="*/ 5386915 h 6859062"/>
              <a:gd name="connsiteX3635" fmla="*/ 538393 w 12192185"/>
              <a:gd name="connsiteY3635" fmla="*/ 5407603 h 6859062"/>
              <a:gd name="connsiteX3636" fmla="*/ 525924 w 12192185"/>
              <a:gd name="connsiteY3636" fmla="*/ 5415016 h 6859062"/>
              <a:gd name="connsiteX3637" fmla="*/ 497334 w 12192185"/>
              <a:gd name="connsiteY3637" fmla="*/ 5412313 h 6859062"/>
              <a:gd name="connsiteX3638" fmla="*/ 490349 w 12192185"/>
              <a:gd name="connsiteY3638" fmla="*/ 5403885 h 6859062"/>
              <a:gd name="connsiteX3639" fmla="*/ 487534 w 12192185"/>
              <a:gd name="connsiteY3639" fmla="*/ 5400313 h 6859062"/>
              <a:gd name="connsiteX3640" fmla="*/ 479055 w 12192185"/>
              <a:gd name="connsiteY3640" fmla="*/ 5391228 h 6859062"/>
              <a:gd name="connsiteX3641" fmla="*/ 474747 w 12192185"/>
              <a:gd name="connsiteY3641" fmla="*/ 5386999 h 6859062"/>
              <a:gd name="connsiteX3642" fmla="*/ 470994 w 12192185"/>
              <a:gd name="connsiteY3642" fmla="*/ 5380269 h 6859062"/>
              <a:gd name="connsiteX3643" fmla="*/ 469533 w 12192185"/>
              <a:gd name="connsiteY3643" fmla="*/ 5372077 h 6859062"/>
              <a:gd name="connsiteX3644" fmla="*/ 467964 w 12192185"/>
              <a:gd name="connsiteY3644" fmla="*/ 5351073 h 6859062"/>
              <a:gd name="connsiteX3645" fmla="*/ 484144 w 12192185"/>
              <a:gd name="connsiteY3645" fmla="*/ 5316608 h 6859062"/>
              <a:gd name="connsiteX3646" fmla="*/ 487305 w 12192185"/>
              <a:gd name="connsiteY3646" fmla="*/ 5315667 h 6859062"/>
              <a:gd name="connsiteX3647" fmla="*/ 500504 w 12192185"/>
              <a:gd name="connsiteY3647" fmla="*/ 5309398 h 6859062"/>
              <a:gd name="connsiteX3648" fmla="*/ 504533 w 12192185"/>
              <a:gd name="connsiteY3648" fmla="*/ 5308975 h 6859062"/>
              <a:gd name="connsiteX3649" fmla="*/ 515024 w 12192185"/>
              <a:gd name="connsiteY3649" fmla="*/ 5306044 h 6859062"/>
              <a:gd name="connsiteX3650" fmla="*/ 520826 w 12192185"/>
              <a:gd name="connsiteY3650" fmla="*/ 5305029 h 6859062"/>
              <a:gd name="connsiteX3651" fmla="*/ 329966 w 12192185"/>
              <a:gd name="connsiteY3651" fmla="*/ 5296981 h 6859062"/>
              <a:gd name="connsiteX3652" fmla="*/ 333500 w 12192185"/>
              <a:gd name="connsiteY3652" fmla="*/ 5297273 h 6859062"/>
              <a:gd name="connsiteX3653" fmla="*/ 349364 w 12192185"/>
              <a:gd name="connsiteY3653" fmla="*/ 5304192 h 6859062"/>
              <a:gd name="connsiteX3654" fmla="*/ 353774 w 12192185"/>
              <a:gd name="connsiteY3654" fmla="*/ 5311740 h 6859062"/>
              <a:gd name="connsiteX3655" fmla="*/ 358632 w 12192185"/>
              <a:gd name="connsiteY3655" fmla="*/ 5328677 h 6859062"/>
              <a:gd name="connsiteX3656" fmla="*/ 358691 w 12192185"/>
              <a:gd name="connsiteY3656" fmla="*/ 5333928 h 6859062"/>
              <a:gd name="connsiteX3657" fmla="*/ 357335 w 12192185"/>
              <a:gd name="connsiteY3657" fmla="*/ 5340570 h 6859062"/>
              <a:gd name="connsiteX3658" fmla="*/ 355065 w 12192185"/>
              <a:gd name="connsiteY3658" fmla="*/ 5345532 h 6859062"/>
              <a:gd name="connsiteX3659" fmla="*/ 346346 w 12192185"/>
              <a:gd name="connsiteY3659" fmla="*/ 5354619 h 6859062"/>
              <a:gd name="connsiteX3660" fmla="*/ 341181 w 12192185"/>
              <a:gd name="connsiteY3660" fmla="*/ 5360533 h 6859062"/>
              <a:gd name="connsiteX3661" fmla="*/ 338305 w 12192185"/>
              <a:gd name="connsiteY3661" fmla="*/ 5362096 h 6859062"/>
              <a:gd name="connsiteX3662" fmla="*/ 330991 w 12192185"/>
              <a:gd name="connsiteY3662" fmla="*/ 5362341 h 6859062"/>
              <a:gd name="connsiteX3663" fmla="*/ 318844 w 12192185"/>
              <a:gd name="connsiteY3663" fmla="*/ 5360551 h 6859062"/>
              <a:gd name="connsiteX3664" fmla="*/ 314577 w 12192185"/>
              <a:gd name="connsiteY3664" fmla="*/ 5360695 h 6859062"/>
              <a:gd name="connsiteX3665" fmla="*/ 311814 w 12192185"/>
              <a:gd name="connsiteY3665" fmla="*/ 5358466 h 6859062"/>
              <a:gd name="connsiteX3666" fmla="*/ 307139 w 12192185"/>
              <a:gd name="connsiteY3666" fmla="*/ 5353860 h 6859062"/>
              <a:gd name="connsiteX3667" fmla="*/ 305137 w 12192185"/>
              <a:gd name="connsiteY3667" fmla="*/ 5352460 h 6859062"/>
              <a:gd name="connsiteX3668" fmla="*/ 300008 w 12192185"/>
              <a:gd name="connsiteY3668" fmla="*/ 5345304 h 6859062"/>
              <a:gd name="connsiteX3669" fmla="*/ 298616 w 12192185"/>
              <a:gd name="connsiteY3669" fmla="*/ 5343885 h 6859062"/>
              <a:gd name="connsiteX3670" fmla="*/ 300143 w 12192185"/>
              <a:gd name="connsiteY3670" fmla="*/ 5320991 h 6859062"/>
              <a:gd name="connsiteX3671" fmla="*/ 307100 w 12192185"/>
              <a:gd name="connsiteY3671" fmla="*/ 5310375 h 6859062"/>
              <a:gd name="connsiteX3672" fmla="*/ 310261 w 12192185"/>
              <a:gd name="connsiteY3672" fmla="*/ 5306482 h 6859062"/>
              <a:gd name="connsiteX3673" fmla="*/ 314204 w 12192185"/>
              <a:gd name="connsiteY3673" fmla="*/ 5304029 h 6859062"/>
              <a:gd name="connsiteX3674" fmla="*/ 317710 w 12192185"/>
              <a:gd name="connsiteY3674" fmla="*/ 5303056 h 6859062"/>
              <a:gd name="connsiteX3675" fmla="*/ 324832 w 12192185"/>
              <a:gd name="connsiteY3675" fmla="*/ 5300740 h 6859062"/>
              <a:gd name="connsiteX3676" fmla="*/ 327358 w 12192185"/>
              <a:gd name="connsiteY3676" fmla="*/ 5299679 h 6859062"/>
              <a:gd name="connsiteX3677" fmla="*/ 329966 w 12192185"/>
              <a:gd name="connsiteY3677" fmla="*/ 5296981 h 6859062"/>
              <a:gd name="connsiteX3678" fmla="*/ 1544355 w 12192185"/>
              <a:gd name="connsiteY3678" fmla="*/ 5296633 h 6859062"/>
              <a:gd name="connsiteX3679" fmla="*/ 1542201 w 12192185"/>
              <a:gd name="connsiteY3679" fmla="*/ 5300767 h 6859062"/>
              <a:gd name="connsiteX3680" fmla="*/ 1552876 w 12192185"/>
              <a:gd name="connsiteY3680" fmla="*/ 5311349 h 6859062"/>
              <a:gd name="connsiteX3681" fmla="*/ 11965802 w 12192185"/>
              <a:gd name="connsiteY3681" fmla="*/ 5295377 h 6859062"/>
              <a:gd name="connsiteX3682" fmla="*/ 11965775 w 12192185"/>
              <a:gd name="connsiteY3682" fmla="*/ 5295870 h 6859062"/>
              <a:gd name="connsiteX3683" fmla="*/ 11965376 w 12192185"/>
              <a:gd name="connsiteY3683" fmla="*/ 5295747 h 6859062"/>
              <a:gd name="connsiteX3684" fmla="*/ 11856017 w 12192185"/>
              <a:gd name="connsiteY3684" fmla="*/ 5260615 h 6859062"/>
              <a:gd name="connsiteX3685" fmla="*/ 11878115 w 12192185"/>
              <a:gd name="connsiteY3685" fmla="*/ 5266662 h 6859062"/>
              <a:gd name="connsiteX3686" fmla="*/ 11883929 w 12192185"/>
              <a:gd name="connsiteY3686" fmla="*/ 5270537 h 6859062"/>
              <a:gd name="connsiteX3687" fmla="*/ 11899540 w 12192185"/>
              <a:gd name="connsiteY3687" fmla="*/ 5277460 h 6859062"/>
              <a:gd name="connsiteX3688" fmla="*/ 11909299 w 12192185"/>
              <a:gd name="connsiteY3688" fmla="*/ 5278015 h 6859062"/>
              <a:gd name="connsiteX3689" fmla="*/ 11926561 w 12192185"/>
              <a:gd name="connsiteY3689" fmla="*/ 5294131 h 6859062"/>
              <a:gd name="connsiteX3690" fmla="*/ 11930870 w 12192185"/>
              <a:gd name="connsiteY3690" fmla="*/ 5313247 h 6859062"/>
              <a:gd name="connsiteX3691" fmla="*/ 11922662 w 12192185"/>
              <a:gd name="connsiteY3691" fmla="*/ 5331361 h 6859062"/>
              <a:gd name="connsiteX3692" fmla="*/ 11922206 w 12192185"/>
              <a:gd name="connsiteY3692" fmla="*/ 5334114 h 6859062"/>
              <a:gd name="connsiteX3693" fmla="*/ 11912290 w 12192185"/>
              <a:gd name="connsiteY3693" fmla="*/ 5339297 h 6859062"/>
              <a:gd name="connsiteX3694" fmla="*/ 11898543 w 12192185"/>
              <a:gd name="connsiteY3694" fmla="*/ 5339568 h 6859062"/>
              <a:gd name="connsiteX3695" fmla="*/ 11886463 w 12192185"/>
              <a:gd name="connsiteY3695" fmla="*/ 5334570 h 6859062"/>
              <a:gd name="connsiteX3696" fmla="*/ 11874042 w 12192185"/>
              <a:gd name="connsiteY3696" fmla="*/ 5324093 h 6859062"/>
              <a:gd name="connsiteX3697" fmla="*/ 11860394 w 12192185"/>
              <a:gd name="connsiteY3697" fmla="*/ 5314887 h 6859062"/>
              <a:gd name="connsiteX3698" fmla="*/ 11843809 w 12192185"/>
              <a:gd name="connsiteY3698" fmla="*/ 5309729 h 6859062"/>
              <a:gd name="connsiteX3699" fmla="*/ 11834523 w 12192185"/>
              <a:gd name="connsiteY3699" fmla="*/ 5291959 h 6859062"/>
              <a:gd name="connsiteX3700" fmla="*/ 11836860 w 12192185"/>
              <a:gd name="connsiteY3700" fmla="*/ 5281939 h 6859062"/>
              <a:gd name="connsiteX3701" fmla="*/ 11844157 w 12192185"/>
              <a:gd name="connsiteY3701" fmla="*/ 5269328 h 6859062"/>
              <a:gd name="connsiteX3702" fmla="*/ 11856017 w 12192185"/>
              <a:gd name="connsiteY3702" fmla="*/ 5260615 h 6859062"/>
              <a:gd name="connsiteX3703" fmla="*/ 11408705 w 12192185"/>
              <a:gd name="connsiteY3703" fmla="*/ 5226425 h 6859062"/>
              <a:gd name="connsiteX3704" fmla="*/ 11322103 w 12192185"/>
              <a:gd name="connsiteY3704" fmla="*/ 5317014 h 6859062"/>
              <a:gd name="connsiteX3705" fmla="*/ 11116824 w 12192185"/>
              <a:gd name="connsiteY3705" fmla="*/ 5479141 h 6859062"/>
              <a:gd name="connsiteX3706" fmla="*/ 11043288 w 12192185"/>
              <a:gd name="connsiteY3706" fmla="*/ 5530086 h 6859062"/>
              <a:gd name="connsiteX3707" fmla="*/ 11033710 w 12192185"/>
              <a:gd name="connsiteY3707" fmla="*/ 5538790 h 6859062"/>
              <a:gd name="connsiteX3708" fmla="*/ 10909239 w 12192185"/>
              <a:gd name="connsiteY3708" fmla="*/ 5634797 h 6859062"/>
              <a:gd name="connsiteX3709" fmla="*/ 10909089 w 12192185"/>
              <a:gd name="connsiteY3709" fmla="*/ 5647853 h 6859062"/>
              <a:gd name="connsiteX3710" fmla="*/ 10892537 w 12192185"/>
              <a:gd name="connsiteY3710" fmla="*/ 5676439 h 6859062"/>
              <a:gd name="connsiteX3711" fmla="*/ 10889735 w 12192185"/>
              <a:gd name="connsiteY3711" fmla="*/ 5677018 h 6859062"/>
              <a:gd name="connsiteX3712" fmla="*/ 10877858 w 12192185"/>
              <a:gd name="connsiteY3712" fmla="*/ 5681452 h 6859062"/>
              <a:gd name="connsiteX3713" fmla="*/ 10874344 w 12192185"/>
              <a:gd name="connsiteY3713" fmla="*/ 5681517 h 6859062"/>
              <a:gd name="connsiteX3714" fmla="*/ 10865057 w 12192185"/>
              <a:gd name="connsiteY3714" fmla="*/ 5683270 h 6859062"/>
              <a:gd name="connsiteX3715" fmla="*/ 10859967 w 12192185"/>
              <a:gd name="connsiteY3715" fmla="*/ 5683716 h 6859062"/>
              <a:gd name="connsiteX3716" fmla="*/ 10854983 w 12192185"/>
              <a:gd name="connsiteY3716" fmla="*/ 5680119 h 6859062"/>
              <a:gd name="connsiteX3717" fmla="*/ 10846009 w 12192185"/>
              <a:gd name="connsiteY3717" fmla="*/ 5679619 h 6859062"/>
              <a:gd name="connsiteX3718" fmla="*/ 10716076 w 12192185"/>
              <a:gd name="connsiteY3718" fmla="*/ 5764239 h 6859062"/>
              <a:gd name="connsiteX3719" fmla="*/ 10370122 w 12192185"/>
              <a:gd name="connsiteY3719" fmla="*/ 5935415 h 6859062"/>
              <a:gd name="connsiteX3720" fmla="*/ 10378087 w 12192185"/>
              <a:gd name="connsiteY3720" fmla="*/ 5925747 h 6859062"/>
              <a:gd name="connsiteX3721" fmla="*/ 10309825 w 12192185"/>
              <a:gd name="connsiteY3721" fmla="*/ 5956065 h 6859062"/>
              <a:gd name="connsiteX3722" fmla="*/ 10223931 w 12192185"/>
              <a:gd name="connsiteY3722" fmla="*/ 5988084 h 6859062"/>
              <a:gd name="connsiteX3723" fmla="*/ 10172167 w 12192185"/>
              <a:gd name="connsiteY3723" fmla="*/ 6004945 h 6859062"/>
              <a:gd name="connsiteX3724" fmla="*/ 10168946 w 12192185"/>
              <a:gd name="connsiteY3724" fmla="*/ 6002289 h 6859062"/>
              <a:gd name="connsiteX3725" fmla="*/ 10166290 w 12192185"/>
              <a:gd name="connsiteY3725" fmla="*/ 6005512 h 6859062"/>
              <a:gd name="connsiteX3726" fmla="*/ 10160412 w 12192185"/>
              <a:gd name="connsiteY3726" fmla="*/ 6006079 h 6859062"/>
              <a:gd name="connsiteX3727" fmla="*/ 10151879 w 12192185"/>
              <a:gd name="connsiteY3727" fmla="*/ 6009868 h 6859062"/>
              <a:gd name="connsiteX3728" fmla="*/ 10128937 w 12192185"/>
              <a:gd name="connsiteY3728" fmla="*/ 6018016 h 6859062"/>
              <a:gd name="connsiteX3729" fmla="*/ 10051007 w 12192185"/>
              <a:gd name="connsiteY3729" fmla="*/ 6040367 h 6859062"/>
              <a:gd name="connsiteX3730" fmla="*/ 10018964 w 12192185"/>
              <a:gd name="connsiteY3730" fmla="*/ 6046426 h 6859062"/>
              <a:gd name="connsiteX3731" fmla="*/ 9946346 w 12192185"/>
              <a:gd name="connsiteY3731" fmla="*/ 6062333 h 6859062"/>
              <a:gd name="connsiteX3732" fmla="*/ 9949001 w 12192185"/>
              <a:gd name="connsiteY3732" fmla="*/ 6059110 h 6859062"/>
              <a:gd name="connsiteX3733" fmla="*/ 9934591 w 12192185"/>
              <a:gd name="connsiteY3733" fmla="*/ 6063467 h 6859062"/>
              <a:gd name="connsiteX3734" fmla="*/ 9219091 w 12192185"/>
              <a:gd name="connsiteY3734" fmla="*/ 6100821 h 6859062"/>
              <a:gd name="connsiteX3735" fmla="*/ 9065454 w 12192185"/>
              <a:gd name="connsiteY3735" fmla="*/ 6078870 h 6859062"/>
              <a:gd name="connsiteX3736" fmla="*/ 9067656 w 12192185"/>
              <a:gd name="connsiteY3736" fmla="*/ 6081402 h 6859062"/>
              <a:gd name="connsiteX3737" fmla="*/ 9217986 w 12192185"/>
              <a:gd name="connsiteY3737" fmla="*/ 6106675 h 6859062"/>
              <a:gd name="connsiteX3738" fmla="*/ 9462867 w 12192185"/>
              <a:gd name="connsiteY3738" fmla="*/ 6123826 h 6859062"/>
              <a:gd name="connsiteX3739" fmla="*/ 9454334 w 12192185"/>
              <a:gd name="connsiteY3739" fmla="*/ 6127616 h 6859062"/>
              <a:gd name="connsiteX3740" fmla="*/ 9528654 w 12192185"/>
              <a:gd name="connsiteY3740" fmla="*/ 6129341 h 6859062"/>
              <a:gd name="connsiteX3741" fmla="*/ 9569796 w 12192185"/>
              <a:gd name="connsiteY3741" fmla="*/ 6125371 h 6859062"/>
              <a:gd name="connsiteX3742" fmla="*/ 9696447 w 12192185"/>
              <a:gd name="connsiteY3742" fmla="*/ 6116114 h 6859062"/>
              <a:gd name="connsiteX3743" fmla="*/ 9743467 w 12192185"/>
              <a:gd name="connsiteY3743" fmla="*/ 6111574 h 6859062"/>
              <a:gd name="connsiteX3744" fmla="*/ 10157371 w 12192185"/>
              <a:gd name="connsiteY3744" fmla="*/ 6036034 h 6859062"/>
              <a:gd name="connsiteX3745" fmla="*/ 10045879 w 12192185"/>
              <a:gd name="connsiteY3745" fmla="*/ 6079422 h 6859062"/>
              <a:gd name="connsiteX3746" fmla="*/ 10019145 w 12192185"/>
              <a:gd name="connsiteY3746" fmla="*/ 6079036 h 6859062"/>
              <a:gd name="connsiteX3747" fmla="*/ 9983981 w 12192185"/>
              <a:gd name="connsiteY3747" fmla="*/ 6088801 h 6859062"/>
              <a:gd name="connsiteX3748" fmla="*/ 9994550 w 12192185"/>
              <a:gd name="connsiteY3748" fmla="*/ 6093686 h 6859062"/>
              <a:gd name="connsiteX3749" fmla="*/ 10005687 w 12192185"/>
              <a:gd name="connsiteY3749" fmla="*/ 6106256 h 6859062"/>
              <a:gd name="connsiteX3750" fmla="*/ 10005906 w 12192185"/>
              <a:gd name="connsiteY3750" fmla="*/ 6106734 h 6859062"/>
              <a:gd name="connsiteX3751" fmla="*/ 10029090 w 12192185"/>
              <a:gd name="connsiteY3751" fmla="*/ 6099488 h 6859062"/>
              <a:gd name="connsiteX3752" fmla="*/ 10047012 w 12192185"/>
              <a:gd name="connsiteY3752" fmla="*/ 6091177 h 6859062"/>
              <a:gd name="connsiteX3753" fmla="*/ 10073745 w 12192185"/>
              <a:gd name="connsiteY3753" fmla="*/ 6091563 h 6859062"/>
              <a:gd name="connsiteX3754" fmla="*/ 10147884 w 12192185"/>
              <a:gd name="connsiteY3754" fmla="*/ 6060680 h 6859062"/>
              <a:gd name="connsiteX3755" fmla="*/ 10229035 w 12192185"/>
              <a:gd name="connsiteY3755" fmla="*/ 6040983 h 6859062"/>
              <a:gd name="connsiteX3756" fmla="*/ 10245534 w 12192185"/>
              <a:gd name="connsiteY3756" fmla="*/ 6027527 h 6859062"/>
              <a:gd name="connsiteX3757" fmla="*/ 10283454 w 12192185"/>
              <a:gd name="connsiteY3757" fmla="*/ 6020900 h 6859062"/>
              <a:gd name="connsiteX3758" fmla="*/ 10326686 w 12192185"/>
              <a:gd name="connsiteY3758" fmla="*/ 6007829 h 6859062"/>
              <a:gd name="connsiteX3759" fmla="*/ 10364993 w 12192185"/>
              <a:gd name="connsiteY3759" fmla="*/ 5974470 h 6859062"/>
              <a:gd name="connsiteX3760" fmla="*/ 10347361 w 12192185"/>
              <a:gd name="connsiteY3760" fmla="*/ 5976172 h 6859062"/>
              <a:gd name="connsiteX3761" fmla="*/ 11408147 w 12192185"/>
              <a:gd name="connsiteY3761" fmla="*/ 5227171 h 6859062"/>
              <a:gd name="connsiteX3762" fmla="*/ 588988 w 12192185"/>
              <a:gd name="connsiteY3762" fmla="*/ 5197260 h 6859062"/>
              <a:gd name="connsiteX3763" fmla="*/ 589116 w 12192185"/>
              <a:gd name="connsiteY3763" fmla="*/ 5197732 h 6859062"/>
              <a:gd name="connsiteX3764" fmla="*/ 588770 w 12192185"/>
              <a:gd name="connsiteY3764" fmla="*/ 5197629 h 6859062"/>
              <a:gd name="connsiteX3765" fmla="*/ 1423244 w 12192185"/>
              <a:gd name="connsiteY3765" fmla="*/ 5165408 h 6859062"/>
              <a:gd name="connsiteX3766" fmla="*/ 1427633 w 12192185"/>
              <a:gd name="connsiteY3766" fmla="*/ 5166584 h 6859062"/>
              <a:gd name="connsiteX3767" fmla="*/ 1426456 w 12192185"/>
              <a:gd name="connsiteY3767" fmla="*/ 5170973 h 6859062"/>
              <a:gd name="connsiteX3768" fmla="*/ 1423244 w 12192185"/>
              <a:gd name="connsiteY3768" fmla="*/ 5165408 h 6859062"/>
              <a:gd name="connsiteX3769" fmla="*/ 593017 w 12192185"/>
              <a:gd name="connsiteY3769" fmla="*/ 5149910 h 6859062"/>
              <a:gd name="connsiteX3770" fmla="*/ 592522 w 12192185"/>
              <a:gd name="connsiteY3770" fmla="*/ 5151063 h 6859062"/>
              <a:gd name="connsiteX3771" fmla="*/ 590724 w 12192185"/>
              <a:gd name="connsiteY3771" fmla="*/ 5155592 h 6859062"/>
              <a:gd name="connsiteX3772" fmla="*/ 581761 w 12192185"/>
              <a:gd name="connsiteY3772" fmla="*/ 5163940 h 6859062"/>
              <a:gd name="connsiteX3773" fmla="*/ 617289 w 12192185"/>
              <a:gd name="connsiteY3773" fmla="*/ 5218250 h 6859062"/>
              <a:gd name="connsiteX3774" fmla="*/ 650463 w 12192185"/>
              <a:gd name="connsiteY3774" fmla="*/ 5276942 h 6859062"/>
              <a:gd name="connsiteX3775" fmla="*/ 653918 w 12192185"/>
              <a:gd name="connsiteY3775" fmla="*/ 5282002 h 6859062"/>
              <a:gd name="connsiteX3776" fmla="*/ 656744 w 12192185"/>
              <a:gd name="connsiteY3776" fmla="*/ 5280796 h 6859062"/>
              <a:gd name="connsiteX3777" fmla="*/ 656337 w 12192185"/>
              <a:gd name="connsiteY3777" fmla="*/ 5279758 h 6859062"/>
              <a:gd name="connsiteX3778" fmla="*/ 654170 w 12192185"/>
              <a:gd name="connsiteY3778" fmla="*/ 5278286 h 6859062"/>
              <a:gd name="connsiteX3779" fmla="*/ 652242 w 12192185"/>
              <a:gd name="connsiteY3779" fmla="*/ 5273457 h 6859062"/>
              <a:gd name="connsiteX3780" fmla="*/ 648835 w 12192185"/>
              <a:gd name="connsiteY3780" fmla="*/ 5262928 h 6859062"/>
              <a:gd name="connsiteX3781" fmla="*/ 654024 w 12192185"/>
              <a:gd name="connsiteY3781" fmla="*/ 5269973 h 6859062"/>
              <a:gd name="connsiteX3782" fmla="*/ 654934 w 12192185"/>
              <a:gd name="connsiteY3782" fmla="*/ 5270438 h 6859062"/>
              <a:gd name="connsiteX3783" fmla="*/ 654128 w 12192185"/>
              <a:gd name="connsiteY3783" fmla="*/ 5266514 h 6859062"/>
              <a:gd name="connsiteX3784" fmla="*/ 653939 w 12192185"/>
              <a:gd name="connsiteY3784" fmla="*/ 5264688 h 6859062"/>
              <a:gd name="connsiteX3785" fmla="*/ 623103 w 12192185"/>
              <a:gd name="connsiteY3785" fmla="*/ 5203643 h 6859062"/>
              <a:gd name="connsiteX3786" fmla="*/ 1426782 w 12192185"/>
              <a:gd name="connsiteY3786" fmla="*/ 5143426 h 6859062"/>
              <a:gd name="connsiteX3787" fmla="*/ 1433513 w 12192185"/>
              <a:gd name="connsiteY3787" fmla="*/ 5144641 h 6859062"/>
              <a:gd name="connsiteX3788" fmla="*/ 1436724 w 12192185"/>
              <a:gd name="connsiteY3788" fmla="*/ 5150207 h 6859062"/>
              <a:gd name="connsiteX3789" fmla="*/ 1432337 w 12192185"/>
              <a:gd name="connsiteY3789" fmla="*/ 5149029 h 6859062"/>
              <a:gd name="connsiteX3790" fmla="*/ 1426782 w 12192185"/>
              <a:gd name="connsiteY3790" fmla="*/ 5143426 h 6859062"/>
              <a:gd name="connsiteX3791" fmla="*/ 12026666 w 12192185"/>
              <a:gd name="connsiteY3791" fmla="*/ 5107079 h 6859062"/>
              <a:gd name="connsiteX3792" fmla="*/ 12029572 w 12192185"/>
              <a:gd name="connsiteY3792" fmla="*/ 5107455 h 6859062"/>
              <a:gd name="connsiteX3793" fmla="*/ 12044824 w 12192185"/>
              <a:gd name="connsiteY3793" fmla="*/ 5113833 h 6859062"/>
              <a:gd name="connsiteX3794" fmla="*/ 12060571 w 12192185"/>
              <a:gd name="connsiteY3794" fmla="*/ 5129970 h 6859062"/>
              <a:gd name="connsiteX3795" fmla="*/ 12066783 w 12192185"/>
              <a:gd name="connsiteY3795" fmla="*/ 5135117 h 6859062"/>
              <a:gd name="connsiteX3796" fmla="*/ 12071034 w 12192185"/>
              <a:gd name="connsiteY3796" fmla="*/ 5144807 h 6859062"/>
              <a:gd name="connsiteX3797" fmla="*/ 12074295 w 12192185"/>
              <a:gd name="connsiteY3797" fmla="*/ 5153120 h 6859062"/>
              <a:gd name="connsiteX3798" fmla="*/ 12076175 w 12192185"/>
              <a:gd name="connsiteY3798" fmla="*/ 5156199 h 6859062"/>
              <a:gd name="connsiteX3799" fmla="*/ 12071180 w 12192185"/>
              <a:gd name="connsiteY3799" fmla="*/ 5177220 h 6859062"/>
              <a:gd name="connsiteX3800" fmla="*/ 12062934 w 12192185"/>
              <a:gd name="connsiteY3800" fmla="*/ 5190465 h 6859062"/>
              <a:gd name="connsiteX3801" fmla="*/ 12060111 w 12192185"/>
              <a:gd name="connsiteY3801" fmla="*/ 5206831 h 6859062"/>
              <a:gd name="connsiteX3802" fmla="*/ 12062610 w 12192185"/>
              <a:gd name="connsiteY3802" fmla="*/ 5208503 h 6859062"/>
              <a:gd name="connsiteX3803" fmla="*/ 12082943 w 12192185"/>
              <a:gd name="connsiteY3803" fmla="*/ 5216828 h 6859062"/>
              <a:gd name="connsiteX3804" fmla="*/ 12086423 w 12192185"/>
              <a:gd name="connsiteY3804" fmla="*/ 5219341 h 6859062"/>
              <a:gd name="connsiteX3805" fmla="*/ 12093681 w 12192185"/>
              <a:gd name="connsiteY3805" fmla="*/ 5229084 h 6859062"/>
              <a:gd name="connsiteX3806" fmla="*/ 12103107 w 12192185"/>
              <a:gd name="connsiteY3806" fmla="*/ 5239861 h 6859062"/>
              <a:gd name="connsiteX3807" fmla="*/ 12105561 w 12192185"/>
              <a:gd name="connsiteY3807" fmla="*/ 5245076 h 6859062"/>
              <a:gd name="connsiteX3808" fmla="*/ 12108621 w 12192185"/>
              <a:gd name="connsiteY3808" fmla="*/ 5278401 h 6859062"/>
              <a:gd name="connsiteX3809" fmla="*/ 12107384 w 12192185"/>
              <a:gd name="connsiteY3809" fmla="*/ 5281215 h 6859062"/>
              <a:gd name="connsiteX3810" fmla="*/ 12097628 w 12192185"/>
              <a:gd name="connsiteY3810" fmla="*/ 5294165 h 6859062"/>
              <a:gd name="connsiteX3811" fmla="*/ 12092985 w 12192185"/>
              <a:gd name="connsiteY3811" fmla="*/ 5298757 h 6859062"/>
              <a:gd name="connsiteX3812" fmla="*/ 12084736 w 12192185"/>
              <a:gd name="connsiteY3812" fmla="*/ 5305776 h 6859062"/>
              <a:gd name="connsiteX3813" fmla="*/ 12080938 w 12192185"/>
              <a:gd name="connsiteY3813" fmla="*/ 5315613 h 6859062"/>
              <a:gd name="connsiteX3814" fmla="*/ 12078344 w 12192185"/>
              <a:gd name="connsiteY3814" fmla="*/ 5318424 h 6859062"/>
              <a:gd name="connsiteX3815" fmla="*/ 12074943 w 12192185"/>
              <a:gd name="connsiteY3815" fmla="*/ 5316580 h 6859062"/>
              <a:gd name="connsiteX3816" fmla="*/ 12072970 w 12192185"/>
              <a:gd name="connsiteY3816" fmla="*/ 5314362 h 6859062"/>
              <a:gd name="connsiteX3817" fmla="*/ 12069500 w 12192185"/>
              <a:gd name="connsiteY3817" fmla="*/ 5312386 h 6859062"/>
              <a:gd name="connsiteX3818" fmla="*/ 12067733 w 12192185"/>
              <a:gd name="connsiteY3818" fmla="*/ 5315745 h 6859062"/>
              <a:gd name="connsiteX3819" fmla="*/ 12060795 w 12192185"/>
              <a:gd name="connsiteY3819" fmla="*/ 5318018 h 6859062"/>
              <a:gd name="connsiteX3820" fmla="*/ 12058073 w 12192185"/>
              <a:gd name="connsiteY3820" fmla="*/ 5315920 h 6859062"/>
              <a:gd name="connsiteX3821" fmla="*/ 12053465 w 12192185"/>
              <a:gd name="connsiteY3821" fmla="*/ 5316433 h 6859062"/>
              <a:gd name="connsiteX3822" fmla="*/ 12053867 w 12192185"/>
              <a:gd name="connsiteY3822" fmla="*/ 5320827 h 6859062"/>
              <a:gd name="connsiteX3823" fmla="*/ 12055906 w 12192185"/>
              <a:gd name="connsiteY3823" fmla="*/ 5323855 h 6859062"/>
              <a:gd name="connsiteX3824" fmla="*/ 12030632 w 12192185"/>
              <a:gd name="connsiteY3824" fmla="*/ 5316009 h 6859062"/>
              <a:gd name="connsiteX3825" fmla="*/ 12030879 w 12192185"/>
              <a:gd name="connsiteY3825" fmla="*/ 5314160 h 6859062"/>
              <a:gd name="connsiteX3826" fmla="*/ 12026852 w 12192185"/>
              <a:gd name="connsiteY3826" fmla="*/ 5311120 h 6859062"/>
              <a:gd name="connsiteX3827" fmla="*/ 12022133 w 12192185"/>
              <a:gd name="connsiteY3827" fmla="*/ 5311421 h 6859062"/>
              <a:gd name="connsiteX3828" fmla="*/ 12016912 w 12192185"/>
              <a:gd name="connsiteY3828" fmla="*/ 5307651 h 6859062"/>
              <a:gd name="connsiteX3829" fmla="*/ 12000057 w 12192185"/>
              <a:gd name="connsiteY3829" fmla="*/ 5295614 h 6859062"/>
              <a:gd name="connsiteX3830" fmla="*/ 11995855 w 12192185"/>
              <a:gd name="connsiteY3830" fmla="*/ 5294832 h 6859062"/>
              <a:gd name="connsiteX3831" fmla="*/ 11998564 w 12192185"/>
              <a:gd name="connsiteY3831" fmla="*/ 5290167 h 6859062"/>
              <a:gd name="connsiteX3832" fmla="*/ 11999204 w 12192185"/>
              <a:gd name="connsiteY3832" fmla="*/ 5289833 h 6859062"/>
              <a:gd name="connsiteX3833" fmla="*/ 11999466 w 12192185"/>
              <a:gd name="connsiteY3833" fmla="*/ 5280490 h 6859062"/>
              <a:gd name="connsiteX3834" fmla="*/ 11994668 w 12192185"/>
              <a:gd name="connsiteY3834" fmla="*/ 5270273 h 6859062"/>
              <a:gd name="connsiteX3835" fmla="*/ 11990950 w 12192185"/>
              <a:gd name="connsiteY3835" fmla="*/ 5254348 h 6859062"/>
              <a:gd name="connsiteX3836" fmla="*/ 11992142 w 12192185"/>
              <a:gd name="connsiteY3836" fmla="*/ 5248852 h 6859062"/>
              <a:gd name="connsiteX3837" fmla="*/ 11995084 w 12192185"/>
              <a:gd name="connsiteY3837" fmla="*/ 5233234 h 6859062"/>
              <a:gd name="connsiteX3838" fmla="*/ 11999190 w 12192185"/>
              <a:gd name="connsiteY3838" fmla="*/ 5228652 h 6859062"/>
              <a:gd name="connsiteX3839" fmla="*/ 12017031 w 12192185"/>
              <a:gd name="connsiteY3839" fmla="*/ 5211477 h 6859062"/>
              <a:gd name="connsiteX3840" fmla="*/ 12014586 w 12192185"/>
              <a:gd name="connsiteY3840" fmla="*/ 5206798 h 6859062"/>
              <a:gd name="connsiteX3841" fmla="*/ 12008720 w 12192185"/>
              <a:gd name="connsiteY3841" fmla="*/ 5209051 h 6859062"/>
              <a:gd name="connsiteX3842" fmla="*/ 12006224 w 12192185"/>
              <a:gd name="connsiteY3842" fmla="*/ 5213604 h 6859062"/>
              <a:gd name="connsiteX3843" fmla="*/ 12002831 w 12192185"/>
              <a:gd name="connsiteY3843" fmla="*/ 5215921 h 6859062"/>
              <a:gd name="connsiteX3844" fmla="*/ 12001467 w 12192185"/>
              <a:gd name="connsiteY3844" fmla="*/ 5211759 h 6859062"/>
              <a:gd name="connsiteX3845" fmla="*/ 12003001 w 12192185"/>
              <a:gd name="connsiteY3845" fmla="*/ 5207438 h 6859062"/>
              <a:gd name="connsiteX3846" fmla="*/ 12000620 w 12192185"/>
              <a:gd name="connsiteY3846" fmla="*/ 5200290 h 6859062"/>
              <a:gd name="connsiteX3847" fmla="*/ 11995543 w 12192185"/>
              <a:gd name="connsiteY3847" fmla="*/ 5204568 h 6859062"/>
              <a:gd name="connsiteX3848" fmla="*/ 11992963 w 12192185"/>
              <a:gd name="connsiteY3848" fmla="*/ 5210518 h 6859062"/>
              <a:gd name="connsiteX3849" fmla="*/ 11987263 w 12192185"/>
              <a:gd name="connsiteY3849" fmla="*/ 5209978 h 6859062"/>
              <a:gd name="connsiteX3850" fmla="*/ 11985609 w 12192185"/>
              <a:gd name="connsiteY3850" fmla="*/ 5195409 h 6859062"/>
              <a:gd name="connsiteX3851" fmla="*/ 11979496 w 12192185"/>
              <a:gd name="connsiteY3851" fmla="*/ 5183714 h 6859062"/>
              <a:gd name="connsiteX3852" fmla="*/ 11972797 w 12192185"/>
              <a:gd name="connsiteY3852" fmla="*/ 5181260 h 6859062"/>
              <a:gd name="connsiteX3853" fmla="*/ 11970298 w 12192185"/>
              <a:gd name="connsiteY3853" fmla="*/ 5179588 h 6859062"/>
              <a:gd name="connsiteX3854" fmla="*/ 11971971 w 12192185"/>
              <a:gd name="connsiteY3854" fmla="*/ 5177088 h 6859062"/>
              <a:gd name="connsiteX3855" fmla="*/ 11974216 w 12192185"/>
              <a:gd name="connsiteY3855" fmla="*/ 5170500 h 6859062"/>
              <a:gd name="connsiteX3856" fmla="*/ 11974747 w 12192185"/>
              <a:gd name="connsiteY3856" fmla="*/ 5158040 h 6859062"/>
              <a:gd name="connsiteX3857" fmla="*/ 11972291 w 12192185"/>
              <a:gd name="connsiteY3857" fmla="*/ 5152825 h 6859062"/>
              <a:gd name="connsiteX3858" fmla="*/ 11968811 w 12192185"/>
              <a:gd name="connsiteY3858" fmla="*/ 5150312 h 6859062"/>
              <a:gd name="connsiteX3859" fmla="*/ 11971205 w 12192185"/>
              <a:gd name="connsiteY3859" fmla="*/ 5146083 h 6859062"/>
              <a:gd name="connsiteX3860" fmla="*/ 11973962 w 12192185"/>
              <a:gd name="connsiteY3860" fmla="*/ 5144100 h 6859062"/>
              <a:gd name="connsiteX3861" fmla="*/ 11973022 w 12192185"/>
              <a:gd name="connsiteY3861" fmla="*/ 5133491 h 6859062"/>
              <a:gd name="connsiteX3862" fmla="*/ 11971069 w 12192185"/>
              <a:gd name="connsiteY3862" fmla="*/ 5132346 h 6859062"/>
              <a:gd name="connsiteX3863" fmla="*/ 11969281 w 12192185"/>
              <a:gd name="connsiteY3863" fmla="*/ 5128407 h 6859062"/>
              <a:gd name="connsiteX3864" fmla="*/ 11973130 w 12192185"/>
              <a:gd name="connsiteY3864" fmla="*/ 5127478 h 6859062"/>
              <a:gd name="connsiteX3865" fmla="*/ 11976703 w 12192185"/>
              <a:gd name="connsiteY3865" fmla="*/ 5129131 h 6859062"/>
              <a:gd name="connsiteX3866" fmla="*/ 11981291 w 12192185"/>
              <a:gd name="connsiteY3866" fmla="*/ 5127545 h 6859062"/>
              <a:gd name="connsiteX3867" fmla="*/ 11992492 w 12192185"/>
              <a:gd name="connsiteY3867" fmla="*/ 5117359 h 6859062"/>
              <a:gd name="connsiteX3868" fmla="*/ 12008105 w 12192185"/>
              <a:gd name="connsiteY3868" fmla="*/ 5107845 h 6859062"/>
              <a:gd name="connsiteX3869" fmla="*/ 12012935 w 12192185"/>
              <a:gd name="connsiteY3869" fmla="*/ 5107758 h 6859062"/>
              <a:gd name="connsiteX3870" fmla="*/ 12026666 w 12192185"/>
              <a:gd name="connsiteY3870" fmla="*/ 5107079 h 6859062"/>
              <a:gd name="connsiteX3871" fmla="*/ 790691 w 12192185"/>
              <a:gd name="connsiteY3871" fmla="*/ 5082017 h 6859062"/>
              <a:gd name="connsiteX3872" fmla="*/ 799219 w 12192185"/>
              <a:gd name="connsiteY3872" fmla="*/ 5082075 h 6859062"/>
              <a:gd name="connsiteX3873" fmla="*/ 805191 w 12192185"/>
              <a:gd name="connsiteY3873" fmla="*/ 5085612 h 6859062"/>
              <a:gd name="connsiteX3874" fmla="*/ 817135 w 12192185"/>
              <a:gd name="connsiteY3874" fmla="*/ 5087713 h 6859062"/>
              <a:gd name="connsiteX3875" fmla="*/ 822096 w 12192185"/>
              <a:gd name="connsiteY3875" fmla="*/ 5087730 h 6859062"/>
              <a:gd name="connsiteX3876" fmla="*/ 837518 w 12192185"/>
              <a:gd name="connsiteY3876" fmla="*/ 5092916 h 6859062"/>
              <a:gd name="connsiteX3877" fmla="*/ 841059 w 12192185"/>
              <a:gd name="connsiteY3877" fmla="*/ 5102748 h 6859062"/>
              <a:gd name="connsiteX3878" fmla="*/ 840366 w 12192185"/>
              <a:gd name="connsiteY3878" fmla="*/ 5113071 h 6859062"/>
              <a:gd name="connsiteX3879" fmla="*/ 837777 w 12192185"/>
              <a:gd name="connsiteY3879" fmla="*/ 5119904 h 6859062"/>
              <a:gd name="connsiteX3880" fmla="*/ 825267 w 12192185"/>
              <a:gd name="connsiteY3880" fmla="*/ 5126701 h 6859062"/>
              <a:gd name="connsiteX3881" fmla="*/ 813447 w 12192185"/>
              <a:gd name="connsiteY3881" fmla="*/ 5123176 h 6859062"/>
              <a:gd name="connsiteX3882" fmla="*/ 801756 w 12192185"/>
              <a:gd name="connsiteY3882" fmla="*/ 5123197 h 6859062"/>
              <a:gd name="connsiteX3883" fmla="*/ 790288 w 12192185"/>
              <a:gd name="connsiteY3883" fmla="*/ 5124455 h 6859062"/>
              <a:gd name="connsiteX3884" fmla="*/ 781187 w 12192185"/>
              <a:gd name="connsiteY3884" fmla="*/ 5122618 h 6859062"/>
              <a:gd name="connsiteX3885" fmla="*/ 773191 w 12192185"/>
              <a:gd name="connsiteY3885" fmla="*/ 5117015 h 6859062"/>
              <a:gd name="connsiteX3886" fmla="*/ 769398 w 12192185"/>
              <a:gd name="connsiteY3886" fmla="*/ 5110034 h 6859062"/>
              <a:gd name="connsiteX3887" fmla="*/ 770219 w 12192185"/>
              <a:gd name="connsiteY3887" fmla="*/ 5108231 h 6859062"/>
              <a:gd name="connsiteX3888" fmla="*/ 772554 w 12192185"/>
              <a:gd name="connsiteY3888" fmla="*/ 5094302 h 6859062"/>
              <a:gd name="connsiteX3889" fmla="*/ 782662 w 12192185"/>
              <a:gd name="connsiteY3889" fmla="*/ 5084740 h 6859062"/>
              <a:gd name="connsiteX3890" fmla="*/ 790691 w 12192185"/>
              <a:gd name="connsiteY3890" fmla="*/ 5082017 h 6859062"/>
              <a:gd name="connsiteX3891" fmla="*/ 568517 w 12192185"/>
              <a:gd name="connsiteY3891" fmla="*/ 5041734 h 6859062"/>
              <a:gd name="connsiteX3892" fmla="*/ 573346 w 12192185"/>
              <a:gd name="connsiteY3892" fmla="*/ 5053137 h 6859062"/>
              <a:gd name="connsiteX3893" fmla="*/ 574497 w 12192185"/>
              <a:gd name="connsiteY3893" fmla="*/ 5050061 h 6859062"/>
              <a:gd name="connsiteX3894" fmla="*/ 233828 w 12192185"/>
              <a:gd name="connsiteY3894" fmla="*/ 5038094 h 6859062"/>
              <a:gd name="connsiteX3895" fmla="*/ 233829 w 12192185"/>
              <a:gd name="connsiteY3895" fmla="*/ 5038094 h 6859062"/>
              <a:gd name="connsiteX3896" fmla="*/ 246596 w 12192185"/>
              <a:gd name="connsiteY3896" fmla="*/ 5045238 h 6859062"/>
              <a:gd name="connsiteX3897" fmla="*/ 251325 w 12192185"/>
              <a:gd name="connsiteY3897" fmla="*/ 5048559 h 6859062"/>
              <a:gd name="connsiteX3898" fmla="*/ 254464 w 12192185"/>
              <a:gd name="connsiteY3898" fmla="*/ 5052896 h 6859062"/>
              <a:gd name="connsiteX3899" fmla="*/ 255864 w 12192185"/>
              <a:gd name="connsiteY3899" fmla="*/ 5056850 h 6859062"/>
              <a:gd name="connsiteX3900" fmla="*/ 259099 w 12192185"/>
              <a:gd name="connsiteY3900" fmla="*/ 5064852 h 6859062"/>
              <a:gd name="connsiteX3901" fmla="*/ 260524 w 12192185"/>
              <a:gd name="connsiteY3901" fmla="*/ 5067672 h 6859062"/>
              <a:gd name="connsiteX3902" fmla="*/ 263783 w 12192185"/>
              <a:gd name="connsiteY3902" fmla="*/ 5074539 h 6859062"/>
              <a:gd name="connsiteX3903" fmla="*/ 257104 w 12192185"/>
              <a:gd name="connsiteY3903" fmla="*/ 5093336 h 6859062"/>
              <a:gd name="connsiteX3904" fmla="*/ 248780 w 12192185"/>
              <a:gd name="connsiteY3904" fmla="*/ 5099015 h 6859062"/>
              <a:gd name="connsiteX3905" fmla="*/ 229696 w 12192185"/>
              <a:gd name="connsiteY3905" fmla="*/ 5105963 h 6859062"/>
              <a:gd name="connsiteX3906" fmla="*/ 223663 w 12192185"/>
              <a:gd name="connsiteY3906" fmla="*/ 5106454 h 6859062"/>
              <a:gd name="connsiteX3907" fmla="*/ 223662 w 12192185"/>
              <a:gd name="connsiteY3907" fmla="*/ 5106454 h 6859062"/>
              <a:gd name="connsiteX3908" fmla="*/ 215917 w 12192185"/>
              <a:gd name="connsiteY3908" fmla="*/ 5105428 h 6859062"/>
              <a:gd name="connsiteX3909" fmla="*/ 210028 w 12192185"/>
              <a:gd name="connsiteY3909" fmla="*/ 5103217 h 6859062"/>
              <a:gd name="connsiteX3910" fmla="*/ 198878 w 12192185"/>
              <a:gd name="connsiteY3910" fmla="*/ 5093924 h 6859062"/>
              <a:gd name="connsiteX3911" fmla="*/ 191662 w 12192185"/>
              <a:gd name="connsiteY3911" fmla="*/ 5088460 h 6859062"/>
              <a:gd name="connsiteX3912" fmla="*/ 189634 w 12192185"/>
              <a:gd name="connsiteY3912" fmla="*/ 5085279 h 6859062"/>
              <a:gd name="connsiteX3913" fmla="*/ 188764 w 12192185"/>
              <a:gd name="connsiteY3913" fmla="*/ 5076889 h 6859062"/>
              <a:gd name="connsiteX3914" fmla="*/ 189846 w 12192185"/>
              <a:gd name="connsiteY3914" fmla="*/ 5062779 h 6859062"/>
              <a:gd name="connsiteX3915" fmla="*/ 189338 w 12192185"/>
              <a:gd name="connsiteY3915" fmla="*/ 5057884 h 6859062"/>
              <a:gd name="connsiteX3916" fmla="*/ 191677 w 12192185"/>
              <a:gd name="connsiteY3916" fmla="*/ 5054528 h 6859062"/>
              <a:gd name="connsiteX3917" fmla="*/ 196598 w 12192185"/>
              <a:gd name="connsiteY3917" fmla="*/ 5048781 h 6859062"/>
              <a:gd name="connsiteX3918" fmla="*/ 198046 w 12192185"/>
              <a:gd name="connsiteY3918" fmla="*/ 5046368 h 6859062"/>
              <a:gd name="connsiteX3919" fmla="*/ 205862 w 12192185"/>
              <a:gd name="connsiteY3919" fmla="*/ 5039894 h 6859062"/>
              <a:gd name="connsiteX3920" fmla="*/ 207382 w 12192185"/>
              <a:gd name="connsiteY3920" fmla="*/ 5038179 h 6859062"/>
              <a:gd name="connsiteX3921" fmla="*/ 233828 w 12192185"/>
              <a:gd name="connsiteY3921" fmla="*/ 5038094 h 6859062"/>
              <a:gd name="connsiteX3922" fmla="*/ 8348858 w 12192185"/>
              <a:gd name="connsiteY3922" fmla="*/ 5006626 h 6859062"/>
              <a:gd name="connsiteX3923" fmla="*/ 8348635 w 12192185"/>
              <a:gd name="connsiteY3923" fmla="*/ 5006953 h 6859062"/>
              <a:gd name="connsiteX3924" fmla="*/ 8342757 w 12192185"/>
              <a:gd name="connsiteY3924" fmla="*/ 5017016 h 6859062"/>
              <a:gd name="connsiteX3925" fmla="*/ 8340894 w 12192185"/>
              <a:gd name="connsiteY3925" fmla="*/ 5022436 h 6859062"/>
              <a:gd name="connsiteX3926" fmla="*/ 8346148 w 12192185"/>
              <a:gd name="connsiteY3926" fmla="*/ 5027186 h 6859062"/>
              <a:gd name="connsiteX3927" fmla="*/ 8357602 w 12192185"/>
              <a:gd name="connsiteY3927" fmla="*/ 5014963 h 6859062"/>
              <a:gd name="connsiteX3928" fmla="*/ 684890 w 12192185"/>
              <a:gd name="connsiteY3928" fmla="*/ 4919580 h 6859062"/>
              <a:gd name="connsiteX3929" fmla="*/ 692646 w 12192185"/>
              <a:gd name="connsiteY3929" fmla="*/ 4923014 h 6859062"/>
              <a:gd name="connsiteX3930" fmla="*/ 704454 w 12192185"/>
              <a:gd name="connsiteY3930" fmla="*/ 4933869 h 6859062"/>
              <a:gd name="connsiteX3931" fmla="*/ 708851 w 12192185"/>
              <a:gd name="connsiteY3931" fmla="*/ 4952691 h 6859062"/>
              <a:gd name="connsiteX3932" fmla="*/ 705264 w 12192185"/>
              <a:gd name="connsiteY3932" fmla="*/ 4959843 h 6859062"/>
              <a:gd name="connsiteX3933" fmla="*/ 703809 w 12192185"/>
              <a:gd name="connsiteY3933" fmla="*/ 4973746 h 6859062"/>
              <a:gd name="connsiteX3934" fmla="*/ 704188 w 12192185"/>
              <a:gd name="connsiteY3934" fmla="*/ 4979451 h 6859062"/>
              <a:gd name="connsiteX3935" fmla="*/ 699466 w 12192185"/>
              <a:gd name="connsiteY3935" fmla="*/ 4997599 h 6859062"/>
              <a:gd name="connsiteX3936" fmla="*/ 688446 w 12192185"/>
              <a:gd name="connsiteY3936" fmla="*/ 5002461 h 6859062"/>
              <a:gd name="connsiteX3937" fmla="*/ 676521 w 12192185"/>
              <a:gd name="connsiteY3937" fmla="*/ 5002496 h 6859062"/>
              <a:gd name="connsiteX3938" fmla="*/ 668457 w 12192185"/>
              <a:gd name="connsiteY3938" fmla="*/ 5000068 h 6859062"/>
              <a:gd name="connsiteX3939" fmla="*/ 659635 w 12192185"/>
              <a:gd name="connsiteY3939" fmla="*/ 4986230 h 6859062"/>
              <a:gd name="connsiteX3940" fmla="*/ 662738 w 12192185"/>
              <a:gd name="connsiteY3940" fmla="*/ 4972358 h 6859062"/>
              <a:gd name="connsiteX3941" fmla="*/ 661772 w 12192185"/>
              <a:gd name="connsiteY3941" fmla="*/ 4958917 h 6859062"/>
              <a:gd name="connsiteX3942" fmla="*/ 659403 w 12192185"/>
              <a:gd name="connsiteY3942" fmla="*/ 4945831 h 6859062"/>
              <a:gd name="connsiteX3943" fmla="*/ 660784 w 12192185"/>
              <a:gd name="connsiteY3943" fmla="*/ 4935219 h 6859062"/>
              <a:gd name="connsiteX3944" fmla="*/ 666583 w 12192185"/>
              <a:gd name="connsiteY3944" fmla="*/ 4925575 h 6859062"/>
              <a:gd name="connsiteX3945" fmla="*/ 674306 w 12192185"/>
              <a:gd name="connsiteY3945" fmla="*/ 4920652 h 6859062"/>
              <a:gd name="connsiteX3946" fmla="*/ 676444 w 12192185"/>
              <a:gd name="connsiteY3946" fmla="*/ 4921451 h 6859062"/>
              <a:gd name="connsiteX3947" fmla="*/ 684890 w 12192185"/>
              <a:gd name="connsiteY3947" fmla="*/ 4919580 h 6859062"/>
              <a:gd name="connsiteX3948" fmla="*/ 22389 w 12192185"/>
              <a:gd name="connsiteY3948" fmla="*/ 4907938 h 6859062"/>
              <a:gd name="connsiteX3949" fmla="*/ 36107 w 12192185"/>
              <a:gd name="connsiteY3949" fmla="*/ 4915616 h 6859062"/>
              <a:gd name="connsiteX3950" fmla="*/ 41190 w 12192185"/>
              <a:gd name="connsiteY3950" fmla="*/ 4919185 h 6859062"/>
              <a:gd name="connsiteX3951" fmla="*/ 44562 w 12192185"/>
              <a:gd name="connsiteY3951" fmla="*/ 4923846 h 6859062"/>
              <a:gd name="connsiteX3952" fmla="*/ 46067 w 12192185"/>
              <a:gd name="connsiteY3952" fmla="*/ 4928093 h 6859062"/>
              <a:gd name="connsiteX3953" fmla="*/ 49544 w 12192185"/>
              <a:gd name="connsiteY3953" fmla="*/ 4936692 h 6859062"/>
              <a:gd name="connsiteX3954" fmla="*/ 51075 w 12192185"/>
              <a:gd name="connsiteY3954" fmla="*/ 4939722 h 6859062"/>
              <a:gd name="connsiteX3955" fmla="*/ 54577 w 12192185"/>
              <a:gd name="connsiteY3955" fmla="*/ 4947104 h 6859062"/>
              <a:gd name="connsiteX3956" fmla="*/ 47400 w 12192185"/>
              <a:gd name="connsiteY3956" fmla="*/ 4967301 h 6859062"/>
              <a:gd name="connsiteX3957" fmla="*/ 38456 w 12192185"/>
              <a:gd name="connsiteY3957" fmla="*/ 4973404 h 6859062"/>
              <a:gd name="connsiteX3958" fmla="*/ 17947 w 12192185"/>
              <a:gd name="connsiteY3958" fmla="*/ 4980870 h 6859062"/>
              <a:gd name="connsiteX3959" fmla="*/ 11466 w 12192185"/>
              <a:gd name="connsiteY3959" fmla="*/ 4981398 h 6859062"/>
              <a:gd name="connsiteX3960" fmla="*/ 3142 w 12192185"/>
              <a:gd name="connsiteY3960" fmla="*/ 4980296 h 6859062"/>
              <a:gd name="connsiteX3961" fmla="*/ 0 w 12192185"/>
              <a:gd name="connsiteY3961" fmla="*/ 4979116 h 6859062"/>
              <a:gd name="connsiteX3962" fmla="*/ 0 w 12192185"/>
              <a:gd name="connsiteY3962" fmla="*/ 4908010 h 6859062"/>
              <a:gd name="connsiteX3963" fmla="*/ 12041898 w 12192185"/>
              <a:gd name="connsiteY3963" fmla="*/ 4874853 h 6859062"/>
              <a:gd name="connsiteX3964" fmla="*/ 12054051 w 12192185"/>
              <a:gd name="connsiteY3964" fmla="*/ 4879955 h 6859062"/>
              <a:gd name="connsiteX3965" fmla="*/ 12066477 w 12192185"/>
              <a:gd name="connsiteY3965" fmla="*/ 4881271 h 6859062"/>
              <a:gd name="connsiteX3966" fmla="*/ 12078808 w 12192185"/>
              <a:gd name="connsiteY3966" fmla="*/ 4881249 h 6859062"/>
              <a:gd name="connsiteX3967" fmla="*/ 12088268 w 12192185"/>
              <a:gd name="connsiteY3967" fmla="*/ 4884245 h 6859062"/>
              <a:gd name="connsiteX3968" fmla="*/ 12096121 w 12192185"/>
              <a:gd name="connsiteY3968" fmla="*/ 4891115 h 6859062"/>
              <a:gd name="connsiteX3969" fmla="*/ 12099352 w 12192185"/>
              <a:gd name="connsiteY3969" fmla="*/ 4898967 h 6859062"/>
              <a:gd name="connsiteX3970" fmla="*/ 12098273 w 12192185"/>
              <a:gd name="connsiteY3970" fmla="*/ 4900789 h 6859062"/>
              <a:gd name="connsiteX3971" fmla="*/ 12094196 w 12192185"/>
              <a:gd name="connsiteY3971" fmla="*/ 4915321 h 6859062"/>
              <a:gd name="connsiteX3972" fmla="*/ 12082359 w 12192185"/>
              <a:gd name="connsiteY3972" fmla="*/ 4924323 h 6859062"/>
              <a:gd name="connsiteX3973" fmla="*/ 12064461 w 12192185"/>
              <a:gd name="connsiteY3973" fmla="*/ 4925258 h 6859062"/>
              <a:gd name="connsiteX3974" fmla="*/ 12058520 w 12192185"/>
              <a:gd name="connsiteY3974" fmla="*/ 4920816 h 6859062"/>
              <a:gd name="connsiteX3975" fmla="*/ 12046068 w 12192185"/>
              <a:gd name="connsiteY3975" fmla="*/ 4917213 h 6859062"/>
              <a:gd name="connsiteX3976" fmla="*/ 12040799 w 12192185"/>
              <a:gd name="connsiteY3976" fmla="*/ 4916627 h 6859062"/>
              <a:gd name="connsiteX3977" fmla="*/ 12025007 w 12192185"/>
              <a:gd name="connsiteY3977" fmla="*/ 4909349 h 6859062"/>
              <a:gd name="connsiteX3978" fmla="*/ 12022371 w 12192185"/>
              <a:gd name="connsiteY3978" fmla="*/ 4898496 h 6859062"/>
              <a:gd name="connsiteX3979" fmla="*/ 12024291 w 12192185"/>
              <a:gd name="connsiteY3979" fmla="*/ 4887606 h 6859062"/>
              <a:gd name="connsiteX3980" fmla="*/ 12027826 w 12192185"/>
              <a:gd name="connsiteY3980" fmla="*/ 4880642 h 6859062"/>
              <a:gd name="connsiteX3981" fmla="*/ 12041898 w 12192185"/>
              <a:gd name="connsiteY3981" fmla="*/ 4874853 h 6859062"/>
              <a:gd name="connsiteX3982" fmla="*/ 180893 w 12192185"/>
              <a:gd name="connsiteY3982" fmla="*/ 4730660 h 6859062"/>
              <a:gd name="connsiteX3983" fmla="*/ 188650 w 12192185"/>
              <a:gd name="connsiteY3983" fmla="*/ 4734095 h 6859062"/>
              <a:gd name="connsiteX3984" fmla="*/ 200457 w 12192185"/>
              <a:gd name="connsiteY3984" fmla="*/ 4744948 h 6859062"/>
              <a:gd name="connsiteX3985" fmla="*/ 204854 w 12192185"/>
              <a:gd name="connsiteY3985" fmla="*/ 4763771 h 6859062"/>
              <a:gd name="connsiteX3986" fmla="*/ 201267 w 12192185"/>
              <a:gd name="connsiteY3986" fmla="*/ 4770922 h 6859062"/>
              <a:gd name="connsiteX3987" fmla="*/ 199812 w 12192185"/>
              <a:gd name="connsiteY3987" fmla="*/ 4784825 h 6859062"/>
              <a:gd name="connsiteX3988" fmla="*/ 200191 w 12192185"/>
              <a:gd name="connsiteY3988" fmla="*/ 4790531 h 6859062"/>
              <a:gd name="connsiteX3989" fmla="*/ 195469 w 12192185"/>
              <a:gd name="connsiteY3989" fmla="*/ 4808679 h 6859062"/>
              <a:gd name="connsiteX3990" fmla="*/ 184450 w 12192185"/>
              <a:gd name="connsiteY3990" fmla="*/ 4813541 h 6859062"/>
              <a:gd name="connsiteX3991" fmla="*/ 172524 w 12192185"/>
              <a:gd name="connsiteY3991" fmla="*/ 4813575 h 6859062"/>
              <a:gd name="connsiteX3992" fmla="*/ 164460 w 12192185"/>
              <a:gd name="connsiteY3992" fmla="*/ 4811148 h 6859062"/>
              <a:gd name="connsiteX3993" fmla="*/ 155638 w 12192185"/>
              <a:gd name="connsiteY3993" fmla="*/ 4797310 h 6859062"/>
              <a:gd name="connsiteX3994" fmla="*/ 158741 w 12192185"/>
              <a:gd name="connsiteY3994" fmla="*/ 4783438 h 6859062"/>
              <a:gd name="connsiteX3995" fmla="*/ 157775 w 12192185"/>
              <a:gd name="connsiteY3995" fmla="*/ 4769997 h 6859062"/>
              <a:gd name="connsiteX3996" fmla="*/ 155406 w 12192185"/>
              <a:gd name="connsiteY3996" fmla="*/ 4756911 h 6859062"/>
              <a:gd name="connsiteX3997" fmla="*/ 156787 w 12192185"/>
              <a:gd name="connsiteY3997" fmla="*/ 4746298 h 6859062"/>
              <a:gd name="connsiteX3998" fmla="*/ 162586 w 12192185"/>
              <a:gd name="connsiteY3998" fmla="*/ 4736656 h 6859062"/>
              <a:gd name="connsiteX3999" fmla="*/ 170309 w 12192185"/>
              <a:gd name="connsiteY3999" fmla="*/ 4731731 h 6859062"/>
              <a:gd name="connsiteX4000" fmla="*/ 172447 w 12192185"/>
              <a:gd name="connsiteY4000" fmla="*/ 4732531 h 6859062"/>
              <a:gd name="connsiteX4001" fmla="*/ 180893 w 12192185"/>
              <a:gd name="connsiteY4001" fmla="*/ 4730660 h 6859062"/>
              <a:gd name="connsiteX4002" fmla="*/ 559061 w 12192185"/>
              <a:gd name="connsiteY4002" fmla="*/ 4720007 h 6859062"/>
              <a:gd name="connsiteX4003" fmla="*/ 559502 w 12192185"/>
              <a:gd name="connsiteY4003" fmla="*/ 4720229 h 6859062"/>
              <a:gd name="connsiteX4004" fmla="*/ 558969 w 12192185"/>
              <a:gd name="connsiteY4004" fmla="*/ 4720414 h 6859062"/>
              <a:gd name="connsiteX4005" fmla="*/ 12179227 w 12192185"/>
              <a:gd name="connsiteY4005" fmla="*/ 4693579 h 6859062"/>
              <a:gd name="connsiteX4006" fmla="*/ 12186943 w 12192185"/>
              <a:gd name="connsiteY4006" fmla="*/ 4693585 h 6859062"/>
              <a:gd name="connsiteX4007" fmla="*/ 12191999 w 12192185"/>
              <a:gd name="connsiteY4007" fmla="*/ 4694107 h 6859062"/>
              <a:gd name="connsiteX4008" fmla="*/ 12191999 w 12192185"/>
              <a:gd name="connsiteY4008" fmla="*/ 4784183 h 6859062"/>
              <a:gd name="connsiteX4009" fmla="*/ 12182342 w 12192185"/>
              <a:gd name="connsiteY4009" fmla="*/ 4784976 h 6859062"/>
              <a:gd name="connsiteX4010" fmla="*/ 12174215 w 12192185"/>
              <a:gd name="connsiteY4010" fmla="*/ 4782867 h 6859062"/>
              <a:gd name="connsiteX4011" fmla="*/ 12164969 w 12192185"/>
              <a:gd name="connsiteY4011" fmla="*/ 4778039 h 6859062"/>
              <a:gd name="connsiteX4012" fmla="*/ 12158759 w 12192185"/>
              <a:gd name="connsiteY4012" fmla="*/ 4772870 h 6859062"/>
              <a:gd name="connsiteX4013" fmla="*/ 12143256 w 12192185"/>
              <a:gd name="connsiteY4013" fmla="*/ 4750626 h 6859062"/>
              <a:gd name="connsiteX4014" fmla="*/ 12138530 w 12192185"/>
              <a:gd name="connsiteY4014" fmla="*/ 4738032 h 6859062"/>
              <a:gd name="connsiteX4015" fmla="*/ 12145673 w 12192185"/>
              <a:gd name="connsiteY4015" fmla="*/ 4712380 h 6859062"/>
              <a:gd name="connsiteX4016" fmla="*/ 12154507 w 12192185"/>
              <a:gd name="connsiteY4016" fmla="*/ 4707382 h 6859062"/>
              <a:gd name="connsiteX4017" fmla="*/ 12158228 w 12192185"/>
              <a:gd name="connsiteY4017" fmla="*/ 4705398 h 6859062"/>
              <a:gd name="connsiteX4018" fmla="*/ 12167906 w 12192185"/>
              <a:gd name="connsiteY4018" fmla="*/ 4699144 h 6859062"/>
              <a:gd name="connsiteX4019" fmla="*/ 12172471 w 12192185"/>
              <a:gd name="connsiteY4019" fmla="*/ 4695904 h 6859062"/>
              <a:gd name="connsiteX4020" fmla="*/ 12179227 w 12192185"/>
              <a:gd name="connsiteY4020" fmla="*/ 4693579 h 6859062"/>
              <a:gd name="connsiteX4021" fmla="*/ 1144363 w 12192185"/>
              <a:gd name="connsiteY4021" fmla="*/ 4643820 h 6859062"/>
              <a:gd name="connsiteX4022" fmla="*/ 1147575 w 12192185"/>
              <a:gd name="connsiteY4022" fmla="*/ 4649385 h 6859062"/>
              <a:gd name="connsiteX4023" fmla="*/ 1147322 w 12192185"/>
              <a:gd name="connsiteY4023" fmla="*/ 4650328 h 6859062"/>
              <a:gd name="connsiteX4024" fmla="*/ 370394 w 12192185"/>
              <a:gd name="connsiteY4024" fmla="*/ 4483520 h 6859062"/>
              <a:gd name="connsiteX4025" fmla="*/ 368538 w 12192185"/>
              <a:gd name="connsiteY4025" fmla="*/ 4495754 h 6859062"/>
              <a:gd name="connsiteX4026" fmla="*/ 370394 w 12192185"/>
              <a:gd name="connsiteY4026" fmla="*/ 4483520 h 6859062"/>
              <a:gd name="connsiteX4027" fmla="*/ 118469 w 12192185"/>
              <a:gd name="connsiteY4027" fmla="*/ 4473538 h 6859062"/>
              <a:gd name="connsiteX4028" fmla="*/ 131235 w 12192185"/>
              <a:gd name="connsiteY4028" fmla="*/ 4480683 h 6859062"/>
              <a:gd name="connsiteX4029" fmla="*/ 135966 w 12192185"/>
              <a:gd name="connsiteY4029" fmla="*/ 4484005 h 6859062"/>
              <a:gd name="connsiteX4030" fmla="*/ 139103 w 12192185"/>
              <a:gd name="connsiteY4030" fmla="*/ 4488341 h 6859062"/>
              <a:gd name="connsiteX4031" fmla="*/ 140505 w 12192185"/>
              <a:gd name="connsiteY4031" fmla="*/ 4492294 h 6859062"/>
              <a:gd name="connsiteX4032" fmla="*/ 143740 w 12192185"/>
              <a:gd name="connsiteY4032" fmla="*/ 4500297 h 6859062"/>
              <a:gd name="connsiteX4033" fmla="*/ 145164 w 12192185"/>
              <a:gd name="connsiteY4033" fmla="*/ 4503116 h 6859062"/>
              <a:gd name="connsiteX4034" fmla="*/ 148424 w 12192185"/>
              <a:gd name="connsiteY4034" fmla="*/ 4509985 h 6859062"/>
              <a:gd name="connsiteX4035" fmla="*/ 141744 w 12192185"/>
              <a:gd name="connsiteY4035" fmla="*/ 4528781 h 6859062"/>
              <a:gd name="connsiteX4036" fmla="*/ 133421 w 12192185"/>
              <a:gd name="connsiteY4036" fmla="*/ 4534461 h 6859062"/>
              <a:gd name="connsiteX4037" fmla="*/ 114336 w 12192185"/>
              <a:gd name="connsiteY4037" fmla="*/ 4541409 h 6859062"/>
              <a:gd name="connsiteX4038" fmla="*/ 108304 w 12192185"/>
              <a:gd name="connsiteY4038" fmla="*/ 4541899 h 6859062"/>
              <a:gd name="connsiteX4039" fmla="*/ 100558 w 12192185"/>
              <a:gd name="connsiteY4039" fmla="*/ 4540872 h 6859062"/>
              <a:gd name="connsiteX4040" fmla="*/ 94670 w 12192185"/>
              <a:gd name="connsiteY4040" fmla="*/ 4538662 h 6859062"/>
              <a:gd name="connsiteX4041" fmla="*/ 83520 w 12192185"/>
              <a:gd name="connsiteY4041" fmla="*/ 4529369 h 6859062"/>
              <a:gd name="connsiteX4042" fmla="*/ 76304 w 12192185"/>
              <a:gd name="connsiteY4042" fmla="*/ 4523905 h 6859062"/>
              <a:gd name="connsiteX4043" fmla="*/ 74276 w 12192185"/>
              <a:gd name="connsiteY4043" fmla="*/ 4520724 h 6859062"/>
              <a:gd name="connsiteX4044" fmla="*/ 73405 w 12192185"/>
              <a:gd name="connsiteY4044" fmla="*/ 4512333 h 6859062"/>
              <a:gd name="connsiteX4045" fmla="*/ 74488 w 12192185"/>
              <a:gd name="connsiteY4045" fmla="*/ 4498223 h 6859062"/>
              <a:gd name="connsiteX4046" fmla="*/ 73980 w 12192185"/>
              <a:gd name="connsiteY4046" fmla="*/ 4493329 h 6859062"/>
              <a:gd name="connsiteX4047" fmla="*/ 76320 w 12192185"/>
              <a:gd name="connsiteY4047" fmla="*/ 4489973 h 6859062"/>
              <a:gd name="connsiteX4048" fmla="*/ 81241 w 12192185"/>
              <a:gd name="connsiteY4048" fmla="*/ 4484226 h 6859062"/>
              <a:gd name="connsiteX4049" fmla="*/ 82688 w 12192185"/>
              <a:gd name="connsiteY4049" fmla="*/ 4481813 h 6859062"/>
              <a:gd name="connsiteX4050" fmla="*/ 90505 w 12192185"/>
              <a:gd name="connsiteY4050" fmla="*/ 4475339 h 6859062"/>
              <a:gd name="connsiteX4051" fmla="*/ 92024 w 12192185"/>
              <a:gd name="connsiteY4051" fmla="*/ 4473624 h 6859062"/>
              <a:gd name="connsiteX4052" fmla="*/ 118469 w 12192185"/>
              <a:gd name="connsiteY4052" fmla="*/ 4473538 h 6859062"/>
              <a:gd name="connsiteX4053" fmla="*/ 1192990 w 12192185"/>
              <a:gd name="connsiteY4053" fmla="*/ 4448284 h 6859062"/>
              <a:gd name="connsiteX4054" fmla="*/ 1193752 w 12192185"/>
              <a:gd name="connsiteY4054" fmla="*/ 4459494 h 6859062"/>
              <a:gd name="connsiteX4055" fmla="*/ 1196455 w 12192185"/>
              <a:gd name="connsiteY4055" fmla="*/ 4463503 h 6859062"/>
              <a:gd name="connsiteX4056" fmla="*/ 393998 w 12192185"/>
              <a:gd name="connsiteY4056" fmla="*/ 4398066 h 6859062"/>
              <a:gd name="connsiteX4057" fmla="*/ 406764 w 12192185"/>
              <a:gd name="connsiteY4057" fmla="*/ 4405211 h 6859062"/>
              <a:gd name="connsiteX4058" fmla="*/ 411494 w 12192185"/>
              <a:gd name="connsiteY4058" fmla="*/ 4408533 h 6859062"/>
              <a:gd name="connsiteX4059" fmla="*/ 414632 w 12192185"/>
              <a:gd name="connsiteY4059" fmla="*/ 4412869 h 6859062"/>
              <a:gd name="connsiteX4060" fmla="*/ 416032 w 12192185"/>
              <a:gd name="connsiteY4060" fmla="*/ 4416823 h 6859062"/>
              <a:gd name="connsiteX4061" fmla="*/ 419268 w 12192185"/>
              <a:gd name="connsiteY4061" fmla="*/ 4424825 h 6859062"/>
              <a:gd name="connsiteX4062" fmla="*/ 420692 w 12192185"/>
              <a:gd name="connsiteY4062" fmla="*/ 4427644 h 6859062"/>
              <a:gd name="connsiteX4063" fmla="*/ 423951 w 12192185"/>
              <a:gd name="connsiteY4063" fmla="*/ 4434513 h 6859062"/>
              <a:gd name="connsiteX4064" fmla="*/ 417272 w 12192185"/>
              <a:gd name="connsiteY4064" fmla="*/ 4453309 h 6859062"/>
              <a:gd name="connsiteX4065" fmla="*/ 408949 w 12192185"/>
              <a:gd name="connsiteY4065" fmla="*/ 4458989 h 6859062"/>
              <a:gd name="connsiteX4066" fmla="*/ 389864 w 12192185"/>
              <a:gd name="connsiteY4066" fmla="*/ 4465937 h 6859062"/>
              <a:gd name="connsiteX4067" fmla="*/ 383832 w 12192185"/>
              <a:gd name="connsiteY4067" fmla="*/ 4466428 h 6859062"/>
              <a:gd name="connsiteX4068" fmla="*/ 376086 w 12192185"/>
              <a:gd name="connsiteY4068" fmla="*/ 4465401 h 6859062"/>
              <a:gd name="connsiteX4069" fmla="*/ 370198 w 12192185"/>
              <a:gd name="connsiteY4069" fmla="*/ 4463190 h 6859062"/>
              <a:gd name="connsiteX4070" fmla="*/ 359048 w 12192185"/>
              <a:gd name="connsiteY4070" fmla="*/ 4453897 h 6859062"/>
              <a:gd name="connsiteX4071" fmla="*/ 351832 w 12192185"/>
              <a:gd name="connsiteY4071" fmla="*/ 4448433 h 6859062"/>
              <a:gd name="connsiteX4072" fmla="*/ 349804 w 12192185"/>
              <a:gd name="connsiteY4072" fmla="*/ 4445252 h 6859062"/>
              <a:gd name="connsiteX4073" fmla="*/ 348934 w 12192185"/>
              <a:gd name="connsiteY4073" fmla="*/ 4436861 h 6859062"/>
              <a:gd name="connsiteX4074" fmla="*/ 350016 w 12192185"/>
              <a:gd name="connsiteY4074" fmla="*/ 4422751 h 6859062"/>
              <a:gd name="connsiteX4075" fmla="*/ 349509 w 12192185"/>
              <a:gd name="connsiteY4075" fmla="*/ 4417856 h 6859062"/>
              <a:gd name="connsiteX4076" fmla="*/ 351847 w 12192185"/>
              <a:gd name="connsiteY4076" fmla="*/ 4414501 h 6859062"/>
              <a:gd name="connsiteX4077" fmla="*/ 356768 w 12192185"/>
              <a:gd name="connsiteY4077" fmla="*/ 4408754 h 6859062"/>
              <a:gd name="connsiteX4078" fmla="*/ 358216 w 12192185"/>
              <a:gd name="connsiteY4078" fmla="*/ 4406340 h 6859062"/>
              <a:gd name="connsiteX4079" fmla="*/ 366032 w 12192185"/>
              <a:gd name="connsiteY4079" fmla="*/ 4399867 h 6859062"/>
              <a:gd name="connsiteX4080" fmla="*/ 367552 w 12192185"/>
              <a:gd name="connsiteY4080" fmla="*/ 4398153 h 6859062"/>
              <a:gd name="connsiteX4081" fmla="*/ 393998 w 12192185"/>
              <a:gd name="connsiteY4081" fmla="*/ 4398066 h 6859062"/>
              <a:gd name="connsiteX4082" fmla="*/ 12179050 w 12192185"/>
              <a:gd name="connsiteY4082" fmla="*/ 4254399 h 6859062"/>
              <a:gd name="connsiteX4083" fmla="*/ 12187434 w 12192185"/>
              <a:gd name="connsiteY4083" fmla="*/ 4255019 h 6859062"/>
              <a:gd name="connsiteX4084" fmla="*/ 12191999 w 12192185"/>
              <a:gd name="connsiteY4084" fmla="*/ 4256204 h 6859062"/>
              <a:gd name="connsiteX4085" fmla="*/ 12191999 w 12192185"/>
              <a:gd name="connsiteY4085" fmla="*/ 4327898 h 6859062"/>
              <a:gd name="connsiteX4086" fmla="*/ 12191598 w 12192185"/>
              <a:gd name="connsiteY4086" fmla="*/ 4328330 h 6859062"/>
              <a:gd name="connsiteX4087" fmla="*/ 12186879 w 12192185"/>
              <a:gd name="connsiteY4087" fmla="*/ 4326118 h 6859062"/>
              <a:gd name="connsiteX4088" fmla="*/ 12183863 w 12192185"/>
              <a:gd name="connsiteY4088" fmla="*/ 4327020 h 6859062"/>
              <a:gd name="connsiteX4089" fmla="*/ 12176554 w 12192185"/>
              <a:gd name="connsiteY4089" fmla="*/ 4329010 h 6859062"/>
              <a:gd name="connsiteX4090" fmla="*/ 12159292 w 12192185"/>
              <a:gd name="connsiteY4090" fmla="*/ 4319155 h 6859062"/>
              <a:gd name="connsiteX4091" fmla="*/ 12155184 w 12192185"/>
              <a:gd name="connsiteY4091" fmla="*/ 4309994 h 6859062"/>
              <a:gd name="connsiteX4092" fmla="*/ 12151723 w 12192185"/>
              <a:gd name="connsiteY4092" fmla="*/ 4290055 h 6859062"/>
              <a:gd name="connsiteX4093" fmla="*/ 12152301 w 12192185"/>
              <a:gd name="connsiteY4093" fmla="*/ 4284052 h 6859062"/>
              <a:gd name="connsiteX4094" fmla="*/ 12154669 w 12192185"/>
              <a:gd name="connsiteY4094" fmla="*/ 4276635 h 6859062"/>
              <a:gd name="connsiteX4095" fmla="*/ 12157873 w 12192185"/>
              <a:gd name="connsiteY4095" fmla="*/ 4271250 h 6859062"/>
              <a:gd name="connsiteX4096" fmla="*/ 12168947 w 12192185"/>
              <a:gd name="connsiteY4096" fmla="*/ 4261946 h 6859062"/>
              <a:gd name="connsiteX4097" fmla="*/ 12175574 w 12192185"/>
              <a:gd name="connsiteY4097" fmla="*/ 4255829 h 6859062"/>
              <a:gd name="connsiteX4098" fmla="*/ 12179050 w 12192185"/>
              <a:gd name="connsiteY4098" fmla="*/ 4254399 h 6859062"/>
              <a:gd name="connsiteX4099" fmla="*/ 0 w 12192185"/>
              <a:gd name="connsiteY4099" fmla="*/ 4199775 h 6859062"/>
              <a:gd name="connsiteX4100" fmla="*/ 5035 w 12192185"/>
              <a:gd name="connsiteY4100" fmla="*/ 4218766 h 6859062"/>
              <a:gd name="connsiteX4101" fmla="*/ 4342 w 12192185"/>
              <a:gd name="connsiteY4101" fmla="*/ 4227795 h 6859062"/>
              <a:gd name="connsiteX4102" fmla="*/ 975 w 12192185"/>
              <a:gd name="connsiteY4102" fmla="*/ 4238528 h 6859062"/>
              <a:gd name="connsiteX4103" fmla="*/ 0 w 12192185"/>
              <a:gd name="connsiteY4103" fmla="*/ 4240243 h 6859062"/>
              <a:gd name="connsiteX4104" fmla="*/ 146591 w 12192185"/>
              <a:gd name="connsiteY4104" fmla="*/ 4111897 h 6859062"/>
              <a:gd name="connsiteX4105" fmla="*/ 157514 w 12192185"/>
              <a:gd name="connsiteY4105" fmla="*/ 4116734 h 6859062"/>
              <a:gd name="connsiteX4106" fmla="*/ 174141 w 12192185"/>
              <a:gd name="connsiteY4106" fmla="*/ 4132019 h 6859062"/>
              <a:gd name="connsiteX4107" fmla="*/ 180332 w 12192185"/>
              <a:gd name="connsiteY4107" fmla="*/ 4158525 h 6859062"/>
              <a:gd name="connsiteX4108" fmla="*/ 175282 w 12192185"/>
              <a:gd name="connsiteY4108" fmla="*/ 4168596 h 6859062"/>
              <a:gd name="connsiteX4109" fmla="*/ 173233 w 12192185"/>
              <a:gd name="connsiteY4109" fmla="*/ 4188174 h 6859062"/>
              <a:gd name="connsiteX4110" fmla="*/ 173766 w 12192185"/>
              <a:gd name="connsiteY4110" fmla="*/ 4196209 h 6859062"/>
              <a:gd name="connsiteX4111" fmla="*/ 167117 w 12192185"/>
              <a:gd name="connsiteY4111" fmla="*/ 4221765 h 6859062"/>
              <a:gd name="connsiteX4112" fmla="*/ 151599 w 12192185"/>
              <a:gd name="connsiteY4112" fmla="*/ 4228612 h 6859062"/>
              <a:gd name="connsiteX4113" fmla="*/ 134805 w 12192185"/>
              <a:gd name="connsiteY4113" fmla="*/ 4228661 h 6859062"/>
              <a:gd name="connsiteX4114" fmla="*/ 123448 w 12192185"/>
              <a:gd name="connsiteY4114" fmla="*/ 4225243 h 6859062"/>
              <a:gd name="connsiteX4115" fmla="*/ 111025 w 12192185"/>
              <a:gd name="connsiteY4115" fmla="*/ 4205755 h 6859062"/>
              <a:gd name="connsiteX4116" fmla="*/ 115395 w 12192185"/>
              <a:gd name="connsiteY4116" fmla="*/ 4186219 h 6859062"/>
              <a:gd name="connsiteX4117" fmla="*/ 114036 w 12192185"/>
              <a:gd name="connsiteY4117" fmla="*/ 4167292 h 6859062"/>
              <a:gd name="connsiteX4118" fmla="*/ 110698 w 12192185"/>
              <a:gd name="connsiteY4118" fmla="*/ 4148864 h 6859062"/>
              <a:gd name="connsiteX4119" fmla="*/ 112643 w 12192185"/>
              <a:gd name="connsiteY4119" fmla="*/ 4133920 h 6859062"/>
              <a:gd name="connsiteX4120" fmla="*/ 120810 w 12192185"/>
              <a:gd name="connsiteY4120" fmla="*/ 4120339 h 6859062"/>
              <a:gd name="connsiteX4121" fmla="*/ 131685 w 12192185"/>
              <a:gd name="connsiteY4121" fmla="*/ 4113407 h 6859062"/>
              <a:gd name="connsiteX4122" fmla="*/ 134697 w 12192185"/>
              <a:gd name="connsiteY4122" fmla="*/ 4114532 h 6859062"/>
              <a:gd name="connsiteX4123" fmla="*/ 146591 w 12192185"/>
              <a:gd name="connsiteY4123" fmla="*/ 4111897 h 6859062"/>
              <a:gd name="connsiteX4124" fmla="*/ 12155223 w 12192185"/>
              <a:gd name="connsiteY4124" fmla="*/ 3990579 h 6859062"/>
              <a:gd name="connsiteX4125" fmla="*/ 12163606 w 12192185"/>
              <a:gd name="connsiteY4125" fmla="*/ 3991200 h 6859062"/>
              <a:gd name="connsiteX4126" fmla="*/ 12177254 w 12192185"/>
              <a:gd name="connsiteY4126" fmla="*/ 3994741 h 6859062"/>
              <a:gd name="connsiteX4127" fmla="*/ 12182145 w 12192185"/>
              <a:gd name="connsiteY4127" fmla="*/ 3995102 h 6859062"/>
              <a:gd name="connsiteX4128" fmla="*/ 12185025 w 12192185"/>
              <a:gd name="connsiteY4128" fmla="*/ 3997987 h 6859062"/>
              <a:gd name="connsiteX4129" fmla="*/ 12189796 w 12192185"/>
              <a:gd name="connsiteY4129" fmla="*/ 4003823 h 6859062"/>
              <a:gd name="connsiteX4130" fmla="*/ 12191909 w 12192185"/>
              <a:gd name="connsiteY4130" fmla="*/ 4005667 h 6859062"/>
              <a:gd name="connsiteX4131" fmla="*/ 12191999 w 12192185"/>
              <a:gd name="connsiteY4131" fmla="*/ 4005826 h 6859062"/>
              <a:gd name="connsiteX4132" fmla="*/ 12191999 w 12192185"/>
              <a:gd name="connsiteY4132" fmla="*/ 4044331 h 6859062"/>
              <a:gd name="connsiteX4133" fmla="*/ 12184485 w 12192185"/>
              <a:gd name="connsiteY4133" fmla="*/ 4053480 h 6859062"/>
              <a:gd name="connsiteX4134" fmla="*/ 12180396 w 12192185"/>
              <a:gd name="connsiteY4134" fmla="*/ 4057537 h 6859062"/>
              <a:gd name="connsiteX4135" fmla="*/ 12175591 w 12192185"/>
              <a:gd name="connsiteY4135" fmla="*/ 4059852 h 6859062"/>
              <a:gd name="connsiteX4136" fmla="*/ 12171469 w 12192185"/>
              <a:gd name="connsiteY4136" fmla="*/ 4060531 h 6859062"/>
              <a:gd name="connsiteX4137" fmla="*/ 12163051 w 12192185"/>
              <a:gd name="connsiteY4137" fmla="*/ 4062297 h 6859062"/>
              <a:gd name="connsiteX4138" fmla="*/ 12160035 w 12192185"/>
              <a:gd name="connsiteY4138" fmla="*/ 4063199 h 6859062"/>
              <a:gd name="connsiteX4139" fmla="*/ 12152726 w 12192185"/>
              <a:gd name="connsiteY4139" fmla="*/ 4065189 h 6859062"/>
              <a:gd name="connsiteX4140" fmla="*/ 12135464 w 12192185"/>
              <a:gd name="connsiteY4140" fmla="*/ 4055335 h 6859062"/>
              <a:gd name="connsiteX4141" fmla="*/ 12131357 w 12192185"/>
              <a:gd name="connsiteY4141" fmla="*/ 4046174 h 6859062"/>
              <a:gd name="connsiteX4142" fmla="*/ 12127897 w 12192185"/>
              <a:gd name="connsiteY4142" fmla="*/ 4026234 h 6859062"/>
              <a:gd name="connsiteX4143" fmla="*/ 12128475 w 12192185"/>
              <a:gd name="connsiteY4143" fmla="*/ 4020233 h 6859062"/>
              <a:gd name="connsiteX4144" fmla="*/ 12130842 w 12192185"/>
              <a:gd name="connsiteY4144" fmla="*/ 4012816 h 6859062"/>
              <a:gd name="connsiteX4145" fmla="*/ 12134045 w 12192185"/>
              <a:gd name="connsiteY4145" fmla="*/ 4007429 h 6859062"/>
              <a:gd name="connsiteX4146" fmla="*/ 12145119 w 12192185"/>
              <a:gd name="connsiteY4146" fmla="*/ 3998126 h 6859062"/>
              <a:gd name="connsiteX4147" fmla="*/ 12151747 w 12192185"/>
              <a:gd name="connsiteY4147" fmla="*/ 3992009 h 6859062"/>
              <a:gd name="connsiteX4148" fmla="*/ 12155223 w 12192185"/>
              <a:gd name="connsiteY4148" fmla="*/ 3990579 h 6859062"/>
              <a:gd name="connsiteX4149" fmla="*/ 12191999 w 12192185"/>
              <a:gd name="connsiteY4149" fmla="*/ 3678488 h 6859062"/>
              <a:gd name="connsiteX4150" fmla="*/ 12191999 w 12192185"/>
              <a:gd name="connsiteY4150" fmla="*/ 3764525 h 6859062"/>
              <a:gd name="connsiteX4151" fmla="*/ 12191339 w 12192185"/>
              <a:gd name="connsiteY4151" fmla="*/ 3764446 h 6859062"/>
              <a:gd name="connsiteX4152" fmla="*/ 12182962 w 12192185"/>
              <a:gd name="connsiteY4152" fmla="*/ 3767482 h 6859062"/>
              <a:gd name="connsiteX4153" fmla="*/ 12170176 w 12192185"/>
              <a:gd name="connsiteY4153" fmla="*/ 3769258 h 6859062"/>
              <a:gd name="connsiteX4154" fmla="*/ 12165940 w 12192185"/>
              <a:gd name="connsiteY4154" fmla="*/ 3767926 h 6859062"/>
              <a:gd name="connsiteX4155" fmla="*/ 12153876 w 12192185"/>
              <a:gd name="connsiteY4155" fmla="*/ 3764488 h 6859062"/>
              <a:gd name="connsiteX4156" fmla="*/ 12150569 w 12192185"/>
              <a:gd name="connsiteY4156" fmla="*/ 3760930 h 6859062"/>
              <a:gd name="connsiteX4157" fmla="*/ 12138351 w 12192185"/>
              <a:gd name="connsiteY4157" fmla="*/ 3745670 h 6859062"/>
              <a:gd name="connsiteX4158" fmla="*/ 12134497 w 12192185"/>
              <a:gd name="connsiteY4158" fmla="*/ 3747255 h 6859062"/>
              <a:gd name="connsiteX4159" fmla="*/ 12135846 w 12192185"/>
              <a:gd name="connsiteY4159" fmla="*/ 3752028 h 6859062"/>
              <a:gd name="connsiteX4160" fmla="*/ 12139246 w 12192185"/>
              <a:gd name="connsiteY4160" fmla="*/ 3754317 h 6859062"/>
              <a:gd name="connsiteX4161" fmla="*/ 12140822 w 12192185"/>
              <a:gd name="connsiteY4161" fmla="*/ 3757153 h 6859062"/>
              <a:gd name="connsiteX4162" fmla="*/ 12137453 w 12192185"/>
              <a:gd name="connsiteY4162" fmla="*/ 3757924 h 6859062"/>
              <a:gd name="connsiteX4163" fmla="*/ 12134166 w 12192185"/>
              <a:gd name="connsiteY4163" fmla="*/ 3756407 h 6859062"/>
              <a:gd name="connsiteX4164" fmla="*/ 12128375 w 12192185"/>
              <a:gd name="connsiteY4164" fmla="*/ 3757765 h 6859062"/>
              <a:gd name="connsiteX4165" fmla="*/ 12131373 w 12192185"/>
              <a:gd name="connsiteY4165" fmla="*/ 3762065 h 6859062"/>
              <a:gd name="connsiteX4166" fmla="*/ 12135866 w 12192185"/>
              <a:gd name="connsiteY4166" fmla="*/ 3764520 h 6859062"/>
              <a:gd name="connsiteX4167" fmla="*/ 12135030 w 12192185"/>
              <a:gd name="connsiteY4167" fmla="*/ 3768962 h 6859062"/>
              <a:gd name="connsiteX4168" fmla="*/ 12123460 w 12192185"/>
              <a:gd name="connsiteY4168" fmla="*/ 3769214 h 6859062"/>
              <a:gd name="connsiteX4169" fmla="*/ 12113825 w 12192185"/>
              <a:gd name="connsiteY4169" fmla="*/ 3773177 h 6859062"/>
              <a:gd name="connsiteX4170" fmla="*/ 12111413 w 12192185"/>
              <a:gd name="connsiteY4170" fmla="*/ 3778268 h 6859062"/>
              <a:gd name="connsiteX4171" fmla="*/ 12109919 w 12192185"/>
              <a:gd name="connsiteY4171" fmla="*/ 3780111 h 6859062"/>
              <a:gd name="connsiteX4172" fmla="*/ 12108074 w 12192185"/>
              <a:gd name="connsiteY4172" fmla="*/ 3778616 h 6859062"/>
              <a:gd name="connsiteX4173" fmla="*/ 12103057 w 12192185"/>
              <a:gd name="connsiteY4173" fmla="*/ 3776377 h 6859062"/>
              <a:gd name="connsiteX4174" fmla="*/ 12093301 w 12192185"/>
              <a:gd name="connsiteY4174" fmla="*/ 3775063 h 6859062"/>
              <a:gd name="connsiteX4175" fmla="*/ 12089024 w 12192185"/>
              <a:gd name="connsiteY4175" fmla="*/ 3776617 h 6859062"/>
              <a:gd name="connsiteX4176" fmla="*/ 12086798 w 12192185"/>
              <a:gd name="connsiteY4176" fmla="*/ 3779172 h 6859062"/>
              <a:gd name="connsiteX4177" fmla="*/ 12083645 w 12192185"/>
              <a:gd name="connsiteY4177" fmla="*/ 3776985 h 6859062"/>
              <a:gd name="connsiteX4178" fmla="*/ 12082285 w 12192185"/>
              <a:gd name="connsiteY4178" fmla="*/ 3774676 h 6859062"/>
              <a:gd name="connsiteX4179" fmla="*/ 12073878 w 12192185"/>
              <a:gd name="connsiteY4179" fmla="*/ 3774650 h 6859062"/>
              <a:gd name="connsiteX4180" fmla="*/ 12072837 w 12192185"/>
              <a:gd name="connsiteY4180" fmla="*/ 3776103 h 6859062"/>
              <a:gd name="connsiteX4181" fmla="*/ 12069613 w 12192185"/>
              <a:gd name="connsiteY4181" fmla="*/ 3777225 h 6859062"/>
              <a:gd name="connsiteX4182" fmla="*/ 12069160 w 12192185"/>
              <a:gd name="connsiteY4182" fmla="*/ 3774133 h 6859062"/>
              <a:gd name="connsiteX4183" fmla="*/ 12070715 w 12192185"/>
              <a:gd name="connsiteY4183" fmla="*/ 3771444 h 6859062"/>
              <a:gd name="connsiteX4184" fmla="*/ 12069799 w 12192185"/>
              <a:gd name="connsiteY4184" fmla="*/ 3767722 h 6859062"/>
              <a:gd name="connsiteX4185" fmla="*/ 12062599 w 12192185"/>
              <a:gd name="connsiteY4185" fmla="*/ 3758184 h 6859062"/>
              <a:gd name="connsiteX4186" fmla="*/ 12056244 w 12192185"/>
              <a:gd name="connsiteY4186" fmla="*/ 3745224 h 6859062"/>
              <a:gd name="connsiteX4187" fmla="*/ 12056523 w 12192185"/>
              <a:gd name="connsiteY4187" fmla="*/ 3741421 h 6859062"/>
              <a:gd name="connsiteX4188" fmla="*/ 12056977 w 12192185"/>
              <a:gd name="connsiteY4188" fmla="*/ 3730578 h 6859062"/>
              <a:gd name="connsiteX4189" fmla="*/ 12057483 w 12192185"/>
              <a:gd name="connsiteY4189" fmla="*/ 3728322 h 6859062"/>
              <a:gd name="connsiteX4190" fmla="*/ 12063595 w 12192185"/>
              <a:gd name="connsiteY4190" fmla="*/ 3716791 h 6859062"/>
              <a:gd name="connsiteX4191" fmla="*/ 12077413 w 12192185"/>
              <a:gd name="connsiteY4191" fmla="*/ 3705573 h 6859062"/>
              <a:gd name="connsiteX4192" fmla="*/ 12081907 w 12192185"/>
              <a:gd name="connsiteY4192" fmla="*/ 3701061 h 6859062"/>
              <a:gd name="connsiteX4193" fmla="*/ 12089829 w 12192185"/>
              <a:gd name="connsiteY4193" fmla="*/ 3698417 h 6859062"/>
              <a:gd name="connsiteX4194" fmla="*/ 12096600 w 12192185"/>
              <a:gd name="connsiteY4194" fmla="*/ 3696451 h 6859062"/>
              <a:gd name="connsiteX4195" fmla="*/ 12099155 w 12192185"/>
              <a:gd name="connsiteY4195" fmla="*/ 3695195 h 6859062"/>
              <a:gd name="connsiteX4196" fmla="*/ 12115320 w 12192185"/>
              <a:gd name="connsiteY4196" fmla="*/ 3700636 h 6859062"/>
              <a:gd name="connsiteX4197" fmla="*/ 12125139 w 12192185"/>
              <a:gd name="connsiteY4197" fmla="*/ 3708072 h 6859062"/>
              <a:gd name="connsiteX4198" fmla="*/ 12137801 w 12192185"/>
              <a:gd name="connsiteY4198" fmla="*/ 3711470 h 6859062"/>
              <a:gd name="connsiteX4199" fmla="*/ 12139295 w 12192185"/>
              <a:gd name="connsiteY4199" fmla="*/ 3709625 h 6859062"/>
              <a:gd name="connsiteX4200" fmla="*/ 12147303 w 12192185"/>
              <a:gd name="connsiteY4200" fmla="*/ 3694240 h 6859062"/>
              <a:gd name="connsiteX4201" fmla="*/ 12149530 w 12192185"/>
              <a:gd name="connsiteY4201" fmla="*/ 3691686 h 6859062"/>
              <a:gd name="connsiteX4202" fmla="*/ 12157710 w 12192185"/>
              <a:gd name="connsiteY4202" fmla="*/ 3686680 h 6859062"/>
              <a:gd name="connsiteX4203" fmla="*/ 12166861 w 12192185"/>
              <a:gd name="connsiteY4203" fmla="*/ 3680047 h 6859062"/>
              <a:gd name="connsiteX4204" fmla="*/ 12171137 w 12192185"/>
              <a:gd name="connsiteY4204" fmla="*/ 3678494 h 6859062"/>
              <a:gd name="connsiteX4205" fmla="*/ 109281 w 12192185"/>
              <a:gd name="connsiteY4205" fmla="*/ 3659371 h 6859062"/>
              <a:gd name="connsiteX4206" fmla="*/ 123000 w 12192185"/>
              <a:gd name="connsiteY4206" fmla="*/ 3667049 h 6859062"/>
              <a:gd name="connsiteX4207" fmla="*/ 128083 w 12192185"/>
              <a:gd name="connsiteY4207" fmla="*/ 3670619 h 6859062"/>
              <a:gd name="connsiteX4208" fmla="*/ 131455 w 12192185"/>
              <a:gd name="connsiteY4208" fmla="*/ 3675278 h 6859062"/>
              <a:gd name="connsiteX4209" fmla="*/ 132960 w 12192185"/>
              <a:gd name="connsiteY4209" fmla="*/ 3679527 h 6859062"/>
              <a:gd name="connsiteX4210" fmla="*/ 136437 w 12192185"/>
              <a:gd name="connsiteY4210" fmla="*/ 3688125 h 6859062"/>
              <a:gd name="connsiteX4211" fmla="*/ 137967 w 12192185"/>
              <a:gd name="connsiteY4211" fmla="*/ 3691155 h 6859062"/>
              <a:gd name="connsiteX4212" fmla="*/ 141470 w 12192185"/>
              <a:gd name="connsiteY4212" fmla="*/ 3698535 h 6859062"/>
              <a:gd name="connsiteX4213" fmla="*/ 134292 w 12192185"/>
              <a:gd name="connsiteY4213" fmla="*/ 3718734 h 6859062"/>
              <a:gd name="connsiteX4214" fmla="*/ 125348 w 12192185"/>
              <a:gd name="connsiteY4214" fmla="*/ 3724836 h 6859062"/>
              <a:gd name="connsiteX4215" fmla="*/ 104840 w 12192185"/>
              <a:gd name="connsiteY4215" fmla="*/ 3732303 h 6859062"/>
              <a:gd name="connsiteX4216" fmla="*/ 98358 w 12192185"/>
              <a:gd name="connsiteY4216" fmla="*/ 3732830 h 6859062"/>
              <a:gd name="connsiteX4217" fmla="*/ 90034 w 12192185"/>
              <a:gd name="connsiteY4217" fmla="*/ 3731727 h 6859062"/>
              <a:gd name="connsiteX4218" fmla="*/ 83707 w 12192185"/>
              <a:gd name="connsiteY4218" fmla="*/ 3729352 h 6859062"/>
              <a:gd name="connsiteX4219" fmla="*/ 71725 w 12192185"/>
              <a:gd name="connsiteY4219" fmla="*/ 3719366 h 6859062"/>
              <a:gd name="connsiteX4220" fmla="*/ 63970 w 12192185"/>
              <a:gd name="connsiteY4220" fmla="*/ 3713493 h 6859062"/>
              <a:gd name="connsiteX4221" fmla="*/ 61791 w 12192185"/>
              <a:gd name="connsiteY4221" fmla="*/ 3710075 h 6859062"/>
              <a:gd name="connsiteX4222" fmla="*/ 60856 w 12192185"/>
              <a:gd name="connsiteY4222" fmla="*/ 3701058 h 6859062"/>
              <a:gd name="connsiteX4223" fmla="*/ 62018 w 12192185"/>
              <a:gd name="connsiteY4223" fmla="*/ 3685896 h 6859062"/>
              <a:gd name="connsiteX4224" fmla="*/ 61472 w 12192185"/>
              <a:gd name="connsiteY4224" fmla="*/ 3680636 h 6859062"/>
              <a:gd name="connsiteX4225" fmla="*/ 63987 w 12192185"/>
              <a:gd name="connsiteY4225" fmla="*/ 3677030 h 6859062"/>
              <a:gd name="connsiteX4226" fmla="*/ 69275 w 12192185"/>
              <a:gd name="connsiteY4226" fmla="*/ 3670856 h 6859062"/>
              <a:gd name="connsiteX4227" fmla="*/ 70829 w 12192185"/>
              <a:gd name="connsiteY4227" fmla="*/ 3668262 h 6859062"/>
              <a:gd name="connsiteX4228" fmla="*/ 79230 w 12192185"/>
              <a:gd name="connsiteY4228" fmla="*/ 3661305 h 6859062"/>
              <a:gd name="connsiteX4229" fmla="*/ 80862 w 12192185"/>
              <a:gd name="connsiteY4229" fmla="*/ 3659462 h 6859062"/>
              <a:gd name="connsiteX4230" fmla="*/ 109281 w 12192185"/>
              <a:gd name="connsiteY4230" fmla="*/ 3659371 h 6859062"/>
              <a:gd name="connsiteX4231" fmla="*/ 997430 w 12192185"/>
              <a:gd name="connsiteY4231" fmla="*/ 3642962 h 6859062"/>
              <a:gd name="connsiteX4232" fmla="*/ 996872 w 12192185"/>
              <a:gd name="connsiteY4232" fmla="*/ 3649429 h 6859062"/>
              <a:gd name="connsiteX4233" fmla="*/ 997733 w 12192185"/>
              <a:gd name="connsiteY4233" fmla="*/ 3663769 h 6859062"/>
              <a:gd name="connsiteX4234" fmla="*/ 993345 w 12192185"/>
              <a:gd name="connsiteY4234" fmla="*/ 3662594 h 6859062"/>
              <a:gd name="connsiteX4235" fmla="*/ 1001492 w 12192185"/>
              <a:gd name="connsiteY4235" fmla="*/ 3702405 h 6859062"/>
              <a:gd name="connsiteX4236" fmla="*/ 999140 w 12192185"/>
              <a:gd name="connsiteY4236" fmla="*/ 3711183 h 6859062"/>
              <a:gd name="connsiteX4237" fmla="*/ 997964 w 12192185"/>
              <a:gd name="connsiteY4237" fmla="*/ 3715572 h 6859062"/>
              <a:gd name="connsiteX4238" fmla="*/ 996788 w 12192185"/>
              <a:gd name="connsiteY4238" fmla="*/ 3719961 h 6859062"/>
              <a:gd name="connsiteX4239" fmla="*/ 1001178 w 12192185"/>
              <a:gd name="connsiteY4239" fmla="*/ 3721136 h 6859062"/>
              <a:gd name="connsiteX4240" fmla="*/ 998824 w 12192185"/>
              <a:gd name="connsiteY4240" fmla="*/ 3729914 h 6859062"/>
              <a:gd name="connsiteX4241" fmla="*/ 991224 w 12192185"/>
              <a:gd name="connsiteY4241" fmla="*/ 3723172 h 6859062"/>
              <a:gd name="connsiteX4242" fmla="*/ 992084 w 12192185"/>
              <a:gd name="connsiteY4242" fmla="*/ 3737515 h 6859062"/>
              <a:gd name="connsiteX4243" fmla="*/ 990908 w 12192185"/>
              <a:gd name="connsiteY4243" fmla="*/ 3741905 h 6859062"/>
              <a:gd name="connsiteX4244" fmla="*/ 989733 w 12192185"/>
              <a:gd name="connsiteY4244" fmla="*/ 3746293 h 6859062"/>
              <a:gd name="connsiteX4245" fmla="*/ 988556 w 12192185"/>
              <a:gd name="connsiteY4245" fmla="*/ 3750681 h 6859062"/>
              <a:gd name="connsiteX4246" fmla="*/ 988243 w 12192185"/>
              <a:gd name="connsiteY4246" fmla="*/ 3769413 h 6859062"/>
              <a:gd name="connsiteX4247" fmla="*/ 991455 w 12192185"/>
              <a:gd name="connsiteY4247" fmla="*/ 3774977 h 6859062"/>
              <a:gd name="connsiteX4248" fmla="*/ 990278 w 12192185"/>
              <a:gd name="connsiteY4248" fmla="*/ 3779367 h 6859062"/>
              <a:gd name="connsiteX4249" fmla="*/ 991455 w 12192185"/>
              <a:gd name="connsiteY4249" fmla="*/ 3774977 h 6859062"/>
              <a:gd name="connsiteX4250" fmla="*/ 992860 w 12192185"/>
              <a:gd name="connsiteY4250" fmla="*/ 3822391 h 6859062"/>
              <a:gd name="connsiteX4251" fmla="*/ 990510 w 12192185"/>
              <a:gd name="connsiteY4251" fmla="*/ 3831170 h 6859062"/>
              <a:gd name="connsiteX4252" fmla="*/ 994897 w 12192185"/>
              <a:gd name="connsiteY4252" fmla="*/ 3832347 h 6859062"/>
              <a:gd name="connsiteX4253" fmla="*/ 997480 w 12192185"/>
              <a:gd name="connsiteY4253" fmla="*/ 3875372 h 6859062"/>
              <a:gd name="connsiteX4254" fmla="*/ 1001869 w 12192185"/>
              <a:gd name="connsiteY4254" fmla="*/ 3876548 h 6859062"/>
              <a:gd name="connsiteX4255" fmla="*/ 1000693 w 12192185"/>
              <a:gd name="connsiteY4255" fmla="*/ 3880937 h 6859062"/>
              <a:gd name="connsiteX4256" fmla="*/ 996305 w 12192185"/>
              <a:gd name="connsiteY4256" fmla="*/ 3879761 h 6859062"/>
              <a:gd name="connsiteX4257" fmla="*/ 995127 w 12192185"/>
              <a:gd name="connsiteY4257" fmla="*/ 3884150 h 6859062"/>
              <a:gd name="connsiteX4258" fmla="*/ 998341 w 12192185"/>
              <a:gd name="connsiteY4258" fmla="*/ 3889714 h 6859062"/>
              <a:gd name="connsiteX4259" fmla="*/ 1004914 w 12192185"/>
              <a:gd name="connsiteY4259" fmla="*/ 4023181 h 6859062"/>
              <a:gd name="connsiteX4260" fmla="*/ 1004283 w 12192185"/>
              <a:gd name="connsiteY4260" fmla="*/ 4060643 h 6859062"/>
              <a:gd name="connsiteX4261" fmla="*/ 1011569 w 12192185"/>
              <a:gd name="connsiteY4261" fmla="*/ 4086116 h 6859062"/>
              <a:gd name="connsiteX4262" fmla="*/ 1019716 w 12192185"/>
              <a:gd name="connsiteY4262" fmla="*/ 4125929 h 6859062"/>
              <a:gd name="connsiteX4263" fmla="*/ 1074394 w 12192185"/>
              <a:gd name="connsiteY4263" fmla="*/ 4413401 h 6859062"/>
              <a:gd name="connsiteX4264" fmla="*/ 1067656 w 12192185"/>
              <a:gd name="connsiteY4264" fmla="*/ 4421004 h 6859062"/>
              <a:gd name="connsiteX4265" fmla="*/ 1068830 w 12192185"/>
              <a:gd name="connsiteY4265" fmla="*/ 4416614 h 6859062"/>
              <a:gd name="connsiteX4266" fmla="*/ 1064443 w 12192185"/>
              <a:gd name="connsiteY4266" fmla="*/ 4415437 h 6859062"/>
              <a:gd name="connsiteX4267" fmla="*/ 1066480 w 12192185"/>
              <a:gd name="connsiteY4267" fmla="*/ 4425392 h 6859062"/>
              <a:gd name="connsiteX4268" fmla="*/ 1062952 w 12192185"/>
              <a:gd name="connsiteY4268" fmla="*/ 4438558 h 6859062"/>
              <a:gd name="connsiteX4269" fmla="*/ 1076979 w 12192185"/>
              <a:gd name="connsiteY4269" fmla="*/ 4456428 h 6859062"/>
              <a:gd name="connsiteX4270" fmla="*/ 1075802 w 12192185"/>
              <a:gd name="connsiteY4270" fmla="*/ 4460816 h 6859062"/>
              <a:gd name="connsiteX4271" fmla="*/ 1079015 w 12192185"/>
              <a:gd name="connsiteY4271" fmla="*/ 4466381 h 6859062"/>
              <a:gd name="connsiteX4272" fmla="*/ 1077840 w 12192185"/>
              <a:gd name="connsiteY4272" fmla="*/ 4470769 h 6859062"/>
              <a:gd name="connsiteX4273" fmla="*/ 1082228 w 12192185"/>
              <a:gd name="connsiteY4273" fmla="*/ 4471945 h 6859062"/>
              <a:gd name="connsiteX4274" fmla="*/ 1084266 w 12192185"/>
              <a:gd name="connsiteY4274" fmla="*/ 4481898 h 6859062"/>
              <a:gd name="connsiteX4275" fmla="*/ 1087161 w 12192185"/>
              <a:gd name="connsiteY4275" fmla="*/ 4506194 h 6859062"/>
              <a:gd name="connsiteX4276" fmla="*/ 1082774 w 12192185"/>
              <a:gd name="connsiteY4276" fmla="*/ 4505018 h 6859062"/>
              <a:gd name="connsiteX4277" fmla="*/ 1079561 w 12192185"/>
              <a:gd name="connsiteY4277" fmla="*/ 4499453 h 6859062"/>
              <a:gd name="connsiteX4278" fmla="*/ 1081597 w 12192185"/>
              <a:gd name="connsiteY4278" fmla="*/ 4509407 h 6859062"/>
              <a:gd name="connsiteX4279" fmla="*/ 1084810 w 12192185"/>
              <a:gd name="connsiteY4279" fmla="*/ 4514972 h 6859062"/>
              <a:gd name="connsiteX4280" fmla="*/ 1093273 w 12192185"/>
              <a:gd name="connsiteY4280" fmla="*/ 4536054 h 6859062"/>
              <a:gd name="connsiteX4281" fmla="*/ 1092097 w 12192185"/>
              <a:gd name="connsiteY4281" fmla="*/ 4540443 h 6859062"/>
              <a:gd name="connsiteX4282" fmla="*/ 1094133 w 12192185"/>
              <a:gd name="connsiteY4282" fmla="*/ 4550397 h 6859062"/>
              <a:gd name="connsiteX4283" fmla="*/ 1098523 w 12192185"/>
              <a:gd name="connsiteY4283" fmla="*/ 4551573 h 6859062"/>
              <a:gd name="connsiteX4284" fmla="*/ 1099699 w 12192185"/>
              <a:gd name="connsiteY4284" fmla="*/ 4547184 h 6859062"/>
              <a:gd name="connsiteX4285" fmla="*/ 1100559 w 12192185"/>
              <a:gd name="connsiteY4285" fmla="*/ 4561525 h 6859062"/>
              <a:gd name="connsiteX4286" fmla="*/ 1109337 w 12192185"/>
              <a:gd name="connsiteY4286" fmla="*/ 4563878 h 6859062"/>
              <a:gd name="connsiteX4287" fmla="*/ 1106985 w 12192185"/>
              <a:gd name="connsiteY4287" fmla="*/ 4572655 h 6859062"/>
              <a:gd name="connsiteX4288" fmla="*/ 1110199 w 12192185"/>
              <a:gd name="connsiteY4288" fmla="*/ 4578220 h 6859062"/>
              <a:gd name="connsiteX4289" fmla="*/ 1109022 w 12192185"/>
              <a:gd name="connsiteY4289" fmla="*/ 4582609 h 6859062"/>
              <a:gd name="connsiteX4290" fmla="*/ 1113410 w 12192185"/>
              <a:gd name="connsiteY4290" fmla="*/ 4583785 h 6859062"/>
              <a:gd name="connsiteX4291" fmla="*/ 1114587 w 12192185"/>
              <a:gd name="connsiteY4291" fmla="*/ 4579396 h 6859062"/>
              <a:gd name="connsiteX4292" fmla="*/ 1136759 w 12192185"/>
              <a:gd name="connsiteY4292" fmla="*/ 4637079 h 6859062"/>
              <a:gd name="connsiteX4293" fmla="*/ 1138798 w 12192185"/>
              <a:gd name="connsiteY4293" fmla="*/ 4647032 h 6859062"/>
              <a:gd name="connsiteX4294" fmla="*/ 1146398 w 12192185"/>
              <a:gd name="connsiteY4294" fmla="*/ 4653774 h 6859062"/>
              <a:gd name="connsiteX4295" fmla="*/ 1147322 w 12192185"/>
              <a:gd name="connsiteY4295" fmla="*/ 4650328 h 6859062"/>
              <a:gd name="connsiteX4296" fmla="*/ 1154908 w 12192185"/>
              <a:gd name="connsiteY4296" fmla="*/ 4667004 h 6859062"/>
              <a:gd name="connsiteX4297" fmla="*/ 1178212 w 12192185"/>
              <a:gd name="connsiteY4297" fmla="*/ 4728150 h 6859062"/>
              <a:gd name="connsiteX4298" fmla="*/ 1196628 w 12192185"/>
              <a:gd name="connsiteY4298" fmla="*/ 4747197 h 6859062"/>
              <a:gd name="connsiteX4299" fmla="*/ 1193100 w 12192185"/>
              <a:gd name="connsiteY4299" fmla="*/ 4760363 h 6859062"/>
              <a:gd name="connsiteX4300" fmla="*/ 1207988 w 12192185"/>
              <a:gd name="connsiteY4300" fmla="*/ 4792576 h 6859062"/>
              <a:gd name="connsiteX4301" fmla="*/ 1223190 w 12192185"/>
              <a:gd name="connsiteY4301" fmla="*/ 4806057 h 6859062"/>
              <a:gd name="connsiteX4302" fmla="*/ 1230477 w 12192185"/>
              <a:gd name="connsiteY4302" fmla="*/ 4831528 h 6859062"/>
              <a:gd name="connsiteX4303" fmla="*/ 1226088 w 12192185"/>
              <a:gd name="connsiteY4303" fmla="*/ 4830353 h 6859062"/>
              <a:gd name="connsiteX4304" fmla="*/ 1218487 w 12192185"/>
              <a:gd name="connsiteY4304" fmla="*/ 4823612 h 6859062"/>
              <a:gd name="connsiteX4305" fmla="*/ 1220524 w 12192185"/>
              <a:gd name="connsiteY4305" fmla="*/ 4833565 h 6859062"/>
              <a:gd name="connsiteX4306" fmla="*/ 1223736 w 12192185"/>
              <a:gd name="connsiteY4306" fmla="*/ 4839130 h 6859062"/>
              <a:gd name="connsiteX4307" fmla="*/ 1212922 w 12192185"/>
              <a:gd name="connsiteY4307" fmla="*/ 4826824 h 6859062"/>
              <a:gd name="connsiteX4308" fmla="*/ 1225773 w 12192185"/>
              <a:gd name="connsiteY4308" fmla="*/ 4849082 h 6859062"/>
              <a:gd name="connsiteX4309" fmla="*/ 1228986 w 12192185"/>
              <a:gd name="connsiteY4309" fmla="*/ 4854648 h 6859062"/>
              <a:gd name="connsiteX4310" fmla="*/ 1239801 w 12192185"/>
              <a:gd name="connsiteY4310" fmla="*/ 4866952 h 6859062"/>
              <a:gd name="connsiteX4311" fmla="*/ 1237764 w 12192185"/>
              <a:gd name="connsiteY4311" fmla="*/ 4856999 h 6859062"/>
              <a:gd name="connsiteX4312" fmla="*/ 1238940 w 12192185"/>
              <a:gd name="connsiteY4312" fmla="*/ 4852611 h 6859062"/>
              <a:gd name="connsiteX4313" fmla="*/ 1248578 w 12192185"/>
              <a:gd name="connsiteY4313" fmla="*/ 4869304 h 6859062"/>
              <a:gd name="connsiteX4314" fmla="*/ 1248893 w 12192185"/>
              <a:gd name="connsiteY4314" fmla="*/ 4850574 h 6859062"/>
              <a:gd name="connsiteX4315" fmla="*/ 1258215 w 12192185"/>
              <a:gd name="connsiteY4315" fmla="*/ 4885998 h 6859062"/>
              <a:gd name="connsiteX4316" fmla="*/ 1255002 w 12192185"/>
              <a:gd name="connsiteY4316" fmla="*/ 4880434 h 6859062"/>
              <a:gd name="connsiteX4317" fmla="*/ 1246226 w 12192185"/>
              <a:gd name="connsiteY4317" fmla="*/ 4878082 h 6859062"/>
              <a:gd name="connsiteX4318" fmla="*/ 1252651 w 12192185"/>
              <a:gd name="connsiteY4318" fmla="*/ 4889210 h 6859062"/>
              <a:gd name="connsiteX4319" fmla="*/ 1251476 w 12192185"/>
              <a:gd name="connsiteY4319" fmla="*/ 4893600 h 6859062"/>
              <a:gd name="connsiteX4320" fmla="*/ 1250299 w 12192185"/>
              <a:gd name="connsiteY4320" fmla="*/ 4897989 h 6859062"/>
              <a:gd name="connsiteX4321" fmla="*/ 1245912 w 12192185"/>
              <a:gd name="connsiteY4321" fmla="*/ 4896814 h 6859062"/>
              <a:gd name="connsiteX4322" fmla="*/ 1253513 w 12192185"/>
              <a:gd name="connsiteY4322" fmla="*/ 4903554 h 6859062"/>
              <a:gd name="connsiteX4323" fmla="*/ 1256724 w 12192185"/>
              <a:gd name="connsiteY4323" fmla="*/ 4909119 h 6859062"/>
              <a:gd name="connsiteX4324" fmla="*/ 1260798 w 12192185"/>
              <a:gd name="connsiteY4324" fmla="*/ 4929025 h 6859062"/>
              <a:gd name="connsiteX4325" fmla="*/ 1257587 w 12192185"/>
              <a:gd name="connsiteY4325" fmla="*/ 4923461 h 6859062"/>
              <a:gd name="connsiteX4326" fmla="*/ 1249985 w 12192185"/>
              <a:gd name="connsiteY4326" fmla="*/ 4916720 h 6859062"/>
              <a:gd name="connsiteX4327" fmla="*/ 1255234 w 12192185"/>
              <a:gd name="connsiteY4327" fmla="*/ 4932238 h 6859062"/>
              <a:gd name="connsiteX4328" fmla="*/ 1258446 w 12192185"/>
              <a:gd name="connsiteY4328" fmla="*/ 4937802 h 6859062"/>
              <a:gd name="connsiteX4329" fmla="*/ 1261660 w 12192185"/>
              <a:gd name="connsiteY4329" fmla="*/ 4943368 h 6859062"/>
              <a:gd name="connsiteX4330" fmla="*/ 1270437 w 12192185"/>
              <a:gd name="connsiteY4330" fmla="*/ 4945718 h 6859062"/>
              <a:gd name="connsiteX4331" fmla="*/ 1268401 w 12192185"/>
              <a:gd name="connsiteY4331" fmla="*/ 4935766 h 6859062"/>
              <a:gd name="connsiteX4332" fmla="*/ 1264011 w 12192185"/>
              <a:gd name="connsiteY4332" fmla="*/ 4934589 h 6859062"/>
              <a:gd name="connsiteX4333" fmla="*/ 1260798 w 12192185"/>
              <a:gd name="connsiteY4333" fmla="*/ 4929025 h 6859062"/>
              <a:gd name="connsiteX4334" fmla="*/ 1261114 w 12192185"/>
              <a:gd name="connsiteY4334" fmla="*/ 4910295 h 6859062"/>
              <a:gd name="connsiteX4335" fmla="*/ 1264326 w 12192185"/>
              <a:gd name="connsiteY4335" fmla="*/ 4915859 h 6859062"/>
              <a:gd name="connsiteX4336" fmla="*/ 1265501 w 12192185"/>
              <a:gd name="connsiteY4336" fmla="*/ 4911470 h 6859062"/>
              <a:gd name="connsiteX4337" fmla="*/ 1266678 w 12192185"/>
              <a:gd name="connsiteY4337" fmla="*/ 4907082 h 6859062"/>
              <a:gd name="connsiteX4338" fmla="*/ 1262290 w 12192185"/>
              <a:gd name="connsiteY4338" fmla="*/ 4905907 h 6859062"/>
              <a:gd name="connsiteX4339" fmla="*/ 1259077 w 12192185"/>
              <a:gd name="connsiteY4339" fmla="*/ 4900341 h 6859062"/>
              <a:gd name="connsiteX4340" fmla="*/ 1263467 w 12192185"/>
              <a:gd name="connsiteY4340" fmla="*/ 4901517 h 6859062"/>
              <a:gd name="connsiteX4341" fmla="*/ 1260253 w 12192185"/>
              <a:gd name="connsiteY4341" fmla="*/ 4895953 h 6859062"/>
              <a:gd name="connsiteX4342" fmla="*/ 1261429 w 12192185"/>
              <a:gd name="connsiteY4342" fmla="*/ 4891564 h 6859062"/>
              <a:gd name="connsiteX4343" fmla="*/ 1283919 w 12192185"/>
              <a:gd name="connsiteY4343" fmla="*/ 4930516 h 6859062"/>
              <a:gd name="connsiteX4344" fmla="*/ 1279529 w 12192185"/>
              <a:gd name="connsiteY4344" fmla="*/ 4929340 h 6859062"/>
              <a:gd name="connsiteX4345" fmla="*/ 1275140 w 12192185"/>
              <a:gd name="connsiteY4345" fmla="*/ 4928164 h 6859062"/>
              <a:gd name="connsiteX4346" fmla="*/ 1278354 w 12192185"/>
              <a:gd name="connsiteY4346" fmla="*/ 4933729 h 6859062"/>
              <a:gd name="connsiteX4347" fmla="*/ 1282743 w 12192185"/>
              <a:gd name="connsiteY4347" fmla="*/ 4934905 h 6859062"/>
              <a:gd name="connsiteX4348" fmla="*/ 1285955 w 12192185"/>
              <a:gd name="connsiteY4348" fmla="*/ 4940470 h 6859062"/>
              <a:gd name="connsiteX4349" fmla="*/ 1290029 w 12192185"/>
              <a:gd name="connsiteY4349" fmla="*/ 4960376 h 6859062"/>
              <a:gd name="connsiteX4350" fmla="*/ 1288853 w 12192185"/>
              <a:gd name="connsiteY4350" fmla="*/ 4964765 h 6859062"/>
              <a:gd name="connsiteX4351" fmla="*/ 1292065 w 12192185"/>
              <a:gd name="connsiteY4351" fmla="*/ 4970330 h 6859062"/>
              <a:gd name="connsiteX4352" fmla="*/ 1296455 w 12192185"/>
              <a:gd name="connsiteY4352" fmla="*/ 4971507 h 6859062"/>
              <a:gd name="connsiteX4353" fmla="*/ 1297630 w 12192185"/>
              <a:gd name="connsiteY4353" fmla="*/ 4967117 h 6859062"/>
              <a:gd name="connsiteX4354" fmla="*/ 1309305 w 12192185"/>
              <a:gd name="connsiteY4354" fmla="*/ 4993764 h 6859062"/>
              <a:gd name="connsiteX4355" fmla="*/ 1312518 w 12192185"/>
              <a:gd name="connsiteY4355" fmla="*/ 4999330 h 6859062"/>
              <a:gd name="connsiteX4356" fmla="*/ 1316907 w 12192185"/>
              <a:gd name="connsiteY4356" fmla="*/ 5000505 h 6859062"/>
              <a:gd name="connsiteX4357" fmla="*/ 1318083 w 12192185"/>
              <a:gd name="connsiteY4357" fmla="*/ 4996115 h 6859062"/>
              <a:gd name="connsiteX4358" fmla="*/ 1333286 w 12192185"/>
              <a:gd name="connsiteY4358" fmla="*/ 5009598 h 6859062"/>
              <a:gd name="connsiteX4359" fmla="*/ 1368311 w 12192185"/>
              <a:gd name="connsiteY4359" fmla="*/ 5089540 h 6859062"/>
              <a:gd name="connsiteX4360" fmla="*/ 1373874 w 12192185"/>
              <a:gd name="connsiteY4360" fmla="*/ 5086328 h 6859062"/>
              <a:gd name="connsiteX4361" fmla="*/ 1372700 w 12192185"/>
              <a:gd name="connsiteY4361" fmla="*/ 5090716 h 6859062"/>
              <a:gd name="connsiteX4362" fmla="*/ 1375913 w 12192185"/>
              <a:gd name="connsiteY4362" fmla="*/ 5096281 h 6859062"/>
              <a:gd name="connsiteX4363" fmla="*/ 1377088 w 12192185"/>
              <a:gd name="connsiteY4363" fmla="*/ 5091892 h 6859062"/>
              <a:gd name="connsiteX4364" fmla="*/ 1392836 w 12192185"/>
              <a:gd name="connsiteY4364" fmla="*/ 5138445 h 6859062"/>
              <a:gd name="connsiteX4365" fmla="*/ 1402790 w 12192185"/>
              <a:gd name="connsiteY4365" fmla="*/ 5136410 h 6859062"/>
              <a:gd name="connsiteX4366" fmla="*/ 1404828 w 12192185"/>
              <a:gd name="connsiteY4366" fmla="*/ 5146363 h 6859062"/>
              <a:gd name="connsiteX4367" fmla="*/ 1411253 w 12192185"/>
              <a:gd name="connsiteY4367" fmla="*/ 5157491 h 6859062"/>
              <a:gd name="connsiteX4368" fmla="*/ 1406865 w 12192185"/>
              <a:gd name="connsiteY4368" fmla="*/ 5156315 h 6859062"/>
              <a:gd name="connsiteX4369" fmla="*/ 1405688 w 12192185"/>
              <a:gd name="connsiteY4369" fmla="*/ 5160705 h 6859062"/>
              <a:gd name="connsiteX4370" fmla="*/ 1413290 w 12192185"/>
              <a:gd name="connsiteY4370" fmla="*/ 5167446 h 6859062"/>
              <a:gd name="connsiteX4371" fmla="*/ 1417678 w 12192185"/>
              <a:gd name="connsiteY4371" fmla="*/ 5168622 h 6859062"/>
              <a:gd name="connsiteX4372" fmla="*/ 1441343 w 12192185"/>
              <a:gd name="connsiteY4372" fmla="*/ 5203186 h 6859062"/>
              <a:gd name="connsiteX4373" fmla="*/ 1436095 w 12192185"/>
              <a:gd name="connsiteY4373" fmla="*/ 5187668 h 6859062"/>
              <a:gd name="connsiteX4374" fmla="*/ 1420891 w 12192185"/>
              <a:gd name="connsiteY4374" fmla="*/ 5174186 h 6859062"/>
              <a:gd name="connsiteX4375" fmla="*/ 1424105 w 12192185"/>
              <a:gd name="connsiteY4375" fmla="*/ 5179751 h 6859062"/>
              <a:gd name="connsiteX4376" fmla="*/ 1428494 w 12192185"/>
              <a:gd name="connsiteY4376" fmla="*/ 5180927 h 6859062"/>
              <a:gd name="connsiteX4377" fmla="*/ 1429669 w 12192185"/>
              <a:gd name="connsiteY4377" fmla="*/ 5176539 h 6859062"/>
              <a:gd name="connsiteX4378" fmla="*/ 1426456 w 12192185"/>
              <a:gd name="connsiteY4378" fmla="*/ 5170973 h 6859062"/>
              <a:gd name="connsiteX4379" fmla="*/ 1430844 w 12192185"/>
              <a:gd name="connsiteY4379" fmla="*/ 5172150 h 6859062"/>
              <a:gd name="connsiteX4380" fmla="*/ 1434057 w 12192185"/>
              <a:gd name="connsiteY4380" fmla="*/ 5177713 h 6859062"/>
              <a:gd name="connsiteX4381" fmla="*/ 1435233 w 12192185"/>
              <a:gd name="connsiteY4381" fmla="*/ 5173325 h 6859062"/>
              <a:gd name="connsiteX4382" fmla="*/ 1432022 w 12192185"/>
              <a:gd name="connsiteY4382" fmla="*/ 5167761 h 6859062"/>
              <a:gd name="connsiteX4383" fmla="*/ 1428808 w 12192185"/>
              <a:gd name="connsiteY4383" fmla="*/ 5162195 h 6859062"/>
              <a:gd name="connsiteX4384" fmla="*/ 1436408 w 12192185"/>
              <a:gd name="connsiteY4384" fmla="*/ 5168936 h 6859062"/>
              <a:gd name="connsiteX4385" fmla="*/ 1439622 w 12192185"/>
              <a:gd name="connsiteY4385" fmla="*/ 5174501 h 6859062"/>
              <a:gd name="connsiteX4386" fmla="*/ 1442835 w 12192185"/>
              <a:gd name="connsiteY4386" fmla="*/ 5180066 h 6859062"/>
              <a:gd name="connsiteX4387" fmla="*/ 1449261 w 12192185"/>
              <a:gd name="connsiteY4387" fmla="*/ 5191195 h 6859062"/>
              <a:gd name="connsiteX4388" fmla="*/ 1451612 w 12192185"/>
              <a:gd name="connsiteY4388" fmla="*/ 5182418 h 6859062"/>
              <a:gd name="connsiteX4389" fmla="*/ 1452788 w 12192185"/>
              <a:gd name="connsiteY4389" fmla="*/ 5178029 h 6859062"/>
              <a:gd name="connsiteX4390" fmla="*/ 1464465 w 12192185"/>
              <a:gd name="connsiteY4390" fmla="*/ 5204675 h 6859062"/>
              <a:gd name="connsiteX4391" fmla="*/ 1460075 w 12192185"/>
              <a:gd name="connsiteY4391" fmla="*/ 5203500 h 6859062"/>
              <a:gd name="connsiteX4392" fmla="*/ 1458898 w 12192185"/>
              <a:gd name="connsiteY4392" fmla="*/ 5207889 h 6859062"/>
              <a:gd name="connsiteX4393" fmla="*/ 1463288 w 12192185"/>
              <a:gd name="connsiteY4393" fmla="*/ 5209065 h 6859062"/>
              <a:gd name="connsiteX4394" fmla="*/ 1467676 w 12192185"/>
              <a:gd name="connsiteY4394" fmla="*/ 5210241 h 6859062"/>
              <a:gd name="connsiteX4395" fmla="*/ 1470889 w 12192185"/>
              <a:gd name="connsiteY4395" fmla="*/ 5215806 h 6859062"/>
              <a:gd name="connsiteX4396" fmla="*/ 1480528 w 12192185"/>
              <a:gd name="connsiteY4396" fmla="*/ 5232500 h 6859062"/>
              <a:gd name="connsiteX4397" fmla="*/ 1506860 w 12192185"/>
              <a:gd name="connsiteY4397" fmla="*/ 5239556 h 6859062"/>
              <a:gd name="connsiteX4398" fmla="*/ 1488444 w 12192185"/>
              <a:gd name="connsiteY4398" fmla="*/ 5220510 h 6859062"/>
              <a:gd name="connsiteX4399" fmla="*/ 1497221 w 12192185"/>
              <a:gd name="connsiteY4399" fmla="*/ 5222862 h 6859062"/>
              <a:gd name="connsiteX4400" fmla="*/ 1498397 w 12192185"/>
              <a:gd name="connsiteY4400" fmla="*/ 5218473 h 6859062"/>
              <a:gd name="connsiteX4401" fmla="*/ 1524100 w 12192185"/>
              <a:gd name="connsiteY4401" fmla="*/ 5262990 h 6859062"/>
              <a:gd name="connsiteX4402" fmla="*/ 1529803 w 12192185"/>
              <a:gd name="connsiteY4402" fmla="*/ 5271505 h 6859062"/>
              <a:gd name="connsiteX4403" fmla="*/ 1437995 w 12192185"/>
              <a:gd name="connsiteY4403" fmla="*/ 5112967 h 6859062"/>
              <a:gd name="connsiteX4404" fmla="*/ 1311258 w 12192185"/>
              <a:gd name="connsiteY4404" fmla="*/ 4846888 h 6859062"/>
              <a:gd name="connsiteX4405" fmla="*/ 1218056 w 12192185"/>
              <a:gd name="connsiteY4405" fmla="*/ 4558384 h 6859062"/>
              <a:gd name="connsiteX4406" fmla="*/ 1201334 w 12192185"/>
              <a:gd name="connsiteY4406" fmla="*/ 4484933 h 6859062"/>
              <a:gd name="connsiteX4407" fmla="*/ 1197261 w 12192185"/>
              <a:gd name="connsiteY4407" fmla="*/ 4477118 h 6859062"/>
              <a:gd name="connsiteX4408" fmla="*/ 1180039 w 12192185"/>
              <a:gd name="connsiteY4408" fmla="*/ 4422892 h 6859062"/>
              <a:gd name="connsiteX4409" fmla="*/ 1181216 w 12192185"/>
              <a:gd name="connsiteY4409" fmla="*/ 4418505 h 6859062"/>
              <a:gd name="connsiteX4410" fmla="*/ 1182392 w 12192185"/>
              <a:gd name="connsiteY4410" fmla="*/ 4414117 h 6859062"/>
              <a:gd name="connsiteX4411" fmla="*/ 1178003 w 12192185"/>
              <a:gd name="connsiteY4411" fmla="*/ 4412939 h 6859062"/>
              <a:gd name="connsiteX4412" fmla="*/ 1175105 w 12192185"/>
              <a:gd name="connsiteY4412" fmla="*/ 4388646 h 6859062"/>
              <a:gd name="connsiteX4413" fmla="*/ 1176282 w 12192185"/>
              <a:gd name="connsiteY4413" fmla="*/ 4384256 h 6859062"/>
              <a:gd name="connsiteX4414" fmla="*/ 1173069 w 12192185"/>
              <a:gd name="connsiteY4414" fmla="*/ 4378691 h 6859062"/>
              <a:gd name="connsiteX4415" fmla="*/ 1171892 w 12192185"/>
              <a:gd name="connsiteY4415" fmla="*/ 4383080 h 6859062"/>
              <a:gd name="connsiteX4416" fmla="*/ 1154106 w 12192185"/>
              <a:gd name="connsiteY4416" fmla="*/ 4326573 h 6859062"/>
              <a:gd name="connsiteX4417" fmla="*/ 1158496 w 12192185"/>
              <a:gd name="connsiteY4417" fmla="*/ 4327748 h 6859062"/>
              <a:gd name="connsiteX4418" fmla="*/ 1159672 w 12192185"/>
              <a:gd name="connsiteY4418" fmla="*/ 4323360 h 6859062"/>
              <a:gd name="connsiteX4419" fmla="*/ 1156459 w 12192185"/>
              <a:gd name="connsiteY4419" fmla="*/ 4317795 h 6859062"/>
              <a:gd name="connsiteX4420" fmla="*/ 1152070 w 12192185"/>
              <a:gd name="connsiteY4420" fmla="*/ 4316619 h 6859062"/>
              <a:gd name="connsiteX4421" fmla="*/ 1153245 w 12192185"/>
              <a:gd name="connsiteY4421" fmla="*/ 4312229 h 6859062"/>
              <a:gd name="connsiteX4422" fmla="*/ 1151524 w 12192185"/>
              <a:gd name="connsiteY4422" fmla="*/ 4283546 h 6859062"/>
              <a:gd name="connsiteX4423" fmla="*/ 1143923 w 12192185"/>
              <a:gd name="connsiteY4423" fmla="*/ 4276806 h 6859062"/>
              <a:gd name="connsiteX4424" fmla="*/ 1141886 w 12192185"/>
              <a:gd name="connsiteY4424" fmla="*/ 4266851 h 6859062"/>
              <a:gd name="connsiteX4425" fmla="*/ 1147451 w 12192185"/>
              <a:gd name="connsiteY4425" fmla="*/ 4263640 h 6859062"/>
              <a:gd name="connsiteX4426" fmla="*/ 1144238 w 12192185"/>
              <a:gd name="connsiteY4426" fmla="*/ 4258074 h 6859062"/>
              <a:gd name="connsiteX4427" fmla="*/ 1141026 w 12192185"/>
              <a:gd name="connsiteY4427" fmla="*/ 4252510 h 6859062"/>
              <a:gd name="connsiteX4428" fmla="*/ 1129664 w 12192185"/>
              <a:gd name="connsiteY4428" fmla="*/ 4207132 h 6859062"/>
              <a:gd name="connsiteX4429" fmla="*/ 1129350 w 12192185"/>
              <a:gd name="connsiteY4429" fmla="*/ 4225863 h 6859062"/>
              <a:gd name="connsiteX4430" fmla="*/ 1137813 w 12192185"/>
              <a:gd name="connsiteY4430" fmla="*/ 4246945 h 6859062"/>
              <a:gd name="connsiteX4431" fmla="*/ 1136636 w 12192185"/>
              <a:gd name="connsiteY4431" fmla="*/ 4251335 h 6859062"/>
              <a:gd name="connsiteX4432" fmla="*/ 1135460 w 12192185"/>
              <a:gd name="connsiteY4432" fmla="*/ 4255723 h 6859062"/>
              <a:gd name="connsiteX4433" fmla="*/ 1137498 w 12192185"/>
              <a:gd name="connsiteY4433" fmla="*/ 4265676 h 6859062"/>
              <a:gd name="connsiteX4434" fmla="*/ 1150033 w 12192185"/>
              <a:gd name="connsiteY4434" fmla="*/ 4306665 h 6859062"/>
              <a:gd name="connsiteX4435" fmla="*/ 1147682 w 12192185"/>
              <a:gd name="connsiteY4435" fmla="*/ 4315442 h 6859062"/>
              <a:gd name="connsiteX4436" fmla="*/ 1146506 w 12192185"/>
              <a:gd name="connsiteY4436" fmla="*/ 4319832 h 6859062"/>
              <a:gd name="connsiteX4437" fmla="*/ 1144154 w 12192185"/>
              <a:gd name="connsiteY4437" fmla="*/ 4328609 h 6859062"/>
              <a:gd name="connsiteX4438" fmla="*/ 1148541 w 12192185"/>
              <a:gd name="connsiteY4438" fmla="*/ 4329785 h 6859062"/>
              <a:gd name="connsiteX4439" fmla="*/ 1152931 w 12192185"/>
              <a:gd name="connsiteY4439" fmla="*/ 4330961 h 6859062"/>
              <a:gd name="connsiteX4440" fmla="*/ 1161393 w 12192185"/>
              <a:gd name="connsiteY4440" fmla="*/ 4352045 h 6859062"/>
              <a:gd name="connsiteX4441" fmla="*/ 1167504 w 12192185"/>
              <a:gd name="connsiteY4441" fmla="*/ 4381903 h 6859062"/>
              <a:gd name="connsiteX4442" fmla="*/ 1166328 w 12192185"/>
              <a:gd name="connsiteY4442" fmla="*/ 4386292 h 6859062"/>
              <a:gd name="connsiteX4443" fmla="*/ 1165152 w 12192185"/>
              <a:gd name="connsiteY4443" fmla="*/ 4390680 h 6859062"/>
              <a:gd name="connsiteX4444" fmla="*/ 1173615 w 12192185"/>
              <a:gd name="connsiteY4444" fmla="*/ 4411764 h 6859062"/>
              <a:gd name="connsiteX4445" fmla="*/ 1170402 w 12192185"/>
              <a:gd name="connsiteY4445" fmla="*/ 4406199 h 6859062"/>
              <a:gd name="connsiteX4446" fmla="*/ 1169226 w 12192185"/>
              <a:gd name="connsiteY4446" fmla="*/ 4410588 h 6859062"/>
              <a:gd name="connsiteX4447" fmla="*/ 1172439 w 12192185"/>
              <a:gd name="connsiteY4447" fmla="*/ 4416153 h 6859062"/>
              <a:gd name="connsiteX4448" fmla="*/ 1175651 w 12192185"/>
              <a:gd name="connsiteY4448" fmla="*/ 4421717 h 6859062"/>
              <a:gd name="connsiteX4449" fmla="*/ 1176512 w 12192185"/>
              <a:gd name="connsiteY4449" fmla="*/ 4436059 h 6859062"/>
              <a:gd name="connsiteX4450" fmla="*/ 1182936 w 12192185"/>
              <a:gd name="connsiteY4450" fmla="*/ 4447190 h 6859062"/>
              <a:gd name="connsiteX4451" fmla="*/ 1175336 w 12192185"/>
              <a:gd name="connsiteY4451" fmla="*/ 4440449 h 6859062"/>
              <a:gd name="connsiteX4452" fmla="*/ 1184974 w 12192185"/>
              <a:gd name="connsiteY4452" fmla="*/ 4457141 h 6859062"/>
              <a:gd name="connsiteX4453" fmla="*/ 1192260 w 12192185"/>
              <a:gd name="connsiteY4453" fmla="*/ 4482614 h 6859062"/>
              <a:gd name="connsiteX4454" fmla="*/ 1179095 w 12192185"/>
              <a:gd name="connsiteY4454" fmla="*/ 4479085 h 6859062"/>
              <a:gd name="connsiteX4455" fmla="*/ 1191946 w 12192185"/>
              <a:gd name="connsiteY4455" fmla="*/ 4501343 h 6859062"/>
              <a:gd name="connsiteX4456" fmla="*/ 1187556 w 12192185"/>
              <a:gd name="connsiteY4456" fmla="*/ 4500168 h 6859062"/>
              <a:gd name="connsiteX4457" fmla="*/ 1186381 w 12192185"/>
              <a:gd name="connsiteY4457" fmla="*/ 4504557 h 6859062"/>
              <a:gd name="connsiteX4458" fmla="*/ 1189595 w 12192185"/>
              <a:gd name="connsiteY4458" fmla="*/ 4510122 h 6859062"/>
              <a:gd name="connsiteX4459" fmla="*/ 1199232 w 12192185"/>
              <a:gd name="connsiteY4459" fmla="*/ 4526816 h 6859062"/>
              <a:gd name="connsiteX4460" fmla="*/ 1201270 w 12192185"/>
              <a:gd name="connsiteY4460" fmla="*/ 4536768 h 6859062"/>
              <a:gd name="connsiteX4461" fmla="*/ 1204483 w 12192185"/>
              <a:gd name="connsiteY4461" fmla="*/ 4542334 h 6859062"/>
              <a:gd name="connsiteX4462" fmla="*/ 1205658 w 12192185"/>
              <a:gd name="connsiteY4462" fmla="*/ 4537945 h 6859062"/>
              <a:gd name="connsiteX4463" fmla="*/ 1206834 w 12192185"/>
              <a:gd name="connsiteY4463" fmla="*/ 4533557 h 6859062"/>
              <a:gd name="connsiteX4464" fmla="*/ 1219369 w 12192185"/>
              <a:gd name="connsiteY4464" fmla="*/ 4574546 h 6859062"/>
              <a:gd name="connsiteX4465" fmla="*/ 1207380 w 12192185"/>
              <a:gd name="connsiteY4465" fmla="*/ 4566629 h 6859062"/>
              <a:gd name="connsiteX4466" fmla="*/ 1226656 w 12192185"/>
              <a:gd name="connsiteY4466" fmla="*/ 4600018 h 6859062"/>
              <a:gd name="connsiteX4467" fmla="*/ 1239192 w 12192185"/>
              <a:gd name="connsiteY4467" fmla="*/ 4641007 h 6859062"/>
              <a:gd name="connsiteX4468" fmla="*/ 1235979 w 12192185"/>
              <a:gd name="connsiteY4468" fmla="*/ 4635441 h 6859062"/>
              <a:gd name="connsiteX4469" fmla="*/ 1231591 w 12192185"/>
              <a:gd name="connsiteY4469" fmla="*/ 4634266 h 6859062"/>
              <a:gd name="connsiteX4470" fmla="*/ 1227201 w 12192185"/>
              <a:gd name="connsiteY4470" fmla="*/ 4633090 h 6859062"/>
              <a:gd name="connsiteX4471" fmla="*/ 1229238 w 12192185"/>
              <a:gd name="connsiteY4471" fmla="*/ 4643044 h 6859062"/>
              <a:gd name="connsiteX4472" fmla="*/ 1224851 w 12192185"/>
              <a:gd name="connsiteY4472" fmla="*/ 4641868 h 6859062"/>
              <a:gd name="connsiteX4473" fmla="*/ 1221636 w 12192185"/>
              <a:gd name="connsiteY4473" fmla="*/ 4636303 h 6859062"/>
              <a:gd name="connsiteX4474" fmla="*/ 1222813 w 12192185"/>
              <a:gd name="connsiteY4474" fmla="*/ 4631914 h 6859062"/>
              <a:gd name="connsiteX4475" fmla="*/ 1219601 w 12192185"/>
              <a:gd name="connsiteY4475" fmla="*/ 4626351 h 6859062"/>
              <a:gd name="connsiteX4476" fmla="*/ 1216388 w 12192185"/>
              <a:gd name="connsiteY4476" fmla="*/ 4620785 h 6859062"/>
              <a:gd name="connsiteX4477" fmla="*/ 1166244 w 12192185"/>
              <a:gd name="connsiteY4477" fmla="*/ 4456826 h 6859062"/>
              <a:gd name="connsiteX4478" fmla="*/ 1167419 w 12192185"/>
              <a:gd name="connsiteY4478" fmla="*/ 4452437 h 6859062"/>
              <a:gd name="connsiteX4479" fmla="*/ 1164208 w 12192185"/>
              <a:gd name="connsiteY4479" fmla="*/ 4446875 h 6859062"/>
              <a:gd name="connsiteX4480" fmla="*/ 1153709 w 12192185"/>
              <a:gd name="connsiteY4480" fmla="*/ 4415837 h 6859062"/>
              <a:gd name="connsiteX4481" fmla="*/ 1152847 w 12192185"/>
              <a:gd name="connsiteY4481" fmla="*/ 4401495 h 6859062"/>
              <a:gd name="connsiteX4482" fmla="*/ 1149633 w 12192185"/>
              <a:gd name="connsiteY4482" fmla="*/ 4395931 h 6859062"/>
              <a:gd name="connsiteX4483" fmla="*/ 1135922 w 12192185"/>
              <a:gd name="connsiteY4483" fmla="*/ 4359331 h 6859062"/>
              <a:gd name="connsiteX4484" fmla="*/ 1132709 w 12192185"/>
              <a:gd name="connsiteY4484" fmla="*/ 4353765 h 6859062"/>
              <a:gd name="connsiteX4485" fmla="*/ 1136237 w 12192185"/>
              <a:gd name="connsiteY4485" fmla="*/ 4340599 h 6859062"/>
              <a:gd name="connsiteX4486" fmla="*/ 1122525 w 12192185"/>
              <a:gd name="connsiteY4486" fmla="*/ 4303999 h 6859062"/>
              <a:gd name="connsiteX4487" fmla="*/ 1119313 w 12192185"/>
              <a:gd name="connsiteY4487" fmla="*/ 4298434 h 6859062"/>
              <a:gd name="connsiteX4488" fmla="*/ 1120488 w 12192185"/>
              <a:gd name="connsiteY4488" fmla="*/ 4294045 h 6859062"/>
              <a:gd name="connsiteX4489" fmla="*/ 1096361 w 12192185"/>
              <a:gd name="connsiteY4489" fmla="*/ 4155872 h 6859062"/>
              <a:gd name="connsiteX4490" fmla="*/ 1091113 w 12192185"/>
              <a:gd name="connsiteY4490" fmla="*/ 4140355 h 6859062"/>
              <a:gd name="connsiteX4491" fmla="*/ 1094640 w 12192185"/>
              <a:gd name="connsiteY4491" fmla="*/ 4127188 h 6859062"/>
              <a:gd name="connsiteX4492" fmla="*/ 1085862 w 12192185"/>
              <a:gd name="connsiteY4492" fmla="*/ 4124836 h 6859062"/>
              <a:gd name="connsiteX4493" fmla="*/ 1083826 w 12192185"/>
              <a:gd name="connsiteY4493" fmla="*/ 4114884 h 6859062"/>
              <a:gd name="connsiteX4494" fmla="*/ 1078345 w 12192185"/>
              <a:gd name="connsiteY4494" fmla="*/ 4047561 h 6859062"/>
              <a:gd name="connsiteX4495" fmla="*/ 1079521 w 12192185"/>
              <a:gd name="connsiteY4495" fmla="*/ 4043174 h 6859062"/>
              <a:gd name="connsiteX4496" fmla="*/ 1081873 w 12192185"/>
              <a:gd name="connsiteY4496" fmla="*/ 4034397 h 6859062"/>
              <a:gd name="connsiteX4497" fmla="*/ 1077484 w 12192185"/>
              <a:gd name="connsiteY4497" fmla="*/ 4033220 h 6859062"/>
              <a:gd name="connsiteX4498" fmla="*/ 1064402 w 12192185"/>
              <a:gd name="connsiteY4498" fmla="*/ 3959157 h 6859062"/>
              <a:gd name="connsiteX4499" fmla="*/ 1052811 w 12192185"/>
              <a:gd name="connsiteY4499" fmla="*/ 3861976 h 6859062"/>
              <a:gd name="connsiteX4500" fmla="*/ 1048192 w 12192185"/>
              <a:gd name="connsiteY4500" fmla="*/ 3808995 h 6859062"/>
              <a:gd name="connsiteX4501" fmla="*/ 1049368 w 12192185"/>
              <a:gd name="connsiteY4501" fmla="*/ 3804606 h 6859062"/>
              <a:gd name="connsiteX4502" fmla="*/ 1050544 w 12192185"/>
              <a:gd name="connsiteY4502" fmla="*/ 3800218 h 6859062"/>
              <a:gd name="connsiteX4503" fmla="*/ 1051720 w 12192185"/>
              <a:gd name="connsiteY4503" fmla="*/ 3795829 h 6859062"/>
              <a:gd name="connsiteX4504" fmla="*/ 1047332 w 12192185"/>
              <a:gd name="connsiteY4504" fmla="*/ 3794654 h 6859062"/>
              <a:gd name="connsiteX4505" fmla="*/ 1039730 w 12192185"/>
              <a:gd name="connsiteY4505" fmla="*/ 3787912 h 6859062"/>
              <a:gd name="connsiteX4506" fmla="*/ 1039185 w 12192185"/>
              <a:gd name="connsiteY4506" fmla="*/ 3754841 h 6859062"/>
              <a:gd name="connsiteX4507" fmla="*/ 1032759 w 12192185"/>
              <a:gd name="connsiteY4507" fmla="*/ 3743710 h 6859062"/>
              <a:gd name="connsiteX4508" fmla="*/ 1040591 w 12192185"/>
              <a:gd name="connsiteY4508" fmla="*/ 3802254 h 6859062"/>
              <a:gd name="connsiteX4509" fmla="*/ 1038239 w 12192185"/>
              <a:gd name="connsiteY4509" fmla="*/ 3811032 h 6859062"/>
              <a:gd name="connsiteX4510" fmla="*/ 1041452 w 12192185"/>
              <a:gd name="connsiteY4510" fmla="*/ 3816598 h 6859062"/>
              <a:gd name="connsiteX4511" fmla="*/ 1044581 w 12192185"/>
              <a:gd name="connsiteY4511" fmla="*/ 3892697 h 6859062"/>
              <a:gd name="connsiteX4512" fmla="*/ 1062511 w 12192185"/>
              <a:gd name="connsiteY4512" fmla="*/ 4071543 h 6859062"/>
              <a:gd name="connsiteX4513" fmla="*/ 1087185 w 12192185"/>
              <a:gd name="connsiteY4513" fmla="*/ 4242788 h 6859062"/>
              <a:gd name="connsiteX4514" fmla="*/ 1094470 w 12192185"/>
              <a:gd name="connsiteY4514" fmla="*/ 4268258 h 6859062"/>
              <a:gd name="connsiteX4515" fmla="*/ 1117737 w 12192185"/>
              <a:gd name="connsiteY4515" fmla="*/ 4392087 h 6859062"/>
              <a:gd name="connsiteX4516" fmla="*/ 1130272 w 12192185"/>
              <a:gd name="connsiteY4516" fmla="*/ 4433077 h 6859062"/>
              <a:gd name="connsiteX4517" fmla="*/ 1158558 w 12192185"/>
              <a:gd name="connsiteY4517" fmla="*/ 4520621 h 6859062"/>
              <a:gd name="connsiteX4518" fmla="*/ 1207841 w 12192185"/>
              <a:gd name="connsiteY4518" fmla="*/ 4670237 h 6859062"/>
              <a:gd name="connsiteX4519" fmla="*/ 1223905 w 12192185"/>
              <a:gd name="connsiteY4519" fmla="*/ 4698060 h 6859062"/>
              <a:gd name="connsiteX4520" fmla="*/ 1235264 w 12192185"/>
              <a:gd name="connsiteY4520" fmla="*/ 4743438 h 6859062"/>
              <a:gd name="connsiteX4521" fmla="*/ 1242867 w 12192185"/>
              <a:gd name="connsiteY4521" fmla="*/ 4750180 h 6859062"/>
              <a:gd name="connsiteX4522" fmla="*/ 1270290 w 12192185"/>
              <a:gd name="connsiteY4522" fmla="*/ 4823381 h 6859062"/>
              <a:gd name="connsiteX4523" fmla="*/ 1285493 w 12192185"/>
              <a:gd name="connsiteY4523" fmla="*/ 4836862 h 6859062"/>
              <a:gd name="connsiteX4524" fmla="*/ 1289567 w 12192185"/>
              <a:gd name="connsiteY4524" fmla="*/ 4856770 h 6859062"/>
              <a:gd name="connsiteX4525" fmla="*/ 1383598 w 12192185"/>
              <a:gd name="connsiteY4525" fmla="*/ 5032486 h 6859062"/>
              <a:gd name="connsiteX4526" fmla="*/ 1424188 w 12192185"/>
              <a:gd name="connsiteY4526" fmla="*/ 5109216 h 6859062"/>
              <a:gd name="connsiteX4527" fmla="*/ 1452243 w 12192185"/>
              <a:gd name="connsiteY4527" fmla="*/ 5144956 h 6859062"/>
              <a:gd name="connsiteX4528" fmla="*/ 1457491 w 12192185"/>
              <a:gd name="connsiteY4528" fmla="*/ 5160475 h 6859062"/>
              <a:gd name="connsiteX4529" fmla="*/ 1471520 w 12192185"/>
              <a:gd name="connsiteY4529" fmla="*/ 5178344 h 6859062"/>
              <a:gd name="connsiteX4530" fmla="*/ 1470343 w 12192185"/>
              <a:gd name="connsiteY4530" fmla="*/ 5182734 h 6859062"/>
              <a:gd name="connsiteX4531" fmla="*/ 1451927 w 12192185"/>
              <a:gd name="connsiteY4531" fmla="*/ 5163687 h 6859062"/>
              <a:gd name="connsiteX4532" fmla="*/ 1453103 w 12192185"/>
              <a:gd name="connsiteY4532" fmla="*/ 5159298 h 6859062"/>
              <a:gd name="connsiteX4533" fmla="*/ 1445502 w 12192185"/>
              <a:gd name="connsiteY4533" fmla="*/ 5152557 h 6859062"/>
              <a:gd name="connsiteX4534" fmla="*/ 1441112 w 12192185"/>
              <a:gd name="connsiteY4534" fmla="*/ 5151381 h 6859062"/>
              <a:gd name="connsiteX4535" fmla="*/ 1437901 w 12192185"/>
              <a:gd name="connsiteY4535" fmla="*/ 5145818 h 6859062"/>
              <a:gd name="connsiteX4536" fmla="*/ 1433513 w 12192185"/>
              <a:gd name="connsiteY4536" fmla="*/ 5144641 h 6859062"/>
              <a:gd name="connsiteX4537" fmla="*/ 1413059 w 12192185"/>
              <a:gd name="connsiteY4537" fmla="*/ 5115641 h 6859062"/>
              <a:gd name="connsiteX4538" fmla="*/ 1409846 w 12192185"/>
              <a:gd name="connsiteY4538" fmla="*/ 5110078 h 6859062"/>
              <a:gd name="connsiteX4539" fmla="*/ 1405458 w 12192185"/>
              <a:gd name="connsiteY4539" fmla="*/ 5108901 h 6859062"/>
              <a:gd name="connsiteX4540" fmla="*/ 1406634 w 12192185"/>
              <a:gd name="connsiteY4540" fmla="*/ 5104513 h 6859062"/>
              <a:gd name="connsiteX4541" fmla="*/ 1412199 w 12192185"/>
              <a:gd name="connsiteY4541" fmla="*/ 5101300 h 6859062"/>
              <a:gd name="connsiteX4542" fmla="*/ 1391431 w 12192185"/>
              <a:gd name="connsiteY4542" fmla="*/ 5091032 h 6859062"/>
              <a:gd name="connsiteX4543" fmla="*/ 1370118 w 12192185"/>
              <a:gd name="connsiteY4543" fmla="*/ 5047690 h 6859062"/>
              <a:gd name="connsiteX4544" fmla="*/ 1374506 w 12192185"/>
              <a:gd name="connsiteY4544" fmla="*/ 5048866 h 6859062"/>
              <a:gd name="connsiteX4545" fmla="*/ 1371293 w 12192185"/>
              <a:gd name="connsiteY4545" fmla="*/ 5043301 h 6859062"/>
              <a:gd name="connsiteX4546" fmla="*/ 1383283 w 12192185"/>
              <a:gd name="connsiteY4546" fmla="*/ 5051218 h 6859062"/>
              <a:gd name="connsiteX4547" fmla="*/ 1364867 w 12192185"/>
              <a:gd name="connsiteY4547" fmla="*/ 5032171 h 6859062"/>
              <a:gd name="connsiteX4548" fmla="*/ 1362831 w 12192185"/>
              <a:gd name="connsiteY4548" fmla="*/ 5022217 h 6859062"/>
              <a:gd name="connsiteX4549" fmla="*/ 1359618 w 12192185"/>
              <a:gd name="connsiteY4549" fmla="*/ 5016653 h 6859062"/>
              <a:gd name="connsiteX4550" fmla="*/ 1354053 w 12192185"/>
              <a:gd name="connsiteY4550" fmla="*/ 5019866 h 6859062"/>
              <a:gd name="connsiteX4551" fmla="*/ 1334776 w 12192185"/>
              <a:gd name="connsiteY4551" fmla="*/ 4986477 h 6859062"/>
              <a:gd name="connsiteX4552" fmla="*/ 1331564 w 12192185"/>
              <a:gd name="connsiteY4552" fmla="*/ 4980914 h 6859062"/>
              <a:gd name="connsiteX4553" fmla="*/ 1327174 w 12192185"/>
              <a:gd name="connsiteY4553" fmla="*/ 4979738 h 6859062"/>
              <a:gd name="connsiteX4554" fmla="*/ 1266133 w 12192185"/>
              <a:gd name="connsiteY4554" fmla="*/ 4874009 h 6859062"/>
              <a:gd name="connsiteX4555" fmla="*/ 1265272 w 12192185"/>
              <a:gd name="connsiteY4555" fmla="*/ 4859666 h 6859062"/>
              <a:gd name="connsiteX4556" fmla="*/ 1257670 w 12192185"/>
              <a:gd name="connsiteY4556" fmla="*/ 4852926 h 6859062"/>
              <a:gd name="connsiteX4557" fmla="*/ 1216219 w 12192185"/>
              <a:gd name="connsiteY4557" fmla="*/ 4761855 h 6859062"/>
              <a:gd name="connsiteX4558" fmla="*/ 1175945 w 12192185"/>
              <a:gd name="connsiteY4558" fmla="*/ 4666393 h 6859062"/>
              <a:gd name="connsiteX4559" fmla="*/ 1175083 w 12192185"/>
              <a:gd name="connsiteY4559" fmla="*/ 4652052 h 6859062"/>
              <a:gd name="connsiteX4560" fmla="*/ 1169519 w 12192185"/>
              <a:gd name="connsiteY4560" fmla="*/ 4655265 h 6859062"/>
              <a:gd name="connsiteX4561" fmla="*/ 1151733 w 12192185"/>
              <a:gd name="connsiteY4561" fmla="*/ 4598757 h 6859062"/>
              <a:gd name="connsiteX4562" fmla="*/ 1138021 w 12192185"/>
              <a:gd name="connsiteY4562" fmla="*/ 4562157 h 6859062"/>
              <a:gd name="connsiteX4563" fmla="*/ 1117023 w 12192185"/>
              <a:gd name="connsiteY4563" fmla="*/ 4500084 h 6859062"/>
              <a:gd name="connsiteX4564" fmla="*/ 1091951 w 12192185"/>
              <a:gd name="connsiteY4564" fmla="*/ 4418105 h 6859062"/>
              <a:gd name="connsiteX4565" fmla="*/ 1094302 w 12192185"/>
              <a:gd name="connsiteY4565" fmla="*/ 4409327 h 6859062"/>
              <a:gd name="connsiteX4566" fmla="*/ 1071583 w 12192185"/>
              <a:gd name="connsiteY4566" fmla="*/ 4318571 h 6859062"/>
              <a:gd name="connsiteX4567" fmla="*/ 1065158 w 12192185"/>
              <a:gd name="connsiteY4567" fmla="*/ 4307442 h 6859062"/>
              <a:gd name="connsiteX4568" fmla="*/ 1058186 w 12192185"/>
              <a:gd name="connsiteY4568" fmla="*/ 4263240 h 6859062"/>
              <a:gd name="connsiteX4569" fmla="*/ 1046511 w 12192185"/>
              <a:gd name="connsiteY4569" fmla="*/ 4236593 h 6859062"/>
              <a:gd name="connsiteX4570" fmla="*/ 1037271 w 12192185"/>
              <a:gd name="connsiteY4570" fmla="*/ 4130632 h 6859062"/>
              <a:gd name="connsiteX4571" fmla="*/ 1018709 w 12192185"/>
              <a:gd name="connsiteY4571" fmla="*/ 3989247 h 6859062"/>
              <a:gd name="connsiteX4572" fmla="*/ 1010562 w 12192185"/>
              <a:gd name="connsiteY4572" fmla="*/ 3949435 h 6859062"/>
              <a:gd name="connsiteX4573" fmla="*/ 1013775 w 12192185"/>
              <a:gd name="connsiteY4573" fmla="*/ 3955000 h 6859062"/>
              <a:gd name="connsiteX4574" fmla="*/ 1009155 w 12192185"/>
              <a:gd name="connsiteY4574" fmla="*/ 3902019 h 6859062"/>
              <a:gd name="connsiteX4575" fmla="*/ 1012683 w 12192185"/>
              <a:gd name="connsiteY4575" fmla="*/ 3888853 h 6859062"/>
              <a:gd name="connsiteX4576" fmla="*/ 1006427 w 12192185"/>
              <a:gd name="connsiteY4576" fmla="*/ 3736656 h 6859062"/>
              <a:gd name="connsiteX4577" fmla="*/ 1010815 w 12192185"/>
              <a:gd name="connsiteY4577" fmla="*/ 3737831 h 6859062"/>
              <a:gd name="connsiteX4578" fmla="*/ 1011991 w 12192185"/>
              <a:gd name="connsiteY4578" fmla="*/ 3733442 h 6859062"/>
              <a:gd name="connsiteX4579" fmla="*/ 1008780 w 12192185"/>
              <a:gd name="connsiteY4579" fmla="*/ 3727878 h 6859062"/>
              <a:gd name="connsiteX4580" fmla="*/ 1008548 w 12192185"/>
              <a:gd name="connsiteY4580" fmla="*/ 3676075 h 6859062"/>
              <a:gd name="connsiteX4581" fmla="*/ 1009723 w 12192185"/>
              <a:gd name="connsiteY4581" fmla="*/ 3671686 h 6859062"/>
              <a:gd name="connsiteX4582" fmla="*/ 1010899 w 12192185"/>
              <a:gd name="connsiteY4582" fmla="*/ 3667297 h 6859062"/>
              <a:gd name="connsiteX4583" fmla="*/ 1006511 w 12192185"/>
              <a:gd name="connsiteY4583" fmla="*/ 3666122 h 6859062"/>
              <a:gd name="connsiteX4584" fmla="*/ 1005335 w 12192185"/>
              <a:gd name="connsiteY4584" fmla="*/ 3670511 h 6859062"/>
              <a:gd name="connsiteX4585" fmla="*/ 1005650 w 12192185"/>
              <a:gd name="connsiteY4585" fmla="*/ 3651779 h 6859062"/>
              <a:gd name="connsiteX4586" fmla="*/ 997430 w 12192185"/>
              <a:gd name="connsiteY4586" fmla="*/ 3642962 h 6859062"/>
              <a:gd name="connsiteX4587" fmla="*/ 292153 w 12192185"/>
              <a:gd name="connsiteY4587" fmla="*/ 3621827 h 6859062"/>
              <a:gd name="connsiteX4588" fmla="*/ 295256 w 12192185"/>
              <a:gd name="connsiteY4588" fmla="*/ 3667352 h 6859062"/>
              <a:gd name="connsiteX4589" fmla="*/ 291316 w 12192185"/>
              <a:gd name="connsiteY4589" fmla="*/ 3718069 h 6859062"/>
              <a:gd name="connsiteX4590" fmla="*/ 280558 w 12192185"/>
              <a:gd name="connsiteY4590" fmla="*/ 3747728 h 6859062"/>
              <a:gd name="connsiteX4591" fmla="*/ 279732 w 12192185"/>
              <a:gd name="connsiteY4591" fmla="*/ 3792347 h 6859062"/>
              <a:gd name="connsiteX4592" fmla="*/ 280276 w 12192185"/>
              <a:gd name="connsiteY4592" fmla="*/ 3803967 h 6859062"/>
              <a:gd name="connsiteX4593" fmla="*/ 283491 w 12192185"/>
              <a:gd name="connsiteY4593" fmla="*/ 3800213 h 6859062"/>
              <a:gd name="connsiteX4594" fmla="*/ 284937 w 12192185"/>
              <a:gd name="connsiteY4594" fmla="*/ 3797799 h 6859062"/>
              <a:gd name="connsiteX4595" fmla="*/ 292754 w 12192185"/>
              <a:gd name="connsiteY4595" fmla="*/ 3791326 h 6859062"/>
              <a:gd name="connsiteX4596" fmla="*/ 294274 w 12192185"/>
              <a:gd name="connsiteY4596" fmla="*/ 3789611 h 6859062"/>
              <a:gd name="connsiteX4597" fmla="*/ 320720 w 12192185"/>
              <a:gd name="connsiteY4597" fmla="*/ 3789525 h 6859062"/>
              <a:gd name="connsiteX4598" fmla="*/ 320722 w 12192185"/>
              <a:gd name="connsiteY4598" fmla="*/ 3789526 h 6859062"/>
              <a:gd name="connsiteX4599" fmla="*/ 333487 w 12192185"/>
              <a:gd name="connsiteY4599" fmla="*/ 3796670 h 6859062"/>
              <a:gd name="connsiteX4600" fmla="*/ 338218 w 12192185"/>
              <a:gd name="connsiteY4600" fmla="*/ 3799992 h 6859062"/>
              <a:gd name="connsiteX4601" fmla="*/ 341356 w 12192185"/>
              <a:gd name="connsiteY4601" fmla="*/ 3804328 h 6859062"/>
              <a:gd name="connsiteX4602" fmla="*/ 342756 w 12192185"/>
              <a:gd name="connsiteY4602" fmla="*/ 3808281 h 6859062"/>
              <a:gd name="connsiteX4603" fmla="*/ 345991 w 12192185"/>
              <a:gd name="connsiteY4603" fmla="*/ 3816284 h 6859062"/>
              <a:gd name="connsiteX4604" fmla="*/ 347415 w 12192185"/>
              <a:gd name="connsiteY4604" fmla="*/ 3819103 h 6859062"/>
              <a:gd name="connsiteX4605" fmla="*/ 350674 w 12192185"/>
              <a:gd name="connsiteY4605" fmla="*/ 3825972 h 6859062"/>
              <a:gd name="connsiteX4606" fmla="*/ 343996 w 12192185"/>
              <a:gd name="connsiteY4606" fmla="*/ 3844768 h 6859062"/>
              <a:gd name="connsiteX4607" fmla="*/ 335673 w 12192185"/>
              <a:gd name="connsiteY4607" fmla="*/ 3850447 h 6859062"/>
              <a:gd name="connsiteX4608" fmla="*/ 316588 w 12192185"/>
              <a:gd name="connsiteY4608" fmla="*/ 3857395 h 6859062"/>
              <a:gd name="connsiteX4609" fmla="*/ 310555 w 12192185"/>
              <a:gd name="connsiteY4609" fmla="*/ 3857886 h 6859062"/>
              <a:gd name="connsiteX4610" fmla="*/ 310554 w 12192185"/>
              <a:gd name="connsiteY4610" fmla="*/ 3857886 h 6859062"/>
              <a:gd name="connsiteX4611" fmla="*/ 302808 w 12192185"/>
              <a:gd name="connsiteY4611" fmla="*/ 3856860 h 6859062"/>
              <a:gd name="connsiteX4612" fmla="*/ 296920 w 12192185"/>
              <a:gd name="connsiteY4612" fmla="*/ 3854649 h 6859062"/>
              <a:gd name="connsiteX4613" fmla="*/ 285770 w 12192185"/>
              <a:gd name="connsiteY4613" fmla="*/ 3845356 h 6859062"/>
              <a:gd name="connsiteX4614" fmla="*/ 278554 w 12192185"/>
              <a:gd name="connsiteY4614" fmla="*/ 3839892 h 6859062"/>
              <a:gd name="connsiteX4615" fmla="*/ 277597 w 12192185"/>
              <a:gd name="connsiteY4615" fmla="*/ 3838391 h 6859062"/>
              <a:gd name="connsiteX4616" fmla="*/ 277581 w 12192185"/>
              <a:gd name="connsiteY4616" fmla="*/ 3838487 h 6859062"/>
              <a:gd name="connsiteX4617" fmla="*/ 276083 w 12192185"/>
              <a:gd name="connsiteY4617" fmla="*/ 3859693 h 6859062"/>
              <a:gd name="connsiteX4618" fmla="*/ 283051 w 12192185"/>
              <a:gd name="connsiteY4618" fmla="*/ 3863252 h 6859062"/>
              <a:gd name="connsiteX4619" fmla="*/ 285545 w 12192185"/>
              <a:gd name="connsiteY4619" fmla="*/ 3978777 h 6859062"/>
              <a:gd name="connsiteX4620" fmla="*/ 287963 w 12192185"/>
              <a:gd name="connsiteY4620" fmla="*/ 4103052 h 6859062"/>
              <a:gd name="connsiteX4621" fmla="*/ 280919 w 12192185"/>
              <a:gd name="connsiteY4621" fmla="*/ 4108242 h 6859062"/>
              <a:gd name="connsiteX4622" fmla="*/ 299282 w 12192185"/>
              <a:gd name="connsiteY4622" fmla="*/ 4209903 h 6859062"/>
              <a:gd name="connsiteX4623" fmla="*/ 304015 w 12192185"/>
              <a:gd name="connsiteY4623" fmla="*/ 4269444 h 6859062"/>
              <a:gd name="connsiteX4624" fmla="*/ 309279 w 12192185"/>
              <a:gd name="connsiteY4624" fmla="*/ 4267738 h 6859062"/>
              <a:gd name="connsiteX4625" fmla="*/ 319274 w 12192185"/>
              <a:gd name="connsiteY4625" fmla="*/ 4325577 h 6859062"/>
              <a:gd name="connsiteX4626" fmla="*/ 313857 w 12192185"/>
              <a:gd name="connsiteY4626" fmla="*/ 4344781 h 6859062"/>
              <a:gd name="connsiteX4627" fmla="*/ 287840 w 12192185"/>
              <a:gd name="connsiteY4627" fmla="*/ 4318306 h 6859062"/>
              <a:gd name="connsiteX4628" fmla="*/ 313171 w 12192185"/>
              <a:gd name="connsiteY4628" fmla="*/ 4423528 h 6859062"/>
              <a:gd name="connsiteX4629" fmla="*/ 314951 w 12192185"/>
              <a:gd name="connsiteY4629" fmla="*/ 4420044 h 6859062"/>
              <a:gd name="connsiteX4630" fmla="*/ 315028 w 12192185"/>
              <a:gd name="connsiteY4630" fmla="*/ 4411293 h 6859062"/>
              <a:gd name="connsiteX4631" fmla="*/ 318436 w 12192185"/>
              <a:gd name="connsiteY4631" fmla="*/ 4421822 h 6859062"/>
              <a:gd name="connsiteX4632" fmla="*/ 325176 w 12192185"/>
              <a:gd name="connsiteY4632" fmla="*/ 4451632 h 6859062"/>
              <a:gd name="connsiteX4633" fmla="*/ 330365 w 12192185"/>
              <a:gd name="connsiteY4633" fmla="*/ 4458676 h 6859062"/>
              <a:gd name="connsiteX4634" fmla="*/ 328583 w 12192185"/>
              <a:gd name="connsiteY4634" fmla="*/ 4462160 h 6859062"/>
              <a:gd name="connsiteX4635" fmla="*/ 326802 w 12192185"/>
              <a:gd name="connsiteY4635" fmla="*/ 4465646 h 6859062"/>
              <a:gd name="connsiteX4636" fmla="*/ 325100 w 12192185"/>
              <a:gd name="connsiteY4636" fmla="*/ 4460381 h 6859062"/>
              <a:gd name="connsiteX4637" fmla="*/ 335552 w 12192185"/>
              <a:gd name="connsiteY4637" fmla="*/ 4465721 h 6859062"/>
              <a:gd name="connsiteX4638" fmla="*/ 344224 w 12192185"/>
              <a:gd name="connsiteY4638" fmla="*/ 4474545 h 6859062"/>
              <a:gd name="connsiteX4639" fmla="*/ 349640 w 12192185"/>
              <a:gd name="connsiteY4639" fmla="*/ 4455341 h 6859062"/>
              <a:gd name="connsiteX4640" fmla="*/ 368538 w 12192185"/>
              <a:gd name="connsiteY4640" fmla="*/ 4495754 h 6859062"/>
              <a:gd name="connsiteX4641" fmla="*/ 380390 w 12192185"/>
              <a:gd name="connsiteY4641" fmla="*/ 4541357 h 6859062"/>
              <a:gd name="connsiteX4642" fmla="*/ 359637 w 12192185"/>
              <a:gd name="connsiteY4642" fmla="*/ 4513178 h 6859062"/>
              <a:gd name="connsiteX4643" fmla="*/ 357705 w 12192185"/>
              <a:gd name="connsiteY4643" fmla="*/ 4534163 h 6859062"/>
              <a:gd name="connsiteX4644" fmla="*/ 368005 w 12192185"/>
              <a:gd name="connsiteY4644" fmla="*/ 4557002 h 6859062"/>
              <a:gd name="connsiteX4645" fmla="*/ 436242 w 12192185"/>
              <a:gd name="connsiteY4645" fmla="*/ 4758842 h 6859062"/>
              <a:gd name="connsiteX4646" fmla="*/ 449950 w 12192185"/>
              <a:gd name="connsiteY4646" fmla="*/ 4792211 h 6859062"/>
              <a:gd name="connsiteX4647" fmla="*/ 454797 w 12192185"/>
              <a:gd name="connsiteY4647" fmla="*/ 4807046 h 6859062"/>
              <a:gd name="connsiteX4648" fmla="*/ 456109 w 12192185"/>
              <a:gd name="connsiteY4648" fmla="*/ 4810705 h 6859062"/>
              <a:gd name="connsiteX4649" fmla="*/ 457393 w 12192185"/>
              <a:gd name="connsiteY4649" fmla="*/ 4810322 h 6859062"/>
              <a:gd name="connsiteX4650" fmla="*/ 470593 w 12192185"/>
              <a:gd name="connsiteY4650" fmla="*/ 4804054 h 6859062"/>
              <a:gd name="connsiteX4651" fmla="*/ 474622 w 12192185"/>
              <a:gd name="connsiteY4651" fmla="*/ 4803631 h 6859062"/>
              <a:gd name="connsiteX4652" fmla="*/ 485112 w 12192185"/>
              <a:gd name="connsiteY4652" fmla="*/ 4800701 h 6859062"/>
              <a:gd name="connsiteX4653" fmla="*/ 490913 w 12192185"/>
              <a:gd name="connsiteY4653" fmla="*/ 4799685 h 6859062"/>
              <a:gd name="connsiteX4654" fmla="*/ 496993 w 12192185"/>
              <a:gd name="connsiteY4654" fmla="*/ 4803323 h 6859062"/>
              <a:gd name="connsiteX4655" fmla="*/ 516067 w 12192185"/>
              <a:gd name="connsiteY4655" fmla="*/ 4810483 h 6859062"/>
              <a:gd name="connsiteX4656" fmla="*/ 526490 w 12192185"/>
              <a:gd name="connsiteY4656" fmla="*/ 4816718 h 6859062"/>
              <a:gd name="connsiteX4657" fmla="*/ 529409 w 12192185"/>
              <a:gd name="connsiteY4657" fmla="*/ 4821297 h 6859062"/>
              <a:gd name="connsiteX4658" fmla="*/ 532156 w 12192185"/>
              <a:gd name="connsiteY4658" fmla="*/ 4834034 h 6859062"/>
              <a:gd name="connsiteX4659" fmla="*/ 537512 w 12192185"/>
              <a:gd name="connsiteY4659" fmla="*/ 4854235 h 6859062"/>
              <a:gd name="connsiteX4660" fmla="*/ 536819 w 12192185"/>
              <a:gd name="connsiteY4660" fmla="*/ 4863263 h 6859062"/>
              <a:gd name="connsiteX4661" fmla="*/ 533452 w 12192185"/>
              <a:gd name="connsiteY4661" fmla="*/ 4873996 h 6859062"/>
              <a:gd name="connsiteX4662" fmla="*/ 529146 w 12192185"/>
              <a:gd name="connsiteY4662" fmla="*/ 4881571 h 6859062"/>
              <a:gd name="connsiteX4663" fmla="*/ 508481 w 12192185"/>
              <a:gd name="connsiteY4663" fmla="*/ 4902258 h 6859062"/>
              <a:gd name="connsiteX4664" fmla="*/ 504407 w 12192185"/>
              <a:gd name="connsiteY4664" fmla="*/ 4905735 h 6859062"/>
              <a:gd name="connsiteX4665" fmla="*/ 513532 w 12192185"/>
              <a:gd name="connsiteY4665" fmla="*/ 4925759 h 6859062"/>
              <a:gd name="connsiteX4666" fmla="*/ 542653 w 12192185"/>
              <a:gd name="connsiteY4666" fmla="*/ 4997760 h 6859062"/>
              <a:gd name="connsiteX4667" fmla="*/ 553257 w 12192185"/>
              <a:gd name="connsiteY4667" fmla="*/ 4985600 h 6859062"/>
              <a:gd name="connsiteX4668" fmla="*/ 561930 w 12192185"/>
              <a:gd name="connsiteY4668" fmla="*/ 4994425 h 6859062"/>
              <a:gd name="connsiteX4669" fmla="*/ 575676 w 12192185"/>
              <a:gd name="connsiteY4669" fmla="*/ 5023418 h 6859062"/>
              <a:gd name="connsiteX4670" fmla="*/ 584840 w 12192185"/>
              <a:gd name="connsiteY4670" fmla="*/ 5042745 h 6859062"/>
              <a:gd name="connsiteX4671" fmla="*/ 586044 w 12192185"/>
              <a:gd name="connsiteY4671" fmla="*/ 5038089 h 6859062"/>
              <a:gd name="connsiteX4672" fmla="*/ 593786 w 12192185"/>
              <a:gd name="connsiteY4672" fmla="*/ 5033172 h 6859062"/>
              <a:gd name="connsiteX4673" fmla="*/ 600742 w 12192185"/>
              <a:gd name="connsiteY4673" fmla="*/ 5032471 h 6859062"/>
              <a:gd name="connsiteX4674" fmla="*/ 619867 w 12192185"/>
              <a:gd name="connsiteY4674" fmla="*/ 5028471 h 6859062"/>
              <a:gd name="connsiteX4675" fmla="*/ 633922 w 12192185"/>
              <a:gd name="connsiteY4675" fmla="*/ 5031254 h 6859062"/>
              <a:gd name="connsiteX4676" fmla="*/ 636194 w 12192185"/>
              <a:gd name="connsiteY4676" fmla="*/ 5032388 h 6859062"/>
              <a:gd name="connsiteX4677" fmla="*/ 645744 w 12192185"/>
              <a:gd name="connsiteY4677" fmla="*/ 5039510 h 6859062"/>
              <a:gd name="connsiteX4678" fmla="*/ 649176 w 12192185"/>
              <a:gd name="connsiteY4678" fmla="*/ 5041908 h 6859062"/>
              <a:gd name="connsiteX4679" fmla="*/ 655812 w 12192185"/>
              <a:gd name="connsiteY4679" fmla="*/ 5056297 h 6859062"/>
              <a:gd name="connsiteX4680" fmla="*/ 658947 w 12192185"/>
              <a:gd name="connsiteY4680" fmla="*/ 5069037 h 6859062"/>
              <a:gd name="connsiteX4681" fmla="*/ 661481 w 12192185"/>
              <a:gd name="connsiteY4681" fmla="*/ 5072396 h 6859062"/>
              <a:gd name="connsiteX4682" fmla="*/ 664850 w 12192185"/>
              <a:gd name="connsiteY4682" fmla="*/ 5072934 h 6859062"/>
              <a:gd name="connsiteX4683" fmla="*/ 667170 w 12192185"/>
              <a:gd name="connsiteY4683" fmla="*/ 5075461 h 6859062"/>
              <a:gd name="connsiteX4684" fmla="*/ 663981 w 12192185"/>
              <a:gd name="connsiteY4684" fmla="*/ 5077431 h 6859062"/>
              <a:gd name="connsiteX4685" fmla="*/ 662022 w 12192185"/>
              <a:gd name="connsiteY4685" fmla="*/ 5077310 h 6859062"/>
              <a:gd name="connsiteX4686" fmla="*/ 656219 w 12192185"/>
              <a:gd name="connsiteY4686" fmla="*/ 5084488 h 6859062"/>
              <a:gd name="connsiteX4687" fmla="*/ 657244 w 12192185"/>
              <a:gd name="connsiteY4687" fmla="*/ 5087247 h 6859062"/>
              <a:gd name="connsiteX4688" fmla="*/ 656924 w 12192185"/>
              <a:gd name="connsiteY4688" fmla="*/ 5091447 h 6859062"/>
              <a:gd name="connsiteX4689" fmla="*/ 653205 w 12192185"/>
              <a:gd name="connsiteY4689" fmla="*/ 5091573 h 6859062"/>
              <a:gd name="connsiteX4690" fmla="*/ 648919 w 12192185"/>
              <a:gd name="connsiteY4690" fmla="*/ 5094137 h 6859062"/>
              <a:gd name="connsiteX4691" fmla="*/ 643279 w 12192185"/>
              <a:gd name="connsiteY4691" fmla="*/ 5103359 h 6859062"/>
              <a:gd name="connsiteX4692" fmla="*/ 641711 w 12192185"/>
              <a:gd name="connsiteY4692" fmla="*/ 5109183 h 6859062"/>
              <a:gd name="connsiteX4693" fmla="*/ 641707 w 12192185"/>
              <a:gd name="connsiteY4693" fmla="*/ 5111790 h 6859062"/>
              <a:gd name="connsiteX4694" fmla="*/ 639101 w 12192185"/>
              <a:gd name="connsiteY4694" fmla="*/ 5111785 h 6859062"/>
              <a:gd name="connsiteX4695" fmla="*/ 633095 w 12192185"/>
              <a:gd name="connsiteY4695" fmla="*/ 5110313 h 6859062"/>
              <a:gd name="connsiteX4696" fmla="*/ 623046 w 12192185"/>
              <a:gd name="connsiteY4696" fmla="*/ 5115773 h 6859062"/>
              <a:gd name="connsiteX4697" fmla="*/ 614817 w 12192185"/>
              <a:gd name="connsiteY4697" fmla="*/ 5125454 h 6859062"/>
              <a:gd name="connsiteX4698" fmla="*/ 610454 w 12192185"/>
              <a:gd name="connsiteY4698" fmla="*/ 5123088 h 6859062"/>
              <a:gd name="connsiteX4699" fmla="*/ 611475 w 12192185"/>
              <a:gd name="connsiteY4699" fmla="*/ 5117562 h 6859062"/>
              <a:gd name="connsiteX4700" fmla="*/ 609889 w 12192185"/>
              <a:gd name="connsiteY4700" fmla="*/ 5112030 h 6859062"/>
              <a:gd name="connsiteX4701" fmla="*/ 604722 w 12192185"/>
              <a:gd name="connsiteY4701" fmla="*/ 5116021 h 6859062"/>
              <a:gd name="connsiteX4702" fmla="*/ 604465 w 12192185"/>
              <a:gd name="connsiteY4702" fmla="*/ 5117025 h 6859062"/>
              <a:gd name="connsiteX4703" fmla="*/ 604607 w 12192185"/>
              <a:gd name="connsiteY4703" fmla="*/ 5117294 h 6859062"/>
              <a:gd name="connsiteX4704" fmla="*/ 638992 w 12192185"/>
              <a:gd name="connsiteY4704" fmla="*/ 5187592 h 6859062"/>
              <a:gd name="connsiteX4705" fmla="*/ 669483 w 12192185"/>
              <a:gd name="connsiteY4705" fmla="*/ 5233126 h 6859062"/>
              <a:gd name="connsiteX4706" fmla="*/ 670496 w 12192185"/>
              <a:gd name="connsiteY4706" fmla="*/ 5231672 h 6859062"/>
              <a:gd name="connsiteX4707" fmla="*/ 674636 w 12192185"/>
              <a:gd name="connsiteY4707" fmla="*/ 5229423 h 6859062"/>
              <a:gd name="connsiteX4708" fmla="*/ 685827 w 12192185"/>
              <a:gd name="connsiteY4708" fmla="*/ 5227816 h 6859062"/>
              <a:gd name="connsiteX4709" fmla="*/ 703633 w 12192185"/>
              <a:gd name="connsiteY4709" fmla="*/ 5224404 h 6859062"/>
              <a:gd name="connsiteX4710" fmla="*/ 711406 w 12192185"/>
              <a:gd name="connsiteY4710" fmla="*/ 5225551 h 6859062"/>
              <a:gd name="connsiteX4711" fmla="*/ 720490 w 12192185"/>
              <a:gd name="connsiteY4711" fmla="*/ 5229115 h 6859062"/>
              <a:gd name="connsiteX4712" fmla="*/ 726786 w 12192185"/>
              <a:gd name="connsiteY4712" fmla="*/ 5233299 h 6859062"/>
              <a:gd name="connsiteX4713" fmla="*/ 743439 w 12192185"/>
              <a:gd name="connsiteY4713" fmla="*/ 5252437 h 6859062"/>
              <a:gd name="connsiteX4714" fmla="*/ 749099 w 12192185"/>
              <a:gd name="connsiteY4714" fmla="*/ 5263678 h 6859062"/>
              <a:gd name="connsiteX4715" fmla="*/ 745029 w 12192185"/>
              <a:gd name="connsiteY4715" fmla="*/ 5288259 h 6859062"/>
              <a:gd name="connsiteX4716" fmla="*/ 737313 w 12192185"/>
              <a:gd name="connsiteY4716" fmla="*/ 5293794 h 6859062"/>
              <a:gd name="connsiteX4717" fmla="*/ 734051 w 12192185"/>
              <a:gd name="connsiteY4717" fmla="*/ 5296013 h 6859062"/>
              <a:gd name="connsiteX4718" fmla="*/ 725675 w 12192185"/>
              <a:gd name="connsiteY4718" fmla="*/ 5302801 h 6859062"/>
              <a:gd name="connsiteX4719" fmla="*/ 725536 w 12192185"/>
              <a:gd name="connsiteY4719" fmla="*/ 5302924 h 6859062"/>
              <a:gd name="connsiteX4720" fmla="*/ 728972 w 12192185"/>
              <a:gd name="connsiteY4720" fmla="*/ 5303864 h 6859062"/>
              <a:gd name="connsiteX4721" fmla="*/ 744536 w 12192185"/>
              <a:gd name="connsiteY4721" fmla="*/ 5324998 h 6859062"/>
              <a:gd name="connsiteX4722" fmla="*/ 730448 w 12192185"/>
              <a:gd name="connsiteY4722" fmla="*/ 5335378 h 6859062"/>
              <a:gd name="connsiteX4723" fmla="*/ 780625 w 12192185"/>
              <a:gd name="connsiteY4723" fmla="*/ 5400560 h 6859062"/>
              <a:gd name="connsiteX4724" fmla="*/ 845295 w 12192185"/>
              <a:gd name="connsiteY4724" fmla="*/ 5496952 h 6859062"/>
              <a:gd name="connsiteX4725" fmla="*/ 851325 w 12192185"/>
              <a:gd name="connsiteY4725" fmla="*/ 5487750 h 6859062"/>
              <a:gd name="connsiteX4726" fmla="*/ 854486 w 12192185"/>
              <a:gd name="connsiteY4726" fmla="*/ 5483857 h 6859062"/>
              <a:gd name="connsiteX4727" fmla="*/ 858429 w 12192185"/>
              <a:gd name="connsiteY4727" fmla="*/ 5481404 h 6859062"/>
              <a:gd name="connsiteX4728" fmla="*/ 861936 w 12192185"/>
              <a:gd name="connsiteY4728" fmla="*/ 5480431 h 6859062"/>
              <a:gd name="connsiteX4729" fmla="*/ 869057 w 12192185"/>
              <a:gd name="connsiteY4729" fmla="*/ 5478115 h 6859062"/>
              <a:gd name="connsiteX4730" fmla="*/ 871584 w 12192185"/>
              <a:gd name="connsiteY4730" fmla="*/ 5477054 h 6859062"/>
              <a:gd name="connsiteX4731" fmla="*/ 874191 w 12192185"/>
              <a:gd name="connsiteY4731" fmla="*/ 5474356 h 6859062"/>
              <a:gd name="connsiteX4732" fmla="*/ 874193 w 12192185"/>
              <a:gd name="connsiteY4732" fmla="*/ 5474355 h 6859062"/>
              <a:gd name="connsiteX4733" fmla="*/ 877728 w 12192185"/>
              <a:gd name="connsiteY4733" fmla="*/ 5474648 h 6859062"/>
              <a:gd name="connsiteX4734" fmla="*/ 893591 w 12192185"/>
              <a:gd name="connsiteY4734" fmla="*/ 5481568 h 6859062"/>
              <a:gd name="connsiteX4735" fmla="*/ 898002 w 12192185"/>
              <a:gd name="connsiteY4735" fmla="*/ 5489115 h 6859062"/>
              <a:gd name="connsiteX4736" fmla="*/ 902859 w 12192185"/>
              <a:gd name="connsiteY4736" fmla="*/ 5506053 h 6859062"/>
              <a:gd name="connsiteX4737" fmla="*/ 902919 w 12192185"/>
              <a:gd name="connsiteY4737" fmla="*/ 5511303 h 6859062"/>
              <a:gd name="connsiteX4738" fmla="*/ 901562 w 12192185"/>
              <a:gd name="connsiteY4738" fmla="*/ 5517945 h 6859062"/>
              <a:gd name="connsiteX4739" fmla="*/ 899292 w 12192185"/>
              <a:gd name="connsiteY4739" fmla="*/ 5522907 h 6859062"/>
              <a:gd name="connsiteX4740" fmla="*/ 890574 w 12192185"/>
              <a:gd name="connsiteY4740" fmla="*/ 5531994 h 6859062"/>
              <a:gd name="connsiteX4741" fmla="*/ 885408 w 12192185"/>
              <a:gd name="connsiteY4741" fmla="*/ 5537909 h 6859062"/>
              <a:gd name="connsiteX4742" fmla="*/ 882532 w 12192185"/>
              <a:gd name="connsiteY4742" fmla="*/ 5539472 h 6859062"/>
              <a:gd name="connsiteX4743" fmla="*/ 881121 w 12192185"/>
              <a:gd name="connsiteY4743" fmla="*/ 5539519 h 6859062"/>
              <a:gd name="connsiteX4744" fmla="*/ 941537 w 12192185"/>
              <a:gd name="connsiteY4744" fmla="*/ 5610194 h 6859062"/>
              <a:gd name="connsiteX4745" fmla="*/ 872005 w 12192185"/>
              <a:gd name="connsiteY4745" fmla="*/ 5557097 h 6859062"/>
              <a:gd name="connsiteX4746" fmla="*/ 853943 w 12192185"/>
              <a:gd name="connsiteY4746" fmla="*/ 5533774 h 6859062"/>
              <a:gd name="connsiteX4747" fmla="*/ 851364 w 12192185"/>
              <a:gd name="connsiteY4747" fmla="*/ 5531235 h 6859062"/>
              <a:gd name="connsiteX4748" fmla="*/ 849363 w 12192185"/>
              <a:gd name="connsiteY4748" fmla="*/ 5529835 h 6859062"/>
              <a:gd name="connsiteX4749" fmla="*/ 844234 w 12192185"/>
              <a:gd name="connsiteY4749" fmla="*/ 5522679 h 6859062"/>
              <a:gd name="connsiteX4750" fmla="*/ 842842 w 12192185"/>
              <a:gd name="connsiteY4750" fmla="*/ 5521260 h 6859062"/>
              <a:gd name="connsiteX4751" fmla="*/ 842953 w 12192185"/>
              <a:gd name="connsiteY4751" fmla="*/ 5519584 h 6859062"/>
              <a:gd name="connsiteX4752" fmla="*/ 827663 w 12192185"/>
              <a:gd name="connsiteY4752" fmla="*/ 5499841 h 6859062"/>
              <a:gd name="connsiteX4753" fmla="*/ 780846 w 12192185"/>
              <a:gd name="connsiteY4753" fmla="*/ 5447129 h 6859062"/>
              <a:gd name="connsiteX4754" fmla="*/ 780661 w 12192185"/>
              <a:gd name="connsiteY4754" fmla="*/ 5446717 h 6859062"/>
              <a:gd name="connsiteX4755" fmla="*/ 776761 w 12192185"/>
              <a:gd name="connsiteY4755" fmla="*/ 5442529 h 6859062"/>
              <a:gd name="connsiteX4756" fmla="*/ 780846 w 12192185"/>
              <a:gd name="connsiteY4756" fmla="*/ 5447129 h 6859062"/>
              <a:gd name="connsiteX4757" fmla="*/ 781948 w 12192185"/>
              <a:gd name="connsiteY4757" fmla="*/ 5449573 h 6859062"/>
              <a:gd name="connsiteX4758" fmla="*/ 771496 w 12192185"/>
              <a:gd name="connsiteY4758" fmla="*/ 5444233 h 6859062"/>
              <a:gd name="connsiteX4759" fmla="*/ 768011 w 12192185"/>
              <a:gd name="connsiteY4759" fmla="*/ 5442452 h 6859062"/>
              <a:gd name="connsiteX4760" fmla="*/ 845757 w 12192185"/>
              <a:gd name="connsiteY4760" fmla="*/ 5556872 h 6859062"/>
              <a:gd name="connsiteX4761" fmla="*/ 887264 w 12192185"/>
              <a:gd name="connsiteY4761" fmla="*/ 5613230 h 6859062"/>
              <a:gd name="connsiteX4762" fmla="*/ 823073 w 12192185"/>
              <a:gd name="connsiteY4762" fmla="*/ 5549678 h 6859062"/>
              <a:gd name="connsiteX4763" fmla="*/ 831822 w 12192185"/>
              <a:gd name="connsiteY4763" fmla="*/ 5549753 h 6859062"/>
              <a:gd name="connsiteX4764" fmla="*/ 800540 w 12192185"/>
              <a:gd name="connsiteY4764" fmla="*/ 5524985 h 6859062"/>
              <a:gd name="connsiteX4765" fmla="*/ 800693 w 12192185"/>
              <a:gd name="connsiteY4765" fmla="*/ 5507486 h 6859062"/>
              <a:gd name="connsiteX4766" fmla="*/ 747031 w 12192185"/>
              <a:gd name="connsiteY4766" fmla="*/ 5440524 h 6859062"/>
              <a:gd name="connsiteX4767" fmla="*/ 733170 w 12192185"/>
              <a:gd name="connsiteY4767" fmla="*/ 5424654 h 6859062"/>
              <a:gd name="connsiteX4768" fmla="*/ 624446 w 12192185"/>
              <a:gd name="connsiteY4768" fmla="*/ 5250468 h 6859062"/>
              <a:gd name="connsiteX4769" fmla="*/ 595173 w 12192185"/>
              <a:gd name="connsiteY4769" fmla="*/ 5195966 h 6859062"/>
              <a:gd name="connsiteX4770" fmla="*/ 581776 w 12192185"/>
              <a:gd name="connsiteY4770" fmla="*/ 5177039 h 6859062"/>
              <a:gd name="connsiteX4771" fmla="*/ 573961 w 12192185"/>
              <a:gd name="connsiteY4771" fmla="*/ 5169086 h 6859062"/>
              <a:gd name="connsiteX4772" fmla="*/ 571965 w 12192185"/>
              <a:gd name="connsiteY4772" fmla="*/ 5170283 h 6859062"/>
              <a:gd name="connsiteX4773" fmla="*/ 567639 w 12192185"/>
              <a:gd name="connsiteY4773" fmla="*/ 5177133 h 6859062"/>
              <a:gd name="connsiteX4774" fmla="*/ 567937 w 12192185"/>
              <a:gd name="connsiteY4774" fmla="*/ 5177680 h 6859062"/>
              <a:gd name="connsiteX4775" fmla="*/ 567631 w 12192185"/>
              <a:gd name="connsiteY4775" fmla="*/ 5182345 h 6859062"/>
              <a:gd name="connsiteX4776" fmla="*/ 564231 w 12192185"/>
              <a:gd name="connsiteY4776" fmla="*/ 5180878 h 6859062"/>
              <a:gd name="connsiteX4777" fmla="*/ 546289 w 12192185"/>
              <a:gd name="connsiteY4777" fmla="*/ 5181393 h 6859062"/>
              <a:gd name="connsiteX4778" fmla="*/ 540711 w 12192185"/>
              <a:gd name="connsiteY4778" fmla="*/ 5181581 h 6859062"/>
              <a:gd name="connsiteX4779" fmla="*/ 537461 w 12192185"/>
              <a:gd name="connsiteY4779" fmla="*/ 5179085 h 6859062"/>
              <a:gd name="connsiteX4780" fmla="*/ 533096 w 12192185"/>
              <a:gd name="connsiteY4780" fmla="*/ 5179326 h 6859062"/>
              <a:gd name="connsiteX4781" fmla="*/ 532379 w 12192185"/>
              <a:gd name="connsiteY4781" fmla="*/ 5180775 h 6859062"/>
              <a:gd name="connsiteX4782" fmla="*/ 510407 w 12192185"/>
              <a:gd name="connsiteY4782" fmla="*/ 5174207 h 6859062"/>
              <a:gd name="connsiteX4783" fmla="*/ 513337 w 12192185"/>
              <a:gd name="connsiteY4783" fmla="*/ 5173014 h 6859062"/>
              <a:gd name="connsiteX4784" fmla="*/ 515748 w 12192185"/>
              <a:gd name="connsiteY4784" fmla="*/ 5170046 h 6859062"/>
              <a:gd name="connsiteX4785" fmla="*/ 512681 w 12192185"/>
              <a:gd name="connsiteY4785" fmla="*/ 5167451 h 6859062"/>
              <a:gd name="connsiteX4786" fmla="*/ 509710 w 12192185"/>
              <a:gd name="connsiteY4786" fmla="*/ 5167645 h 6859062"/>
              <a:gd name="connsiteX4787" fmla="*/ 505817 w 12192185"/>
              <a:gd name="connsiteY4787" fmla="*/ 5162657 h 6859062"/>
              <a:gd name="connsiteX4788" fmla="*/ 506169 w 12192185"/>
              <a:gd name="connsiteY4788" fmla="*/ 5159387 h 6859062"/>
              <a:gd name="connsiteX4789" fmla="*/ 502718 w 12192185"/>
              <a:gd name="connsiteY4789" fmla="*/ 5159131 h 6859062"/>
              <a:gd name="connsiteX4790" fmla="*/ 500227 w 12192185"/>
              <a:gd name="connsiteY4790" fmla="*/ 5159774 h 6859062"/>
              <a:gd name="connsiteX4791" fmla="*/ 496889 w 12192185"/>
              <a:gd name="connsiteY4791" fmla="*/ 5159457 h 6859062"/>
              <a:gd name="connsiteX4792" fmla="*/ 496382 w 12192185"/>
              <a:gd name="connsiteY4792" fmla="*/ 5156181 h 6859062"/>
              <a:gd name="connsiteX4793" fmla="*/ 498403 w 12192185"/>
              <a:gd name="connsiteY4793" fmla="*/ 5147269 h 6859062"/>
              <a:gd name="connsiteX4794" fmla="*/ 495860 w 12192185"/>
              <a:gd name="connsiteY4794" fmla="*/ 5138232 h 6859062"/>
              <a:gd name="connsiteX4795" fmla="*/ 494739 w 12192185"/>
              <a:gd name="connsiteY4795" fmla="*/ 5132685 h 6859062"/>
              <a:gd name="connsiteX4796" fmla="*/ 493979 w 12192185"/>
              <a:gd name="connsiteY4796" fmla="*/ 5118655 h 6859062"/>
              <a:gd name="connsiteX4797" fmla="*/ 494447 w 12192185"/>
              <a:gd name="connsiteY4797" fmla="*/ 5116033 h 6859062"/>
              <a:gd name="connsiteX4798" fmla="*/ 512754 w 12192185"/>
              <a:gd name="connsiteY4798" fmla="*/ 5093537 h 6859062"/>
              <a:gd name="connsiteX4799" fmla="*/ 517039 w 12192185"/>
              <a:gd name="connsiteY4799" fmla="*/ 5090972 h 6859062"/>
              <a:gd name="connsiteX4800" fmla="*/ 529027 w 12192185"/>
              <a:gd name="connsiteY4800" fmla="*/ 5087773 h 6859062"/>
              <a:gd name="connsiteX4801" fmla="*/ 538957 w 12192185"/>
              <a:gd name="connsiteY4801" fmla="*/ 5084272 h 6859062"/>
              <a:gd name="connsiteX4802" fmla="*/ 542676 w 12192185"/>
              <a:gd name="connsiteY4802" fmla="*/ 5084146 h 6859062"/>
              <a:gd name="connsiteX4803" fmla="*/ 560622 w 12192185"/>
              <a:gd name="connsiteY4803" fmla="*/ 5087838 h 6859062"/>
              <a:gd name="connsiteX4804" fmla="*/ 511218 w 12192185"/>
              <a:gd name="connsiteY4804" fmla="*/ 4990490 h 6859062"/>
              <a:gd name="connsiteX4805" fmla="*/ 493949 w 12192185"/>
              <a:gd name="connsiteY4805" fmla="*/ 4964092 h 6859062"/>
              <a:gd name="connsiteX4806" fmla="*/ 479673 w 12192185"/>
              <a:gd name="connsiteY4806" fmla="*/ 4933180 h 6859062"/>
              <a:gd name="connsiteX4807" fmla="*/ 467533 w 12192185"/>
              <a:gd name="connsiteY4807" fmla="*/ 4906992 h 6859062"/>
              <a:gd name="connsiteX4808" fmla="*/ 467421 w 12192185"/>
              <a:gd name="connsiteY4808" fmla="*/ 4906969 h 6859062"/>
              <a:gd name="connsiteX4809" fmla="*/ 460436 w 12192185"/>
              <a:gd name="connsiteY4809" fmla="*/ 4898541 h 6859062"/>
              <a:gd name="connsiteX4810" fmla="*/ 457621 w 12192185"/>
              <a:gd name="connsiteY4810" fmla="*/ 4894970 h 6859062"/>
              <a:gd name="connsiteX4811" fmla="*/ 449144 w 12192185"/>
              <a:gd name="connsiteY4811" fmla="*/ 4885885 h 6859062"/>
              <a:gd name="connsiteX4812" fmla="*/ 444834 w 12192185"/>
              <a:gd name="connsiteY4812" fmla="*/ 4881655 h 6859062"/>
              <a:gd name="connsiteX4813" fmla="*/ 441081 w 12192185"/>
              <a:gd name="connsiteY4813" fmla="*/ 4874925 h 6859062"/>
              <a:gd name="connsiteX4814" fmla="*/ 439620 w 12192185"/>
              <a:gd name="connsiteY4814" fmla="*/ 4866733 h 6859062"/>
              <a:gd name="connsiteX4815" fmla="*/ 438492 w 12192185"/>
              <a:gd name="connsiteY4815" fmla="*/ 4851614 h 6859062"/>
              <a:gd name="connsiteX4816" fmla="*/ 428436 w 12192185"/>
              <a:gd name="connsiteY4816" fmla="*/ 4851528 h 6859062"/>
              <a:gd name="connsiteX4817" fmla="*/ 412870 w 12192185"/>
              <a:gd name="connsiteY4817" fmla="*/ 4830394 h 6859062"/>
              <a:gd name="connsiteX4818" fmla="*/ 414574 w 12192185"/>
              <a:gd name="connsiteY4818" fmla="*/ 4835659 h 6859062"/>
              <a:gd name="connsiteX4819" fmla="*/ 412794 w 12192185"/>
              <a:gd name="connsiteY4819" fmla="*/ 4839144 h 6859062"/>
              <a:gd name="connsiteX4820" fmla="*/ 409386 w 12192185"/>
              <a:gd name="connsiteY4820" fmla="*/ 4828614 h 6859062"/>
              <a:gd name="connsiteX4821" fmla="*/ 407683 w 12192185"/>
              <a:gd name="connsiteY4821" fmla="*/ 4823350 h 6859062"/>
              <a:gd name="connsiteX4822" fmla="*/ 380039 w 12192185"/>
              <a:gd name="connsiteY4822" fmla="*/ 4782861 h 6859062"/>
              <a:gd name="connsiteX4823" fmla="*/ 352773 w 12192185"/>
              <a:gd name="connsiteY4823" fmla="*/ 4698626 h 6859062"/>
              <a:gd name="connsiteX4824" fmla="*/ 363149 w 12192185"/>
              <a:gd name="connsiteY4824" fmla="*/ 4712715 h 6859062"/>
              <a:gd name="connsiteX4825" fmla="*/ 361444 w 12192185"/>
              <a:gd name="connsiteY4825" fmla="*/ 4707451 h 6859062"/>
              <a:gd name="connsiteX4826" fmla="*/ 361522 w 12192185"/>
              <a:gd name="connsiteY4826" fmla="*/ 4698700 h 6859062"/>
              <a:gd name="connsiteX4827" fmla="*/ 363225 w 12192185"/>
              <a:gd name="connsiteY4827" fmla="*/ 4703965 h 6859062"/>
              <a:gd name="connsiteX4828" fmla="*/ 366709 w 12192185"/>
              <a:gd name="connsiteY4828" fmla="*/ 4705745 h 6859062"/>
              <a:gd name="connsiteX4829" fmla="*/ 361752 w 12192185"/>
              <a:gd name="connsiteY4829" fmla="*/ 4672452 h 6859062"/>
              <a:gd name="connsiteX4830" fmla="*/ 384130 w 12192185"/>
              <a:gd name="connsiteY4830" fmla="*/ 4714644 h 6859062"/>
              <a:gd name="connsiteX4831" fmla="*/ 382428 w 12192185"/>
              <a:gd name="connsiteY4831" fmla="*/ 4709380 h 6859062"/>
              <a:gd name="connsiteX4832" fmla="*/ 379018 w 12192185"/>
              <a:gd name="connsiteY4832" fmla="*/ 4698851 h 6859062"/>
              <a:gd name="connsiteX4833" fmla="*/ 382503 w 12192185"/>
              <a:gd name="connsiteY4833" fmla="*/ 4700631 h 6859062"/>
              <a:gd name="connsiteX4834" fmla="*/ 384207 w 12192185"/>
              <a:gd name="connsiteY4834" fmla="*/ 4705894 h 6859062"/>
              <a:gd name="connsiteX4835" fmla="*/ 377467 w 12192185"/>
              <a:gd name="connsiteY4835" fmla="*/ 4676087 h 6859062"/>
              <a:gd name="connsiteX4836" fmla="*/ 326270 w 12192185"/>
              <a:gd name="connsiteY4836" fmla="*/ 4526894 h 6859062"/>
              <a:gd name="connsiteX4837" fmla="*/ 317902 w 12192185"/>
              <a:gd name="connsiteY4837" fmla="*/ 4483070 h 6859062"/>
              <a:gd name="connsiteX4838" fmla="*/ 282423 w 12192185"/>
              <a:gd name="connsiteY4838" fmla="*/ 4337513 h 6859062"/>
              <a:gd name="connsiteX4839" fmla="*/ 270952 w 12192185"/>
              <a:gd name="connsiteY4839" fmla="*/ 4248160 h 6859062"/>
              <a:gd name="connsiteX4840" fmla="*/ 272732 w 12192185"/>
              <a:gd name="connsiteY4840" fmla="*/ 4244677 h 6859062"/>
              <a:gd name="connsiteX4841" fmla="*/ 271027 w 12192185"/>
              <a:gd name="connsiteY4841" fmla="*/ 4239412 h 6859062"/>
              <a:gd name="connsiteX4842" fmla="*/ 271104 w 12192185"/>
              <a:gd name="connsiteY4842" fmla="*/ 4230661 h 6859062"/>
              <a:gd name="connsiteX4843" fmla="*/ 272808 w 12192185"/>
              <a:gd name="connsiteY4843" fmla="*/ 4235926 h 6859062"/>
              <a:gd name="connsiteX4844" fmla="*/ 274512 w 12192185"/>
              <a:gd name="connsiteY4844" fmla="*/ 4241191 h 6859062"/>
              <a:gd name="connsiteX4845" fmla="*/ 269704 w 12192185"/>
              <a:gd name="connsiteY4845" fmla="*/ 4190398 h 6859062"/>
              <a:gd name="connsiteX4846" fmla="*/ 282090 w 12192185"/>
              <a:gd name="connsiteY4846" fmla="*/ 4174755 h 6859062"/>
              <a:gd name="connsiteX4847" fmla="*/ 257748 w 12192185"/>
              <a:gd name="connsiteY4847" fmla="*/ 3955789 h 6859062"/>
              <a:gd name="connsiteX4848" fmla="*/ 271276 w 12192185"/>
              <a:gd name="connsiteY4848" fmla="*/ 3808900 h 6859062"/>
              <a:gd name="connsiteX4849" fmla="*/ 273209 w 12192185"/>
              <a:gd name="connsiteY4849" fmla="*/ 3787916 h 6859062"/>
              <a:gd name="connsiteX4850" fmla="*/ 275750 w 12192185"/>
              <a:gd name="connsiteY4850" fmla="*/ 3696935 h 6859062"/>
              <a:gd name="connsiteX4851" fmla="*/ 292153 w 12192185"/>
              <a:gd name="connsiteY4851" fmla="*/ 3621827 h 6859062"/>
              <a:gd name="connsiteX4852" fmla="*/ 267785 w 12192185"/>
              <a:gd name="connsiteY4852" fmla="*/ 3482107 h 6859062"/>
              <a:gd name="connsiteX4853" fmla="*/ 275542 w 12192185"/>
              <a:gd name="connsiteY4853" fmla="*/ 3485543 h 6859062"/>
              <a:gd name="connsiteX4854" fmla="*/ 287349 w 12192185"/>
              <a:gd name="connsiteY4854" fmla="*/ 3496396 h 6859062"/>
              <a:gd name="connsiteX4855" fmla="*/ 291746 w 12192185"/>
              <a:gd name="connsiteY4855" fmla="*/ 3515219 h 6859062"/>
              <a:gd name="connsiteX4856" fmla="*/ 288159 w 12192185"/>
              <a:gd name="connsiteY4856" fmla="*/ 3522372 h 6859062"/>
              <a:gd name="connsiteX4857" fmla="*/ 286705 w 12192185"/>
              <a:gd name="connsiteY4857" fmla="*/ 3536276 h 6859062"/>
              <a:gd name="connsiteX4858" fmla="*/ 287083 w 12192185"/>
              <a:gd name="connsiteY4858" fmla="*/ 3541979 h 6859062"/>
              <a:gd name="connsiteX4859" fmla="*/ 282361 w 12192185"/>
              <a:gd name="connsiteY4859" fmla="*/ 3560131 h 6859062"/>
              <a:gd name="connsiteX4860" fmla="*/ 271342 w 12192185"/>
              <a:gd name="connsiteY4860" fmla="*/ 3564993 h 6859062"/>
              <a:gd name="connsiteX4861" fmla="*/ 259416 w 12192185"/>
              <a:gd name="connsiteY4861" fmla="*/ 3565026 h 6859062"/>
              <a:gd name="connsiteX4862" fmla="*/ 251352 w 12192185"/>
              <a:gd name="connsiteY4862" fmla="*/ 3562600 h 6859062"/>
              <a:gd name="connsiteX4863" fmla="*/ 242530 w 12192185"/>
              <a:gd name="connsiteY4863" fmla="*/ 3548760 h 6859062"/>
              <a:gd name="connsiteX4864" fmla="*/ 245633 w 12192185"/>
              <a:gd name="connsiteY4864" fmla="*/ 3534888 h 6859062"/>
              <a:gd name="connsiteX4865" fmla="*/ 244667 w 12192185"/>
              <a:gd name="connsiteY4865" fmla="*/ 3521445 h 6859062"/>
              <a:gd name="connsiteX4866" fmla="*/ 242298 w 12192185"/>
              <a:gd name="connsiteY4866" fmla="*/ 3508358 h 6859062"/>
              <a:gd name="connsiteX4867" fmla="*/ 243679 w 12192185"/>
              <a:gd name="connsiteY4867" fmla="*/ 3497748 h 6859062"/>
              <a:gd name="connsiteX4868" fmla="*/ 249478 w 12192185"/>
              <a:gd name="connsiteY4868" fmla="*/ 3488102 h 6859062"/>
              <a:gd name="connsiteX4869" fmla="*/ 257201 w 12192185"/>
              <a:gd name="connsiteY4869" fmla="*/ 3483179 h 6859062"/>
              <a:gd name="connsiteX4870" fmla="*/ 259339 w 12192185"/>
              <a:gd name="connsiteY4870" fmla="*/ 3483980 h 6859062"/>
              <a:gd name="connsiteX4871" fmla="*/ 267785 w 12192185"/>
              <a:gd name="connsiteY4871" fmla="*/ 3482107 h 6859062"/>
              <a:gd name="connsiteX4872" fmla="*/ 1199637 w 12192185"/>
              <a:gd name="connsiteY4872" fmla="*/ 3454482 h 6859062"/>
              <a:gd name="connsiteX4873" fmla="*/ 1201673 w 12192185"/>
              <a:gd name="connsiteY4873" fmla="*/ 3464432 h 6859062"/>
              <a:gd name="connsiteX4874" fmla="*/ 1196970 w 12192185"/>
              <a:gd name="connsiteY4874" fmla="*/ 3481986 h 6859062"/>
              <a:gd name="connsiteX4875" fmla="*/ 1196108 w 12192185"/>
              <a:gd name="connsiteY4875" fmla="*/ 3467644 h 6859062"/>
              <a:gd name="connsiteX4876" fmla="*/ 1197284 w 12192185"/>
              <a:gd name="connsiteY4876" fmla="*/ 3463260 h 6859062"/>
              <a:gd name="connsiteX4877" fmla="*/ 1198460 w 12192185"/>
              <a:gd name="connsiteY4877" fmla="*/ 3458873 h 6859062"/>
              <a:gd name="connsiteX4878" fmla="*/ 12191999 w 12192185"/>
              <a:gd name="connsiteY4878" fmla="*/ 3433020 h 6859062"/>
              <a:gd name="connsiteX4879" fmla="*/ 12191999 w 12192185"/>
              <a:gd name="connsiteY4879" fmla="*/ 3464861 h 6859062"/>
              <a:gd name="connsiteX4880" fmla="*/ 12186336 w 12192185"/>
              <a:gd name="connsiteY4880" fmla="*/ 3462251 h 6859062"/>
              <a:gd name="connsiteX4881" fmla="*/ 12183761 w 12192185"/>
              <a:gd name="connsiteY4881" fmla="*/ 3451653 h 6859062"/>
              <a:gd name="connsiteX4882" fmla="*/ 12185635 w 12192185"/>
              <a:gd name="connsiteY4882" fmla="*/ 3441018 h 6859062"/>
              <a:gd name="connsiteX4883" fmla="*/ 12189086 w 12192185"/>
              <a:gd name="connsiteY4883" fmla="*/ 3434218 h 6859062"/>
              <a:gd name="connsiteX4884" fmla="*/ 0 w 12192185"/>
              <a:gd name="connsiteY4884" fmla="*/ 3404521 h 6859062"/>
              <a:gd name="connsiteX4885" fmla="*/ 5568 w 12192185"/>
              <a:gd name="connsiteY4885" fmla="*/ 3405741 h 6859062"/>
              <a:gd name="connsiteX4886" fmla="*/ 14390 w 12192185"/>
              <a:gd name="connsiteY4886" fmla="*/ 3419580 h 6859062"/>
              <a:gd name="connsiteX4887" fmla="*/ 13187 w 12192185"/>
              <a:gd name="connsiteY4887" fmla="*/ 3427910 h 6859062"/>
              <a:gd name="connsiteX4888" fmla="*/ 8123 w 12192185"/>
              <a:gd name="connsiteY4888" fmla="*/ 3438709 h 6859062"/>
              <a:gd name="connsiteX4889" fmla="*/ 0 w 12192185"/>
              <a:gd name="connsiteY4889" fmla="*/ 3445826 h 6859062"/>
              <a:gd name="connsiteX4890" fmla="*/ 205362 w 12192185"/>
              <a:gd name="connsiteY4890" fmla="*/ 3224992 h 6859062"/>
              <a:gd name="connsiteX4891" fmla="*/ 218128 w 12192185"/>
              <a:gd name="connsiteY4891" fmla="*/ 3232137 h 6859062"/>
              <a:gd name="connsiteX4892" fmla="*/ 222858 w 12192185"/>
              <a:gd name="connsiteY4892" fmla="*/ 3235457 h 6859062"/>
              <a:gd name="connsiteX4893" fmla="*/ 225996 w 12192185"/>
              <a:gd name="connsiteY4893" fmla="*/ 3239795 h 6859062"/>
              <a:gd name="connsiteX4894" fmla="*/ 227396 w 12192185"/>
              <a:gd name="connsiteY4894" fmla="*/ 3243748 h 6859062"/>
              <a:gd name="connsiteX4895" fmla="*/ 230631 w 12192185"/>
              <a:gd name="connsiteY4895" fmla="*/ 3251749 h 6859062"/>
              <a:gd name="connsiteX4896" fmla="*/ 232056 w 12192185"/>
              <a:gd name="connsiteY4896" fmla="*/ 3254570 h 6859062"/>
              <a:gd name="connsiteX4897" fmla="*/ 235315 w 12192185"/>
              <a:gd name="connsiteY4897" fmla="*/ 3261437 h 6859062"/>
              <a:gd name="connsiteX4898" fmla="*/ 228636 w 12192185"/>
              <a:gd name="connsiteY4898" fmla="*/ 3280234 h 6859062"/>
              <a:gd name="connsiteX4899" fmla="*/ 220313 w 12192185"/>
              <a:gd name="connsiteY4899" fmla="*/ 3285912 h 6859062"/>
              <a:gd name="connsiteX4900" fmla="*/ 201229 w 12192185"/>
              <a:gd name="connsiteY4900" fmla="*/ 3292860 h 6859062"/>
              <a:gd name="connsiteX4901" fmla="*/ 195196 w 12192185"/>
              <a:gd name="connsiteY4901" fmla="*/ 3293351 h 6859062"/>
              <a:gd name="connsiteX4902" fmla="*/ 187450 w 12192185"/>
              <a:gd name="connsiteY4902" fmla="*/ 3292326 h 6859062"/>
              <a:gd name="connsiteX4903" fmla="*/ 181562 w 12192185"/>
              <a:gd name="connsiteY4903" fmla="*/ 3290116 h 6859062"/>
              <a:gd name="connsiteX4904" fmla="*/ 170413 w 12192185"/>
              <a:gd name="connsiteY4904" fmla="*/ 3280822 h 6859062"/>
              <a:gd name="connsiteX4905" fmla="*/ 163196 w 12192185"/>
              <a:gd name="connsiteY4905" fmla="*/ 3275358 h 6859062"/>
              <a:gd name="connsiteX4906" fmla="*/ 161168 w 12192185"/>
              <a:gd name="connsiteY4906" fmla="*/ 3272177 h 6859062"/>
              <a:gd name="connsiteX4907" fmla="*/ 160297 w 12192185"/>
              <a:gd name="connsiteY4907" fmla="*/ 3263786 h 6859062"/>
              <a:gd name="connsiteX4908" fmla="*/ 161380 w 12192185"/>
              <a:gd name="connsiteY4908" fmla="*/ 3249678 h 6859062"/>
              <a:gd name="connsiteX4909" fmla="*/ 160872 w 12192185"/>
              <a:gd name="connsiteY4909" fmla="*/ 3244781 h 6859062"/>
              <a:gd name="connsiteX4910" fmla="*/ 163211 w 12192185"/>
              <a:gd name="connsiteY4910" fmla="*/ 3241426 h 6859062"/>
              <a:gd name="connsiteX4911" fmla="*/ 168132 w 12192185"/>
              <a:gd name="connsiteY4911" fmla="*/ 3235680 h 6859062"/>
              <a:gd name="connsiteX4912" fmla="*/ 169579 w 12192185"/>
              <a:gd name="connsiteY4912" fmla="*/ 3233266 h 6859062"/>
              <a:gd name="connsiteX4913" fmla="*/ 177396 w 12192185"/>
              <a:gd name="connsiteY4913" fmla="*/ 3226792 h 6859062"/>
              <a:gd name="connsiteX4914" fmla="*/ 178916 w 12192185"/>
              <a:gd name="connsiteY4914" fmla="*/ 3225078 h 6859062"/>
              <a:gd name="connsiteX4915" fmla="*/ 205362 w 12192185"/>
              <a:gd name="connsiteY4915" fmla="*/ 3224992 h 6859062"/>
              <a:gd name="connsiteX4916" fmla="*/ 731284 w 12192185"/>
              <a:gd name="connsiteY4916" fmla="*/ 3213200 h 6859062"/>
              <a:gd name="connsiteX4917" fmla="*/ 731002 w 12192185"/>
              <a:gd name="connsiteY4917" fmla="*/ 3213582 h 6859062"/>
              <a:gd name="connsiteX4918" fmla="*/ 723038 w 12192185"/>
              <a:gd name="connsiteY4918" fmla="*/ 3219523 h 6859062"/>
              <a:gd name="connsiteX4919" fmla="*/ 698367 w 12192185"/>
              <a:gd name="connsiteY4919" fmla="*/ 3226704 h 6859062"/>
              <a:gd name="connsiteX4920" fmla="*/ 700685 w 12192185"/>
              <a:gd name="connsiteY4920" fmla="*/ 3228296 h 6859062"/>
              <a:gd name="connsiteX4921" fmla="*/ 701957 w 12192185"/>
              <a:gd name="connsiteY4921" fmla="*/ 3244505 h 6859062"/>
              <a:gd name="connsiteX4922" fmla="*/ 690563 w 12192185"/>
              <a:gd name="connsiteY4922" fmla="*/ 3323477 h 6859062"/>
              <a:gd name="connsiteX4923" fmla="*/ 694173 w 12192185"/>
              <a:gd name="connsiteY4923" fmla="*/ 3353718 h 6859062"/>
              <a:gd name="connsiteX4924" fmla="*/ 724540 w 12192185"/>
              <a:gd name="connsiteY4924" fmla="*/ 3262275 h 6859062"/>
              <a:gd name="connsiteX4925" fmla="*/ 480890 w 12192185"/>
              <a:gd name="connsiteY4925" fmla="*/ 3149514 h 6859062"/>
              <a:gd name="connsiteX4926" fmla="*/ 493656 w 12192185"/>
              <a:gd name="connsiteY4926" fmla="*/ 3156660 h 6859062"/>
              <a:gd name="connsiteX4927" fmla="*/ 498385 w 12192185"/>
              <a:gd name="connsiteY4927" fmla="*/ 3159981 h 6859062"/>
              <a:gd name="connsiteX4928" fmla="*/ 501524 w 12192185"/>
              <a:gd name="connsiteY4928" fmla="*/ 3164319 h 6859062"/>
              <a:gd name="connsiteX4929" fmla="*/ 502924 w 12192185"/>
              <a:gd name="connsiteY4929" fmla="*/ 3168273 h 6859062"/>
              <a:gd name="connsiteX4930" fmla="*/ 506160 w 12192185"/>
              <a:gd name="connsiteY4930" fmla="*/ 3176279 h 6859062"/>
              <a:gd name="connsiteX4931" fmla="*/ 507584 w 12192185"/>
              <a:gd name="connsiteY4931" fmla="*/ 3179095 h 6859062"/>
              <a:gd name="connsiteX4932" fmla="*/ 510843 w 12192185"/>
              <a:gd name="connsiteY4932" fmla="*/ 3185965 h 6859062"/>
              <a:gd name="connsiteX4933" fmla="*/ 504164 w 12192185"/>
              <a:gd name="connsiteY4933" fmla="*/ 3204766 h 6859062"/>
              <a:gd name="connsiteX4934" fmla="*/ 495841 w 12192185"/>
              <a:gd name="connsiteY4934" fmla="*/ 3210442 h 6859062"/>
              <a:gd name="connsiteX4935" fmla="*/ 476756 w 12192185"/>
              <a:gd name="connsiteY4935" fmla="*/ 3217391 h 6859062"/>
              <a:gd name="connsiteX4936" fmla="*/ 470724 w 12192185"/>
              <a:gd name="connsiteY4936" fmla="*/ 3217881 h 6859062"/>
              <a:gd name="connsiteX4937" fmla="*/ 462978 w 12192185"/>
              <a:gd name="connsiteY4937" fmla="*/ 3216855 h 6859062"/>
              <a:gd name="connsiteX4938" fmla="*/ 457090 w 12192185"/>
              <a:gd name="connsiteY4938" fmla="*/ 3214645 h 6859062"/>
              <a:gd name="connsiteX4939" fmla="*/ 445939 w 12192185"/>
              <a:gd name="connsiteY4939" fmla="*/ 3205355 h 6859062"/>
              <a:gd name="connsiteX4940" fmla="*/ 438724 w 12192185"/>
              <a:gd name="connsiteY4940" fmla="*/ 3199889 h 6859062"/>
              <a:gd name="connsiteX4941" fmla="*/ 436696 w 12192185"/>
              <a:gd name="connsiteY4941" fmla="*/ 3196707 h 6859062"/>
              <a:gd name="connsiteX4942" fmla="*/ 435825 w 12192185"/>
              <a:gd name="connsiteY4942" fmla="*/ 3188314 h 6859062"/>
              <a:gd name="connsiteX4943" fmla="*/ 436908 w 12192185"/>
              <a:gd name="connsiteY4943" fmla="*/ 3174203 h 6859062"/>
              <a:gd name="connsiteX4944" fmla="*/ 436400 w 12192185"/>
              <a:gd name="connsiteY4944" fmla="*/ 3169308 h 6859062"/>
              <a:gd name="connsiteX4945" fmla="*/ 438739 w 12192185"/>
              <a:gd name="connsiteY4945" fmla="*/ 3165952 h 6859062"/>
              <a:gd name="connsiteX4946" fmla="*/ 443660 w 12192185"/>
              <a:gd name="connsiteY4946" fmla="*/ 3160203 h 6859062"/>
              <a:gd name="connsiteX4947" fmla="*/ 445107 w 12192185"/>
              <a:gd name="connsiteY4947" fmla="*/ 3157789 h 6859062"/>
              <a:gd name="connsiteX4948" fmla="*/ 452924 w 12192185"/>
              <a:gd name="connsiteY4948" fmla="*/ 3151313 h 6859062"/>
              <a:gd name="connsiteX4949" fmla="*/ 454444 w 12192185"/>
              <a:gd name="connsiteY4949" fmla="*/ 3149601 h 6859062"/>
              <a:gd name="connsiteX4950" fmla="*/ 480890 w 12192185"/>
              <a:gd name="connsiteY4950" fmla="*/ 3149514 h 6859062"/>
              <a:gd name="connsiteX4951" fmla="*/ 1255075 w 12192185"/>
              <a:gd name="connsiteY4951" fmla="*/ 3107170 h 6859062"/>
              <a:gd name="connsiteX4952" fmla="*/ 1259464 w 12192185"/>
              <a:gd name="connsiteY4952" fmla="*/ 3108346 h 6859062"/>
              <a:gd name="connsiteX4953" fmla="*/ 1258287 w 12192185"/>
              <a:gd name="connsiteY4953" fmla="*/ 3112736 h 6859062"/>
              <a:gd name="connsiteX4954" fmla="*/ 1255075 w 12192185"/>
              <a:gd name="connsiteY4954" fmla="*/ 3107170 h 6859062"/>
              <a:gd name="connsiteX4955" fmla="*/ 12189604 w 12192185"/>
              <a:gd name="connsiteY4955" fmla="*/ 2993845 h 6859062"/>
              <a:gd name="connsiteX4956" fmla="*/ 12191999 w 12192185"/>
              <a:gd name="connsiteY4956" fmla="*/ 2994022 h 6859062"/>
              <a:gd name="connsiteX4957" fmla="*/ 12191999 w 12192185"/>
              <a:gd name="connsiteY4957" fmla="*/ 3061490 h 6859062"/>
              <a:gd name="connsiteX4958" fmla="*/ 12190970 w 12192185"/>
              <a:gd name="connsiteY4958" fmla="*/ 3062349 h 6859062"/>
              <a:gd name="connsiteX4959" fmla="*/ 12187335 w 12192185"/>
              <a:gd name="connsiteY4959" fmla="*/ 3061649 h 6859062"/>
              <a:gd name="connsiteX4960" fmla="*/ 12171648 w 12192185"/>
              <a:gd name="connsiteY4960" fmla="*/ 3052692 h 6859062"/>
              <a:gd name="connsiteX4961" fmla="*/ 12167917 w 12192185"/>
              <a:gd name="connsiteY4961" fmla="*/ 3044367 h 6859062"/>
              <a:gd name="connsiteX4962" fmla="*/ 12164108 w 12192185"/>
              <a:gd name="connsiteY4962" fmla="*/ 3035766 h 6859062"/>
              <a:gd name="connsiteX4963" fmla="*/ 12164108 w 12192185"/>
              <a:gd name="connsiteY4963" fmla="*/ 3035764 h 6859062"/>
              <a:gd name="connsiteX4964" fmla="*/ 12164771 w 12192185"/>
              <a:gd name="connsiteY4964" fmla="*/ 3026247 h 6859062"/>
              <a:gd name="connsiteX4965" fmla="*/ 12165298 w 12192185"/>
              <a:gd name="connsiteY4965" fmla="*/ 3020792 h 6859062"/>
              <a:gd name="connsiteX4966" fmla="*/ 12167448 w 12192185"/>
              <a:gd name="connsiteY4966" fmla="*/ 3014052 h 6859062"/>
              <a:gd name="connsiteX4967" fmla="*/ 12170359 w 12192185"/>
              <a:gd name="connsiteY4967" fmla="*/ 3009156 h 6859062"/>
              <a:gd name="connsiteX4968" fmla="*/ 12180422 w 12192185"/>
              <a:gd name="connsiteY4968" fmla="*/ 3000703 h 6859062"/>
              <a:gd name="connsiteX4969" fmla="*/ 12186445 w 12192185"/>
              <a:gd name="connsiteY4969" fmla="*/ 2995142 h 6859062"/>
              <a:gd name="connsiteX4970" fmla="*/ 12189604 w 12192185"/>
              <a:gd name="connsiteY4970" fmla="*/ 2993845 h 6859062"/>
              <a:gd name="connsiteX4971" fmla="*/ 1383146 w 12192185"/>
              <a:gd name="connsiteY4971" fmla="*/ 2962736 h 6859062"/>
              <a:gd name="connsiteX4972" fmla="*/ 1377581 w 12192185"/>
              <a:gd name="connsiteY4972" fmla="*/ 2965952 h 6859062"/>
              <a:gd name="connsiteX4973" fmla="*/ 1344560 w 12192185"/>
              <a:gd name="connsiteY4973" fmla="*/ 3045304 h 6859062"/>
              <a:gd name="connsiteX4974" fmla="*/ 1327291 w 12192185"/>
              <a:gd name="connsiteY4974" fmla="*/ 3074981 h 6859062"/>
              <a:gd name="connsiteX4975" fmla="*/ 1331462 w 12192185"/>
              <a:gd name="connsiteY4975" fmla="*/ 3072802 h 6859062"/>
              <a:gd name="connsiteX4976" fmla="*/ 1336725 w 12192185"/>
              <a:gd name="connsiteY4976" fmla="*/ 3071293 h 6859062"/>
              <a:gd name="connsiteX4977" fmla="*/ 1347185 w 12192185"/>
              <a:gd name="connsiteY4977" fmla="*/ 3053062 h 6859062"/>
              <a:gd name="connsiteX4978" fmla="*/ 1380794 w 12192185"/>
              <a:gd name="connsiteY4978" fmla="*/ 2971516 h 6859062"/>
              <a:gd name="connsiteX4979" fmla="*/ 1381969 w 12192185"/>
              <a:gd name="connsiteY4979" fmla="*/ 2967123 h 6859062"/>
              <a:gd name="connsiteX4980" fmla="*/ 1383146 w 12192185"/>
              <a:gd name="connsiteY4980" fmla="*/ 2962736 h 6859062"/>
              <a:gd name="connsiteX4981" fmla="*/ 45329 w 12192185"/>
              <a:gd name="connsiteY4981" fmla="*/ 2915671 h 6859062"/>
              <a:gd name="connsiteX4982" fmla="*/ 51409 w 12192185"/>
              <a:gd name="connsiteY4982" fmla="*/ 2919310 h 6859062"/>
              <a:gd name="connsiteX4983" fmla="*/ 70482 w 12192185"/>
              <a:gd name="connsiteY4983" fmla="*/ 2926470 h 6859062"/>
              <a:gd name="connsiteX4984" fmla="*/ 80906 w 12192185"/>
              <a:gd name="connsiteY4984" fmla="*/ 2932704 h 6859062"/>
              <a:gd name="connsiteX4985" fmla="*/ 83825 w 12192185"/>
              <a:gd name="connsiteY4985" fmla="*/ 2937282 h 6859062"/>
              <a:gd name="connsiteX4986" fmla="*/ 86572 w 12192185"/>
              <a:gd name="connsiteY4986" fmla="*/ 2950022 h 6859062"/>
              <a:gd name="connsiteX4987" fmla="*/ 91928 w 12192185"/>
              <a:gd name="connsiteY4987" fmla="*/ 2970221 h 6859062"/>
              <a:gd name="connsiteX4988" fmla="*/ 91235 w 12192185"/>
              <a:gd name="connsiteY4988" fmla="*/ 2979248 h 6859062"/>
              <a:gd name="connsiteX4989" fmla="*/ 87868 w 12192185"/>
              <a:gd name="connsiteY4989" fmla="*/ 2989980 h 6859062"/>
              <a:gd name="connsiteX4990" fmla="*/ 83562 w 12192185"/>
              <a:gd name="connsiteY4990" fmla="*/ 2997555 h 6859062"/>
              <a:gd name="connsiteX4991" fmla="*/ 62897 w 12192185"/>
              <a:gd name="connsiteY4991" fmla="*/ 3018242 h 6859062"/>
              <a:gd name="connsiteX4992" fmla="*/ 50427 w 12192185"/>
              <a:gd name="connsiteY4992" fmla="*/ 3025656 h 6859062"/>
              <a:gd name="connsiteX4993" fmla="*/ 21837 w 12192185"/>
              <a:gd name="connsiteY4993" fmla="*/ 3022954 h 6859062"/>
              <a:gd name="connsiteX4994" fmla="*/ 14852 w 12192185"/>
              <a:gd name="connsiteY4994" fmla="*/ 3014526 h 6859062"/>
              <a:gd name="connsiteX4995" fmla="*/ 12037 w 12192185"/>
              <a:gd name="connsiteY4995" fmla="*/ 3010956 h 6859062"/>
              <a:gd name="connsiteX4996" fmla="*/ 3559 w 12192185"/>
              <a:gd name="connsiteY4996" fmla="*/ 3001867 h 6859062"/>
              <a:gd name="connsiteX4997" fmla="*/ 0 w 12192185"/>
              <a:gd name="connsiteY4997" fmla="*/ 2998374 h 6859062"/>
              <a:gd name="connsiteX4998" fmla="*/ 0 w 12192185"/>
              <a:gd name="connsiteY4998" fmla="*/ 2945670 h 6859062"/>
              <a:gd name="connsiteX4999" fmla="*/ 8648 w 12192185"/>
              <a:gd name="connsiteY4999" fmla="*/ 2927251 h 6859062"/>
              <a:gd name="connsiteX5000" fmla="*/ 11809 w 12192185"/>
              <a:gd name="connsiteY5000" fmla="*/ 2926310 h 6859062"/>
              <a:gd name="connsiteX5001" fmla="*/ 25007 w 12192185"/>
              <a:gd name="connsiteY5001" fmla="*/ 2920043 h 6859062"/>
              <a:gd name="connsiteX5002" fmla="*/ 29037 w 12192185"/>
              <a:gd name="connsiteY5002" fmla="*/ 2919619 h 6859062"/>
              <a:gd name="connsiteX5003" fmla="*/ 39528 w 12192185"/>
              <a:gd name="connsiteY5003" fmla="*/ 2916689 h 6859062"/>
              <a:gd name="connsiteX5004" fmla="*/ 45329 w 12192185"/>
              <a:gd name="connsiteY5004" fmla="*/ 2915671 h 6859062"/>
              <a:gd name="connsiteX5005" fmla="*/ 1300390 w 12192185"/>
              <a:gd name="connsiteY5005" fmla="*/ 2902937 h 6859062"/>
              <a:gd name="connsiteX5006" fmla="*/ 1304574 w 12192185"/>
              <a:gd name="connsiteY5006" fmla="*/ 2904055 h 6859062"/>
              <a:gd name="connsiteX5007" fmla="*/ 1302301 w 12192185"/>
              <a:gd name="connsiteY5007" fmla="*/ 2911160 h 6859062"/>
              <a:gd name="connsiteX5008" fmla="*/ 1302111 w 12192185"/>
              <a:gd name="connsiteY5008" fmla="*/ 2931618 h 6859062"/>
              <a:gd name="connsiteX5009" fmla="*/ 1296548 w 12192185"/>
              <a:gd name="connsiteY5009" fmla="*/ 2934829 h 6859062"/>
              <a:gd name="connsiteX5010" fmla="*/ 1295372 w 12192185"/>
              <a:gd name="connsiteY5010" fmla="*/ 2939216 h 6859062"/>
              <a:gd name="connsiteX5011" fmla="*/ 1289807 w 12192185"/>
              <a:gd name="connsiteY5011" fmla="*/ 2942431 h 6859062"/>
              <a:gd name="connsiteX5012" fmla="*/ 1288631 w 12192185"/>
              <a:gd name="connsiteY5012" fmla="*/ 2946819 h 6859062"/>
              <a:gd name="connsiteX5013" fmla="*/ 1293020 w 12192185"/>
              <a:gd name="connsiteY5013" fmla="*/ 2947995 h 6859062"/>
              <a:gd name="connsiteX5014" fmla="*/ 1288000 w 12192185"/>
              <a:gd name="connsiteY5014" fmla="*/ 2984280 h 6859062"/>
              <a:gd name="connsiteX5015" fmla="*/ 1283612 w 12192185"/>
              <a:gd name="connsiteY5015" fmla="*/ 2983103 h 6859062"/>
              <a:gd name="connsiteX5016" fmla="*/ 1281261 w 12192185"/>
              <a:gd name="connsiteY5016" fmla="*/ 2991882 h 6859062"/>
              <a:gd name="connsiteX5017" fmla="*/ 1280084 w 12192185"/>
              <a:gd name="connsiteY5017" fmla="*/ 2996270 h 6859062"/>
              <a:gd name="connsiteX5018" fmla="*/ 1263936 w 12192185"/>
              <a:gd name="connsiteY5018" fmla="*/ 3038985 h 6859062"/>
              <a:gd name="connsiteX5019" fmla="*/ 1268325 w 12192185"/>
              <a:gd name="connsiteY5019" fmla="*/ 3040160 h 6859062"/>
              <a:gd name="connsiteX5020" fmla="*/ 1262760 w 12192185"/>
              <a:gd name="connsiteY5020" fmla="*/ 3043373 h 6859062"/>
              <a:gd name="connsiteX5021" fmla="*/ 1265973 w 12192185"/>
              <a:gd name="connsiteY5021" fmla="*/ 3048939 h 6859062"/>
              <a:gd name="connsiteX5022" fmla="*/ 1258917 w 12192185"/>
              <a:gd name="connsiteY5022" fmla="*/ 3075272 h 6859062"/>
              <a:gd name="connsiteX5023" fmla="*/ 1259778 w 12192185"/>
              <a:gd name="connsiteY5023" fmla="*/ 3089612 h 6859062"/>
              <a:gd name="connsiteX5024" fmla="*/ 1254213 w 12192185"/>
              <a:gd name="connsiteY5024" fmla="*/ 3092829 h 6859062"/>
              <a:gd name="connsiteX5025" fmla="*/ 1261815 w 12192185"/>
              <a:gd name="connsiteY5025" fmla="*/ 3099567 h 6859062"/>
              <a:gd name="connsiteX5026" fmla="*/ 1257426 w 12192185"/>
              <a:gd name="connsiteY5026" fmla="*/ 3098390 h 6859062"/>
              <a:gd name="connsiteX5027" fmla="*/ 1256250 w 12192185"/>
              <a:gd name="connsiteY5027" fmla="*/ 3102780 h 6859062"/>
              <a:gd name="connsiteX5028" fmla="*/ 1255075 w 12192185"/>
              <a:gd name="connsiteY5028" fmla="*/ 3107170 h 6859062"/>
              <a:gd name="connsiteX5029" fmla="*/ 1253899 w 12192185"/>
              <a:gd name="connsiteY5029" fmla="*/ 3111559 h 6859062"/>
              <a:gd name="connsiteX5030" fmla="*/ 1252722 w 12192185"/>
              <a:gd name="connsiteY5030" fmla="*/ 3115950 h 6859062"/>
              <a:gd name="connsiteX5031" fmla="*/ 1245982 w 12192185"/>
              <a:gd name="connsiteY5031" fmla="*/ 3123552 h 6859062"/>
              <a:gd name="connsiteX5032" fmla="*/ 1248019 w 12192185"/>
              <a:gd name="connsiteY5032" fmla="*/ 3133506 h 6859062"/>
              <a:gd name="connsiteX5033" fmla="*/ 1236575 w 12192185"/>
              <a:gd name="connsiteY5033" fmla="*/ 3158663 h 6859062"/>
              <a:gd name="connsiteX5034" fmla="*/ 1253353 w 12192185"/>
              <a:gd name="connsiteY5034" fmla="*/ 3078485 h 6859062"/>
              <a:gd name="connsiteX5035" fmla="*/ 1249594 w 12192185"/>
              <a:gd name="connsiteY5035" fmla="*/ 3039849 h 6859062"/>
              <a:gd name="connsiteX5036" fmla="*/ 1256964 w 12192185"/>
              <a:gd name="connsiteY5036" fmla="*/ 2994775 h 6859062"/>
              <a:gd name="connsiteX5037" fmla="*/ 1285733 w 12192185"/>
              <a:gd name="connsiteY5037" fmla="*/ 2922524 h 6859062"/>
              <a:gd name="connsiteX5038" fmla="*/ 1288947 w 12192185"/>
              <a:gd name="connsiteY5038" fmla="*/ 2928088 h 6859062"/>
              <a:gd name="connsiteX5039" fmla="*/ 1290122 w 12192185"/>
              <a:gd name="connsiteY5039" fmla="*/ 2923701 h 6859062"/>
              <a:gd name="connsiteX5040" fmla="*/ 1299214 w 12192185"/>
              <a:gd name="connsiteY5040" fmla="*/ 2907323 h 6859062"/>
              <a:gd name="connsiteX5041" fmla="*/ 1300390 w 12192185"/>
              <a:gd name="connsiteY5041" fmla="*/ 2902937 h 6859062"/>
              <a:gd name="connsiteX5042" fmla="*/ 1305956 w 12192185"/>
              <a:gd name="connsiteY5042" fmla="*/ 2899725 h 6859062"/>
              <a:gd name="connsiteX5043" fmla="*/ 1304779 w 12192185"/>
              <a:gd name="connsiteY5043" fmla="*/ 2904111 h 6859062"/>
              <a:gd name="connsiteX5044" fmla="*/ 1304574 w 12192185"/>
              <a:gd name="connsiteY5044" fmla="*/ 2904055 h 6859062"/>
              <a:gd name="connsiteX5045" fmla="*/ 1302743 w 12192185"/>
              <a:gd name="connsiteY5045" fmla="*/ 2894162 h 6859062"/>
              <a:gd name="connsiteX5046" fmla="*/ 1302937 w 12192185"/>
              <a:gd name="connsiteY5046" fmla="*/ 2894496 h 6859062"/>
              <a:gd name="connsiteX5047" fmla="*/ 1301566 w 12192185"/>
              <a:gd name="connsiteY5047" fmla="*/ 2898548 h 6859062"/>
              <a:gd name="connsiteX5048" fmla="*/ 1302743 w 12192185"/>
              <a:gd name="connsiteY5048" fmla="*/ 2894162 h 6859062"/>
              <a:gd name="connsiteX5049" fmla="*/ 1074759 w 12192185"/>
              <a:gd name="connsiteY5049" fmla="*/ 2884816 h 6859062"/>
              <a:gd name="connsiteX5050" fmla="*/ 1066266 w 12192185"/>
              <a:gd name="connsiteY5050" fmla="*/ 2890183 h 6859062"/>
              <a:gd name="connsiteX5051" fmla="*/ 1060693 w 12192185"/>
              <a:gd name="connsiteY5051" fmla="*/ 2895330 h 6859062"/>
              <a:gd name="connsiteX5052" fmla="*/ 1070589 w 12192185"/>
              <a:gd name="connsiteY5052" fmla="*/ 2892444 h 6859062"/>
              <a:gd name="connsiteX5053" fmla="*/ 1071990 w 12192185"/>
              <a:gd name="connsiteY5053" fmla="*/ 2892625 h 6859062"/>
              <a:gd name="connsiteX5054" fmla="*/ 567129 w 12192185"/>
              <a:gd name="connsiteY5054" fmla="*/ 2674905 h 6859062"/>
              <a:gd name="connsiteX5055" fmla="*/ 576893 w 12192185"/>
              <a:gd name="connsiteY5055" fmla="*/ 2677396 h 6859062"/>
              <a:gd name="connsiteX5056" fmla="*/ 594723 w 12192185"/>
              <a:gd name="connsiteY5056" fmla="*/ 2687122 h 6859062"/>
              <a:gd name="connsiteX5057" fmla="*/ 599079 w 12192185"/>
              <a:gd name="connsiteY5057" fmla="*/ 2691323 h 6859062"/>
              <a:gd name="connsiteX5058" fmla="*/ 603429 w 12192185"/>
              <a:gd name="connsiteY5058" fmla="*/ 2697814 h 6859062"/>
              <a:gd name="connsiteX5059" fmla="*/ 605663 w 12192185"/>
              <a:gd name="connsiteY5059" fmla="*/ 2703693 h 6859062"/>
              <a:gd name="connsiteX5060" fmla="*/ 606061 w 12192185"/>
              <a:gd name="connsiteY5060" fmla="*/ 2718204 h 6859062"/>
              <a:gd name="connsiteX5061" fmla="*/ 606731 w 12192185"/>
              <a:gd name="connsiteY5061" fmla="*/ 2727231 h 6859062"/>
              <a:gd name="connsiteX5062" fmla="*/ 605686 w 12192185"/>
              <a:gd name="connsiteY5062" fmla="*/ 2730855 h 6859062"/>
              <a:gd name="connsiteX5063" fmla="*/ 599965 w 12192185"/>
              <a:gd name="connsiteY5063" fmla="*/ 2737055 h 6859062"/>
              <a:gd name="connsiteX5064" fmla="*/ 588662 w 12192185"/>
              <a:gd name="connsiteY5064" fmla="*/ 2745570 h 6859062"/>
              <a:gd name="connsiteX5065" fmla="*/ 585326 w 12192185"/>
              <a:gd name="connsiteY5065" fmla="*/ 2749188 h 6859062"/>
              <a:gd name="connsiteX5066" fmla="*/ 581262 w 12192185"/>
              <a:gd name="connsiteY5066" fmla="*/ 2749650 h 6859062"/>
              <a:gd name="connsiteX5067" fmla="*/ 573696 w 12192185"/>
              <a:gd name="connsiteY5067" fmla="*/ 2749757 h 6859062"/>
              <a:gd name="connsiteX5068" fmla="*/ 570929 w 12192185"/>
              <a:gd name="connsiteY5068" fmla="*/ 2750266 h 6859062"/>
              <a:gd name="connsiteX5069" fmla="*/ 560904 w 12192185"/>
              <a:gd name="connsiteY5069" fmla="*/ 2748681 h 6859062"/>
              <a:gd name="connsiteX5070" fmla="*/ 558613 w 12192185"/>
              <a:gd name="connsiteY5070" fmla="*/ 2748673 h 6859062"/>
              <a:gd name="connsiteX5071" fmla="*/ 541067 w 12192185"/>
              <a:gd name="connsiteY5071" fmla="*/ 2728886 h 6859062"/>
              <a:gd name="connsiteX5072" fmla="*/ 537988 w 12192185"/>
              <a:gd name="connsiteY5072" fmla="*/ 2714587 h 6859062"/>
              <a:gd name="connsiteX5073" fmla="*/ 537353 w 12192185"/>
              <a:gd name="connsiteY5073" fmla="*/ 2708841 h 6859062"/>
              <a:gd name="connsiteX5074" fmla="*/ 538532 w 12192185"/>
              <a:gd name="connsiteY5074" fmla="*/ 2703619 h 6859062"/>
              <a:gd name="connsiteX5075" fmla="*/ 540573 w 12192185"/>
              <a:gd name="connsiteY5075" fmla="*/ 2699956 h 6859062"/>
              <a:gd name="connsiteX5076" fmla="*/ 544438 w 12192185"/>
              <a:gd name="connsiteY5076" fmla="*/ 2692237 h 6859062"/>
              <a:gd name="connsiteX5077" fmla="*/ 545612 w 12192185"/>
              <a:gd name="connsiteY5077" fmla="*/ 2689304 h 6859062"/>
              <a:gd name="connsiteX5078" fmla="*/ 548611 w 12192185"/>
              <a:gd name="connsiteY5078" fmla="*/ 2682319 h 6859062"/>
              <a:gd name="connsiteX5079" fmla="*/ 567129 w 12192185"/>
              <a:gd name="connsiteY5079" fmla="*/ 2674905 h 6859062"/>
              <a:gd name="connsiteX5080" fmla="*/ 1810292 w 12192185"/>
              <a:gd name="connsiteY5080" fmla="*/ 2663879 h 6859062"/>
              <a:gd name="connsiteX5081" fmla="*/ 1805322 w 12192185"/>
              <a:gd name="connsiteY5081" fmla="*/ 2667018 h 6859062"/>
              <a:gd name="connsiteX5082" fmla="*/ 1779484 w 12192185"/>
              <a:gd name="connsiteY5082" fmla="*/ 2698946 h 6859062"/>
              <a:gd name="connsiteX5083" fmla="*/ 1741423 w 12192185"/>
              <a:gd name="connsiteY5083" fmla="*/ 2769334 h 6859062"/>
              <a:gd name="connsiteX5084" fmla="*/ 1743592 w 12192185"/>
              <a:gd name="connsiteY5084" fmla="*/ 2766688 h 6859062"/>
              <a:gd name="connsiteX5085" fmla="*/ 1781436 w 12192185"/>
              <a:gd name="connsiteY5085" fmla="*/ 2703093 h 6859062"/>
              <a:gd name="connsiteX5086" fmla="*/ 1850002 w 12192185"/>
              <a:gd name="connsiteY5086" fmla="*/ 2609913 h 6859062"/>
              <a:gd name="connsiteX5087" fmla="*/ 1842587 w 12192185"/>
              <a:gd name="connsiteY5087" fmla="*/ 2617521 h 6859062"/>
              <a:gd name="connsiteX5088" fmla="*/ 1834936 w 12192185"/>
              <a:gd name="connsiteY5088" fmla="*/ 2628603 h 6859062"/>
              <a:gd name="connsiteX5089" fmla="*/ 1834837 w 12192185"/>
              <a:gd name="connsiteY5089" fmla="*/ 2630524 h 6859062"/>
              <a:gd name="connsiteX5090" fmla="*/ 1873269 w 12192185"/>
              <a:gd name="connsiteY5090" fmla="*/ 2578253 h 6859062"/>
              <a:gd name="connsiteX5091" fmla="*/ 1873252 w 12192185"/>
              <a:gd name="connsiteY5091" fmla="*/ 2578317 h 6859062"/>
              <a:gd name="connsiteX5092" fmla="*/ 1873293 w 12192185"/>
              <a:gd name="connsiteY5092" fmla="*/ 2578260 h 6859062"/>
              <a:gd name="connsiteX5093" fmla="*/ 1875696 w 12192185"/>
              <a:gd name="connsiteY5093" fmla="*/ 2540530 h 6859062"/>
              <a:gd name="connsiteX5094" fmla="*/ 1874738 w 12192185"/>
              <a:gd name="connsiteY5094" fmla="*/ 2544109 h 6859062"/>
              <a:gd name="connsiteX5095" fmla="*/ 1873842 w 12192185"/>
              <a:gd name="connsiteY5095" fmla="*/ 2543870 h 6859062"/>
              <a:gd name="connsiteX5096" fmla="*/ 176869 w 12192185"/>
              <a:gd name="connsiteY5096" fmla="*/ 2514032 h 6859062"/>
              <a:gd name="connsiteX5097" fmla="*/ 180314 w 12192185"/>
              <a:gd name="connsiteY5097" fmla="*/ 2515980 h 6859062"/>
              <a:gd name="connsiteX5098" fmla="*/ 199439 w 12192185"/>
              <a:gd name="connsiteY5098" fmla="*/ 2517490 h 6859062"/>
              <a:gd name="connsiteX5099" fmla="*/ 205387 w 12192185"/>
              <a:gd name="connsiteY5099" fmla="*/ 2517928 h 6859062"/>
              <a:gd name="connsiteX5100" fmla="*/ 208554 w 12192185"/>
              <a:gd name="connsiteY5100" fmla="*/ 2520954 h 6859062"/>
              <a:gd name="connsiteX5101" fmla="*/ 213220 w 12192185"/>
              <a:gd name="connsiteY5101" fmla="*/ 2521198 h 6859062"/>
              <a:gd name="connsiteX5102" fmla="*/ 214147 w 12192185"/>
              <a:gd name="connsiteY5102" fmla="*/ 2519741 h 6859062"/>
              <a:gd name="connsiteX5103" fmla="*/ 236743 w 12192185"/>
              <a:gd name="connsiteY5103" fmla="*/ 2529238 h 6859062"/>
              <a:gd name="connsiteX5104" fmla="*/ 233492 w 12192185"/>
              <a:gd name="connsiteY5104" fmla="*/ 2530170 h 6859062"/>
              <a:gd name="connsiteX5105" fmla="*/ 230591 w 12192185"/>
              <a:gd name="connsiteY5105" fmla="*/ 2533048 h 6859062"/>
              <a:gd name="connsiteX5106" fmla="*/ 233552 w 12192185"/>
              <a:gd name="connsiteY5106" fmla="*/ 2536156 h 6859062"/>
              <a:gd name="connsiteX5107" fmla="*/ 236731 w 12192185"/>
              <a:gd name="connsiteY5107" fmla="*/ 2536291 h 6859062"/>
              <a:gd name="connsiteX5108" fmla="*/ 240297 w 12192185"/>
              <a:gd name="connsiteY5108" fmla="*/ 2542037 h 6859062"/>
              <a:gd name="connsiteX5109" fmla="*/ 239547 w 12192185"/>
              <a:gd name="connsiteY5109" fmla="*/ 2545471 h 6859062"/>
              <a:gd name="connsiteX5110" fmla="*/ 243186 w 12192185"/>
              <a:gd name="connsiteY5110" fmla="*/ 2546139 h 6859062"/>
              <a:gd name="connsiteX5111" fmla="*/ 245906 w 12192185"/>
              <a:gd name="connsiteY5111" fmla="*/ 2545741 h 6859062"/>
              <a:gd name="connsiteX5112" fmla="*/ 249416 w 12192185"/>
              <a:gd name="connsiteY5112" fmla="*/ 2546461 h 6859062"/>
              <a:gd name="connsiteX5113" fmla="*/ 249580 w 12192185"/>
              <a:gd name="connsiteY5113" fmla="*/ 2550001 h 6859062"/>
              <a:gd name="connsiteX5114" fmla="*/ 246411 w 12192185"/>
              <a:gd name="connsiteY5114" fmla="*/ 2559238 h 6859062"/>
              <a:gd name="connsiteX5115" fmla="*/ 248078 w 12192185"/>
              <a:gd name="connsiteY5115" fmla="*/ 2569131 h 6859062"/>
              <a:gd name="connsiteX5116" fmla="*/ 248633 w 12192185"/>
              <a:gd name="connsiteY5116" fmla="*/ 2575154 h 6859062"/>
              <a:gd name="connsiteX5117" fmla="*/ 247833 w 12192185"/>
              <a:gd name="connsiteY5117" fmla="*/ 2590150 h 6859062"/>
              <a:gd name="connsiteX5118" fmla="*/ 247034 w 12192185"/>
              <a:gd name="connsiteY5118" fmla="*/ 2592883 h 6859062"/>
              <a:gd name="connsiteX5119" fmla="*/ 225004 w 12192185"/>
              <a:gd name="connsiteY5119" fmla="*/ 2614689 h 6859062"/>
              <a:gd name="connsiteX5120" fmla="*/ 220156 w 12192185"/>
              <a:gd name="connsiteY5120" fmla="*/ 2616923 h 6859062"/>
              <a:gd name="connsiteX5121" fmla="*/ 207051 w 12192185"/>
              <a:gd name="connsiteY5121" fmla="*/ 2618949 h 6859062"/>
              <a:gd name="connsiteX5122" fmla="*/ 196098 w 12192185"/>
              <a:gd name="connsiteY5122" fmla="*/ 2621531 h 6859062"/>
              <a:gd name="connsiteX5123" fmla="*/ 192132 w 12192185"/>
              <a:gd name="connsiteY5123" fmla="*/ 2621238 h 6859062"/>
              <a:gd name="connsiteX5124" fmla="*/ 172754 w 12192185"/>
              <a:gd name="connsiteY5124" fmla="*/ 2615024 h 6859062"/>
              <a:gd name="connsiteX5125" fmla="*/ 169986 w 12192185"/>
              <a:gd name="connsiteY5125" fmla="*/ 2614720 h 6859062"/>
              <a:gd name="connsiteX5126" fmla="*/ 162234 w 12192185"/>
              <a:gd name="connsiteY5126" fmla="*/ 2628007 h 6859062"/>
              <a:gd name="connsiteX5127" fmla="*/ 160189 w 12192185"/>
              <a:gd name="connsiteY5127" fmla="*/ 2642313 h 6859062"/>
              <a:gd name="connsiteX5128" fmla="*/ 151203 w 12192185"/>
              <a:gd name="connsiteY5128" fmla="*/ 2660195 h 6859062"/>
              <a:gd name="connsiteX5129" fmla="*/ 148036 w 12192185"/>
              <a:gd name="connsiteY5129" fmla="*/ 2661258 h 6859062"/>
              <a:gd name="connsiteX5130" fmla="*/ 140769 w 12192185"/>
              <a:gd name="connsiteY5130" fmla="*/ 2665209 h 6859062"/>
              <a:gd name="connsiteX5131" fmla="*/ 131980 w 12192185"/>
              <a:gd name="connsiteY5131" fmla="*/ 2669546 h 6859062"/>
              <a:gd name="connsiteX5132" fmla="*/ 124509 w 12192185"/>
              <a:gd name="connsiteY5132" fmla="*/ 2669494 h 6859062"/>
              <a:gd name="connsiteX5133" fmla="*/ 103727 w 12192185"/>
              <a:gd name="connsiteY5133" fmla="*/ 2671551 h 6859062"/>
              <a:gd name="connsiteX5134" fmla="*/ 89112 w 12192185"/>
              <a:gd name="connsiteY5134" fmla="*/ 2666983 h 6859062"/>
              <a:gd name="connsiteX5135" fmla="*/ 86827 w 12192185"/>
              <a:gd name="connsiteY5135" fmla="*/ 2665519 h 6859062"/>
              <a:gd name="connsiteX5136" fmla="*/ 77495 w 12192185"/>
              <a:gd name="connsiteY5136" fmla="*/ 2656855 h 6859062"/>
              <a:gd name="connsiteX5137" fmla="*/ 74123 w 12192185"/>
              <a:gd name="connsiteY5137" fmla="*/ 2653915 h 6859062"/>
              <a:gd name="connsiteX5138" fmla="*/ 68722 w 12192185"/>
              <a:gd name="connsiteY5138" fmla="*/ 2637863 h 6859062"/>
              <a:gd name="connsiteX5139" fmla="*/ 66850 w 12192185"/>
              <a:gd name="connsiteY5139" fmla="*/ 2623967 h 6859062"/>
              <a:gd name="connsiteX5140" fmla="*/ 64542 w 12192185"/>
              <a:gd name="connsiteY5140" fmla="*/ 2620108 h 6859062"/>
              <a:gd name="connsiteX5141" fmla="*/ 61024 w 12192185"/>
              <a:gd name="connsiteY5141" fmla="*/ 2619151 h 6859062"/>
              <a:gd name="connsiteX5142" fmla="*/ 58849 w 12192185"/>
              <a:gd name="connsiteY5142" fmla="*/ 2616199 h 6859062"/>
              <a:gd name="connsiteX5143" fmla="*/ 62464 w 12192185"/>
              <a:gd name="connsiteY5143" fmla="*/ 2614471 h 6859062"/>
              <a:gd name="connsiteX5144" fmla="*/ 64530 w 12192185"/>
              <a:gd name="connsiteY5144" fmla="*/ 2614823 h 6859062"/>
              <a:gd name="connsiteX5145" fmla="*/ 71519 w 12192185"/>
              <a:gd name="connsiteY5145" fmla="*/ 2607862 h 6859062"/>
              <a:gd name="connsiteX5146" fmla="*/ 70746 w 12192185"/>
              <a:gd name="connsiteY5146" fmla="*/ 2604813 h 6859062"/>
              <a:gd name="connsiteX5147" fmla="*/ 71569 w 12192185"/>
              <a:gd name="connsiteY5147" fmla="*/ 2600387 h 6859062"/>
              <a:gd name="connsiteX5148" fmla="*/ 75534 w 12192185"/>
              <a:gd name="connsiteY5148" fmla="*/ 2600679 h 6859062"/>
              <a:gd name="connsiteX5149" fmla="*/ 80382 w 12192185"/>
              <a:gd name="connsiteY5149" fmla="*/ 2598445 h 6859062"/>
              <a:gd name="connsiteX5150" fmla="*/ 87432 w 12192185"/>
              <a:gd name="connsiteY5150" fmla="*/ 2589293 h 6859062"/>
              <a:gd name="connsiteX5151" fmla="*/ 89766 w 12192185"/>
              <a:gd name="connsiteY5151" fmla="*/ 2583283 h 6859062"/>
              <a:gd name="connsiteX5152" fmla="*/ 90069 w 12192185"/>
              <a:gd name="connsiteY5152" fmla="*/ 2580514 h 6859062"/>
              <a:gd name="connsiteX5153" fmla="*/ 92837 w 12192185"/>
              <a:gd name="connsiteY5153" fmla="*/ 2580818 h 6859062"/>
              <a:gd name="connsiteX5154" fmla="*/ 99051 w 12192185"/>
              <a:gd name="connsiteY5154" fmla="*/ 2583070 h 6859062"/>
              <a:gd name="connsiteX5155" fmla="*/ 110355 w 12192185"/>
              <a:gd name="connsiteY5155" fmla="*/ 2578420 h 6859062"/>
              <a:gd name="connsiteX5156" fmla="*/ 120209 w 12192185"/>
              <a:gd name="connsiteY5156" fmla="*/ 2569078 h 6859062"/>
              <a:gd name="connsiteX5157" fmla="*/ 124573 w 12192185"/>
              <a:gd name="connsiteY5157" fmla="*/ 2572091 h 6859062"/>
              <a:gd name="connsiteX5158" fmla="*/ 122856 w 12192185"/>
              <a:gd name="connsiteY5158" fmla="*/ 2577847 h 6859062"/>
              <a:gd name="connsiteX5159" fmla="*/ 123906 w 12192185"/>
              <a:gd name="connsiteY5159" fmla="*/ 2583906 h 6859062"/>
              <a:gd name="connsiteX5160" fmla="*/ 129855 w 12192185"/>
              <a:gd name="connsiteY5160" fmla="*/ 2580257 h 6859062"/>
              <a:gd name="connsiteX5161" fmla="*/ 131343 w 12192185"/>
              <a:gd name="connsiteY5161" fmla="*/ 2576278 h 6859062"/>
              <a:gd name="connsiteX5162" fmla="*/ 134788 w 12192185"/>
              <a:gd name="connsiteY5162" fmla="*/ 2574140 h 6859062"/>
              <a:gd name="connsiteX5163" fmla="*/ 135815 w 12192185"/>
              <a:gd name="connsiteY5163" fmla="*/ 2577805 h 6859062"/>
              <a:gd name="connsiteX5164" fmla="*/ 134871 w 12192185"/>
              <a:gd name="connsiteY5164" fmla="*/ 2582521 h 6859062"/>
              <a:gd name="connsiteX5165" fmla="*/ 137687 w 12192185"/>
              <a:gd name="connsiteY5165" fmla="*/ 2587614 h 6859062"/>
              <a:gd name="connsiteX5166" fmla="*/ 142209 w 12192185"/>
              <a:gd name="connsiteY5166" fmla="*/ 2585754 h 6859062"/>
              <a:gd name="connsiteX5167" fmla="*/ 139795 w 12192185"/>
              <a:gd name="connsiteY5167" fmla="*/ 2562944 h 6859062"/>
              <a:gd name="connsiteX5168" fmla="*/ 139615 w 12192185"/>
              <a:gd name="connsiteY5168" fmla="*/ 2557248 h 6859062"/>
              <a:gd name="connsiteX5169" fmla="*/ 146834 w 12192185"/>
              <a:gd name="connsiteY5169" fmla="*/ 2544420 h 6859062"/>
              <a:gd name="connsiteX5170" fmla="*/ 149265 w 12192185"/>
              <a:gd name="connsiteY5170" fmla="*/ 2539814 h 6859062"/>
              <a:gd name="connsiteX5171" fmla="*/ 161391 w 12192185"/>
              <a:gd name="connsiteY5171" fmla="*/ 2530737 h 6859062"/>
              <a:gd name="connsiteX5172" fmla="*/ 170882 w 12192185"/>
              <a:gd name="connsiteY5172" fmla="*/ 2526353 h 6859062"/>
              <a:gd name="connsiteX5173" fmla="*/ 176264 w 12192185"/>
              <a:gd name="connsiteY5173" fmla="*/ 2519570 h 6859062"/>
              <a:gd name="connsiteX5174" fmla="*/ 176009 w 12192185"/>
              <a:gd name="connsiteY5174" fmla="*/ 2518954 h 6859062"/>
              <a:gd name="connsiteX5175" fmla="*/ 176869 w 12192185"/>
              <a:gd name="connsiteY5175" fmla="*/ 2514032 h 6859062"/>
              <a:gd name="connsiteX5176" fmla="*/ 12018787 w 12192185"/>
              <a:gd name="connsiteY5176" fmla="*/ 2511040 h 6859062"/>
              <a:gd name="connsiteX5177" fmla="*/ 12026974 w 12192185"/>
              <a:gd name="connsiteY5177" fmla="*/ 2511646 h 6859062"/>
              <a:gd name="connsiteX5178" fmla="*/ 12040303 w 12192185"/>
              <a:gd name="connsiteY5178" fmla="*/ 2515104 h 6859062"/>
              <a:gd name="connsiteX5179" fmla="*/ 12045079 w 12192185"/>
              <a:gd name="connsiteY5179" fmla="*/ 2515457 h 6859062"/>
              <a:gd name="connsiteX5180" fmla="*/ 12047890 w 12192185"/>
              <a:gd name="connsiteY5180" fmla="*/ 2518274 h 6859062"/>
              <a:gd name="connsiteX5181" fmla="*/ 12052550 w 12192185"/>
              <a:gd name="connsiteY5181" fmla="*/ 2523974 h 6859062"/>
              <a:gd name="connsiteX5182" fmla="*/ 12054613 w 12192185"/>
              <a:gd name="connsiteY5182" fmla="*/ 2525774 h 6859062"/>
              <a:gd name="connsiteX5183" fmla="*/ 12059472 w 12192185"/>
              <a:gd name="connsiteY5183" fmla="*/ 2534370 h 6859062"/>
              <a:gd name="connsiteX5184" fmla="*/ 12060855 w 12192185"/>
              <a:gd name="connsiteY5184" fmla="*/ 2536120 h 6859062"/>
              <a:gd name="connsiteX5185" fmla="*/ 12056397 w 12192185"/>
              <a:gd name="connsiteY5185" fmla="*/ 2561465 h 6859062"/>
              <a:gd name="connsiteX5186" fmla="*/ 12047363 w 12192185"/>
              <a:gd name="connsiteY5186" fmla="*/ 2572466 h 6859062"/>
              <a:gd name="connsiteX5187" fmla="*/ 12043370 w 12192185"/>
              <a:gd name="connsiteY5187" fmla="*/ 2576427 h 6859062"/>
              <a:gd name="connsiteX5188" fmla="*/ 12038678 w 12192185"/>
              <a:gd name="connsiteY5188" fmla="*/ 2578688 h 6859062"/>
              <a:gd name="connsiteX5189" fmla="*/ 12034652 w 12192185"/>
              <a:gd name="connsiteY5189" fmla="*/ 2579351 h 6859062"/>
              <a:gd name="connsiteX5190" fmla="*/ 12026433 w 12192185"/>
              <a:gd name="connsiteY5190" fmla="*/ 2581077 h 6859062"/>
              <a:gd name="connsiteX5191" fmla="*/ 12023488 w 12192185"/>
              <a:gd name="connsiteY5191" fmla="*/ 2581956 h 6859062"/>
              <a:gd name="connsiteX5192" fmla="*/ 12016349 w 12192185"/>
              <a:gd name="connsiteY5192" fmla="*/ 2583900 h 6859062"/>
              <a:gd name="connsiteX5193" fmla="*/ 11999493 w 12192185"/>
              <a:gd name="connsiteY5193" fmla="*/ 2574277 h 6859062"/>
              <a:gd name="connsiteX5194" fmla="*/ 11995482 w 12192185"/>
              <a:gd name="connsiteY5194" fmla="*/ 2565330 h 6859062"/>
              <a:gd name="connsiteX5195" fmla="*/ 11992102 w 12192185"/>
              <a:gd name="connsiteY5195" fmla="*/ 2545859 h 6859062"/>
              <a:gd name="connsiteX5196" fmla="*/ 11992667 w 12192185"/>
              <a:gd name="connsiteY5196" fmla="*/ 2539997 h 6859062"/>
              <a:gd name="connsiteX5197" fmla="*/ 11994979 w 12192185"/>
              <a:gd name="connsiteY5197" fmla="*/ 2532755 h 6859062"/>
              <a:gd name="connsiteX5198" fmla="*/ 11998107 w 12192185"/>
              <a:gd name="connsiteY5198" fmla="*/ 2527494 h 6859062"/>
              <a:gd name="connsiteX5199" fmla="*/ 12008921 w 12192185"/>
              <a:gd name="connsiteY5199" fmla="*/ 2518410 h 6859062"/>
              <a:gd name="connsiteX5200" fmla="*/ 12015393 w 12192185"/>
              <a:gd name="connsiteY5200" fmla="*/ 2512436 h 6859062"/>
              <a:gd name="connsiteX5201" fmla="*/ 12018787 w 12192185"/>
              <a:gd name="connsiteY5201" fmla="*/ 2511040 h 6859062"/>
              <a:gd name="connsiteX5202" fmla="*/ 1914914 w 12192185"/>
              <a:gd name="connsiteY5202" fmla="*/ 2508827 h 6859062"/>
              <a:gd name="connsiteX5203" fmla="*/ 1892203 w 12192185"/>
              <a:gd name="connsiteY5203" fmla="*/ 2521928 h 6859062"/>
              <a:gd name="connsiteX5204" fmla="*/ 1897702 w 12192185"/>
              <a:gd name="connsiteY5204" fmla="*/ 2515729 h 6859062"/>
              <a:gd name="connsiteX5205" fmla="*/ 1903207 w 12192185"/>
              <a:gd name="connsiteY5205" fmla="*/ 2509526 h 6859062"/>
              <a:gd name="connsiteX5206" fmla="*/ 1898663 w 12192185"/>
              <a:gd name="connsiteY5206" fmla="*/ 2512147 h 6859062"/>
              <a:gd name="connsiteX5207" fmla="*/ 1893162 w 12192185"/>
              <a:gd name="connsiteY5207" fmla="*/ 2518348 h 6859062"/>
              <a:gd name="connsiteX5208" fmla="*/ 1888619 w 12192185"/>
              <a:gd name="connsiteY5208" fmla="*/ 2520966 h 6859062"/>
              <a:gd name="connsiteX5209" fmla="*/ 1873073 w 12192185"/>
              <a:gd name="connsiteY5209" fmla="*/ 2535988 h 6859062"/>
              <a:gd name="connsiteX5210" fmla="*/ 1872114 w 12192185"/>
              <a:gd name="connsiteY5210" fmla="*/ 2539570 h 6859062"/>
              <a:gd name="connsiteX5211" fmla="*/ 1871155 w 12192185"/>
              <a:gd name="connsiteY5211" fmla="*/ 2543147 h 6859062"/>
              <a:gd name="connsiteX5212" fmla="*/ 1873842 w 12192185"/>
              <a:gd name="connsiteY5212" fmla="*/ 2543870 h 6859062"/>
              <a:gd name="connsiteX5213" fmla="*/ 1871986 w 12192185"/>
              <a:gd name="connsiteY5213" fmla="*/ 2547208 h 6859062"/>
              <a:gd name="connsiteX5214" fmla="*/ 1868275 w 12192185"/>
              <a:gd name="connsiteY5214" fmla="*/ 2553891 h 6859062"/>
              <a:gd name="connsiteX5215" fmla="*/ 1889069 w 12192185"/>
              <a:gd name="connsiteY5215" fmla="*/ 2547949 h 6859062"/>
              <a:gd name="connsiteX5216" fmla="*/ 1874230 w 12192185"/>
              <a:gd name="connsiteY5216" fmla="*/ 2574672 h 6859062"/>
              <a:gd name="connsiteX5217" fmla="*/ 1874979 w 12192185"/>
              <a:gd name="connsiteY5217" fmla="*/ 2575969 h 6859062"/>
              <a:gd name="connsiteX5218" fmla="*/ 1889036 w 12192185"/>
              <a:gd name="connsiteY5218" fmla="*/ 2556867 h 6859062"/>
              <a:gd name="connsiteX5219" fmla="*/ 1921416 w 12192185"/>
              <a:gd name="connsiteY5219" fmla="*/ 2521543 h 6859062"/>
              <a:gd name="connsiteX5220" fmla="*/ 1915444 w 12192185"/>
              <a:gd name="connsiteY5220" fmla="*/ 2517602 h 6859062"/>
              <a:gd name="connsiteX5221" fmla="*/ 1914914 w 12192185"/>
              <a:gd name="connsiteY5221" fmla="*/ 2508827 h 6859062"/>
              <a:gd name="connsiteX5222" fmla="*/ 155803 w 12192185"/>
              <a:gd name="connsiteY5222" fmla="*/ 2495219 h 6859062"/>
              <a:gd name="connsiteX5223" fmla="*/ 156158 w 12192185"/>
              <a:gd name="connsiteY5223" fmla="*/ 2495369 h 6859062"/>
              <a:gd name="connsiteX5224" fmla="*/ 155885 w 12192185"/>
              <a:gd name="connsiteY5224" fmla="*/ 2495736 h 6859062"/>
              <a:gd name="connsiteX5225" fmla="*/ 1997000 w 12192185"/>
              <a:gd name="connsiteY5225" fmla="*/ 2439085 h 6859062"/>
              <a:gd name="connsiteX5226" fmla="*/ 1984697 w 12192185"/>
              <a:gd name="connsiteY5226" fmla="*/ 2450930 h 6859062"/>
              <a:gd name="connsiteX5227" fmla="*/ 1985280 w 12192185"/>
              <a:gd name="connsiteY5227" fmla="*/ 2451493 h 6859062"/>
              <a:gd name="connsiteX5228" fmla="*/ 1985427 w 12192185"/>
              <a:gd name="connsiteY5228" fmla="*/ 2451711 h 6859062"/>
              <a:gd name="connsiteX5229" fmla="*/ 2031006 w 12192185"/>
              <a:gd name="connsiteY5229" fmla="*/ 2424812 h 6859062"/>
              <a:gd name="connsiteX5230" fmla="*/ 2026461 w 12192185"/>
              <a:gd name="connsiteY5230" fmla="*/ 2433693 h 6859062"/>
              <a:gd name="connsiteX5231" fmla="*/ 2027424 w 12192185"/>
              <a:gd name="connsiteY5231" fmla="*/ 2432923 h 6859062"/>
              <a:gd name="connsiteX5232" fmla="*/ 2026813 w 12192185"/>
              <a:gd name="connsiteY5232" fmla="*/ 2435200 h 6859062"/>
              <a:gd name="connsiteX5233" fmla="*/ 2025219 w 12192185"/>
              <a:gd name="connsiteY5233" fmla="*/ 2436120 h 6859062"/>
              <a:gd name="connsiteX5234" fmla="*/ 2021986 w 12192185"/>
              <a:gd name="connsiteY5234" fmla="*/ 2442435 h 6859062"/>
              <a:gd name="connsiteX5235" fmla="*/ 2032315 w 12192185"/>
              <a:gd name="connsiteY5235" fmla="*/ 2428999 h 6859062"/>
              <a:gd name="connsiteX5236" fmla="*/ 2027424 w 12192185"/>
              <a:gd name="connsiteY5236" fmla="*/ 2432923 h 6859062"/>
              <a:gd name="connsiteX5237" fmla="*/ 2027772 w 12192185"/>
              <a:gd name="connsiteY5237" fmla="*/ 2431618 h 6859062"/>
              <a:gd name="connsiteX5238" fmla="*/ 2033274 w 12192185"/>
              <a:gd name="connsiteY5238" fmla="*/ 2425418 h 6859062"/>
              <a:gd name="connsiteX5239" fmla="*/ 1550906 w 12192185"/>
              <a:gd name="connsiteY5239" fmla="*/ 2424413 h 6859062"/>
              <a:gd name="connsiteX5240" fmla="*/ 1549731 w 12192185"/>
              <a:gd name="connsiteY5240" fmla="*/ 2428799 h 6859062"/>
              <a:gd name="connsiteX5241" fmla="*/ 1548555 w 12192185"/>
              <a:gd name="connsiteY5241" fmla="*/ 2433189 h 6859062"/>
              <a:gd name="connsiteX5242" fmla="*/ 1547624 w 12192185"/>
              <a:gd name="connsiteY5242" fmla="*/ 2434236 h 6859062"/>
              <a:gd name="connsiteX5243" fmla="*/ 673386 w 12192185"/>
              <a:gd name="connsiteY5243" fmla="*/ 2391736 h 6859062"/>
              <a:gd name="connsiteX5244" fmla="*/ 673878 w 12192185"/>
              <a:gd name="connsiteY5244" fmla="*/ 2392015 h 6859062"/>
              <a:gd name="connsiteX5245" fmla="*/ 673513 w 12192185"/>
              <a:gd name="connsiteY5245" fmla="*/ 2392215 h 6859062"/>
              <a:gd name="connsiteX5246" fmla="*/ 34054 w 12192185"/>
              <a:gd name="connsiteY5246" fmla="*/ 2362353 h 6859062"/>
              <a:gd name="connsiteX5247" fmla="*/ 41771 w 12192185"/>
              <a:gd name="connsiteY5247" fmla="*/ 2362360 h 6859062"/>
              <a:gd name="connsiteX5248" fmla="*/ 61198 w 12192185"/>
              <a:gd name="connsiteY5248" fmla="*/ 2364363 h 6859062"/>
              <a:gd name="connsiteX5249" fmla="*/ 90008 w 12192185"/>
              <a:gd name="connsiteY5249" fmla="*/ 2384767 h 6859062"/>
              <a:gd name="connsiteX5250" fmla="*/ 90351 w 12192185"/>
              <a:gd name="connsiteY5250" fmla="*/ 2387807 h 6859062"/>
              <a:gd name="connsiteX5251" fmla="*/ 93914 w 12192185"/>
              <a:gd name="connsiteY5251" fmla="*/ 2400878 h 6859062"/>
              <a:gd name="connsiteX5252" fmla="*/ 93640 w 12192185"/>
              <a:gd name="connsiteY5252" fmla="*/ 2404625 h 6859062"/>
              <a:gd name="connsiteX5253" fmla="*/ 94600 w 12192185"/>
              <a:gd name="connsiteY5253" fmla="*/ 2414679 h 6859062"/>
              <a:gd name="connsiteX5254" fmla="*/ 94578 w 12192185"/>
              <a:gd name="connsiteY5254" fmla="*/ 2420140 h 6859062"/>
              <a:gd name="connsiteX5255" fmla="*/ 90263 w 12192185"/>
              <a:gd name="connsiteY5255" fmla="*/ 2425095 h 6859062"/>
              <a:gd name="connsiteX5256" fmla="*/ 80610 w 12192185"/>
              <a:gd name="connsiteY5256" fmla="*/ 2441332 h 6859062"/>
              <a:gd name="connsiteX5257" fmla="*/ 73214 w 12192185"/>
              <a:gd name="connsiteY5257" fmla="*/ 2449826 h 6859062"/>
              <a:gd name="connsiteX5258" fmla="*/ 68558 w 12192185"/>
              <a:gd name="connsiteY5258" fmla="*/ 2451741 h 6859062"/>
              <a:gd name="connsiteX5259" fmla="*/ 56482 w 12192185"/>
              <a:gd name="connsiteY5259" fmla="*/ 2452166 h 6859062"/>
              <a:gd name="connsiteX5260" fmla="*/ 37170 w 12192185"/>
              <a:gd name="connsiteY5260" fmla="*/ 2453751 h 6859062"/>
              <a:gd name="connsiteX5261" fmla="*/ 29042 w 12192185"/>
              <a:gd name="connsiteY5261" fmla="*/ 2451642 h 6859062"/>
              <a:gd name="connsiteX5262" fmla="*/ 19797 w 12192185"/>
              <a:gd name="connsiteY5262" fmla="*/ 2446814 h 6859062"/>
              <a:gd name="connsiteX5263" fmla="*/ 13587 w 12192185"/>
              <a:gd name="connsiteY5263" fmla="*/ 2441645 h 6859062"/>
              <a:gd name="connsiteX5264" fmla="*/ 3020 w 12192185"/>
              <a:gd name="connsiteY5264" fmla="*/ 2432363 h 6859062"/>
              <a:gd name="connsiteX5265" fmla="*/ 0 w 12192185"/>
              <a:gd name="connsiteY5265" fmla="*/ 2424433 h 6859062"/>
              <a:gd name="connsiteX5266" fmla="*/ 0 w 12192185"/>
              <a:gd name="connsiteY5266" fmla="*/ 2382435 h 6859062"/>
              <a:gd name="connsiteX5267" fmla="*/ 500 w 12192185"/>
              <a:gd name="connsiteY5267" fmla="*/ 2381154 h 6859062"/>
              <a:gd name="connsiteX5268" fmla="*/ 9334 w 12192185"/>
              <a:gd name="connsiteY5268" fmla="*/ 2376158 h 6859062"/>
              <a:gd name="connsiteX5269" fmla="*/ 13054 w 12192185"/>
              <a:gd name="connsiteY5269" fmla="*/ 2374173 h 6859062"/>
              <a:gd name="connsiteX5270" fmla="*/ 22733 w 12192185"/>
              <a:gd name="connsiteY5270" fmla="*/ 2367920 h 6859062"/>
              <a:gd name="connsiteX5271" fmla="*/ 27298 w 12192185"/>
              <a:gd name="connsiteY5271" fmla="*/ 2364679 h 6859062"/>
              <a:gd name="connsiteX5272" fmla="*/ 34054 w 12192185"/>
              <a:gd name="connsiteY5272" fmla="*/ 2362353 h 6859062"/>
              <a:gd name="connsiteX5273" fmla="*/ 441146 w 12192185"/>
              <a:gd name="connsiteY5273" fmla="*/ 2349308 h 6859062"/>
              <a:gd name="connsiteX5274" fmla="*/ 448948 w 12192185"/>
              <a:gd name="connsiteY5274" fmla="*/ 2349886 h 6859062"/>
              <a:gd name="connsiteX5275" fmla="*/ 461649 w 12192185"/>
              <a:gd name="connsiteY5275" fmla="*/ 2353182 h 6859062"/>
              <a:gd name="connsiteX5276" fmla="*/ 466200 w 12192185"/>
              <a:gd name="connsiteY5276" fmla="*/ 2353519 h 6859062"/>
              <a:gd name="connsiteX5277" fmla="*/ 468880 w 12192185"/>
              <a:gd name="connsiteY5277" fmla="*/ 2356202 h 6859062"/>
              <a:gd name="connsiteX5278" fmla="*/ 473320 w 12192185"/>
              <a:gd name="connsiteY5278" fmla="*/ 2361634 h 6859062"/>
              <a:gd name="connsiteX5279" fmla="*/ 475286 w 12192185"/>
              <a:gd name="connsiteY5279" fmla="*/ 2363349 h 6859062"/>
              <a:gd name="connsiteX5280" fmla="*/ 479917 w 12192185"/>
              <a:gd name="connsiteY5280" fmla="*/ 2371541 h 6859062"/>
              <a:gd name="connsiteX5281" fmla="*/ 481234 w 12192185"/>
              <a:gd name="connsiteY5281" fmla="*/ 2373209 h 6859062"/>
              <a:gd name="connsiteX5282" fmla="*/ 476987 w 12192185"/>
              <a:gd name="connsiteY5282" fmla="*/ 2397361 h 6859062"/>
              <a:gd name="connsiteX5283" fmla="*/ 468377 w 12192185"/>
              <a:gd name="connsiteY5283" fmla="*/ 2407844 h 6859062"/>
              <a:gd name="connsiteX5284" fmla="*/ 464572 w 12192185"/>
              <a:gd name="connsiteY5284" fmla="*/ 2411619 h 6859062"/>
              <a:gd name="connsiteX5285" fmla="*/ 460101 w 12192185"/>
              <a:gd name="connsiteY5285" fmla="*/ 2413773 h 6859062"/>
              <a:gd name="connsiteX5286" fmla="*/ 456264 w 12192185"/>
              <a:gd name="connsiteY5286" fmla="*/ 2414405 h 6859062"/>
              <a:gd name="connsiteX5287" fmla="*/ 448432 w 12192185"/>
              <a:gd name="connsiteY5287" fmla="*/ 2416050 h 6859062"/>
              <a:gd name="connsiteX5288" fmla="*/ 445625 w 12192185"/>
              <a:gd name="connsiteY5288" fmla="*/ 2416888 h 6859062"/>
              <a:gd name="connsiteX5289" fmla="*/ 438824 w 12192185"/>
              <a:gd name="connsiteY5289" fmla="*/ 2418739 h 6859062"/>
              <a:gd name="connsiteX5290" fmla="*/ 422760 w 12192185"/>
              <a:gd name="connsiteY5290" fmla="*/ 2409570 h 6859062"/>
              <a:gd name="connsiteX5291" fmla="*/ 418938 w 12192185"/>
              <a:gd name="connsiteY5291" fmla="*/ 2401045 h 6859062"/>
              <a:gd name="connsiteX5292" fmla="*/ 415718 w 12192185"/>
              <a:gd name="connsiteY5292" fmla="*/ 2382490 h 6859062"/>
              <a:gd name="connsiteX5293" fmla="*/ 416256 w 12192185"/>
              <a:gd name="connsiteY5293" fmla="*/ 2376903 h 6859062"/>
              <a:gd name="connsiteX5294" fmla="*/ 418459 w 12192185"/>
              <a:gd name="connsiteY5294" fmla="*/ 2370001 h 6859062"/>
              <a:gd name="connsiteX5295" fmla="*/ 421440 w 12192185"/>
              <a:gd name="connsiteY5295" fmla="*/ 2364989 h 6859062"/>
              <a:gd name="connsiteX5296" fmla="*/ 431745 w 12192185"/>
              <a:gd name="connsiteY5296" fmla="*/ 2356332 h 6859062"/>
              <a:gd name="connsiteX5297" fmla="*/ 437913 w 12192185"/>
              <a:gd name="connsiteY5297" fmla="*/ 2350640 h 6859062"/>
              <a:gd name="connsiteX5298" fmla="*/ 441146 w 12192185"/>
              <a:gd name="connsiteY5298" fmla="*/ 2349308 h 6859062"/>
              <a:gd name="connsiteX5299" fmla="*/ 829437 w 12192185"/>
              <a:gd name="connsiteY5299" fmla="*/ 2305154 h 6859062"/>
              <a:gd name="connsiteX5300" fmla="*/ 843693 w 12192185"/>
              <a:gd name="connsiteY5300" fmla="*/ 2309680 h 6859062"/>
              <a:gd name="connsiteX5301" fmla="*/ 857498 w 12192185"/>
              <a:gd name="connsiteY5301" fmla="*/ 2314138 h 6859062"/>
              <a:gd name="connsiteX5302" fmla="*/ 874371 w 12192185"/>
              <a:gd name="connsiteY5302" fmla="*/ 2337376 h 6859062"/>
              <a:gd name="connsiteX5303" fmla="*/ 872665 w 12192185"/>
              <a:gd name="connsiteY5303" fmla="*/ 2348188 h 6859062"/>
              <a:gd name="connsiteX5304" fmla="*/ 871846 w 12192185"/>
              <a:gd name="connsiteY5304" fmla="*/ 2352662 h 6859062"/>
              <a:gd name="connsiteX5305" fmla="*/ 870634 w 12192185"/>
              <a:gd name="connsiteY5305" fmla="*/ 2365029 h 6859062"/>
              <a:gd name="connsiteX5306" fmla="*/ 870309 w 12192185"/>
              <a:gd name="connsiteY5306" fmla="*/ 2371059 h 6859062"/>
              <a:gd name="connsiteX5307" fmla="*/ 867740 w 12192185"/>
              <a:gd name="connsiteY5307" fmla="*/ 2378324 h 6859062"/>
              <a:gd name="connsiteX5308" fmla="*/ 862559 w 12192185"/>
              <a:gd name="connsiteY5308" fmla="*/ 2384836 h 6859062"/>
              <a:gd name="connsiteX5309" fmla="*/ 847837 w 12192185"/>
              <a:gd name="connsiteY5309" fmla="*/ 2399897 h 6859062"/>
              <a:gd name="connsiteX5310" fmla="*/ 811280 w 12192185"/>
              <a:gd name="connsiteY5310" fmla="*/ 2410542 h 6859062"/>
              <a:gd name="connsiteX5311" fmla="*/ 808484 w 12192185"/>
              <a:gd name="connsiteY5311" fmla="*/ 2408792 h 6859062"/>
              <a:gd name="connsiteX5312" fmla="*/ 795056 w 12192185"/>
              <a:gd name="connsiteY5312" fmla="*/ 2403032 h 6859062"/>
              <a:gd name="connsiteX5313" fmla="*/ 792074 w 12192185"/>
              <a:gd name="connsiteY5313" fmla="*/ 2400285 h 6859062"/>
              <a:gd name="connsiteX5314" fmla="*/ 782940 w 12192185"/>
              <a:gd name="connsiteY5314" fmla="*/ 2394354 h 6859062"/>
              <a:gd name="connsiteX5315" fmla="*/ 778344 w 12192185"/>
              <a:gd name="connsiteY5315" fmla="*/ 2390672 h 6859062"/>
              <a:gd name="connsiteX5316" fmla="*/ 777053 w 12192185"/>
              <a:gd name="connsiteY5316" fmla="*/ 2383706 h 6859062"/>
              <a:gd name="connsiteX5317" fmla="*/ 769817 w 12192185"/>
              <a:gd name="connsiteY5317" fmla="*/ 2364661 h 6859062"/>
              <a:gd name="connsiteX5318" fmla="*/ 767604 w 12192185"/>
              <a:gd name="connsiteY5318" fmla="*/ 2352718 h 6859062"/>
              <a:gd name="connsiteX5319" fmla="*/ 769111 w 12192185"/>
              <a:gd name="connsiteY5319" fmla="*/ 2347502 h 6859062"/>
              <a:gd name="connsiteX5320" fmla="*/ 776853 w 12192185"/>
              <a:gd name="connsiteY5320" fmla="*/ 2337018 h 6859062"/>
              <a:gd name="connsiteX5321" fmla="*/ 788468 w 12192185"/>
              <a:gd name="connsiteY5321" fmla="*/ 2319647 h 6859062"/>
              <a:gd name="connsiteX5322" fmla="*/ 795700 w 12192185"/>
              <a:gd name="connsiteY5322" fmla="*/ 2314198 h 6859062"/>
              <a:gd name="connsiteX5323" fmla="*/ 805980 w 12192185"/>
              <a:gd name="connsiteY5323" fmla="*/ 2309629 h 6859062"/>
              <a:gd name="connsiteX5324" fmla="*/ 814510 w 12192185"/>
              <a:gd name="connsiteY5324" fmla="*/ 2307852 h 6859062"/>
              <a:gd name="connsiteX5325" fmla="*/ 829437 w 12192185"/>
              <a:gd name="connsiteY5325" fmla="*/ 2305154 h 6859062"/>
              <a:gd name="connsiteX5326" fmla="*/ 1713326 w 12192185"/>
              <a:gd name="connsiteY5326" fmla="*/ 2289186 h 6859062"/>
              <a:gd name="connsiteX5327" fmla="*/ 1714088 w 12192185"/>
              <a:gd name="connsiteY5327" fmla="*/ 2289389 h 6859062"/>
              <a:gd name="connsiteX5328" fmla="*/ 1708684 w 12192185"/>
              <a:gd name="connsiteY5328" fmla="*/ 2295402 h 6859062"/>
              <a:gd name="connsiteX5329" fmla="*/ 1724257 w 12192185"/>
              <a:gd name="connsiteY5329" fmla="*/ 2276097 h 6859062"/>
              <a:gd name="connsiteX5330" fmla="*/ 1719183 w 12192185"/>
              <a:gd name="connsiteY5330" fmla="*/ 2281348 h 6859062"/>
              <a:gd name="connsiteX5331" fmla="*/ 1713326 w 12192185"/>
              <a:gd name="connsiteY5331" fmla="*/ 2289186 h 6859062"/>
              <a:gd name="connsiteX5332" fmla="*/ 1709699 w 12192185"/>
              <a:gd name="connsiteY5332" fmla="*/ 2288213 h 6859062"/>
              <a:gd name="connsiteX5333" fmla="*/ 1722005 w 12192185"/>
              <a:gd name="connsiteY5333" fmla="*/ 2277398 h 6859062"/>
              <a:gd name="connsiteX5334" fmla="*/ 1731858 w 12192185"/>
              <a:gd name="connsiteY5334" fmla="*/ 2269343 h 6859062"/>
              <a:gd name="connsiteX5335" fmla="*/ 1727568 w 12192185"/>
              <a:gd name="connsiteY5335" fmla="*/ 2274180 h 6859062"/>
              <a:gd name="connsiteX5336" fmla="*/ 1724257 w 12192185"/>
              <a:gd name="connsiteY5336" fmla="*/ 2276097 h 6859062"/>
              <a:gd name="connsiteX5337" fmla="*/ 1730470 w 12192185"/>
              <a:gd name="connsiteY5337" fmla="*/ 2269667 h 6859062"/>
              <a:gd name="connsiteX5338" fmla="*/ 1741050 w 12192185"/>
              <a:gd name="connsiteY5338" fmla="*/ 2258980 h 6859062"/>
              <a:gd name="connsiteX5339" fmla="*/ 1738698 w 12192185"/>
              <a:gd name="connsiteY5339" fmla="*/ 2267757 h 6859062"/>
              <a:gd name="connsiteX5340" fmla="*/ 1731858 w 12192185"/>
              <a:gd name="connsiteY5340" fmla="*/ 2269343 h 6859062"/>
              <a:gd name="connsiteX5341" fmla="*/ 1734309 w 12192185"/>
              <a:gd name="connsiteY5341" fmla="*/ 2266585 h 6859062"/>
              <a:gd name="connsiteX5342" fmla="*/ 1735485 w 12192185"/>
              <a:gd name="connsiteY5342" fmla="*/ 2262191 h 6859062"/>
              <a:gd name="connsiteX5343" fmla="*/ 1741050 w 12192185"/>
              <a:gd name="connsiteY5343" fmla="*/ 2258980 h 6859062"/>
              <a:gd name="connsiteX5344" fmla="*/ 12047544 w 12192185"/>
              <a:gd name="connsiteY5344" fmla="*/ 2247450 h 6859062"/>
              <a:gd name="connsiteX5345" fmla="*/ 12055161 w 12192185"/>
              <a:gd name="connsiteY5345" fmla="*/ 2248013 h 6859062"/>
              <a:gd name="connsiteX5346" fmla="*/ 12067565 w 12192185"/>
              <a:gd name="connsiteY5346" fmla="*/ 2251232 h 6859062"/>
              <a:gd name="connsiteX5347" fmla="*/ 12072009 w 12192185"/>
              <a:gd name="connsiteY5347" fmla="*/ 2251561 h 6859062"/>
              <a:gd name="connsiteX5348" fmla="*/ 12074626 w 12192185"/>
              <a:gd name="connsiteY5348" fmla="*/ 2254182 h 6859062"/>
              <a:gd name="connsiteX5349" fmla="*/ 12078961 w 12192185"/>
              <a:gd name="connsiteY5349" fmla="*/ 2259486 h 6859062"/>
              <a:gd name="connsiteX5350" fmla="*/ 12080883 w 12192185"/>
              <a:gd name="connsiteY5350" fmla="*/ 2261161 h 6859062"/>
              <a:gd name="connsiteX5351" fmla="*/ 12085404 w 12192185"/>
              <a:gd name="connsiteY5351" fmla="*/ 2269162 h 6859062"/>
              <a:gd name="connsiteX5352" fmla="*/ 12086690 w 12192185"/>
              <a:gd name="connsiteY5352" fmla="*/ 2270789 h 6859062"/>
              <a:gd name="connsiteX5353" fmla="*/ 12082542 w 12192185"/>
              <a:gd name="connsiteY5353" fmla="*/ 2294375 h 6859062"/>
              <a:gd name="connsiteX5354" fmla="*/ 12074136 w 12192185"/>
              <a:gd name="connsiteY5354" fmla="*/ 2304612 h 6859062"/>
              <a:gd name="connsiteX5355" fmla="*/ 12070420 w 12192185"/>
              <a:gd name="connsiteY5355" fmla="*/ 2308298 h 6859062"/>
              <a:gd name="connsiteX5356" fmla="*/ 12066053 w 12192185"/>
              <a:gd name="connsiteY5356" fmla="*/ 2310402 h 6859062"/>
              <a:gd name="connsiteX5357" fmla="*/ 12062306 w 12192185"/>
              <a:gd name="connsiteY5357" fmla="*/ 2311019 h 6859062"/>
              <a:gd name="connsiteX5358" fmla="*/ 12054658 w 12192185"/>
              <a:gd name="connsiteY5358" fmla="*/ 2312625 h 6859062"/>
              <a:gd name="connsiteX5359" fmla="*/ 12051917 w 12192185"/>
              <a:gd name="connsiteY5359" fmla="*/ 2313444 h 6859062"/>
              <a:gd name="connsiteX5360" fmla="*/ 12045275 w 12192185"/>
              <a:gd name="connsiteY5360" fmla="*/ 2315252 h 6859062"/>
              <a:gd name="connsiteX5361" fmla="*/ 12029589 w 12192185"/>
              <a:gd name="connsiteY5361" fmla="*/ 2306297 h 6859062"/>
              <a:gd name="connsiteX5362" fmla="*/ 12025857 w 12192185"/>
              <a:gd name="connsiteY5362" fmla="*/ 2297972 h 6859062"/>
              <a:gd name="connsiteX5363" fmla="*/ 12022711 w 12192185"/>
              <a:gd name="connsiteY5363" fmla="*/ 2279852 h 6859062"/>
              <a:gd name="connsiteX5364" fmla="*/ 12023238 w 12192185"/>
              <a:gd name="connsiteY5364" fmla="*/ 2274397 h 6859062"/>
              <a:gd name="connsiteX5365" fmla="*/ 12025388 w 12192185"/>
              <a:gd name="connsiteY5365" fmla="*/ 2267657 h 6859062"/>
              <a:gd name="connsiteX5366" fmla="*/ 12028298 w 12192185"/>
              <a:gd name="connsiteY5366" fmla="*/ 2262762 h 6859062"/>
              <a:gd name="connsiteX5367" fmla="*/ 12038362 w 12192185"/>
              <a:gd name="connsiteY5367" fmla="*/ 2254308 h 6859062"/>
              <a:gd name="connsiteX5368" fmla="*/ 12044385 w 12192185"/>
              <a:gd name="connsiteY5368" fmla="*/ 2248750 h 6859062"/>
              <a:gd name="connsiteX5369" fmla="*/ 12047544 w 12192185"/>
              <a:gd name="connsiteY5369" fmla="*/ 2247450 h 6859062"/>
              <a:gd name="connsiteX5370" fmla="*/ 594653 w 12192185"/>
              <a:gd name="connsiteY5370" fmla="*/ 2216586 h 6859062"/>
              <a:gd name="connsiteX5371" fmla="*/ 611831 w 12192185"/>
              <a:gd name="connsiteY5371" fmla="*/ 2222792 h 6859062"/>
              <a:gd name="connsiteX5372" fmla="*/ 624821 w 12192185"/>
              <a:gd name="connsiteY5372" fmla="*/ 2230534 h 6859062"/>
              <a:gd name="connsiteX5373" fmla="*/ 629628 w 12192185"/>
              <a:gd name="connsiteY5373" fmla="*/ 2231173 h 6859062"/>
              <a:gd name="connsiteX5374" fmla="*/ 632797 w 12192185"/>
              <a:gd name="connsiteY5374" fmla="*/ 2228844 h 6859062"/>
              <a:gd name="connsiteX5375" fmla="*/ 636749 w 12192185"/>
              <a:gd name="connsiteY5375" fmla="*/ 2228987 h 6859062"/>
              <a:gd name="connsiteX5376" fmla="*/ 635783 w 12192185"/>
              <a:gd name="connsiteY5376" fmla="*/ 2233199 h 6859062"/>
              <a:gd name="connsiteX5377" fmla="*/ 634099 w 12192185"/>
              <a:gd name="connsiteY5377" fmla="*/ 2234708 h 6859062"/>
              <a:gd name="connsiteX5378" fmla="*/ 635291 w 12192185"/>
              <a:gd name="connsiteY5378" fmla="*/ 2245280 h 6859062"/>
              <a:gd name="connsiteX5379" fmla="*/ 638383 w 12192185"/>
              <a:gd name="connsiteY5379" fmla="*/ 2246672 h 6859062"/>
              <a:gd name="connsiteX5380" fmla="*/ 641569 w 12192185"/>
              <a:gd name="connsiteY5380" fmla="*/ 2250336 h 6859062"/>
              <a:gd name="connsiteX5381" fmla="*/ 638662 w 12192185"/>
              <a:gd name="connsiteY5381" fmla="*/ 2253489 h 6859062"/>
              <a:gd name="connsiteX5382" fmla="*/ 637298 w 12192185"/>
              <a:gd name="connsiteY5382" fmla="*/ 2259081 h 6859062"/>
              <a:gd name="connsiteX5383" fmla="*/ 640297 w 12192185"/>
              <a:gd name="connsiteY5383" fmla="*/ 2271174 h 6859062"/>
              <a:gd name="connsiteX5384" fmla="*/ 643806 w 12192185"/>
              <a:gd name="connsiteY5384" fmla="*/ 2277175 h 6859062"/>
              <a:gd name="connsiteX5385" fmla="*/ 645942 w 12192185"/>
              <a:gd name="connsiteY5385" fmla="*/ 2279289 h 6859062"/>
              <a:gd name="connsiteX5386" fmla="*/ 643828 w 12192185"/>
              <a:gd name="connsiteY5386" fmla="*/ 2281423 h 6859062"/>
              <a:gd name="connsiteX5387" fmla="*/ 637757 w 12192185"/>
              <a:gd name="connsiteY5387" fmla="*/ 2285159 h 6859062"/>
              <a:gd name="connsiteX5388" fmla="*/ 634102 w 12192185"/>
              <a:gd name="connsiteY5388" fmla="*/ 2297825 h 6859062"/>
              <a:gd name="connsiteX5389" fmla="*/ 635382 w 12192185"/>
              <a:gd name="connsiteY5389" fmla="*/ 2312414 h 6859062"/>
              <a:gd name="connsiteX5390" fmla="*/ 629910 w 12192185"/>
              <a:gd name="connsiteY5390" fmla="*/ 2314077 h 6859062"/>
              <a:gd name="connsiteX5391" fmla="*/ 626202 w 12192185"/>
              <a:gd name="connsiteY5391" fmla="*/ 2308767 h 6859062"/>
              <a:gd name="connsiteX5392" fmla="*/ 620380 w 12192185"/>
              <a:gd name="connsiteY5392" fmla="*/ 2305588 h 6859062"/>
              <a:gd name="connsiteX5393" fmla="*/ 619471 w 12192185"/>
              <a:gd name="connsiteY5393" fmla="*/ 2313060 h 6859062"/>
              <a:gd name="connsiteX5394" fmla="*/ 621832 w 12192185"/>
              <a:gd name="connsiteY5394" fmla="*/ 2316984 h 6859062"/>
              <a:gd name="connsiteX5395" fmla="*/ 621328 w 12192185"/>
              <a:gd name="connsiteY5395" fmla="*/ 2321330 h 6859062"/>
              <a:gd name="connsiteX5396" fmla="*/ 617544 w 12192185"/>
              <a:gd name="connsiteY5396" fmla="*/ 2319739 h 6859062"/>
              <a:gd name="connsiteX5397" fmla="*/ 614194 w 12192185"/>
              <a:gd name="connsiteY5397" fmla="*/ 2315778 h 6859062"/>
              <a:gd name="connsiteX5398" fmla="*/ 608005 w 12192185"/>
              <a:gd name="connsiteY5398" fmla="*/ 2314740 h 6859062"/>
              <a:gd name="connsiteX5399" fmla="*/ 606543 w 12192185"/>
              <a:gd name="connsiteY5399" fmla="*/ 2319806 h 6859062"/>
              <a:gd name="connsiteX5400" fmla="*/ 627424 w 12192185"/>
              <a:gd name="connsiteY5400" fmla="*/ 2333068 h 6859062"/>
              <a:gd name="connsiteX5401" fmla="*/ 632356 w 12192185"/>
              <a:gd name="connsiteY5401" fmla="*/ 2336736 h 6859062"/>
              <a:gd name="connsiteX5402" fmla="*/ 638345 w 12192185"/>
              <a:gd name="connsiteY5402" fmla="*/ 2351438 h 6859062"/>
              <a:gd name="connsiteX5403" fmla="*/ 640605 w 12192185"/>
              <a:gd name="connsiteY5403" fmla="*/ 2356580 h 6859062"/>
              <a:gd name="connsiteX5404" fmla="*/ 640134 w 12192185"/>
              <a:gd name="connsiteY5404" fmla="*/ 2372909 h 6859062"/>
              <a:gd name="connsiteX5405" fmla="*/ 637472 w 12192185"/>
              <a:gd name="connsiteY5405" fmla="*/ 2383865 h 6859062"/>
              <a:gd name="connsiteX5406" fmla="*/ 639590 w 12192185"/>
              <a:gd name="connsiteY5406" fmla="*/ 2392959 h 6859062"/>
              <a:gd name="connsiteX5407" fmla="*/ 640280 w 12192185"/>
              <a:gd name="connsiteY5407" fmla="*/ 2393158 h 6859062"/>
              <a:gd name="connsiteX5408" fmla="*/ 643860 w 12192185"/>
              <a:gd name="connsiteY5408" fmla="*/ 2397184 h 6859062"/>
              <a:gd name="connsiteX5409" fmla="*/ 639904 w 12192185"/>
              <a:gd name="connsiteY5409" fmla="*/ 2398784 h 6859062"/>
              <a:gd name="connsiteX5410" fmla="*/ 625801 w 12192185"/>
              <a:gd name="connsiteY5410" fmla="*/ 2413925 h 6859062"/>
              <a:gd name="connsiteX5411" fmla="*/ 621441 w 12192185"/>
              <a:gd name="connsiteY5411" fmla="*/ 2418654 h 6859062"/>
              <a:gd name="connsiteX5412" fmla="*/ 616761 w 12192185"/>
              <a:gd name="connsiteY5412" fmla="*/ 2419300 h 6859062"/>
              <a:gd name="connsiteX5413" fmla="*/ 613425 w 12192185"/>
              <a:gd name="connsiteY5413" fmla="*/ 2423076 h 6859062"/>
              <a:gd name="connsiteX5414" fmla="*/ 614034 w 12192185"/>
              <a:gd name="connsiteY5414" fmla="*/ 2424836 h 6859062"/>
              <a:gd name="connsiteX5415" fmla="*/ 590857 w 12192185"/>
              <a:gd name="connsiteY5415" fmla="*/ 2437548 h 6859062"/>
              <a:gd name="connsiteX5416" fmla="*/ 592250 w 12192185"/>
              <a:gd name="connsiteY5416" fmla="*/ 2434178 h 6859062"/>
              <a:gd name="connsiteX5417" fmla="*/ 591768 w 12192185"/>
              <a:gd name="connsiteY5417" fmla="*/ 2429797 h 6859062"/>
              <a:gd name="connsiteX5418" fmla="*/ 587155 w 12192185"/>
              <a:gd name="connsiteY5418" fmla="*/ 2430212 h 6859062"/>
              <a:gd name="connsiteX5419" fmla="*/ 584909 w 12192185"/>
              <a:gd name="connsiteY5419" fmla="*/ 2432806 h 6859062"/>
              <a:gd name="connsiteX5420" fmla="*/ 577664 w 12192185"/>
              <a:gd name="connsiteY5420" fmla="*/ 2431963 h 6859062"/>
              <a:gd name="connsiteX5421" fmla="*/ 575267 w 12192185"/>
              <a:gd name="connsiteY5421" fmla="*/ 2429027 h 6859062"/>
              <a:gd name="connsiteX5422" fmla="*/ 572263 w 12192185"/>
              <a:gd name="connsiteY5422" fmla="*/ 2431651 h 6859062"/>
              <a:gd name="connsiteX5423" fmla="*/ 570774 w 12192185"/>
              <a:gd name="connsiteY5423" fmla="*/ 2434216 h 6859062"/>
              <a:gd name="connsiteX5424" fmla="*/ 567812 w 12192185"/>
              <a:gd name="connsiteY5424" fmla="*/ 2436696 h 6859062"/>
              <a:gd name="connsiteX5425" fmla="*/ 564713 w 12192185"/>
              <a:gd name="connsiteY5425" fmla="*/ 2434462 h 6859062"/>
              <a:gd name="connsiteX5426" fmla="*/ 559038 w 12192185"/>
              <a:gd name="connsiteY5426" fmla="*/ 2425590 h 6859062"/>
              <a:gd name="connsiteX5427" fmla="*/ 549565 w 12192185"/>
              <a:gd name="connsiteY5427" fmla="*/ 2420359 h 6859062"/>
              <a:gd name="connsiteX5428" fmla="*/ 544106 w 12192185"/>
              <a:gd name="connsiteY5428" fmla="*/ 2416788 h 6859062"/>
              <a:gd name="connsiteX5429" fmla="*/ 531979 w 12192185"/>
              <a:gd name="connsiteY5429" fmla="*/ 2406054 h 6859062"/>
              <a:gd name="connsiteX5430" fmla="*/ 530208 w 12192185"/>
              <a:gd name="connsiteY5430" fmla="*/ 2403547 h 6859062"/>
              <a:gd name="connsiteX5431" fmla="*/ 526570 w 12192185"/>
              <a:gd name="connsiteY5431" fmla="*/ 2370315 h 6859062"/>
              <a:gd name="connsiteX5432" fmla="*/ 527935 w 12192185"/>
              <a:gd name="connsiteY5432" fmla="*/ 2364722 h 6859062"/>
              <a:gd name="connsiteX5433" fmla="*/ 535016 w 12192185"/>
              <a:gd name="connsiteY5433" fmla="*/ 2352298 h 6859062"/>
              <a:gd name="connsiteX5434" fmla="*/ 540182 w 12192185"/>
              <a:gd name="connsiteY5434" fmla="*/ 2341314 h 6859062"/>
              <a:gd name="connsiteX5435" fmla="*/ 543089 w 12192185"/>
              <a:gd name="connsiteY5435" fmla="*/ 2338162 h 6859062"/>
              <a:gd name="connsiteX5436" fmla="*/ 561335 w 12192185"/>
              <a:gd name="connsiteY5436" fmla="*/ 2325967 h 6859062"/>
              <a:gd name="connsiteX5437" fmla="*/ 563449 w 12192185"/>
              <a:gd name="connsiteY5437" fmla="*/ 2323832 h 6859062"/>
              <a:gd name="connsiteX5438" fmla="*/ 557428 w 12192185"/>
              <a:gd name="connsiteY5438" fmla="*/ 2308374 h 6859062"/>
              <a:gd name="connsiteX5439" fmla="*/ 546718 w 12192185"/>
              <a:gd name="connsiteY5439" fmla="*/ 2297050 h 6859062"/>
              <a:gd name="connsiteX5440" fmla="*/ 537646 w 12192185"/>
              <a:gd name="connsiteY5440" fmla="*/ 2277467 h 6859062"/>
              <a:gd name="connsiteX5441" fmla="*/ 538873 w 12192185"/>
              <a:gd name="connsiteY5441" fmla="*/ 2274079 h 6859062"/>
              <a:gd name="connsiteX5442" fmla="*/ 540411 w 12192185"/>
              <a:gd name="connsiteY5442" fmla="*/ 2265293 h 6859062"/>
              <a:gd name="connsiteX5443" fmla="*/ 542643 w 12192185"/>
              <a:gd name="connsiteY5443" fmla="*/ 2254962 h 6859062"/>
              <a:gd name="connsiteX5444" fmla="*/ 547699 w 12192185"/>
              <a:gd name="connsiteY5444" fmla="*/ 2248687 h 6859062"/>
              <a:gd name="connsiteX5445" fmla="*/ 559902 w 12192185"/>
              <a:gd name="connsiteY5445" fmla="*/ 2229757 h 6859062"/>
              <a:gd name="connsiteX5446" fmla="*/ 573562 w 12192185"/>
              <a:gd name="connsiteY5446" fmla="*/ 2220478 h 6859062"/>
              <a:gd name="connsiteX5447" fmla="*/ 576331 w 12192185"/>
              <a:gd name="connsiteY5447" fmla="*/ 2219531 h 6859062"/>
              <a:gd name="connsiteX5448" fmla="*/ 589907 w 12192185"/>
              <a:gd name="connsiteY5448" fmla="*/ 2217463 h 6859062"/>
              <a:gd name="connsiteX5449" fmla="*/ 594653 w 12192185"/>
              <a:gd name="connsiteY5449" fmla="*/ 2216586 h 6859062"/>
              <a:gd name="connsiteX5450" fmla="*/ 1713685 w 12192185"/>
              <a:gd name="connsiteY5450" fmla="*/ 2198744 h 6859062"/>
              <a:gd name="connsiteX5451" fmla="*/ 1718875 w 12192185"/>
              <a:gd name="connsiteY5451" fmla="*/ 2201309 h 6859062"/>
              <a:gd name="connsiteX5452" fmla="*/ 1713311 w 12192185"/>
              <a:gd name="connsiteY5452" fmla="*/ 2204523 h 6859062"/>
              <a:gd name="connsiteX5453" fmla="*/ 1713685 w 12192185"/>
              <a:gd name="connsiteY5453" fmla="*/ 2198744 h 6859062"/>
              <a:gd name="connsiteX5454" fmla="*/ 1830399 w 12192185"/>
              <a:gd name="connsiteY5454" fmla="*/ 2188859 h 6859062"/>
              <a:gd name="connsiteX5455" fmla="*/ 1822696 w 12192185"/>
              <a:gd name="connsiteY5455" fmla="*/ 2195935 h 6859062"/>
              <a:gd name="connsiteX5456" fmla="*/ 1822709 w 12192185"/>
              <a:gd name="connsiteY5456" fmla="*/ 2195615 h 6859062"/>
              <a:gd name="connsiteX5457" fmla="*/ 1830399 w 12192185"/>
              <a:gd name="connsiteY5457" fmla="*/ 2188859 h 6859062"/>
              <a:gd name="connsiteX5458" fmla="*/ 2301609 w 12192185"/>
              <a:gd name="connsiteY5458" fmla="*/ 2177720 h 6859062"/>
              <a:gd name="connsiteX5459" fmla="*/ 2236356 w 12192185"/>
              <a:gd name="connsiteY5459" fmla="*/ 2226569 h 6859062"/>
              <a:gd name="connsiteX5460" fmla="*/ 2164379 w 12192185"/>
              <a:gd name="connsiteY5460" fmla="*/ 2280185 h 6859062"/>
              <a:gd name="connsiteX5461" fmla="*/ 2102192 w 12192185"/>
              <a:gd name="connsiteY5461" fmla="*/ 2340271 h 6859062"/>
              <a:gd name="connsiteX5462" fmla="*/ 2050993 w 12192185"/>
              <a:gd name="connsiteY5462" fmla="*/ 2387958 h 6859062"/>
              <a:gd name="connsiteX5463" fmla="*/ 2046451 w 12192185"/>
              <a:gd name="connsiteY5463" fmla="*/ 2390579 h 6859062"/>
              <a:gd name="connsiteX5464" fmla="*/ 2040948 w 12192185"/>
              <a:gd name="connsiteY5464" fmla="*/ 2396776 h 6859062"/>
              <a:gd name="connsiteX5465" fmla="*/ 2026464 w 12192185"/>
              <a:gd name="connsiteY5465" fmla="*/ 2410717 h 6859062"/>
              <a:gd name="connsiteX5466" fmla="*/ 2036878 w 12192185"/>
              <a:gd name="connsiteY5466" fmla="*/ 2408978 h 6859062"/>
              <a:gd name="connsiteX5467" fmla="*/ 2044532 w 12192185"/>
              <a:gd name="connsiteY5467" fmla="*/ 2397734 h 6859062"/>
              <a:gd name="connsiteX5468" fmla="*/ 2043573 w 12192185"/>
              <a:gd name="connsiteY5468" fmla="*/ 2401315 h 6859062"/>
              <a:gd name="connsiteX5469" fmla="*/ 2049076 w 12192185"/>
              <a:gd name="connsiteY5469" fmla="*/ 2395111 h 6859062"/>
              <a:gd name="connsiteX5470" fmla="*/ 2053617 w 12192185"/>
              <a:gd name="connsiteY5470" fmla="*/ 2392497 h 6859062"/>
              <a:gd name="connsiteX5471" fmla="*/ 2140200 w 12192185"/>
              <a:gd name="connsiteY5471" fmla="*/ 2327431 h 6859062"/>
              <a:gd name="connsiteX5472" fmla="*/ 2135657 w 12192185"/>
              <a:gd name="connsiteY5472" fmla="*/ 2330052 h 6859062"/>
              <a:gd name="connsiteX5473" fmla="*/ 2138280 w 12192185"/>
              <a:gd name="connsiteY5473" fmla="*/ 2334593 h 6859062"/>
              <a:gd name="connsiteX5474" fmla="*/ 2139238 w 12192185"/>
              <a:gd name="connsiteY5474" fmla="*/ 2331013 h 6859062"/>
              <a:gd name="connsiteX5475" fmla="*/ 2140200 w 12192185"/>
              <a:gd name="connsiteY5475" fmla="*/ 2327431 h 6859062"/>
              <a:gd name="connsiteX5476" fmla="*/ 2144743 w 12192185"/>
              <a:gd name="connsiteY5476" fmla="*/ 2324810 h 6859062"/>
              <a:gd name="connsiteX5477" fmla="*/ 2167455 w 12192185"/>
              <a:gd name="connsiteY5477" fmla="*/ 2311709 h 6859062"/>
              <a:gd name="connsiteX5478" fmla="*/ 2159332 w 12192185"/>
              <a:gd name="connsiteY5478" fmla="*/ 2313370 h 6859062"/>
              <a:gd name="connsiteX5479" fmla="*/ 2160290 w 12192185"/>
              <a:gd name="connsiteY5479" fmla="*/ 2309790 h 6859062"/>
              <a:gd name="connsiteX5480" fmla="*/ 2161248 w 12192185"/>
              <a:gd name="connsiteY5480" fmla="*/ 2306208 h 6859062"/>
              <a:gd name="connsiteX5481" fmla="*/ 2156706 w 12192185"/>
              <a:gd name="connsiteY5481" fmla="*/ 2308832 h 6859062"/>
              <a:gd name="connsiteX5482" fmla="*/ 2177754 w 12192185"/>
              <a:gd name="connsiteY5482" fmla="*/ 2287607 h 6859062"/>
              <a:gd name="connsiteX5483" fmla="*/ 2176793 w 12192185"/>
              <a:gd name="connsiteY5483" fmla="*/ 2291184 h 6859062"/>
              <a:gd name="connsiteX5484" fmla="*/ 2172250 w 12192185"/>
              <a:gd name="connsiteY5484" fmla="*/ 2293809 h 6859062"/>
              <a:gd name="connsiteX5485" fmla="*/ 2171292 w 12192185"/>
              <a:gd name="connsiteY5485" fmla="*/ 2297388 h 6859062"/>
              <a:gd name="connsiteX5486" fmla="*/ 2180376 w 12192185"/>
              <a:gd name="connsiteY5486" fmla="*/ 2292148 h 6859062"/>
              <a:gd name="connsiteX5487" fmla="*/ 2184919 w 12192185"/>
              <a:gd name="connsiteY5487" fmla="*/ 2289528 h 6859062"/>
              <a:gd name="connsiteX5488" fmla="*/ 2223884 w 12192185"/>
              <a:gd name="connsiteY5488" fmla="*/ 2273108 h 6859062"/>
              <a:gd name="connsiteX5489" fmla="*/ 2245229 w 12192185"/>
              <a:gd name="connsiteY5489" fmla="*/ 2254355 h 6859062"/>
              <a:gd name="connsiteX5490" fmla="*/ 2251607 w 12192185"/>
              <a:gd name="connsiteY5490" fmla="*/ 2247046 h 6859062"/>
              <a:gd name="connsiteX5491" fmla="*/ 2256890 w 12192185"/>
              <a:gd name="connsiteY5491" fmla="*/ 2229083 h 6859062"/>
              <a:gd name="connsiteX5492" fmla="*/ 2278764 w 12192185"/>
              <a:gd name="connsiteY5492" fmla="*/ 2208775 h 6859062"/>
              <a:gd name="connsiteX5493" fmla="*/ 2303977 w 12192185"/>
              <a:gd name="connsiteY5493" fmla="*/ 2194332 h 6859062"/>
              <a:gd name="connsiteX5494" fmla="*/ 2305303 w 12192185"/>
              <a:gd name="connsiteY5494" fmla="*/ 2193447 h 6859062"/>
              <a:gd name="connsiteX5495" fmla="*/ 151573 w 12192185"/>
              <a:gd name="connsiteY5495" fmla="*/ 2114518 h 6859062"/>
              <a:gd name="connsiteX5496" fmla="*/ 163727 w 12192185"/>
              <a:gd name="connsiteY5496" fmla="*/ 2119619 h 6859062"/>
              <a:gd name="connsiteX5497" fmla="*/ 176152 w 12192185"/>
              <a:gd name="connsiteY5497" fmla="*/ 2120935 h 6859062"/>
              <a:gd name="connsiteX5498" fmla="*/ 188484 w 12192185"/>
              <a:gd name="connsiteY5498" fmla="*/ 2120913 h 6859062"/>
              <a:gd name="connsiteX5499" fmla="*/ 197943 w 12192185"/>
              <a:gd name="connsiteY5499" fmla="*/ 2123908 h 6859062"/>
              <a:gd name="connsiteX5500" fmla="*/ 205797 w 12192185"/>
              <a:gd name="connsiteY5500" fmla="*/ 2130778 h 6859062"/>
              <a:gd name="connsiteX5501" fmla="*/ 209028 w 12192185"/>
              <a:gd name="connsiteY5501" fmla="*/ 2138632 h 6859062"/>
              <a:gd name="connsiteX5502" fmla="*/ 207949 w 12192185"/>
              <a:gd name="connsiteY5502" fmla="*/ 2140453 h 6859062"/>
              <a:gd name="connsiteX5503" fmla="*/ 203872 w 12192185"/>
              <a:gd name="connsiteY5503" fmla="*/ 2154986 h 6859062"/>
              <a:gd name="connsiteX5504" fmla="*/ 192034 w 12192185"/>
              <a:gd name="connsiteY5504" fmla="*/ 2163987 h 6859062"/>
              <a:gd name="connsiteX5505" fmla="*/ 174136 w 12192185"/>
              <a:gd name="connsiteY5505" fmla="*/ 2164923 h 6859062"/>
              <a:gd name="connsiteX5506" fmla="*/ 168195 w 12192185"/>
              <a:gd name="connsiteY5506" fmla="*/ 2160480 h 6859062"/>
              <a:gd name="connsiteX5507" fmla="*/ 155744 w 12192185"/>
              <a:gd name="connsiteY5507" fmla="*/ 2156879 h 6859062"/>
              <a:gd name="connsiteX5508" fmla="*/ 150474 w 12192185"/>
              <a:gd name="connsiteY5508" fmla="*/ 2156291 h 6859062"/>
              <a:gd name="connsiteX5509" fmla="*/ 134683 w 12192185"/>
              <a:gd name="connsiteY5509" fmla="*/ 2149014 h 6859062"/>
              <a:gd name="connsiteX5510" fmla="*/ 132046 w 12192185"/>
              <a:gd name="connsiteY5510" fmla="*/ 2138161 h 6859062"/>
              <a:gd name="connsiteX5511" fmla="*/ 133966 w 12192185"/>
              <a:gd name="connsiteY5511" fmla="*/ 2127271 h 6859062"/>
              <a:gd name="connsiteX5512" fmla="*/ 137500 w 12192185"/>
              <a:gd name="connsiteY5512" fmla="*/ 2120308 h 6859062"/>
              <a:gd name="connsiteX5513" fmla="*/ 151573 w 12192185"/>
              <a:gd name="connsiteY5513" fmla="*/ 2114518 h 6859062"/>
              <a:gd name="connsiteX5514" fmla="*/ 788976 w 12192185"/>
              <a:gd name="connsiteY5514" fmla="*/ 2103352 h 6859062"/>
              <a:gd name="connsiteX5515" fmla="*/ 799909 w 12192185"/>
              <a:gd name="connsiteY5515" fmla="*/ 2108406 h 6859062"/>
              <a:gd name="connsiteX5516" fmla="*/ 807818 w 12192185"/>
              <a:gd name="connsiteY5516" fmla="*/ 2117332 h 6859062"/>
              <a:gd name="connsiteX5517" fmla="*/ 811328 w 12192185"/>
              <a:gd name="connsiteY5517" fmla="*/ 2124987 h 6859062"/>
              <a:gd name="connsiteX5518" fmla="*/ 806777 w 12192185"/>
              <a:gd name="connsiteY5518" fmla="*/ 2140755 h 6859062"/>
              <a:gd name="connsiteX5519" fmla="*/ 794316 w 12192185"/>
              <a:gd name="connsiteY5519" fmla="*/ 2147596 h 6859062"/>
              <a:gd name="connsiteX5520" fmla="*/ 784870 w 12192185"/>
              <a:gd name="connsiteY5520" fmla="*/ 2157207 h 6859062"/>
              <a:gd name="connsiteX5521" fmla="*/ 776618 w 12192185"/>
              <a:gd name="connsiteY5521" fmla="*/ 2167635 h 6859062"/>
              <a:gd name="connsiteX5522" fmla="*/ 767743 w 12192185"/>
              <a:gd name="connsiteY5522" fmla="*/ 2173615 h 6859062"/>
              <a:gd name="connsiteX5523" fmla="*/ 756672 w 12192185"/>
              <a:gd name="connsiteY5523" fmla="*/ 2175639 h 6859062"/>
              <a:gd name="connsiteX5524" fmla="*/ 747873 w 12192185"/>
              <a:gd name="connsiteY5524" fmla="*/ 2173099 h 6859062"/>
              <a:gd name="connsiteX5525" fmla="*/ 747060 w 12192185"/>
              <a:gd name="connsiteY5525" fmla="*/ 2170966 h 6859062"/>
              <a:gd name="connsiteX5526" fmla="*/ 737522 w 12192185"/>
              <a:gd name="connsiteY5526" fmla="*/ 2157775 h 6859062"/>
              <a:gd name="connsiteX5527" fmla="*/ 737860 w 12192185"/>
              <a:gd name="connsiteY5527" fmla="*/ 2141740 h 6859062"/>
              <a:gd name="connsiteX5528" fmla="*/ 749076 w 12192185"/>
              <a:gd name="connsiteY5528" fmla="*/ 2125999 h 6859062"/>
              <a:gd name="connsiteX5529" fmla="*/ 756814 w 12192185"/>
              <a:gd name="connsiteY5529" fmla="*/ 2123961 h 6859062"/>
              <a:gd name="connsiteX5530" fmla="*/ 768207 w 12192185"/>
              <a:gd name="connsiteY5530" fmla="*/ 2115861 h 6859062"/>
              <a:gd name="connsiteX5531" fmla="*/ 772237 w 12192185"/>
              <a:gd name="connsiteY5531" fmla="*/ 2111806 h 6859062"/>
              <a:gd name="connsiteX5532" fmla="*/ 788976 w 12192185"/>
              <a:gd name="connsiteY5532" fmla="*/ 2103352 h 6859062"/>
              <a:gd name="connsiteX5533" fmla="*/ 417319 w 12192185"/>
              <a:gd name="connsiteY5533" fmla="*/ 2085489 h 6859062"/>
              <a:gd name="connsiteX5534" fmla="*/ 425121 w 12192185"/>
              <a:gd name="connsiteY5534" fmla="*/ 2086067 h 6859062"/>
              <a:gd name="connsiteX5535" fmla="*/ 437822 w 12192185"/>
              <a:gd name="connsiteY5535" fmla="*/ 2089362 h 6859062"/>
              <a:gd name="connsiteX5536" fmla="*/ 442372 w 12192185"/>
              <a:gd name="connsiteY5536" fmla="*/ 2089699 h 6859062"/>
              <a:gd name="connsiteX5537" fmla="*/ 445052 w 12192185"/>
              <a:gd name="connsiteY5537" fmla="*/ 2092383 h 6859062"/>
              <a:gd name="connsiteX5538" fmla="*/ 449493 w 12192185"/>
              <a:gd name="connsiteY5538" fmla="*/ 2097814 h 6859062"/>
              <a:gd name="connsiteX5539" fmla="*/ 451458 w 12192185"/>
              <a:gd name="connsiteY5539" fmla="*/ 2099529 h 6859062"/>
              <a:gd name="connsiteX5540" fmla="*/ 456090 w 12192185"/>
              <a:gd name="connsiteY5540" fmla="*/ 2107722 h 6859062"/>
              <a:gd name="connsiteX5541" fmla="*/ 457406 w 12192185"/>
              <a:gd name="connsiteY5541" fmla="*/ 2109390 h 6859062"/>
              <a:gd name="connsiteX5542" fmla="*/ 453159 w 12192185"/>
              <a:gd name="connsiteY5542" fmla="*/ 2133541 h 6859062"/>
              <a:gd name="connsiteX5543" fmla="*/ 444550 w 12192185"/>
              <a:gd name="connsiteY5543" fmla="*/ 2144024 h 6859062"/>
              <a:gd name="connsiteX5544" fmla="*/ 440745 w 12192185"/>
              <a:gd name="connsiteY5544" fmla="*/ 2147799 h 6859062"/>
              <a:gd name="connsiteX5545" fmla="*/ 436274 w 12192185"/>
              <a:gd name="connsiteY5545" fmla="*/ 2149954 h 6859062"/>
              <a:gd name="connsiteX5546" fmla="*/ 432437 w 12192185"/>
              <a:gd name="connsiteY5546" fmla="*/ 2150585 h 6859062"/>
              <a:gd name="connsiteX5547" fmla="*/ 424605 w 12192185"/>
              <a:gd name="connsiteY5547" fmla="*/ 2152229 h 6859062"/>
              <a:gd name="connsiteX5548" fmla="*/ 421798 w 12192185"/>
              <a:gd name="connsiteY5548" fmla="*/ 2153068 h 6859062"/>
              <a:gd name="connsiteX5549" fmla="*/ 414996 w 12192185"/>
              <a:gd name="connsiteY5549" fmla="*/ 2154920 h 6859062"/>
              <a:gd name="connsiteX5550" fmla="*/ 398933 w 12192185"/>
              <a:gd name="connsiteY5550" fmla="*/ 2145750 h 6859062"/>
              <a:gd name="connsiteX5551" fmla="*/ 395111 w 12192185"/>
              <a:gd name="connsiteY5551" fmla="*/ 2137225 h 6859062"/>
              <a:gd name="connsiteX5552" fmla="*/ 391889 w 12192185"/>
              <a:gd name="connsiteY5552" fmla="*/ 2118669 h 6859062"/>
              <a:gd name="connsiteX5553" fmla="*/ 392428 w 12192185"/>
              <a:gd name="connsiteY5553" fmla="*/ 2113084 h 6859062"/>
              <a:gd name="connsiteX5554" fmla="*/ 394631 w 12192185"/>
              <a:gd name="connsiteY5554" fmla="*/ 2106182 h 6859062"/>
              <a:gd name="connsiteX5555" fmla="*/ 397612 w 12192185"/>
              <a:gd name="connsiteY5555" fmla="*/ 2101170 h 6859062"/>
              <a:gd name="connsiteX5556" fmla="*/ 407917 w 12192185"/>
              <a:gd name="connsiteY5556" fmla="*/ 2092512 h 6859062"/>
              <a:gd name="connsiteX5557" fmla="*/ 414085 w 12192185"/>
              <a:gd name="connsiteY5557" fmla="*/ 2086820 h 6859062"/>
              <a:gd name="connsiteX5558" fmla="*/ 417319 w 12192185"/>
              <a:gd name="connsiteY5558" fmla="*/ 2085489 h 6859062"/>
              <a:gd name="connsiteX5559" fmla="*/ 2928371 w 12192185"/>
              <a:gd name="connsiteY5559" fmla="*/ 2079100 h 6859062"/>
              <a:gd name="connsiteX5560" fmla="*/ 2928081 w 12192185"/>
              <a:gd name="connsiteY5560" fmla="*/ 2080134 h 6859062"/>
              <a:gd name="connsiteX5561" fmla="*/ 2928529 w 12192185"/>
              <a:gd name="connsiteY5561" fmla="*/ 2079961 h 6859062"/>
              <a:gd name="connsiteX5562" fmla="*/ 2913905 w 12192185"/>
              <a:gd name="connsiteY5562" fmla="*/ 2070337 h 6859062"/>
              <a:gd name="connsiteX5563" fmla="*/ 2786679 w 12192185"/>
              <a:gd name="connsiteY5563" fmla="*/ 2116909 h 6859062"/>
              <a:gd name="connsiteX5564" fmla="*/ 2611391 w 12192185"/>
              <a:gd name="connsiteY5564" fmla="*/ 2210073 h 6859062"/>
              <a:gd name="connsiteX5565" fmla="*/ 2511632 w 12192185"/>
              <a:gd name="connsiteY5565" fmla="*/ 2267156 h 6859062"/>
              <a:gd name="connsiteX5566" fmla="*/ 2503744 w 12192185"/>
              <a:gd name="connsiteY5566" fmla="*/ 2273718 h 6859062"/>
              <a:gd name="connsiteX5567" fmla="*/ 2500035 w 12192185"/>
              <a:gd name="connsiteY5567" fmla="*/ 2272853 h 6859062"/>
              <a:gd name="connsiteX5568" fmla="*/ 2449168 w 12192185"/>
              <a:gd name="connsiteY5568" fmla="*/ 2306321 h 6859062"/>
              <a:gd name="connsiteX5569" fmla="*/ 2493695 w 12192185"/>
              <a:gd name="connsiteY5569" fmla="*/ 2270016 h 6859062"/>
              <a:gd name="connsiteX5570" fmla="*/ 2489686 w 12192185"/>
              <a:gd name="connsiteY5570" fmla="*/ 2261287 h 6859062"/>
              <a:gd name="connsiteX5571" fmla="*/ 2493900 w 12192185"/>
              <a:gd name="connsiteY5571" fmla="*/ 2250665 h 6859062"/>
              <a:gd name="connsiteX5572" fmla="*/ 2534675 w 12192185"/>
              <a:gd name="connsiteY5572" fmla="*/ 2216903 h 6859062"/>
              <a:gd name="connsiteX5573" fmla="*/ 2666296 w 12192185"/>
              <a:gd name="connsiteY5573" fmla="*/ 2142124 h 6859062"/>
              <a:gd name="connsiteX5574" fmla="*/ 2724658 w 12192185"/>
              <a:gd name="connsiteY5574" fmla="*/ 2113068 h 6859062"/>
              <a:gd name="connsiteX5575" fmla="*/ 2726147 w 12192185"/>
              <a:gd name="connsiteY5575" fmla="*/ 2112178 h 6859062"/>
              <a:gd name="connsiteX5576" fmla="*/ 2729836 w 12192185"/>
              <a:gd name="connsiteY5576" fmla="*/ 2110490 h 6859062"/>
              <a:gd name="connsiteX5577" fmla="*/ 2734632 w 12192185"/>
              <a:gd name="connsiteY5577" fmla="*/ 2108102 h 6859062"/>
              <a:gd name="connsiteX5578" fmla="*/ 2736718 w 12192185"/>
              <a:gd name="connsiteY5578" fmla="*/ 2107336 h 6859062"/>
              <a:gd name="connsiteX5579" fmla="*/ 2801923 w 12192185"/>
              <a:gd name="connsiteY5579" fmla="*/ 2077462 h 6859062"/>
              <a:gd name="connsiteX5580" fmla="*/ 2798871 w 12192185"/>
              <a:gd name="connsiteY5580" fmla="*/ 2075023 h 6859062"/>
              <a:gd name="connsiteX5581" fmla="*/ 2789511 w 12192185"/>
              <a:gd name="connsiteY5581" fmla="*/ 2073055 h 6859062"/>
              <a:gd name="connsiteX5582" fmla="*/ 2785162 w 12192185"/>
              <a:gd name="connsiteY5582" fmla="*/ 2071955 h 6859062"/>
              <a:gd name="connsiteX5583" fmla="*/ 2692598 w 12192185"/>
              <a:gd name="connsiteY5583" fmla="*/ 2107276 h 6859062"/>
              <a:gd name="connsiteX5584" fmla="*/ 2492106 w 12192185"/>
              <a:gd name="connsiteY5584" fmla="*/ 2212288 h 6859062"/>
              <a:gd name="connsiteX5585" fmla="*/ 2469378 w 12192185"/>
              <a:gd name="connsiteY5585" fmla="*/ 2225334 h 6859062"/>
              <a:gd name="connsiteX5586" fmla="*/ 2452624 w 12192185"/>
              <a:gd name="connsiteY5586" fmla="*/ 2236148 h 6859062"/>
              <a:gd name="connsiteX5587" fmla="*/ 2448781 w 12192185"/>
              <a:gd name="connsiteY5587" fmla="*/ 2236860 h 6859062"/>
              <a:gd name="connsiteX5588" fmla="*/ 2243250 w 12192185"/>
              <a:gd name="connsiteY5588" fmla="*/ 2383592 h 6859062"/>
              <a:gd name="connsiteX5589" fmla="*/ 2046942 w 12192185"/>
              <a:gd name="connsiteY5589" fmla="*/ 2569962 h 6859062"/>
              <a:gd name="connsiteX5590" fmla="*/ 1962364 w 12192185"/>
              <a:gd name="connsiteY5590" fmla="*/ 2675535 h 6859062"/>
              <a:gd name="connsiteX5591" fmla="*/ 1906914 w 12192185"/>
              <a:gd name="connsiteY5591" fmla="*/ 2764553 h 6859062"/>
              <a:gd name="connsiteX5592" fmla="*/ 1916101 w 12192185"/>
              <a:gd name="connsiteY5592" fmla="*/ 2766945 h 6859062"/>
              <a:gd name="connsiteX5593" fmla="*/ 1923876 w 12192185"/>
              <a:gd name="connsiteY5593" fmla="*/ 2774054 h 6859062"/>
              <a:gd name="connsiteX5594" fmla="*/ 1928232 w 12192185"/>
              <a:gd name="connsiteY5594" fmla="*/ 2778255 h 6859062"/>
              <a:gd name="connsiteX5595" fmla="*/ 1932583 w 12192185"/>
              <a:gd name="connsiteY5595" fmla="*/ 2784745 h 6859062"/>
              <a:gd name="connsiteX5596" fmla="*/ 1934817 w 12192185"/>
              <a:gd name="connsiteY5596" fmla="*/ 2790626 h 6859062"/>
              <a:gd name="connsiteX5597" fmla="*/ 1935215 w 12192185"/>
              <a:gd name="connsiteY5597" fmla="*/ 2805133 h 6859062"/>
              <a:gd name="connsiteX5598" fmla="*/ 1935885 w 12192185"/>
              <a:gd name="connsiteY5598" fmla="*/ 2814162 h 6859062"/>
              <a:gd name="connsiteX5599" fmla="*/ 1934839 w 12192185"/>
              <a:gd name="connsiteY5599" fmla="*/ 2817784 h 6859062"/>
              <a:gd name="connsiteX5600" fmla="*/ 1929118 w 12192185"/>
              <a:gd name="connsiteY5600" fmla="*/ 2823988 h 6859062"/>
              <a:gd name="connsiteX5601" fmla="*/ 1917816 w 12192185"/>
              <a:gd name="connsiteY5601" fmla="*/ 2832503 h 6859062"/>
              <a:gd name="connsiteX5602" fmla="*/ 1914478 w 12192185"/>
              <a:gd name="connsiteY5602" fmla="*/ 2836120 h 6859062"/>
              <a:gd name="connsiteX5603" fmla="*/ 1910415 w 12192185"/>
              <a:gd name="connsiteY5603" fmla="*/ 2836582 h 6859062"/>
              <a:gd name="connsiteX5604" fmla="*/ 1902850 w 12192185"/>
              <a:gd name="connsiteY5604" fmla="*/ 2836690 h 6859062"/>
              <a:gd name="connsiteX5605" fmla="*/ 1900081 w 12192185"/>
              <a:gd name="connsiteY5605" fmla="*/ 2837199 h 6859062"/>
              <a:gd name="connsiteX5606" fmla="*/ 1890057 w 12192185"/>
              <a:gd name="connsiteY5606" fmla="*/ 2835614 h 6859062"/>
              <a:gd name="connsiteX5607" fmla="*/ 1887766 w 12192185"/>
              <a:gd name="connsiteY5607" fmla="*/ 2835606 h 6859062"/>
              <a:gd name="connsiteX5608" fmla="*/ 1874439 w 12192185"/>
              <a:gd name="connsiteY5608" fmla="*/ 2820576 h 6859062"/>
              <a:gd name="connsiteX5609" fmla="*/ 1816290 w 12192185"/>
              <a:gd name="connsiteY5609" fmla="*/ 2931799 h 6859062"/>
              <a:gd name="connsiteX5610" fmla="*/ 1796624 w 12192185"/>
              <a:gd name="connsiteY5610" fmla="*/ 3005951 h 6859062"/>
              <a:gd name="connsiteX5611" fmla="*/ 1782147 w 12192185"/>
              <a:gd name="connsiteY5611" fmla="*/ 3060683 h 6859062"/>
              <a:gd name="connsiteX5612" fmla="*/ 1678581 w 12192185"/>
              <a:gd name="connsiteY5612" fmla="*/ 3349644 h 6859062"/>
              <a:gd name="connsiteX5613" fmla="*/ 1680232 w 12192185"/>
              <a:gd name="connsiteY5613" fmla="*/ 3369607 h 6859062"/>
              <a:gd name="connsiteX5614" fmla="*/ 1695544 w 12192185"/>
              <a:gd name="connsiteY5614" fmla="*/ 3350186 h 6859062"/>
              <a:gd name="connsiteX5615" fmla="*/ 1871279 w 12192185"/>
              <a:gd name="connsiteY5615" fmla="*/ 2917548 h 6859062"/>
              <a:gd name="connsiteX5616" fmla="*/ 1878660 w 12192185"/>
              <a:gd name="connsiteY5616" fmla="*/ 2901129 h 6859062"/>
              <a:gd name="connsiteX5617" fmla="*/ 1896443 w 12192185"/>
              <a:gd name="connsiteY5617" fmla="*/ 2896470 h 6859062"/>
              <a:gd name="connsiteX5618" fmla="*/ 1899460 w 12192185"/>
              <a:gd name="connsiteY5618" fmla="*/ 2914527 h 6859062"/>
              <a:gd name="connsiteX5619" fmla="*/ 1856399 w 12192185"/>
              <a:gd name="connsiteY5619" fmla="*/ 2996673 h 6859062"/>
              <a:gd name="connsiteX5620" fmla="*/ 1842847 w 12192185"/>
              <a:gd name="connsiteY5620" fmla="*/ 3028340 h 6859062"/>
              <a:gd name="connsiteX5621" fmla="*/ 1918347 w 12192185"/>
              <a:gd name="connsiteY5621" fmla="*/ 2898251 h 6859062"/>
              <a:gd name="connsiteX5622" fmla="*/ 2146913 w 12192185"/>
              <a:gd name="connsiteY5622" fmla="*/ 2615572 h 6859062"/>
              <a:gd name="connsiteX5623" fmla="*/ 2258301 w 12192185"/>
              <a:gd name="connsiteY5623" fmla="*/ 2510965 h 6859062"/>
              <a:gd name="connsiteX5624" fmla="*/ 2255458 w 12192185"/>
              <a:gd name="connsiteY5624" fmla="*/ 2505845 h 6859062"/>
              <a:gd name="connsiteX5625" fmla="*/ 2261869 w 12192185"/>
              <a:gd name="connsiteY5625" fmla="*/ 2483641 h 6859062"/>
              <a:gd name="connsiteX5626" fmla="*/ 2271795 w 12192185"/>
              <a:gd name="connsiteY5626" fmla="*/ 2477152 h 6859062"/>
              <a:gd name="connsiteX5627" fmla="*/ 2287918 w 12192185"/>
              <a:gd name="connsiteY5627" fmla="*/ 2472452 h 6859062"/>
              <a:gd name="connsiteX5628" fmla="*/ 2301286 w 12192185"/>
              <a:gd name="connsiteY5628" fmla="*/ 2474185 h 6859062"/>
              <a:gd name="connsiteX5629" fmla="*/ 2419981 w 12192185"/>
              <a:gd name="connsiteY5629" fmla="*/ 2381321 h 6859062"/>
              <a:gd name="connsiteX5630" fmla="*/ 2465133 w 12192185"/>
              <a:gd name="connsiteY5630" fmla="*/ 2352297 h 6859062"/>
              <a:gd name="connsiteX5631" fmla="*/ 2467644 w 12192185"/>
              <a:gd name="connsiteY5631" fmla="*/ 2350295 h 6859062"/>
              <a:gd name="connsiteX5632" fmla="*/ 2490292 w 12192185"/>
              <a:gd name="connsiteY5632" fmla="*/ 2327626 h 6859062"/>
              <a:gd name="connsiteX5633" fmla="*/ 2570884 w 12192185"/>
              <a:gd name="connsiteY5633" fmla="*/ 2279342 h 6859062"/>
              <a:gd name="connsiteX5634" fmla="*/ 2696123 w 12192185"/>
              <a:gd name="connsiteY5634" fmla="*/ 2197560 h 6859062"/>
              <a:gd name="connsiteX5635" fmla="*/ 2908966 w 12192185"/>
              <a:gd name="connsiteY5635" fmla="*/ 2087852 h 6859062"/>
              <a:gd name="connsiteX5636" fmla="*/ 11560177 w 12192185"/>
              <a:gd name="connsiteY5636" fmla="*/ 2006425 h 6859062"/>
              <a:gd name="connsiteX5637" fmla="*/ 11555082 w 12192185"/>
              <a:gd name="connsiteY5637" fmla="*/ 2008521 h 6859062"/>
              <a:gd name="connsiteX5638" fmla="*/ 11556865 w 12192185"/>
              <a:gd name="connsiteY5638" fmla="*/ 2014831 h 6859062"/>
              <a:gd name="connsiteX5639" fmla="*/ 11561360 w 12192185"/>
              <a:gd name="connsiteY5639" fmla="*/ 2017859 h 6859062"/>
              <a:gd name="connsiteX5640" fmla="*/ 11563445 w 12192185"/>
              <a:gd name="connsiteY5640" fmla="*/ 2021607 h 6859062"/>
              <a:gd name="connsiteX5641" fmla="*/ 11559370 w 12192185"/>
              <a:gd name="connsiteY5641" fmla="*/ 2022540 h 6859062"/>
              <a:gd name="connsiteX5642" fmla="*/ 11594267 w 12192185"/>
              <a:gd name="connsiteY5642" fmla="*/ 2059689 h 6859062"/>
              <a:gd name="connsiteX5643" fmla="*/ 11633896 w 12192185"/>
              <a:gd name="connsiteY5643" fmla="*/ 2110568 h 6859062"/>
              <a:gd name="connsiteX5644" fmla="*/ 11637471 w 12192185"/>
              <a:gd name="connsiteY5644" fmla="*/ 2108321 h 6859062"/>
              <a:gd name="connsiteX5645" fmla="*/ 11657749 w 12192185"/>
              <a:gd name="connsiteY5645" fmla="*/ 2105662 h 6859062"/>
              <a:gd name="connsiteX5646" fmla="*/ 11675795 w 12192185"/>
              <a:gd name="connsiteY5646" fmla="*/ 2115917 h 6859062"/>
              <a:gd name="connsiteX5647" fmla="*/ 11676909 w 12192185"/>
              <a:gd name="connsiteY5647" fmla="*/ 2116208 h 6859062"/>
              <a:gd name="connsiteX5648" fmla="*/ 11655760 w 12192185"/>
              <a:gd name="connsiteY5648" fmla="*/ 2090118 h 6859062"/>
              <a:gd name="connsiteX5649" fmla="*/ 11605617 w 12192185"/>
              <a:gd name="connsiteY5649" fmla="*/ 2037144 h 6859062"/>
              <a:gd name="connsiteX5650" fmla="*/ 11602251 w 12192185"/>
              <a:gd name="connsiteY5650" fmla="*/ 2037612 h 6859062"/>
              <a:gd name="connsiteX5651" fmla="*/ 11596654 w 12192185"/>
              <a:gd name="connsiteY5651" fmla="*/ 2035851 h 6859062"/>
              <a:gd name="connsiteX5652" fmla="*/ 11580702 w 12192185"/>
              <a:gd name="connsiteY5652" fmla="*/ 2031306 h 6859062"/>
              <a:gd name="connsiteX5653" fmla="*/ 11576330 w 12192185"/>
              <a:gd name="connsiteY5653" fmla="*/ 2026602 h 6859062"/>
              <a:gd name="connsiteX5654" fmla="*/ 11560177 w 12192185"/>
              <a:gd name="connsiteY5654" fmla="*/ 2006425 h 6859062"/>
              <a:gd name="connsiteX5655" fmla="*/ 1930371 w 12192185"/>
              <a:gd name="connsiteY5655" fmla="*/ 2003698 h 6859062"/>
              <a:gd name="connsiteX5656" fmla="*/ 1926029 w 12192185"/>
              <a:gd name="connsiteY5656" fmla="*/ 2007512 h 6859062"/>
              <a:gd name="connsiteX5657" fmla="*/ 1929948 w 12192185"/>
              <a:gd name="connsiteY5657" fmla="*/ 2003860 h 6859062"/>
              <a:gd name="connsiteX5658" fmla="*/ 3140180 w 12192185"/>
              <a:gd name="connsiteY5658" fmla="*/ 1998474 h 6859062"/>
              <a:gd name="connsiteX5659" fmla="*/ 2973305 w 12192185"/>
              <a:gd name="connsiteY5659" fmla="*/ 2049522 h 6859062"/>
              <a:gd name="connsiteX5660" fmla="*/ 2971125 w 12192185"/>
              <a:gd name="connsiteY5660" fmla="*/ 2063043 h 6859062"/>
              <a:gd name="connsiteX5661" fmla="*/ 2970922 w 12192185"/>
              <a:gd name="connsiteY5661" fmla="*/ 2063638 h 6859062"/>
              <a:gd name="connsiteX5662" fmla="*/ 701131 w 12192185"/>
              <a:gd name="connsiteY5662" fmla="*/ 1980273 h 6859062"/>
              <a:gd name="connsiteX5663" fmla="*/ 708848 w 12192185"/>
              <a:gd name="connsiteY5663" fmla="*/ 1980279 h 6859062"/>
              <a:gd name="connsiteX5664" fmla="*/ 728274 w 12192185"/>
              <a:gd name="connsiteY5664" fmla="*/ 1982282 h 6859062"/>
              <a:gd name="connsiteX5665" fmla="*/ 757085 w 12192185"/>
              <a:gd name="connsiteY5665" fmla="*/ 2002685 h 6859062"/>
              <a:gd name="connsiteX5666" fmla="*/ 757428 w 12192185"/>
              <a:gd name="connsiteY5666" fmla="*/ 2005725 h 6859062"/>
              <a:gd name="connsiteX5667" fmla="*/ 760991 w 12192185"/>
              <a:gd name="connsiteY5667" fmla="*/ 2018797 h 6859062"/>
              <a:gd name="connsiteX5668" fmla="*/ 760717 w 12192185"/>
              <a:gd name="connsiteY5668" fmla="*/ 2022544 h 6859062"/>
              <a:gd name="connsiteX5669" fmla="*/ 761677 w 12192185"/>
              <a:gd name="connsiteY5669" fmla="*/ 2032597 h 6859062"/>
              <a:gd name="connsiteX5670" fmla="*/ 761655 w 12192185"/>
              <a:gd name="connsiteY5670" fmla="*/ 2038059 h 6859062"/>
              <a:gd name="connsiteX5671" fmla="*/ 757340 w 12192185"/>
              <a:gd name="connsiteY5671" fmla="*/ 2043013 h 6859062"/>
              <a:gd name="connsiteX5672" fmla="*/ 747686 w 12192185"/>
              <a:gd name="connsiteY5672" fmla="*/ 2059251 h 6859062"/>
              <a:gd name="connsiteX5673" fmla="*/ 740291 w 12192185"/>
              <a:gd name="connsiteY5673" fmla="*/ 2067745 h 6859062"/>
              <a:gd name="connsiteX5674" fmla="*/ 735634 w 12192185"/>
              <a:gd name="connsiteY5674" fmla="*/ 2069661 h 6859062"/>
              <a:gd name="connsiteX5675" fmla="*/ 723558 w 12192185"/>
              <a:gd name="connsiteY5675" fmla="*/ 2070085 h 6859062"/>
              <a:gd name="connsiteX5676" fmla="*/ 704246 w 12192185"/>
              <a:gd name="connsiteY5676" fmla="*/ 2071669 h 6859062"/>
              <a:gd name="connsiteX5677" fmla="*/ 696119 w 12192185"/>
              <a:gd name="connsiteY5677" fmla="*/ 2069560 h 6859062"/>
              <a:gd name="connsiteX5678" fmla="*/ 686874 w 12192185"/>
              <a:gd name="connsiteY5678" fmla="*/ 2064733 h 6859062"/>
              <a:gd name="connsiteX5679" fmla="*/ 680664 w 12192185"/>
              <a:gd name="connsiteY5679" fmla="*/ 2059564 h 6859062"/>
              <a:gd name="connsiteX5680" fmla="*/ 665161 w 12192185"/>
              <a:gd name="connsiteY5680" fmla="*/ 2037320 h 6859062"/>
              <a:gd name="connsiteX5681" fmla="*/ 660434 w 12192185"/>
              <a:gd name="connsiteY5681" fmla="*/ 2024726 h 6859062"/>
              <a:gd name="connsiteX5682" fmla="*/ 667577 w 12192185"/>
              <a:gd name="connsiteY5682" fmla="*/ 1999073 h 6859062"/>
              <a:gd name="connsiteX5683" fmla="*/ 676411 w 12192185"/>
              <a:gd name="connsiteY5683" fmla="*/ 1994076 h 6859062"/>
              <a:gd name="connsiteX5684" fmla="*/ 680132 w 12192185"/>
              <a:gd name="connsiteY5684" fmla="*/ 1992092 h 6859062"/>
              <a:gd name="connsiteX5685" fmla="*/ 689810 w 12192185"/>
              <a:gd name="connsiteY5685" fmla="*/ 1985838 h 6859062"/>
              <a:gd name="connsiteX5686" fmla="*/ 694375 w 12192185"/>
              <a:gd name="connsiteY5686" fmla="*/ 1982598 h 6859062"/>
              <a:gd name="connsiteX5687" fmla="*/ 701131 w 12192185"/>
              <a:gd name="connsiteY5687" fmla="*/ 1980273 h 6859062"/>
              <a:gd name="connsiteX5688" fmla="*/ 11975466 w 12192185"/>
              <a:gd name="connsiteY5688" fmla="*/ 1973253 h 6859062"/>
              <a:gd name="connsiteX5689" fmla="*/ 11983000 w 12192185"/>
              <a:gd name="connsiteY5689" fmla="*/ 1973258 h 6859062"/>
              <a:gd name="connsiteX5690" fmla="*/ 12001971 w 12192185"/>
              <a:gd name="connsiteY5690" fmla="*/ 1975215 h 6859062"/>
              <a:gd name="connsiteX5691" fmla="*/ 12030106 w 12192185"/>
              <a:gd name="connsiteY5691" fmla="*/ 1995139 h 6859062"/>
              <a:gd name="connsiteX5692" fmla="*/ 12030440 w 12192185"/>
              <a:gd name="connsiteY5692" fmla="*/ 1998107 h 6859062"/>
              <a:gd name="connsiteX5693" fmla="*/ 12033919 w 12192185"/>
              <a:gd name="connsiteY5693" fmla="*/ 2010872 h 6859062"/>
              <a:gd name="connsiteX5694" fmla="*/ 12033652 w 12192185"/>
              <a:gd name="connsiteY5694" fmla="*/ 2014531 h 6859062"/>
              <a:gd name="connsiteX5695" fmla="*/ 12034590 w 12192185"/>
              <a:gd name="connsiteY5695" fmla="*/ 2024349 h 6859062"/>
              <a:gd name="connsiteX5696" fmla="*/ 12034568 w 12192185"/>
              <a:gd name="connsiteY5696" fmla="*/ 2029682 h 6859062"/>
              <a:gd name="connsiteX5697" fmla="*/ 12030355 w 12192185"/>
              <a:gd name="connsiteY5697" fmla="*/ 2034520 h 6859062"/>
              <a:gd name="connsiteX5698" fmla="*/ 12020928 w 12192185"/>
              <a:gd name="connsiteY5698" fmla="*/ 2050376 h 6859062"/>
              <a:gd name="connsiteX5699" fmla="*/ 12013707 w 12192185"/>
              <a:gd name="connsiteY5699" fmla="*/ 2058670 h 6859062"/>
              <a:gd name="connsiteX5700" fmla="*/ 12009158 w 12192185"/>
              <a:gd name="connsiteY5700" fmla="*/ 2060541 h 6859062"/>
              <a:gd name="connsiteX5701" fmla="*/ 11997366 w 12192185"/>
              <a:gd name="connsiteY5701" fmla="*/ 2060956 h 6859062"/>
              <a:gd name="connsiteX5702" fmla="*/ 11978508 w 12192185"/>
              <a:gd name="connsiteY5702" fmla="*/ 2062503 h 6859062"/>
              <a:gd name="connsiteX5703" fmla="*/ 11970571 w 12192185"/>
              <a:gd name="connsiteY5703" fmla="*/ 2060444 h 6859062"/>
              <a:gd name="connsiteX5704" fmla="*/ 11961543 w 12192185"/>
              <a:gd name="connsiteY5704" fmla="*/ 2055730 h 6859062"/>
              <a:gd name="connsiteX5705" fmla="*/ 11955479 w 12192185"/>
              <a:gd name="connsiteY5705" fmla="*/ 2050683 h 6859062"/>
              <a:gd name="connsiteX5706" fmla="*/ 11940339 w 12192185"/>
              <a:gd name="connsiteY5706" fmla="*/ 2028960 h 6859062"/>
              <a:gd name="connsiteX5707" fmla="*/ 11935724 w 12192185"/>
              <a:gd name="connsiteY5707" fmla="*/ 2016663 h 6859062"/>
              <a:gd name="connsiteX5708" fmla="*/ 11942699 w 12192185"/>
              <a:gd name="connsiteY5708" fmla="*/ 1991612 h 6859062"/>
              <a:gd name="connsiteX5709" fmla="*/ 11951325 w 12192185"/>
              <a:gd name="connsiteY5709" fmla="*/ 1986732 h 6859062"/>
              <a:gd name="connsiteX5710" fmla="*/ 11954958 w 12192185"/>
              <a:gd name="connsiteY5710" fmla="*/ 1984794 h 6859062"/>
              <a:gd name="connsiteX5711" fmla="*/ 11964410 w 12192185"/>
              <a:gd name="connsiteY5711" fmla="*/ 1978688 h 6859062"/>
              <a:gd name="connsiteX5712" fmla="*/ 11968868 w 12192185"/>
              <a:gd name="connsiteY5712" fmla="*/ 1975523 h 6859062"/>
              <a:gd name="connsiteX5713" fmla="*/ 11975466 w 12192185"/>
              <a:gd name="connsiteY5713" fmla="*/ 1973253 h 6859062"/>
              <a:gd name="connsiteX5714" fmla="*/ 1188836 w 12192185"/>
              <a:gd name="connsiteY5714" fmla="*/ 1948646 h 6859062"/>
              <a:gd name="connsiteX5715" fmla="*/ 1203092 w 12192185"/>
              <a:gd name="connsiteY5715" fmla="*/ 1953172 h 6859062"/>
              <a:gd name="connsiteX5716" fmla="*/ 1216898 w 12192185"/>
              <a:gd name="connsiteY5716" fmla="*/ 1957628 h 6859062"/>
              <a:gd name="connsiteX5717" fmla="*/ 1233770 w 12192185"/>
              <a:gd name="connsiteY5717" fmla="*/ 1980866 h 6859062"/>
              <a:gd name="connsiteX5718" fmla="*/ 1232064 w 12192185"/>
              <a:gd name="connsiteY5718" fmla="*/ 1991678 h 6859062"/>
              <a:gd name="connsiteX5719" fmla="*/ 1231245 w 12192185"/>
              <a:gd name="connsiteY5719" fmla="*/ 1996151 h 6859062"/>
              <a:gd name="connsiteX5720" fmla="*/ 1230033 w 12192185"/>
              <a:gd name="connsiteY5720" fmla="*/ 2008518 h 6859062"/>
              <a:gd name="connsiteX5721" fmla="*/ 1229708 w 12192185"/>
              <a:gd name="connsiteY5721" fmla="*/ 2014547 h 6859062"/>
              <a:gd name="connsiteX5722" fmla="*/ 1227139 w 12192185"/>
              <a:gd name="connsiteY5722" fmla="*/ 2021813 h 6859062"/>
              <a:gd name="connsiteX5723" fmla="*/ 1221958 w 12192185"/>
              <a:gd name="connsiteY5723" fmla="*/ 2028324 h 6859062"/>
              <a:gd name="connsiteX5724" fmla="*/ 1207236 w 12192185"/>
              <a:gd name="connsiteY5724" fmla="*/ 2043387 h 6859062"/>
              <a:gd name="connsiteX5725" fmla="*/ 1170679 w 12192185"/>
              <a:gd name="connsiteY5725" fmla="*/ 2054030 h 6859062"/>
              <a:gd name="connsiteX5726" fmla="*/ 1167883 w 12192185"/>
              <a:gd name="connsiteY5726" fmla="*/ 2052281 h 6859062"/>
              <a:gd name="connsiteX5727" fmla="*/ 1154454 w 12192185"/>
              <a:gd name="connsiteY5727" fmla="*/ 2046521 h 6859062"/>
              <a:gd name="connsiteX5728" fmla="*/ 1151474 w 12192185"/>
              <a:gd name="connsiteY5728" fmla="*/ 2043776 h 6859062"/>
              <a:gd name="connsiteX5729" fmla="*/ 1142339 w 12192185"/>
              <a:gd name="connsiteY5729" fmla="*/ 2037843 h 6859062"/>
              <a:gd name="connsiteX5730" fmla="*/ 1137743 w 12192185"/>
              <a:gd name="connsiteY5730" fmla="*/ 2034161 h 6859062"/>
              <a:gd name="connsiteX5731" fmla="*/ 1136452 w 12192185"/>
              <a:gd name="connsiteY5731" fmla="*/ 2027194 h 6859062"/>
              <a:gd name="connsiteX5732" fmla="*/ 1129216 w 12192185"/>
              <a:gd name="connsiteY5732" fmla="*/ 2008150 h 6859062"/>
              <a:gd name="connsiteX5733" fmla="*/ 1127004 w 12192185"/>
              <a:gd name="connsiteY5733" fmla="*/ 1996208 h 6859062"/>
              <a:gd name="connsiteX5734" fmla="*/ 1128509 w 12192185"/>
              <a:gd name="connsiteY5734" fmla="*/ 1990991 h 6859062"/>
              <a:gd name="connsiteX5735" fmla="*/ 1136251 w 12192185"/>
              <a:gd name="connsiteY5735" fmla="*/ 1980508 h 6859062"/>
              <a:gd name="connsiteX5736" fmla="*/ 1147867 w 12192185"/>
              <a:gd name="connsiteY5736" fmla="*/ 1963137 h 6859062"/>
              <a:gd name="connsiteX5737" fmla="*/ 1155100 w 12192185"/>
              <a:gd name="connsiteY5737" fmla="*/ 1957689 h 6859062"/>
              <a:gd name="connsiteX5738" fmla="*/ 1165378 w 12192185"/>
              <a:gd name="connsiteY5738" fmla="*/ 1953119 h 6859062"/>
              <a:gd name="connsiteX5739" fmla="*/ 1173909 w 12192185"/>
              <a:gd name="connsiteY5739" fmla="*/ 1951343 h 6859062"/>
              <a:gd name="connsiteX5740" fmla="*/ 1188836 w 12192185"/>
              <a:gd name="connsiteY5740" fmla="*/ 1948646 h 6859062"/>
              <a:gd name="connsiteX5741" fmla="*/ 11736418 w 12192185"/>
              <a:gd name="connsiteY5741" fmla="*/ 1947087 h 6859062"/>
              <a:gd name="connsiteX5742" fmla="*/ 11738836 w 12192185"/>
              <a:gd name="connsiteY5742" fmla="*/ 1951254 h 6859062"/>
              <a:gd name="connsiteX5743" fmla="*/ 11735544 w 12192185"/>
              <a:gd name="connsiteY5743" fmla="*/ 1950383 h 6859062"/>
              <a:gd name="connsiteX5744" fmla="*/ 11732253 w 12192185"/>
              <a:gd name="connsiteY5744" fmla="*/ 1949511 h 6859062"/>
              <a:gd name="connsiteX5745" fmla="*/ 11736418 w 12192185"/>
              <a:gd name="connsiteY5745" fmla="*/ 1947087 h 6859062"/>
              <a:gd name="connsiteX5746" fmla="*/ 33877 w 12192185"/>
              <a:gd name="connsiteY5746" fmla="*/ 1923174 h 6859062"/>
              <a:gd name="connsiteX5747" fmla="*/ 42260 w 12192185"/>
              <a:gd name="connsiteY5747" fmla="*/ 1923795 h 6859062"/>
              <a:gd name="connsiteX5748" fmla="*/ 55909 w 12192185"/>
              <a:gd name="connsiteY5748" fmla="*/ 1927336 h 6859062"/>
              <a:gd name="connsiteX5749" fmla="*/ 60799 w 12192185"/>
              <a:gd name="connsiteY5749" fmla="*/ 1927698 h 6859062"/>
              <a:gd name="connsiteX5750" fmla="*/ 63679 w 12192185"/>
              <a:gd name="connsiteY5750" fmla="*/ 1930582 h 6859062"/>
              <a:gd name="connsiteX5751" fmla="*/ 68450 w 12192185"/>
              <a:gd name="connsiteY5751" fmla="*/ 1936419 h 6859062"/>
              <a:gd name="connsiteX5752" fmla="*/ 70563 w 12192185"/>
              <a:gd name="connsiteY5752" fmla="*/ 1938262 h 6859062"/>
              <a:gd name="connsiteX5753" fmla="*/ 75539 w 12192185"/>
              <a:gd name="connsiteY5753" fmla="*/ 1947066 h 6859062"/>
              <a:gd name="connsiteX5754" fmla="*/ 76954 w 12192185"/>
              <a:gd name="connsiteY5754" fmla="*/ 1948857 h 6859062"/>
              <a:gd name="connsiteX5755" fmla="*/ 72390 w 12192185"/>
              <a:gd name="connsiteY5755" fmla="*/ 1974811 h 6859062"/>
              <a:gd name="connsiteX5756" fmla="*/ 63139 w 12192185"/>
              <a:gd name="connsiteY5756" fmla="*/ 1986076 h 6859062"/>
              <a:gd name="connsiteX5757" fmla="*/ 59050 w 12192185"/>
              <a:gd name="connsiteY5757" fmla="*/ 1990132 h 6859062"/>
              <a:gd name="connsiteX5758" fmla="*/ 54246 w 12192185"/>
              <a:gd name="connsiteY5758" fmla="*/ 1992448 h 6859062"/>
              <a:gd name="connsiteX5759" fmla="*/ 50122 w 12192185"/>
              <a:gd name="connsiteY5759" fmla="*/ 1993126 h 6859062"/>
              <a:gd name="connsiteX5760" fmla="*/ 41705 w 12192185"/>
              <a:gd name="connsiteY5760" fmla="*/ 1994893 h 6859062"/>
              <a:gd name="connsiteX5761" fmla="*/ 38689 w 12192185"/>
              <a:gd name="connsiteY5761" fmla="*/ 1995795 h 6859062"/>
              <a:gd name="connsiteX5762" fmla="*/ 31379 w 12192185"/>
              <a:gd name="connsiteY5762" fmla="*/ 1997785 h 6859062"/>
              <a:gd name="connsiteX5763" fmla="*/ 14118 w 12192185"/>
              <a:gd name="connsiteY5763" fmla="*/ 1987931 h 6859062"/>
              <a:gd name="connsiteX5764" fmla="*/ 10011 w 12192185"/>
              <a:gd name="connsiteY5764" fmla="*/ 1978769 h 6859062"/>
              <a:gd name="connsiteX5765" fmla="*/ 6549 w 12192185"/>
              <a:gd name="connsiteY5765" fmla="*/ 1958830 h 6859062"/>
              <a:gd name="connsiteX5766" fmla="*/ 7129 w 12192185"/>
              <a:gd name="connsiteY5766" fmla="*/ 1952828 h 6859062"/>
              <a:gd name="connsiteX5767" fmla="*/ 9496 w 12192185"/>
              <a:gd name="connsiteY5767" fmla="*/ 1945411 h 6859062"/>
              <a:gd name="connsiteX5768" fmla="*/ 12699 w 12192185"/>
              <a:gd name="connsiteY5768" fmla="*/ 1940025 h 6859062"/>
              <a:gd name="connsiteX5769" fmla="*/ 23773 w 12192185"/>
              <a:gd name="connsiteY5769" fmla="*/ 1930722 h 6859062"/>
              <a:gd name="connsiteX5770" fmla="*/ 30401 w 12192185"/>
              <a:gd name="connsiteY5770" fmla="*/ 1924605 h 6859062"/>
              <a:gd name="connsiteX5771" fmla="*/ 33877 w 12192185"/>
              <a:gd name="connsiteY5771" fmla="*/ 1923174 h 6859062"/>
              <a:gd name="connsiteX5772" fmla="*/ 8142407 w 12192185"/>
              <a:gd name="connsiteY5772" fmla="*/ 1923150 h 6859062"/>
              <a:gd name="connsiteX5773" fmla="*/ 8131978 w 12192185"/>
              <a:gd name="connsiteY5773" fmla="*/ 1932830 h 6859062"/>
              <a:gd name="connsiteX5774" fmla="*/ 8147226 w 12192185"/>
              <a:gd name="connsiteY5774" fmla="*/ 1952766 h 6859062"/>
              <a:gd name="connsiteX5775" fmla="*/ 8157375 w 12192185"/>
              <a:gd name="connsiteY5775" fmla="*/ 1945538 h 6859062"/>
              <a:gd name="connsiteX5776" fmla="*/ 329548 w 12192185"/>
              <a:gd name="connsiteY5776" fmla="*/ 1856074 h 6859062"/>
              <a:gd name="connsiteX5777" fmla="*/ 342671 w 12192185"/>
              <a:gd name="connsiteY5777" fmla="*/ 1863531 h 6859062"/>
              <a:gd name="connsiteX5778" fmla="*/ 344719 w 12192185"/>
              <a:gd name="connsiteY5778" fmla="*/ 1864066 h 6859062"/>
              <a:gd name="connsiteX5779" fmla="*/ 347949 w 12192185"/>
              <a:gd name="connsiteY5779" fmla="*/ 1871920 h 6859062"/>
              <a:gd name="connsiteX5780" fmla="*/ 347203 w 12192185"/>
              <a:gd name="connsiteY5780" fmla="*/ 1882328 h 6859062"/>
              <a:gd name="connsiteX5781" fmla="*/ 342590 w 12192185"/>
              <a:gd name="connsiteY5781" fmla="*/ 1891112 h 6859062"/>
              <a:gd name="connsiteX5782" fmla="*/ 333812 w 12192185"/>
              <a:gd name="connsiteY5782" fmla="*/ 1899773 h 6859062"/>
              <a:gd name="connsiteX5783" fmla="*/ 325910 w 12192185"/>
              <a:gd name="connsiteY5783" fmla="*/ 1909452 h 6859062"/>
              <a:gd name="connsiteX5784" fmla="*/ 320864 w 12192185"/>
              <a:gd name="connsiteY5784" fmla="*/ 1921629 h 6859062"/>
              <a:gd name="connsiteX5785" fmla="*/ 306790 w 12192185"/>
              <a:gd name="connsiteY5785" fmla="*/ 1927418 h 6859062"/>
              <a:gd name="connsiteX5786" fmla="*/ 299379 w 12192185"/>
              <a:gd name="connsiteY5786" fmla="*/ 1924957 h 6859062"/>
              <a:gd name="connsiteX5787" fmla="*/ 290353 w 12192185"/>
              <a:gd name="connsiteY5787" fmla="*/ 1918570 h 6859062"/>
              <a:gd name="connsiteX5788" fmla="*/ 284589 w 12192185"/>
              <a:gd name="connsiteY5788" fmla="*/ 1909003 h 6859062"/>
              <a:gd name="connsiteX5789" fmla="*/ 290689 w 12192185"/>
              <a:gd name="connsiteY5789" fmla="*/ 1892720 h 6859062"/>
              <a:gd name="connsiteX5790" fmla="*/ 294020 w 12192185"/>
              <a:gd name="connsiteY5790" fmla="*/ 1888596 h 6859062"/>
              <a:gd name="connsiteX5791" fmla="*/ 300333 w 12192185"/>
              <a:gd name="connsiteY5791" fmla="*/ 1877275 h 6859062"/>
              <a:gd name="connsiteX5792" fmla="*/ 301427 w 12192185"/>
              <a:gd name="connsiteY5792" fmla="*/ 1869937 h 6859062"/>
              <a:gd name="connsiteX5793" fmla="*/ 314803 w 12192185"/>
              <a:gd name="connsiteY5793" fmla="*/ 1858008 h 6859062"/>
              <a:gd name="connsiteX5794" fmla="*/ 329548 w 12192185"/>
              <a:gd name="connsiteY5794" fmla="*/ 1856074 h 6859062"/>
              <a:gd name="connsiteX5795" fmla="*/ 8058960 w 12192185"/>
              <a:gd name="connsiteY5795" fmla="*/ 1804199 h 6859062"/>
              <a:gd name="connsiteX5796" fmla="*/ 8042228 w 12192185"/>
              <a:gd name="connsiteY5796" fmla="*/ 1814726 h 6859062"/>
              <a:gd name="connsiteX5797" fmla="*/ 8036183 w 12192185"/>
              <a:gd name="connsiteY5797" fmla="*/ 1819455 h 6859062"/>
              <a:gd name="connsiteX5798" fmla="*/ 8068664 w 12192185"/>
              <a:gd name="connsiteY5798" fmla="*/ 1854355 h 6859062"/>
              <a:gd name="connsiteX5799" fmla="*/ 8083953 w 12192185"/>
              <a:gd name="connsiteY5799" fmla="*/ 1839131 h 6859062"/>
              <a:gd name="connsiteX5800" fmla="*/ 2305545 w 12192185"/>
              <a:gd name="connsiteY5800" fmla="*/ 1769529 h 6859062"/>
              <a:gd name="connsiteX5801" fmla="*/ 2304765 w 12192185"/>
              <a:gd name="connsiteY5801" fmla="*/ 1770316 h 6859062"/>
              <a:gd name="connsiteX5802" fmla="*/ 2299200 w 12192185"/>
              <a:gd name="connsiteY5802" fmla="*/ 1773527 h 6859062"/>
              <a:gd name="connsiteX5803" fmla="*/ 2288070 w 12192185"/>
              <a:gd name="connsiteY5803" fmla="*/ 1779952 h 6859062"/>
              <a:gd name="connsiteX5804" fmla="*/ 2307988 w 12192185"/>
              <a:gd name="connsiteY5804" fmla="*/ 1767065 h 6859062"/>
              <a:gd name="connsiteX5805" fmla="*/ 2309877 w 12192185"/>
              <a:gd name="connsiteY5805" fmla="*/ 1767096 h 6859062"/>
              <a:gd name="connsiteX5806" fmla="*/ 2306093 w 12192185"/>
              <a:gd name="connsiteY5806" fmla="*/ 1769203 h 6859062"/>
              <a:gd name="connsiteX5807" fmla="*/ 2305545 w 12192185"/>
              <a:gd name="connsiteY5807" fmla="*/ 1769529 h 6859062"/>
              <a:gd name="connsiteX5808" fmla="*/ 2401948 w 12192185"/>
              <a:gd name="connsiteY5808" fmla="*/ 1758726 h 6859062"/>
              <a:gd name="connsiteX5809" fmla="*/ 2396347 w 12192185"/>
              <a:gd name="connsiteY5809" fmla="*/ 1762071 h 6859062"/>
              <a:gd name="connsiteX5810" fmla="*/ 2396382 w 12192185"/>
              <a:gd name="connsiteY5810" fmla="*/ 1761940 h 6859062"/>
              <a:gd name="connsiteX5811" fmla="*/ 2401948 w 12192185"/>
              <a:gd name="connsiteY5811" fmla="*/ 1758726 h 6859062"/>
              <a:gd name="connsiteX5812" fmla="*/ 928044 w 12192185"/>
              <a:gd name="connsiteY5812" fmla="*/ 1743740 h 6859062"/>
              <a:gd name="connsiteX5813" fmla="*/ 951734 w 12192185"/>
              <a:gd name="connsiteY5813" fmla="*/ 1751457 h 6859062"/>
              <a:gd name="connsiteX5814" fmla="*/ 956046 w 12192185"/>
              <a:gd name="connsiteY5814" fmla="*/ 1759920 h 6859062"/>
              <a:gd name="connsiteX5815" fmla="*/ 957750 w 12192185"/>
              <a:gd name="connsiteY5815" fmla="*/ 1763476 h 6859062"/>
              <a:gd name="connsiteX5816" fmla="*/ 963202 w 12192185"/>
              <a:gd name="connsiteY5816" fmla="*/ 1772775 h 6859062"/>
              <a:gd name="connsiteX5817" fmla="*/ 966047 w 12192185"/>
              <a:gd name="connsiteY5817" fmla="*/ 1777174 h 6859062"/>
              <a:gd name="connsiteX5818" fmla="*/ 967946 w 12192185"/>
              <a:gd name="connsiteY5818" fmla="*/ 1783585 h 6859062"/>
              <a:gd name="connsiteX5819" fmla="*/ 967627 w 12192185"/>
              <a:gd name="connsiteY5819" fmla="*/ 1790797 h 6859062"/>
              <a:gd name="connsiteX5820" fmla="*/ 964966 w 12192185"/>
              <a:gd name="connsiteY5820" fmla="*/ 1808877 h 6859062"/>
              <a:gd name="connsiteX5821" fmla="*/ 944724 w 12192185"/>
              <a:gd name="connsiteY5821" fmla="*/ 1834980 h 6859062"/>
              <a:gd name="connsiteX5822" fmla="*/ 941868 w 12192185"/>
              <a:gd name="connsiteY5822" fmla="*/ 1835177 h 6859062"/>
              <a:gd name="connsiteX5823" fmla="*/ 929505 w 12192185"/>
              <a:gd name="connsiteY5823" fmla="*/ 1837977 h 6859062"/>
              <a:gd name="connsiteX5824" fmla="*/ 926013 w 12192185"/>
              <a:gd name="connsiteY5824" fmla="*/ 1837569 h 6859062"/>
              <a:gd name="connsiteX5825" fmla="*/ 916576 w 12192185"/>
              <a:gd name="connsiteY5825" fmla="*/ 1838058 h 6859062"/>
              <a:gd name="connsiteX5826" fmla="*/ 911472 w 12192185"/>
              <a:gd name="connsiteY5826" fmla="*/ 1837815 h 6859062"/>
              <a:gd name="connsiteX5827" fmla="*/ 907015 w 12192185"/>
              <a:gd name="connsiteY5827" fmla="*/ 1833582 h 6859062"/>
              <a:gd name="connsiteX5828" fmla="*/ 892230 w 12192185"/>
              <a:gd name="connsiteY5828" fmla="*/ 1823899 h 6859062"/>
              <a:gd name="connsiteX5829" fmla="*/ 884590 w 12192185"/>
              <a:gd name="connsiteY5829" fmla="*/ 1816640 h 6859062"/>
              <a:gd name="connsiteX5830" fmla="*/ 882988 w 12192185"/>
              <a:gd name="connsiteY5830" fmla="*/ 1812210 h 6859062"/>
              <a:gd name="connsiteX5831" fmla="*/ 883081 w 12192185"/>
              <a:gd name="connsiteY5831" fmla="*/ 1800903 h 6859062"/>
              <a:gd name="connsiteX5832" fmla="*/ 882384 w 12192185"/>
              <a:gd name="connsiteY5832" fmla="*/ 1782785 h 6859062"/>
              <a:gd name="connsiteX5833" fmla="*/ 884685 w 12192185"/>
              <a:gd name="connsiteY5833" fmla="*/ 1775275 h 6859062"/>
              <a:gd name="connsiteX5834" fmla="*/ 889574 w 12192185"/>
              <a:gd name="connsiteY5834" fmla="*/ 1766830 h 6859062"/>
              <a:gd name="connsiteX5835" fmla="*/ 894657 w 12192185"/>
              <a:gd name="connsiteY5835" fmla="*/ 1761235 h 6859062"/>
              <a:gd name="connsiteX5836" fmla="*/ 916080 w 12192185"/>
              <a:gd name="connsiteY5836" fmla="*/ 1747647 h 6859062"/>
              <a:gd name="connsiteX5837" fmla="*/ 928044 w 12192185"/>
              <a:gd name="connsiteY5837" fmla="*/ 1743740 h 6859062"/>
              <a:gd name="connsiteX5838" fmla="*/ 2340626 w 12192185"/>
              <a:gd name="connsiteY5838" fmla="*/ 1742046 h 6859062"/>
              <a:gd name="connsiteX5839" fmla="*/ 2340505 w 12192185"/>
              <a:gd name="connsiteY5839" fmla="*/ 1742262 h 6859062"/>
              <a:gd name="connsiteX5840" fmla="*/ 2340322 w 12192185"/>
              <a:gd name="connsiteY5840" fmla="*/ 1742214 h 6859062"/>
              <a:gd name="connsiteX5841" fmla="*/ 2346071 w 12192185"/>
              <a:gd name="connsiteY5841" fmla="*/ 1739050 h 6859062"/>
              <a:gd name="connsiteX5842" fmla="*/ 2340626 w 12192185"/>
              <a:gd name="connsiteY5842" fmla="*/ 1742046 h 6859062"/>
              <a:gd name="connsiteX5843" fmla="*/ 2341643 w 12192185"/>
              <a:gd name="connsiteY5843" fmla="*/ 1740214 h 6859062"/>
              <a:gd name="connsiteX5844" fmla="*/ 2346071 w 12192185"/>
              <a:gd name="connsiteY5844" fmla="*/ 1739050 h 6859062"/>
              <a:gd name="connsiteX5845" fmla="*/ 8201475 w 12192185"/>
              <a:gd name="connsiteY5845" fmla="*/ 1706196 h 6859062"/>
              <a:gd name="connsiteX5846" fmla="*/ 8194286 w 12192185"/>
              <a:gd name="connsiteY5846" fmla="*/ 1711439 h 6859062"/>
              <a:gd name="connsiteX5847" fmla="*/ 8144839 w 12192185"/>
              <a:gd name="connsiteY5847" fmla="*/ 1748467 h 6859062"/>
              <a:gd name="connsiteX5848" fmla="*/ 8111134 w 12192185"/>
              <a:gd name="connsiteY5848" fmla="*/ 1768033 h 6859062"/>
              <a:gd name="connsiteX5849" fmla="*/ 8094050 w 12192185"/>
              <a:gd name="connsiteY5849" fmla="*/ 1782790 h 6859062"/>
              <a:gd name="connsiteX5850" fmla="*/ 8094971 w 12192185"/>
              <a:gd name="connsiteY5850" fmla="*/ 1783936 h 6859062"/>
              <a:gd name="connsiteX5851" fmla="*/ 8109155 w 12192185"/>
              <a:gd name="connsiteY5851" fmla="*/ 1793492 h 6859062"/>
              <a:gd name="connsiteX5852" fmla="*/ 8116424 w 12192185"/>
              <a:gd name="connsiteY5852" fmla="*/ 1808987 h 6859062"/>
              <a:gd name="connsiteX5853" fmla="*/ 8210110 w 12192185"/>
              <a:gd name="connsiteY5853" fmla="*/ 1729321 h 6859062"/>
              <a:gd name="connsiteX5854" fmla="*/ 8200019 w 12192185"/>
              <a:gd name="connsiteY5854" fmla="*/ 1715127 h 6859062"/>
              <a:gd name="connsiteX5855" fmla="*/ 8204405 w 12192185"/>
              <a:gd name="connsiteY5855" fmla="*/ 1713326 h 6859062"/>
              <a:gd name="connsiteX5856" fmla="*/ 8202601 w 12192185"/>
              <a:gd name="connsiteY5856" fmla="*/ 1708939 h 6859062"/>
              <a:gd name="connsiteX5857" fmla="*/ 7970997 w 12192185"/>
              <a:gd name="connsiteY5857" fmla="*/ 1681243 h 6859062"/>
              <a:gd name="connsiteX5858" fmla="*/ 7934209 w 12192185"/>
              <a:gd name="connsiteY5858" fmla="*/ 1709890 h 6859062"/>
              <a:gd name="connsiteX5859" fmla="*/ 7963991 w 12192185"/>
              <a:gd name="connsiteY5859" fmla="*/ 1741890 h 6859062"/>
              <a:gd name="connsiteX5860" fmla="*/ 7995961 w 12192185"/>
              <a:gd name="connsiteY5860" fmla="*/ 1716137 h 6859062"/>
              <a:gd name="connsiteX5861" fmla="*/ 10049 w 12192185"/>
              <a:gd name="connsiteY5861" fmla="*/ 1659355 h 6859062"/>
              <a:gd name="connsiteX5862" fmla="*/ 18432 w 12192185"/>
              <a:gd name="connsiteY5862" fmla="*/ 1659975 h 6859062"/>
              <a:gd name="connsiteX5863" fmla="*/ 32080 w 12192185"/>
              <a:gd name="connsiteY5863" fmla="*/ 1663516 h 6859062"/>
              <a:gd name="connsiteX5864" fmla="*/ 36971 w 12192185"/>
              <a:gd name="connsiteY5864" fmla="*/ 1663879 h 6859062"/>
              <a:gd name="connsiteX5865" fmla="*/ 39851 w 12192185"/>
              <a:gd name="connsiteY5865" fmla="*/ 1666763 h 6859062"/>
              <a:gd name="connsiteX5866" fmla="*/ 44623 w 12192185"/>
              <a:gd name="connsiteY5866" fmla="*/ 1672599 h 6859062"/>
              <a:gd name="connsiteX5867" fmla="*/ 46736 w 12192185"/>
              <a:gd name="connsiteY5867" fmla="*/ 1674442 h 6859062"/>
              <a:gd name="connsiteX5868" fmla="*/ 51712 w 12192185"/>
              <a:gd name="connsiteY5868" fmla="*/ 1683246 h 6859062"/>
              <a:gd name="connsiteX5869" fmla="*/ 53126 w 12192185"/>
              <a:gd name="connsiteY5869" fmla="*/ 1685038 h 6859062"/>
              <a:gd name="connsiteX5870" fmla="*/ 48562 w 12192185"/>
              <a:gd name="connsiteY5870" fmla="*/ 1710991 h 6859062"/>
              <a:gd name="connsiteX5871" fmla="*/ 39311 w 12192185"/>
              <a:gd name="connsiteY5871" fmla="*/ 1722257 h 6859062"/>
              <a:gd name="connsiteX5872" fmla="*/ 35223 w 12192185"/>
              <a:gd name="connsiteY5872" fmla="*/ 1726312 h 6859062"/>
              <a:gd name="connsiteX5873" fmla="*/ 30417 w 12192185"/>
              <a:gd name="connsiteY5873" fmla="*/ 1728628 h 6859062"/>
              <a:gd name="connsiteX5874" fmla="*/ 26294 w 12192185"/>
              <a:gd name="connsiteY5874" fmla="*/ 1729307 h 6859062"/>
              <a:gd name="connsiteX5875" fmla="*/ 17878 w 12192185"/>
              <a:gd name="connsiteY5875" fmla="*/ 1731074 h 6859062"/>
              <a:gd name="connsiteX5876" fmla="*/ 14862 w 12192185"/>
              <a:gd name="connsiteY5876" fmla="*/ 1731976 h 6859062"/>
              <a:gd name="connsiteX5877" fmla="*/ 7552 w 12192185"/>
              <a:gd name="connsiteY5877" fmla="*/ 1733965 h 6859062"/>
              <a:gd name="connsiteX5878" fmla="*/ 0 w 12192185"/>
              <a:gd name="connsiteY5878" fmla="*/ 1730612 h 6859062"/>
              <a:gd name="connsiteX5879" fmla="*/ 0 w 12192185"/>
              <a:gd name="connsiteY5879" fmla="*/ 1666852 h 6859062"/>
              <a:gd name="connsiteX5880" fmla="*/ 6574 w 12192185"/>
              <a:gd name="connsiteY5880" fmla="*/ 1660785 h 6859062"/>
              <a:gd name="connsiteX5881" fmla="*/ 10049 w 12192185"/>
              <a:gd name="connsiteY5881" fmla="*/ 1659355 h 6859062"/>
              <a:gd name="connsiteX5882" fmla="*/ 8327378 w 12192185"/>
              <a:gd name="connsiteY5882" fmla="*/ 1631809 h 6859062"/>
              <a:gd name="connsiteX5883" fmla="*/ 8309506 w 12192185"/>
              <a:gd name="connsiteY5883" fmla="*/ 1641367 h 6859062"/>
              <a:gd name="connsiteX5884" fmla="*/ 8270749 w 12192185"/>
              <a:gd name="connsiteY5884" fmla="*/ 1661648 h 6859062"/>
              <a:gd name="connsiteX5885" fmla="*/ 8281054 w 12192185"/>
              <a:gd name="connsiteY5885" fmla="*/ 1675507 h 6859062"/>
              <a:gd name="connsiteX5886" fmla="*/ 8333174 w 12192185"/>
              <a:gd name="connsiteY5886" fmla="*/ 1638870 h 6859062"/>
              <a:gd name="connsiteX5887" fmla="*/ 11509262 w 12192185"/>
              <a:gd name="connsiteY5887" fmla="*/ 1601475 h 6859062"/>
              <a:gd name="connsiteX5888" fmla="*/ 11520594 w 12192185"/>
              <a:gd name="connsiteY5888" fmla="*/ 1601841 h 6859062"/>
              <a:gd name="connsiteX5889" fmla="*/ 11528717 w 12192185"/>
              <a:gd name="connsiteY5889" fmla="*/ 1606217 h 6859062"/>
              <a:gd name="connsiteX5890" fmla="*/ 11529064 w 12192185"/>
              <a:gd name="connsiteY5890" fmla="*/ 1608491 h 6859062"/>
              <a:gd name="connsiteX5891" fmla="*/ 11535646 w 12192185"/>
              <a:gd name="connsiteY5891" fmla="*/ 1623514 h 6859062"/>
              <a:gd name="connsiteX5892" fmla="*/ 11531896 w 12192185"/>
              <a:gd name="connsiteY5892" fmla="*/ 1639232 h 6859062"/>
              <a:gd name="connsiteX5893" fmla="*/ 11517496 w 12192185"/>
              <a:gd name="connsiteY5893" fmla="*/ 1652344 h 6859062"/>
              <a:gd name="connsiteX5894" fmla="*/ 11509442 w 12192185"/>
              <a:gd name="connsiteY5894" fmla="*/ 1652701 h 6859062"/>
              <a:gd name="connsiteX5895" fmla="*/ 11496496 w 12192185"/>
              <a:gd name="connsiteY5895" fmla="*/ 1658247 h 6859062"/>
              <a:gd name="connsiteX5896" fmla="*/ 11491662 w 12192185"/>
              <a:gd name="connsiteY5896" fmla="*/ 1661384 h 6859062"/>
              <a:gd name="connsiteX5897" fmla="*/ 11473377 w 12192185"/>
              <a:gd name="connsiteY5897" fmla="*/ 1666141 h 6859062"/>
              <a:gd name="connsiteX5898" fmla="*/ 11463688 w 12192185"/>
              <a:gd name="connsiteY5898" fmla="*/ 1658834 h 6859062"/>
              <a:gd name="connsiteX5899" fmla="*/ 11457802 w 12192185"/>
              <a:gd name="connsiteY5899" fmla="*/ 1648360 h 6859062"/>
              <a:gd name="connsiteX5900" fmla="*/ 11455977 w 12192185"/>
              <a:gd name="connsiteY5900" fmla="*/ 1640072 h 6859062"/>
              <a:gd name="connsiteX5901" fmla="*/ 11463820 w 12192185"/>
              <a:gd name="connsiteY5901" fmla="*/ 1625515 h 6859062"/>
              <a:gd name="connsiteX5902" fmla="*/ 11477547 w 12192185"/>
              <a:gd name="connsiteY5902" fmla="*/ 1621433 h 6859062"/>
              <a:gd name="connsiteX5903" fmla="*/ 11488898 w 12192185"/>
              <a:gd name="connsiteY5903" fmla="*/ 1613982 h 6859062"/>
              <a:gd name="connsiteX5904" fmla="*/ 11499247 w 12192185"/>
              <a:gd name="connsiteY5904" fmla="*/ 1605471 h 6859062"/>
              <a:gd name="connsiteX5905" fmla="*/ 11509262 w 12192185"/>
              <a:gd name="connsiteY5905" fmla="*/ 1601475 h 6859062"/>
              <a:gd name="connsiteX5906" fmla="*/ 8092885 w 12192185"/>
              <a:gd name="connsiteY5906" fmla="*/ 1595365 h 6859062"/>
              <a:gd name="connsiteX5907" fmla="*/ 8000810 w 12192185"/>
              <a:gd name="connsiteY5907" fmla="*/ 1658026 h 6859062"/>
              <a:gd name="connsiteX5908" fmla="*/ 7992044 w 12192185"/>
              <a:gd name="connsiteY5908" fmla="*/ 1664852 h 6859062"/>
              <a:gd name="connsiteX5909" fmla="*/ 7991431 w 12192185"/>
              <a:gd name="connsiteY5909" fmla="*/ 1666324 h 6859062"/>
              <a:gd name="connsiteX5910" fmla="*/ 8004489 w 12192185"/>
              <a:gd name="connsiteY5910" fmla="*/ 1680749 h 6859062"/>
              <a:gd name="connsiteX5911" fmla="*/ 8021279 w 12192185"/>
              <a:gd name="connsiteY5911" fmla="*/ 1695745 h 6859062"/>
              <a:gd name="connsiteX5912" fmla="*/ 8043420 w 12192185"/>
              <a:gd name="connsiteY5912" fmla="*/ 1677910 h 6859062"/>
              <a:gd name="connsiteX5913" fmla="*/ 8123974 w 12192185"/>
              <a:gd name="connsiteY5913" fmla="*/ 1623142 h 6859062"/>
              <a:gd name="connsiteX5914" fmla="*/ 8116959 w 12192185"/>
              <a:gd name="connsiteY5914" fmla="*/ 1615374 h 6859062"/>
              <a:gd name="connsiteX5915" fmla="*/ 8095871 w 12192185"/>
              <a:gd name="connsiteY5915" fmla="*/ 1598961 h 6859062"/>
              <a:gd name="connsiteX5916" fmla="*/ 11331747 w 12192185"/>
              <a:gd name="connsiteY5916" fmla="*/ 1585925 h 6859062"/>
              <a:gd name="connsiteX5917" fmla="*/ 11396524 w 12192185"/>
              <a:gd name="connsiteY5917" fmla="*/ 1620727 h 6859062"/>
              <a:gd name="connsiteX5918" fmla="*/ 11438054 w 12192185"/>
              <a:gd name="connsiteY5918" fmla="*/ 1663475 h 6859062"/>
              <a:gd name="connsiteX5919" fmla="*/ 11442220 w 12192185"/>
              <a:gd name="connsiteY5919" fmla="*/ 1661053 h 6859062"/>
              <a:gd name="connsiteX5920" fmla="*/ 11450352 w 12192185"/>
              <a:gd name="connsiteY5920" fmla="*/ 1670260 h 6859062"/>
              <a:gd name="connsiteX5921" fmla="*/ 11452771 w 12192185"/>
              <a:gd name="connsiteY5921" fmla="*/ 1674427 h 6859062"/>
              <a:gd name="connsiteX5922" fmla="*/ 11453644 w 12192185"/>
              <a:gd name="connsiteY5922" fmla="*/ 1671132 h 6859062"/>
              <a:gd name="connsiteX5923" fmla="*/ 11497792 w 12192185"/>
              <a:gd name="connsiteY5923" fmla="*/ 1703993 h 6859062"/>
              <a:gd name="connsiteX5924" fmla="*/ 11501085 w 12192185"/>
              <a:gd name="connsiteY5924" fmla="*/ 1704864 h 6859062"/>
              <a:gd name="connsiteX5925" fmla="*/ 11504378 w 12192185"/>
              <a:gd name="connsiteY5925" fmla="*/ 1705737 h 6859062"/>
              <a:gd name="connsiteX5926" fmla="*/ 11507670 w 12192185"/>
              <a:gd name="connsiteY5926" fmla="*/ 1706610 h 6859062"/>
              <a:gd name="connsiteX5927" fmla="*/ 11506796 w 12192185"/>
              <a:gd name="connsiteY5927" fmla="*/ 1709905 h 6859062"/>
              <a:gd name="connsiteX5928" fmla="*/ 11510964 w 12192185"/>
              <a:gd name="connsiteY5928" fmla="*/ 1707483 h 6859062"/>
              <a:gd name="connsiteX5929" fmla="*/ 11535558 w 12192185"/>
              <a:gd name="connsiteY5929" fmla="*/ 1721053 h 6859062"/>
              <a:gd name="connsiteX5930" fmla="*/ 11530046 w 12192185"/>
              <a:gd name="connsiteY5930" fmla="*/ 1701960 h 6859062"/>
              <a:gd name="connsiteX5931" fmla="*/ 11536194 w 12192185"/>
              <a:gd name="connsiteY5931" fmla="*/ 1705353 h 6859062"/>
              <a:gd name="connsiteX5932" fmla="*/ 11539268 w 12192185"/>
              <a:gd name="connsiteY5932" fmla="*/ 1707048 h 6859062"/>
              <a:gd name="connsiteX5933" fmla="*/ 11539050 w 12192185"/>
              <a:gd name="connsiteY5933" fmla="*/ 1707872 h 6859062"/>
              <a:gd name="connsiteX5934" fmla="*/ 11542342 w 12192185"/>
              <a:gd name="connsiteY5934" fmla="*/ 1708745 h 6859062"/>
              <a:gd name="connsiteX5935" fmla="*/ 11539268 w 12192185"/>
              <a:gd name="connsiteY5935" fmla="*/ 1707048 h 6859062"/>
              <a:gd name="connsiteX5936" fmla="*/ 11539923 w 12192185"/>
              <a:gd name="connsiteY5936" fmla="*/ 1704578 h 6859062"/>
              <a:gd name="connsiteX5937" fmla="*/ 11543216 w 12192185"/>
              <a:gd name="connsiteY5937" fmla="*/ 1705449 h 6859062"/>
              <a:gd name="connsiteX5938" fmla="*/ 11546508 w 12192185"/>
              <a:gd name="connsiteY5938" fmla="*/ 1706322 h 6859062"/>
              <a:gd name="connsiteX5939" fmla="*/ 11560351 w 12192185"/>
              <a:gd name="connsiteY5939" fmla="*/ 1720570 h 6859062"/>
              <a:gd name="connsiteX5940" fmla="*/ 11562771 w 12192185"/>
              <a:gd name="connsiteY5940" fmla="*/ 1724738 h 6859062"/>
              <a:gd name="connsiteX5941" fmla="*/ 11568482 w 12192185"/>
              <a:gd name="connsiteY5941" fmla="*/ 1729778 h 6859062"/>
              <a:gd name="connsiteX5942" fmla="*/ 11570902 w 12192185"/>
              <a:gd name="connsiteY5942" fmla="*/ 1733946 h 6859062"/>
              <a:gd name="connsiteX5943" fmla="*/ 11565191 w 12192185"/>
              <a:gd name="connsiteY5943" fmla="*/ 1728906 h 6859062"/>
              <a:gd name="connsiteX5944" fmla="*/ 11559478 w 12192185"/>
              <a:gd name="connsiteY5944" fmla="*/ 1723865 h 6859062"/>
              <a:gd name="connsiteX5945" fmla="*/ 11571576 w 12192185"/>
              <a:gd name="connsiteY5945" fmla="*/ 1744704 h 6859062"/>
              <a:gd name="connsiteX5946" fmla="*/ 11559076 w 12192185"/>
              <a:gd name="connsiteY5946" fmla="*/ 1751972 h 6859062"/>
              <a:gd name="connsiteX5947" fmla="*/ 11674861 w 12192185"/>
              <a:gd name="connsiteY5947" fmla="*/ 1860241 h 6859062"/>
              <a:gd name="connsiteX5948" fmla="*/ 11680573 w 12192185"/>
              <a:gd name="connsiteY5948" fmla="*/ 1865282 h 6859062"/>
              <a:gd name="connsiteX5949" fmla="*/ 11682992 w 12192185"/>
              <a:gd name="connsiteY5949" fmla="*/ 1869450 h 6859062"/>
              <a:gd name="connsiteX5950" fmla="*/ 11726940 w 12192185"/>
              <a:gd name="connsiteY5950" fmla="*/ 1916361 h 6859062"/>
              <a:gd name="connsiteX5951" fmla="*/ 11782314 w 12192185"/>
              <a:gd name="connsiteY5951" fmla="*/ 1973355 h 6859062"/>
              <a:gd name="connsiteX5952" fmla="*/ 11831773 w 12192185"/>
              <a:gd name="connsiteY5952" fmla="*/ 2039360 h 6859062"/>
              <a:gd name="connsiteX5953" fmla="*/ 11904754 w 12192185"/>
              <a:gd name="connsiteY5953" fmla="*/ 2136286 h 6859062"/>
              <a:gd name="connsiteX5954" fmla="*/ 11945681 w 12192185"/>
              <a:gd name="connsiteY5954" fmla="*/ 2221190 h 6859062"/>
              <a:gd name="connsiteX5955" fmla="*/ 11938423 w 12192185"/>
              <a:gd name="connsiteY5955" fmla="*/ 2208695 h 6859062"/>
              <a:gd name="connsiteX5956" fmla="*/ 11939969 w 12192185"/>
              <a:gd name="connsiteY5956" fmla="*/ 2216155 h 6859062"/>
              <a:gd name="connsiteX5957" fmla="*/ 11942388 w 12192185"/>
              <a:gd name="connsiteY5957" fmla="*/ 2220322 h 6859062"/>
              <a:gd name="connsiteX5958" fmla="*/ 11936677 w 12192185"/>
              <a:gd name="connsiteY5958" fmla="*/ 2215281 h 6859062"/>
              <a:gd name="connsiteX5959" fmla="*/ 11933384 w 12192185"/>
              <a:gd name="connsiteY5959" fmla="*/ 2214409 h 6859062"/>
              <a:gd name="connsiteX5960" fmla="*/ 11990775 w 12192185"/>
              <a:gd name="connsiteY5960" fmla="*/ 2303670 h 6859062"/>
              <a:gd name="connsiteX5961" fmla="*/ 12028209 w 12192185"/>
              <a:gd name="connsiteY5961" fmla="*/ 2401754 h 6859062"/>
              <a:gd name="connsiteX5962" fmla="*/ 11941987 w 12192185"/>
              <a:gd name="connsiteY5962" fmla="*/ 2248422 h 6859062"/>
              <a:gd name="connsiteX5963" fmla="*/ 11924852 w 12192185"/>
              <a:gd name="connsiteY5963" fmla="*/ 2233305 h 6859062"/>
              <a:gd name="connsiteX5964" fmla="*/ 11904825 w 12192185"/>
              <a:gd name="connsiteY5964" fmla="*/ 2189205 h 6859062"/>
              <a:gd name="connsiteX5965" fmla="*/ 11877138 w 12192185"/>
              <a:gd name="connsiteY5965" fmla="*/ 2160708 h 6859062"/>
              <a:gd name="connsiteX5966" fmla="*/ 11857984 w 12192185"/>
              <a:gd name="connsiteY5966" fmla="*/ 2113311 h 6859062"/>
              <a:gd name="connsiteX5967" fmla="*/ 11866316 w 12192185"/>
              <a:gd name="connsiteY5967" fmla="*/ 2108466 h 6859062"/>
              <a:gd name="connsiteX5968" fmla="*/ 11846088 w 12192185"/>
              <a:gd name="connsiteY5968" fmla="*/ 2078421 h 6859062"/>
              <a:gd name="connsiteX5969" fmla="*/ 11845215 w 12192185"/>
              <a:gd name="connsiteY5969" fmla="*/ 2081717 h 6859062"/>
              <a:gd name="connsiteX5970" fmla="*/ 11847634 w 12192185"/>
              <a:gd name="connsiteY5970" fmla="*/ 2085884 h 6859062"/>
              <a:gd name="connsiteX5971" fmla="*/ 11844342 w 12192185"/>
              <a:gd name="connsiteY5971" fmla="*/ 2085012 h 6859062"/>
              <a:gd name="connsiteX5972" fmla="*/ 11845014 w 12192185"/>
              <a:gd name="connsiteY5972" fmla="*/ 2095770 h 6859062"/>
              <a:gd name="connsiteX5973" fmla="*/ 11829626 w 12192185"/>
              <a:gd name="connsiteY5973" fmla="*/ 2074058 h 6859062"/>
              <a:gd name="connsiteX5974" fmla="*/ 11826334 w 12192185"/>
              <a:gd name="connsiteY5974" fmla="*/ 2073184 h 6859062"/>
              <a:gd name="connsiteX5975" fmla="*/ 11827205 w 12192185"/>
              <a:gd name="connsiteY5975" fmla="*/ 2069890 h 6859062"/>
              <a:gd name="connsiteX5976" fmla="*/ 11821495 w 12192185"/>
              <a:gd name="connsiteY5976" fmla="*/ 2064850 h 6859062"/>
              <a:gd name="connsiteX5977" fmla="*/ 11822369 w 12192185"/>
              <a:gd name="connsiteY5977" fmla="*/ 2061555 h 6859062"/>
              <a:gd name="connsiteX5978" fmla="*/ 11788970 w 12192185"/>
              <a:gd name="connsiteY5978" fmla="*/ 2028019 h 6859062"/>
              <a:gd name="connsiteX5979" fmla="*/ 11773781 w 12192185"/>
              <a:gd name="connsiteY5979" fmla="*/ 1992254 h 6859062"/>
              <a:gd name="connsiteX5980" fmla="*/ 11771362 w 12192185"/>
              <a:gd name="connsiteY5980" fmla="*/ 1988086 h 6859062"/>
              <a:gd name="connsiteX5981" fmla="*/ 11766523 w 12192185"/>
              <a:gd name="connsiteY5981" fmla="*/ 1979751 h 6859062"/>
              <a:gd name="connsiteX5982" fmla="*/ 11769815 w 12192185"/>
              <a:gd name="connsiteY5982" fmla="*/ 1980624 h 6859062"/>
              <a:gd name="connsiteX5983" fmla="*/ 11772234 w 12192185"/>
              <a:gd name="connsiteY5983" fmla="*/ 1984790 h 6859062"/>
              <a:gd name="connsiteX5984" fmla="*/ 11775528 w 12192185"/>
              <a:gd name="connsiteY5984" fmla="*/ 1985663 h 6859062"/>
              <a:gd name="connsiteX5985" fmla="*/ 11755972 w 12192185"/>
              <a:gd name="connsiteY5985" fmla="*/ 1966376 h 6859062"/>
              <a:gd name="connsiteX5986" fmla="*/ 11758392 w 12192185"/>
              <a:gd name="connsiteY5986" fmla="*/ 1970544 h 6859062"/>
              <a:gd name="connsiteX5987" fmla="*/ 11755099 w 12192185"/>
              <a:gd name="connsiteY5987" fmla="*/ 1969671 h 6859062"/>
              <a:gd name="connsiteX5988" fmla="*/ 11751806 w 12192185"/>
              <a:gd name="connsiteY5988" fmla="*/ 1968799 h 6859062"/>
              <a:gd name="connsiteX5989" fmla="*/ 11753353 w 12192185"/>
              <a:gd name="connsiteY5989" fmla="*/ 1976262 h 6859062"/>
              <a:gd name="connsiteX5990" fmla="*/ 11741256 w 12192185"/>
              <a:gd name="connsiteY5990" fmla="*/ 1955422 h 6859062"/>
              <a:gd name="connsiteX5991" fmla="*/ 11738836 w 12192185"/>
              <a:gd name="connsiteY5991" fmla="*/ 1951254 h 6859062"/>
              <a:gd name="connsiteX5992" fmla="*/ 11678827 w 12192185"/>
              <a:gd name="connsiteY5992" fmla="*/ 1871872 h 6859062"/>
              <a:gd name="connsiteX5993" fmla="*/ 11676407 w 12192185"/>
              <a:gd name="connsiteY5993" fmla="*/ 1867705 h 6859062"/>
              <a:gd name="connsiteX5994" fmla="*/ 11670695 w 12192185"/>
              <a:gd name="connsiteY5994" fmla="*/ 1862664 h 6859062"/>
              <a:gd name="connsiteX5995" fmla="*/ 11673987 w 12192185"/>
              <a:gd name="connsiteY5995" fmla="*/ 1863537 h 6859062"/>
              <a:gd name="connsiteX5996" fmla="*/ 11643682 w 12192185"/>
              <a:gd name="connsiteY5996" fmla="*/ 1844925 h 6859062"/>
              <a:gd name="connsiteX5997" fmla="*/ 11649394 w 12192185"/>
              <a:gd name="connsiteY5997" fmla="*/ 1849965 h 6859062"/>
              <a:gd name="connsiteX5998" fmla="*/ 11648520 w 12192185"/>
              <a:gd name="connsiteY5998" fmla="*/ 1853260 h 6859062"/>
              <a:gd name="connsiteX5999" fmla="*/ 11642809 w 12192185"/>
              <a:gd name="connsiteY5999" fmla="*/ 1848219 h 6859062"/>
              <a:gd name="connsiteX6000" fmla="*/ 11641611 w 12192185"/>
              <a:gd name="connsiteY6000" fmla="*/ 1847903 h 6859062"/>
              <a:gd name="connsiteX6001" fmla="*/ 11640254 w 12192185"/>
              <a:gd name="connsiteY6001" fmla="*/ 1846219 h 6859062"/>
              <a:gd name="connsiteX6002" fmla="*/ 11637096 w 12192185"/>
              <a:gd name="connsiteY6002" fmla="*/ 1843181 h 6859062"/>
              <a:gd name="connsiteX6003" fmla="*/ 11639516 w 12192185"/>
              <a:gd name="connsiteY6003" fmla="*/ 1847348 h 6859062"/>
              <a:gd name="connsiteX6004" fmla="*/ 11641611 w 12192185"/>
              <a:gd name="connsiteY6004" fmla="*/ 1847903 h 6859062"/>
              <a:gd name="connsiteX6005" fmla="*/ 11645229 w 12192185"/>
              <a:gd name="connsiteY6005" fmla="*/ 1852388 h 6859062"/>
              <a:gd name="connsiteX6006" fmla="*/ 11530990 w 12192185"/>
              <a:gd name="connsiteY6006" fmla="*/ 1751583 h 6859062"/>
              <a:gd name="connsiteX6007" fmla="*/ 11518020 w 12192185"/>
              <a:gd name="connsiteY6007" fmla="*/ 1734038 h 6859062"/>
              <a:gd name="connsiteX6008" fmla="*/ 11510562 w 12192185"/>
              <a:gd name="connsiteY6008" fmla="*/ 1735588 h 6859062"/>
              <a:gd name="connsiteX6009" fmla="*/ 11508144 w 12192185"/>
              <a:gd name="connsiteY6009" fmla="*/ 1731420 h 6859062"/>
              <a:gd name="connsiteX6010" fmla="*/ 11502431 w 12192185"/>
              <a:gd name="connsiteY6010" fmla="*/ 1726380 h 6859062"/>
              <a:gd name="connsiteX6011" fmla="*/ 11455189 w 12192185"/>
              <a:gd name="connsiteY6011" fmla="*/ 1678597 h 6859062"/>
              <a:gd name="connsiteX6012" fmla="*/ 11457609 w 12192185"/>
              <a:gd name="connsiteY6012" fmla="*/ 1682764 h 6859062"/>
              <a:gd name="connsiteX6013" fmla="*/ 11453443 w 12192185"/>
              <a:gd name="connsiteY6013" fmla="*/ 1685186 h 6859062"/>
              <a:gd name="connsiteX6014" fmla="*/ 11451024 w 12192185"/>
              <a:gd name="connsiteY6014" fmla="*/ 1681019 h 6859062"/>
              <a:gd name="connsiteX6015" fmla="*/ 11447732 w 12192185"/>
              <a:gd name="connsiteY6015" fmla="*/ 1680146 h 6859062"/>
              <a:gd name="connsiteX6016" fmla="*/ 11402909 w 12192185"/>
              <a:gd name="connsiteY6016" fmla="*/ 1636528 h 6859062"/>
              <a:gd name="connsiteX6017" fmla="*/ 11331747 w 12192185"/>
              <a:gd name="connsiteY6017" fmla="*/ 1585925 h 6859062"/>
              <a:gd name="connsiteX6018" fmla="*/ 8467781 w 12192185"/>
              <a:gd name="connsiteY6018" fmla="*/ 1556361 h 6859062"/>
              <a:gd name="connsiteX6019" fmla="*/ 8423966 w 12192185"/>
              <a:gd name="connsiteY6019" fmla="*/ 1578779 h 6859062"/>
              <a:gd name="connsiteX6020" fmla="*/ 8407534 w 12192185"/>
              <a:gd name="connsiteY6020" fmla="*/ 1588158 h 6859062"/>
              <a:gd name="connsiteX6021" fmla="*/ 8408594 w 12192185"/>
              <a:gd name="connsiteY6021" fmla="*/ 1589670 h 6859062"/>
              <a:gd name="connsiteX6022" fmla="*/ 4356339 w 12192185"/>
              <a:gd name="connsiteY6022" fmla="*/ 1550368 h 6859062"/>
              <a:gd name="connsiteX6023" fmla="*/ 4352843 w 12192185"/>
              <a:gd name="connsiteY6023" fmla="*/ 1552385 h 6859062"/>
              <a:gd name="connsiteX6024" fmla="*/ 4353380 w 12192185"/>
              <a:gd name="connsiteY6024" fmla="*/ 1553320 h 6859062"/>
              <a:gd name="connsiteX6025" fmla="*/ 4359355 w 12192185"/>
              <a:gd name="connsiteY6025" fmla="*/ 1549700 h 6859062"/>
              <a:gd name="connsiteX6026" fmla="*/ 4358279 w 12192185"/>
              <a:gd name="connsiteY6026" fmla="*/ 1550489 h 6859062"/>
              <a:gd name="connsiteX6027" fmla="*/ 4354349 w 12192185"/>
              <a:gd name="connsiteY6027" fmla="*/ 1554996 h 6859062"/>
              <a:gd name="connsiteX6028" fmla="*/ 4354896 w 12192185"/>
              <a:gd name="connsiteY6028" fmla="*/ 1555954 h 6859062"/>
              <a:gd name="connsiteX6029" fmla="*/ 4360829 w 12192185"/>
              <a:gd name="connsiteY6029" fmla="*/ 1550519 h 6859062"/>
              <a:gd name="connsiteX6030" fmla="*/ 4257144 w 12192185"/>
              <a:gd name="connsiteY6030" fmla="*/ 1540856 h 6859062"/>
              <a:gd name="connsiteX6031" fmla="*/ 4257659 w 12192185"/>
              <a:gd name="connsiteY6031" fmla="*/ 1541757 h 6859062"/>
              <a:gd name="connsiteX6032" fmla="*/ 4279035 w 12192185"/>
              <a:gd name="connsiteY6032" fmla="*/ 1548214 h 6859062"/>
              <a:gd name="connsiteX6033" fmla="*/ 4280483 w 12192185"/>
              <a:gd name="connsiteY6033" fmla="*/ 1546928 h 6859062"/>
              <a:gd name="connsiteX6034" fmla="*/ 4279086 w 12192185"/>
              <a:gd name="connsiteY6034" fmla="*/ 1546735 h 6859062"/>
              <a:gd name="connsiteX6035" fmla="*/ 4274697 w 12192185"/>
              <a:gd name="connsiteY6035" fmla="*/ 1545559 h 6859062"/>
              <a:gd name="connsiteX6036" fmla="*/ 4270310 w 12192185"/>
              <a:gd name="connsiteY6036" fmla="*/ 1544384 h 6859062"/>
              <a:gd name="connsiteX6037" fmla="*/ 4261530 w 12192185"/>
              <a:gd name="connsiteY6037" fmla="*/ 1542032 h 6859062"/>
              <a:gd name="connsiteX6038" fmla="*/ 4257144 w 12192185"/>
              <a:gd name="connsiteY6038" fmla="*/ 1540856 h 6859062"/>
              <a:gd name="connsiteX6039" fmla="*/ 4341761 w 12192185"/>
              <a:gd name="connsiteY6039" fmla="*/ 1537636 h 6859062"/>
              <a:gd name="connsiteX6040" fmla="*/ 4340324 w 12192185"/>
              <a:gd name="connsiteY6040" fmla="*/ 1538874 h 6859062"/>
              <a:gd name="connsiteX6041" fmla="*/ 4350798 w 12192185"/>
              <a:gd name="connsiteY6041" fmla="*/ 1542432 h 6859062"/>
              <a:gd name="connsiteX6042" fmla="*/ 4346414 w 12192185"/>
              <a:gd name="connsiteY6042" fmla="*/ 1541257 h 6859062"/>
              <a:gd name="connsiteX6043" fmla="*/ 4342026 w 12192185"/>
              <a:gd name="connsiteY6043" fmla="*/ 1540081 h 6859062"/>
              <a:gd name="connsiteX6044" fmla="*/ 4339661 w 12192185"/>
              <a:gd name="connsiteY6044" fmla="*/ 1539447 h 6859062"/>
              <a:gd name="connsiteX6045" fmla="*/ 4330236 w 12192185"/>
              <a:gd name="connsiteY6045" fmla="*/ 1547579 h 6859062"/>
              <a:gd name="connsiteX6046" fmla="*/ 4329167 w 12192185"/>
              <a:gd name="connsiteY6046" fmla="*/ 1550748 h 6859062"/>
              <a:gd name="connsiteX6047" fmla="*/ 4322977 w 12192185"/>
              <a:gd name="connsiteY6047" fmla="*/ 1558495 h 6859062"/>
              <a:gd name="connsiteX6048" fmla="*/ 4318857 w 12192185"/>
              <a:gd name="connsiteY6048" fmla="*/ 1557392 h 6859062"/>
              <a:gd name="connsiteX6049" fmla="*/ 4316412 w 12192185"/>
              <a:gd name="connsiteY6049" fmla="*/ 1559503 h 6859062"/>
              <a:gd name="connsiteX6050" fmla="*/ 4340040 w 12192185"/>
              <a:gd name="connsiteY6050" fmla="*/ 1566641 h 6859062"/>
              <a:gd name="connsiteX6051" fmla="*/ 4342859 w 12192185"/>
              <a:gd name="connsiteY6051" fmla="*/ 1563823 h 6859062"/>
              <a:gd name="connsiteX6052" fmla="*/ 4333947 w 12192185"/>
              <a:gd name="connsiteY6052" fmla="*/ 1561435 h 6859062"/>
              <a:gd name="connsiteX6053" fmla="*/ 4331750 w 12192185"/>
              <a:gd name="connsiteY6053" fmla="*/ 1560847 h 6859062"/>
              <a:gd name="connsiteX6054" fmla="*/ 4345235 w 12192185"/>
              <a:gd name="connsiteY6054" fmla="*/ 1545646 h 6859062"/>
              <a:gd name="connsiteX6055" fmla="*/ 4354014 w 12192185"/>
              <a:gd name="connsiteY6055" fmla="*/ 1547997 h 6859062"/>
              <a:gd name="connsiteX6056" fmla="*/ 4357717 w 12192185"/>
              <a:gd name="connsiteY6056" fmla="*/ 1548990 h 6859062"/>
              <a:gd name="connsiteX6057" fmla="*/ 4358725 w 12192185"/>
              <a:gd name="connsiteY6057" fmla="*/ 1547984 h 6859062"/>
              <a:gd name="connsiteX6058" fmla="*/ 4359581 w 12192185"/>
              <a:gd name="connsiteY6058" fmla="*/ 1544784 h 6859062"/>
              <a:gd name="connsiteX6059" fmla="*/ 4359742 w 12192185"/>
              <a:gd name="connsiteY6059" fmla="*/ 1544191 h 6859062"/>
              <a:gd name="connsiteX6060" fmla="*/ 307628 w 12192185"/>
              <a:gd name="connsiteY6060" fmla="*/ 1529937 h 6859062"/>
              <a:gd name="connsiteX6061" fmla="*/ 315992 w 12192185"/>
              <a:gd name="connsiteY6061" fmla="*/ 1536208 h 6859062"/>
              <a:gd name="connsiteX6062" fmla="*/ 322544 w 12192185"/>
              <a:gd name="connsiteY6062" fmla="*/ 1536692 h 6859062"/>
              <a:gd name="connsiteX6063" fmla="*/ 326402 w 12192185"/>
              <a:gd name="connsiteY6063" fmla="*/ 1540557 h 6859062"/>
              <a:gd name="connsiteX6064" fmla="*/ 332795 w 12192185"/>
              <a:gd name="connsiteY6064" fmla="*/ 1548376 h 6859062"/>
              <a:gd name="connsiteX6065" fmla="*/ 335625 w 12192185"/>
              <a:gd name="connsiteY6065" fmla="*/ 1550846 h 6859062"/>
              <a:gd name="connsiteX6066" fmla="*/ 342293 w 12192185"/>
              <a:gd name="connsiteY6066" fmla="*/ 1562641 h 6859062"/>
              <a:gd name="connsiteX6067" fmla="*/ 344188 w 12192185"/>
              <a:gd name="connsiteY6067" fmla="*/ 1565041 h 6859062"/>
              <a:gd name="connsiteX6068" fmla="*/ 338074 w 12192185"/>
              <a:gd name="connsiteY6068" fmla="*/ 1599813 h 6859062"/>
              <a:gd name="connsiteX6069" fmla="*/ 325680 w 12192185"/>
              <a:gd name="connsiteY6069" fmla="*/ 1614906 h 6859062"/>
              <a:gd name="connsiteX6070" fmla="*/ 320202 w 12192185"/>
              <a:gd name="connsiteY6070" fmla="*/ 1620339 h 6859062"/>
              <a:gd name="connsiteX6071" fmla="*/ 313765 w 12192185"/>
              <a:gd name="connsiteY6071" fmla="*/ 1623441 h 6859062"/>
              <a:gd name="connsiteX6072" fmla="*/ 308241 w 12192185"/>
              <a:gd name="connsiteY6072" fmla="*/ 1624351 h 6859062"/>
              <a:gd name="connsiteX6073" fmla="*/ 296964 w 12192185"/>
              <a:gd name="connsiteY6073" fmla="*/ 1626718 h 6859062"/>
              <a:gd name="connsiteX6074" fmla="*/ 292924 w 12192185"/>
              <a:gd name="connsiteY6074" fmla="*/ 1627926 h 6859062"/>
              <a:gd name="connsiteX6075" fmla="*/ 283131 w 12192185"/>
              <a:gd name="connsiteY6075" fmla="*/ 1630592 h 6859062"/>
              <a:gd name="connsiteX6076" fmla="*/ 260004 w 12192185"/>
              <a:gd name="connsiteY6076" fmla="*/ 1617390 h 6859062"/>
              <a:gd name="connsiteX6077" fmla="*/ 254502 w 12192185"/>
              <a:gd name="connsiteY6077" fmla="*/ 1605116 h 6859062"/>
              <a:gd name="connsiteX6078" fmla="*/ 249865 w 12192185"/>
              <a:gd name="connsiteY6078" fmla="*/ 1578402 h 6859062"/>
              <a:gd name="connsiteX6079" fmla="*/ 250640 w 12192185"/>
              <a:gd name="connsiteY6079" fmla="*/ 1570360 h 6859062"/>
              <a:gd name="connsiteX6080" fmla="*/ 253812 w 12192185"/>
              <a:gd name="connsiteY6080" fmla="*/ 1560423 h 6859062"/>
              <a:gd name="connsiteX6081" fmla="*/ 258103 w 12192185"/>
              <a:gd name="connsiteY6081" fmla="*/ 1553207 h 6859062"/>
              <a:gd name="connsiteX6082" fmla="*/ 272940 w 12192185"/>
              <a:gd name="connsiteY6082" fmla="*/ 1540742 h 6859062"/>
              <a:gd name="connsiteX6083" fmla="*/ 281818 w 12192185"/>
              <a:gd name="connsiteY6083" fmla="*/ 1532547 h 6859062"/>
              <a:gd name="connsiteX6084" fmla="*/ 286475 w 12192185"/>
              <a:gd name="connsiteY6084" fmla="*/ 1530632 h 6859062"/>
              <a:gd name="connsiteX6085" fmla="*/ 297707 w 12192185"/>
              <a:gd name="connsiteY6085" fmla="*/ 1531464 h 6859062"/>
              <a:gd name="connsiteX6086" fmla="*/ 307628 w 12192185"/>
              <a:gd name="connsiteY6086" fmla="*/ 1529937 h 6859062"/>
              <a:gd name="connsiteX6087" fmla="*/ 11024398 w 12192185"/>
              <a:gd name="connsiteY6087" fmla="*/ 1523075 h 6859062"/>
              <a:gd name="connsiteX6088" fmla="*/ 11017766 w 12192185"/>
              <a:gd name="connsiteY6088" fmla="*/ 1527929 h 6859062"/>
              <a:gd name="connsiteX6089" fmla="*/ 11026339 w 12192185"/>
              <a:gd name="connsiteY6089" fmla="*/ 1552961 h 6859062"/>
              <a:gd name="connsiteX6090" fmla="*/ 11180990 w 12192185"/>
              <a:gd name="connsiteY6090" fmla="*/ 1662422 h 6859062"/>
              <a:gd name="connsiteX6091" fmla="*/ 11399737 w 12192185"/>
              <a:gd name="connsiteY6091" fmla="*/ 1852597 h 6859062"/>
              <a:gd name="connsiteX6092" fmla="*/ 11487076 w 12192185"/>
              <a:gd name="connsiteY6092" fmla="*/ 1945576 h 6859062"/>
              <a:gd name="connsiteX6093" fmla="*/ 11489777 w 12192185"/>
              <a:gd name="connsiteY6093" fmla="*/ 1942255 h 6859062"/>
              <a:gd name="connsiteX6094" fmla="*/ 11496026 w 12192185"/>
              <a:gd name="connsiteY6094" fmla="*/ 1943952 h 6859062"/>
              <a:gd name="connsiteX6095" fmla="*/ 11504977 w 12192185"/>
              <a:gd name="connsiteY6095" fmla="*/ 1941354 h 6859062"/>
              <a:gd name="connsiteX6096" fmla="*/ 11508355 w 12192185"/>
              <a:gd name="connsiteY6096" fmla="*/ 1939693 h 6859062"/>
              <a:gd name="connsiteX6097" fmla="*/ 11515718 w 12192185"/>
              <a:gd name="connsiteY6097" fmla="*/ 1942171 h 6859062"/>
              <a:gd name="connsiteX6098" fmla="*/ 11392466 w 12192185"/>
              <a:gd name="connsiteY6098" fmla="*/ 1811960 h 6859062"/>
              <a:gd name="connsiteX6099" fmla="*/ 11079001 w 12192185"/>
              <a:gd name="connsiteY6099" fmla="*/ 1562658 h 6859062"/>
              <a:gd name="connsiteX6100" fmla="*/ 11040435 w 12192185"/>
              <a:gd name="connsiteY6100" fmla="*/ 1533129 h 6859062"/>
              <a:gd name="connsiteX6101" fmla="*/ 11024398 w 12192185"/>
              <a:gd name="connsiteY6101" fmla="*/ 1523075 h 6859062"/>
              <a:gd name="connsiteX6102" fmla="*/ 4274246 w 12192185"/>
              <a:gd name="connsiteY6102" fmla="*/ 1516710 h 6859062"/>
              <a:gd name="connsiteX6103" fmla="*/ 4273416 w 12192185"/>
              <a:gd name="connsiteY6103" fmla="*/ 1518701 h 6859062"/>
              <a:gd name="connsiteX6104" fmla="*/ 4264924 w 12192185"/>
              <a:gd name="connsiteY6104" fmla="*/ 1527148 h 6859062"/>
              <a:gd name="connsiteX6105" fmla="*/ 4268645 w 12192185"/>
              <a:gd name="connsiteY6105" fmla="*/ 1528653 h 6859062"/>
              <a:gd name="connsiteX6106" fmla="*/ 4290011 w 12192185"/>
              <a:gd name="connsiteY6106" fmla="*/ 1536141 h 6859062"/>
              <a:gd name="connsiteX6107" fmla="*/ 4292841 w 12192185"/>
              <a:gd name="connsiteY6107" fmla="*/ 1535946 h 6859062"/>
              <a:gd name="connsiteX6108" fmla="*/ 4303591 w 12192185"/>
              <a:gd name="connsiteY6108" fmla="*/ 1526398 h 6859062"/>
              <a:gd name="connsiteX6109" fmla="*/ 4280388 w 12192185"/>
              <a:gd name="connsiteY6109" fmla="*/ 1518519 h 6859062"/>
              <a:gd name="connsiteX6110" fmla="*/ 8228763 w 12192185"/>
              <a:gd name="connsiteY6110" fmla="*/ 1511682 h 6859062"/>
              <a:gd name="connsiteX6111" fmla="*/ 8177452 w 12192185"/>
              <a:gd name="connsiteY6111" fmla="*/ 1542015 h 6859062"/>
              <a:gd name="connsiteX6112" fmla="*/ 8201400 w 12192185"/>
              <a:gd name="connsiteY6112" fmla="*/ 1570501 h 6859062"/>
              <a:gd name="connsiteX6113" fmla="*/ 8206316 w 12192185"/>
              <a:gd name="connsiteY6113" fmla="*/ 1567159 h 6859062"/>
              <a:gd name="connsiteX6114" fmla="*/ 8252683 w 12192185"/>
              <a:gd name="connsiteY6114" fmla="*/ 1540819 h 6859062"/>
              <a:gd name="connsiteX6115" fmla="*/ 594462 w 12192185"/>
              <a:gd name="connsiteY6115" fmla="*/ 1499428 h 6859062"/>
              <a:gd name="connsiteX6116" fmla="*/ 603545 w 12192185"/>
              <a:gd name="connsiteY6116" fmla="*/ 1500459 h 6859062"/>
              <a:gd name="connsiteX6117" fmla="*/ 608745 w 12192185"/>
              <a:gd name="connsiteY6117" fmla="*/ 1501189 h 6859062"/>
              <a:gd name="connsiteX6118" fmla="*/ 615106 w 12192185"/>
              <a:gd name="connsiteY6118" fmla="*/ 1503528 h 6859062"/>
              <a:gd name="connsiteX6119" fmla="*/ 619672 w 12192185"/>
              <a:gd name="connsiteY6119" fmla="*/ 1506518 h 6859062"/>
              <a:gd name="connsiteX6120" fmla="*/ 627345 w 12192185"/>
              <a:gd name="connsiteY6120" fmla="*/ 1516503 h 6859062"/>
              <a:gd name="connsiteX6121" fmla="*/ 632417 w 12192185"/>
              <a:gd name="connsiteY6121" fmla="*/ 1522498 h 6859062"/>
              <a:gd name="connsiteX6122" fmla="*/ 633529 w 12192185"/>
              <a:gd name="connsiteY6122" fmla="*/ 1525576 h 6859062"/>
              <a:gd name="connsiteX6123" fmla="*/ 632672 w 12192185"/>
              <a:gd name="connsiteY6123" fmla="*/ 1532844 h 6859062"/>
              <a:gd name="connsiteX6124" fmla="*/ 629077 w 12192185"/>
              <a:gd name="connsiteY6124" fmla="*/ 1544583 h 6859062"/>
              <a:gd name="connsiteX6125" fmla="*/ 628576 w 12192185"/>
              <a:gd name="connsiteY6125" fmla="*/ 1548824 h 6859062"/>
              <a:gd name="connsiteX6126" fmla="*/ 625958 w 12192185"/>
              <a:gd name="connsiteY6126" fmla="*/ 1551220 h 6859062"/>
              <a:gd name="connsiteX6127" fmla="*/ 620701 w 12192185"/>
              <a:gd name="connsiteY6127" fmla="*/ 1555149 h 6859062"/>
              <a:gd name="connsiteX6128" fmla="*/ 619018 w 12192185"/>
              <a:gd name="connsiteY6128" fmla="*/ 1556917 h 6859062"/>
              <a:gd name="connsiteX6129" fmla="*/ 611171 w 12192185"/>
              <a:gd name="connsiteY6129" fmla="*/ 1560913 h 6859062"/>
              <a:gd name="connsiteX6130" fmla="*/ 609560 w 12192185"/>
              <a:gd name="connsiteY6130" fmla="*/ 1562076 h 6859062"/>
              <a:gd name="connsiteX6131" fmla="*/ 587156 w 12192185"/>
              <a:gd name="connsiteY6131" fmla="*/ 1557125 h 6859062"/>
              <a:gd name="connsiteX6132" fmla="*/ 577705 w 12192185"/>
              <a:gd name="connsiteY6132" fmla="*/ 1548653 h 6859062"/>
              <a:gd name="connsiteX6133" fmla="*/ 574333 w 12192185"/>
              <a:gd name="connsiteY6133" fmla="*/ 1544942 h 6859062"/>
              <a:gd name="connsiteX6134" fmla="*/ 572499 w 12192185"/>
              <a:gd name="connsiteY6134" fmla="*/ 1540676 h 6859062"/>
              <a:gd name="connsiteX6135" fmla="*/ 572065 w 12192185"/>
              <a:gd name="connsiteY6135" fmla="*/ 1537064 h 6859062"/>
              <a:gd name="connsiteX6136" fmla="*/ 570846 w 12192185"/>
              <a:gd name="connsiteY6136" fmla="*/ 1529676 h 6859062"/>
              <a:gd name="connsiteX6137" fmla="*/ 570175 w 12192185"/>
              <a:gd name="connsiteY6137" fmla="*/ 1527019 h 6859062"/>
              <a:gd name="connsiteX6138" fmla="*/ 568721 w 12192185"/>
              <a:gd name="connsiteY6138" fmla="*/ 1520585 h 6859062"/>
              <a:gd name="connsiteX6139" fmla="*/ 577945 w 12192185"/>
              <a:gd name="connsiteY6139" fmla="*/ 1505943 h 6859062"/>
              <a:gd name="connsiteX6140" fmla="*/ 586069 w 12192185"/>
              <a:gd name="connsiteY6140" fmla="*/ 1502716 h 6859062"/>
              <a:gd name="connsiteX6141" fmla="*/ 594462 w 12192185"/>
              <a:gd name="connsiteY6141" fmla="*/ 1499428 h 6859062"/>
              <a:gd name="connsiteX6142" fmla="*/ 4206736 w 12192185"/>
              <a:gd name="connsiteY6142" fmla="*/ 1499134 h 6859062"/>
              <a:gd name="connsiteX6143" fmla="*/ 4202886 w 12192185"/>
              <a:gd name="connsiteY6143" fmla="*/ 1502803 h 6859062"/>
              <a:gd name="connsiteX6144" fmla="*/ 4205957 w 12192185"/>
              <a:gd name="connsiteY6144" fmla="*/ 1503628 h 6859062"/>
              <a:gd name="connsiteX6145" fmla="*/ 4208000 w 12192185"/>
              <a:gd name="connsiteY6145" fmla="*/ 1513579 h 6859062"/>
              <a:gd name="connsiteX6146" fmla="*/ 4212389 w 12192185"/>
              <a:gd name="connsiteY6146" fmla="*/ 1514756 h 6859062"/>
              <a:gd name="connsiteX6147" fmla="*/ 4213563 w 12192185"/>
              <a:gd name="connsiteY6147" fmla="*/ 1510369 h 6859062"/>
              <a:gd name="connsiteX6148" fmla="*/ 4223666 w 12192185"/>
              <a:gd name="connsiteY6148" fmla="*/ 1513075 h 6859062"/>
              <a:gd name="connsiteX6149" fmla="*/ 4223111 w 12192185"/>
              <a:gd name="connsiteY6149" fmla="*/ 1508606 h 6859062"/>
              <a:gd name="connsiteX6150" fmla="*/ 4227953 w 12192185"/>
              <a:gd name="connsiteY6150" fmla="*/ 1504201 h 6859062"/>
              <a:gd name="connsiteX6151" fmla="*/ 4211529 w 12192185"/>
              <a:gd name="connsiteY6151" fmla="*/ 1500415 h 6859062"/>
              <a:gd name="connsiteX6152" fmla="*/ 4207139 w 12192185"/>
              <a:gd name="connsiteY6152" fmla="*/ 1499238 h 6859062"/>
              <a:gd name="connsiteX6153" fmla="*/ 1543648 w 12192185"/>
              <a:gd name="connsiteY6153" fmla="*/ 1490496 h 6859062"/>
              <a:gd name="connsiteX6154" fmla="*/ 1542689 w 12192185"/>
              <a:gd name="connsiteY6154" fmla="*/ 1494077 h 6859062"/>
              <a:gd name="connsiteX6155" fmla="*/ 1541729 w 12192185"/>
              <a:gd name="connsiteY6155" fmla="*/ 1497657 h 6859062"/>
              <a:gd name="connsiteX6156" fmla="*/ 1539106 w 12192185"/>
              <a:gd name="connsiteY6156" fmla="*/ 1493118 h 6859062"/>
              <a:gd name="connsiteX6157" fmla="*/ 1543648 w 12192185"/>
              <a:gd name="connsiteY6157" fmla="*/ 1490496 h 6859062"/>
              <a:gd name="connsiteX6158" fmla="*/ 842043 w 12192185"/>
              <a:gd name="connsiteY6158" fmla="*/ 1487867 h 6859062"/>
              <a:gd name="connsiteX6159" fmla="*/ 851125 w 12192185"/>
              <a:gd name="connsiteY6159" fmla="*/ 1488898 h 6859062"/>
              <a:gd name="connsiteX6160" fmla="*/ 856325 w 12192185"/>
              <a:gd name="connsiteY6160" fmla="*/ 1489626 h 6859062"/>
              <a:gd name="connsiteX6161" fmla="*/ 862687 w 12192185"/>
              <a:gd name="connsiteY6161" fmla="*/ 1491967 h 6859062"/>
              <a:gd name="connsiteX6162" fmla="*/ 867252 w 12192185"/>
              <a:gd name="connsiteY6162" fmla="*/ 1494956 h 6859062"/>
              <a:gd name="connsiteX6163" fmla="*/ 874926 w 12192185"/>
              <a:gd name="connsiteY6163" fmla="*/ 1504941 h 6859062"/>
              <a:gd name="connsiteX6164" fmla="*/ 879997 w 12192185"/>
              <a:gd name="connsiteY6164" fmla="*/ 1510937 h 6859062"/>
              <a:gd name="connsiteX6165" fmla="*/ 881110 w 12192185"/>
              <a:gd name="connsiteY6165" fmla="*/ 1514014 h 6859062"/>
              <a:gd name="connsiteX6166" fmla="*/ 880253 w 12192185"/>
              <a:gd name="connsiteY6166" fmla="*/ 1521283 h 6859062"/>
              <a:gd name="connsiteX6167" fmla="*/ 876657 w 12192185"/>
              <a:gd name="connsiteY6167" fmla="*/ 1533021 h 6859062"/>
              <a:gd name="connsiteX6168" fmla="*/ 876158 w 12192185"/>
              <a:gd name="connsiteY6168" fmla="*/ 1537261 h 6859062"/>
              <a:gd name="connsiteX6169" fmla="*/ 873539 w 12192185"/>
              <a:gd name="connsiteY6169" fmla="*/ 1539657 h 6859062"/>
              <a:gd name="connsiteX6170" fmla="*/ 868282 w 12192185"/>
              <a:gd name="connsiteY6170" fmla="*/ 1543587 h 6859062"/>
              <a:gd name="connsiteX6171" fmla="*/ 866598 w 12192185"/>
              <a:gd name="connsiteY6171" fmla="*/ 1545356 h 6859062"/>
              <a:gd name="connsiteX6172" fmla="*/ 858753 w 12192185"/>
              <a:gd name="connsiteY6172" fmla="*/ 1549352 h 6859062"/>
              <a:gd name="connsiteX6173" fmla="*/ 857141 w 12192185"/>
              <a:gd name="connsiteY6173" fmla="*/ 1550516 h 6859062"/>
              <a:gd name="connsiteX6174" fmla="*/ 834737 w 12192185"/>
              <a:gd name="connsiteY6174" fmla="*/ 1545565 h 6859062"/>
              <a:gd name="connsiteX6175" fmla="*/ 825287 w 12192185"/>
              <a:gd name="connsiteY6175" fmla="*/ 1537091 h 6859062"/>
              <a:gd name="connsiteX6176" fmla="*/ 821913 w 12192185"/>
              <a:gd name="connsiteY6176" fmla="*/ 1533381 h 6859062"/>
              <a:gd name="connsiteX6177" fmla="*/ 820081 w 12192185"/>
              <a:gd name="connsiteY6177" fmla="*/ 1529115 h 6859062"/>
              <a:gd name="connsiteX6178" fmla="*/ 819645 w 12192185"/>
              <a:gd name="connsiteY6178" fmla="*/ 1525503 h 6859062"/>
              <a:gd name="connsiteX6179" fmla="*/ 818426 w 12192185"/>
              <a:gd name="connsiteY6179" fmla="*/ 1518114 h 6859062"/>
              <a:gd name="connsiteX6180" fmla="*/ 817756 w 12192185"/>
              <a:gd name="connsiteY6180" fmla="*/ 1515457 h 6859062"/>
              <a:gd name="connsiteX6181" fmla="*/ 816301 w 12192185"/>
              <a:gd name="connsiteY6181" fmla="*/ 1509024 h 6859062"/>
              <a:gd name="connsiteX6182" fmla="*/ 825525 w 12192185"/>
              <a:gd name="connsiteY6182" fmla="*/ 1494381 h 6859062"/>
              <a:gd name="connsiteX6183" fmla="*/ 833650 w 12192185"/>
              <a:gd name="connsiteY6183" fmla="*/ 1491155 h 6859062"/>
              <a:gd name="connsiteX6184" fmla="*/ 842043 w 12192185"/>
              <a:gd name="connsiteY6184" fmla="*/ 1487867 h 6859062"/>
              <a:gd name="connsiteX6185" fmla="*/ 4147559 w 12192185"/>
              <a:gd name="connsiteY6185" fmla="*/ 1484545 h 6859062"/>
              <a:gd name="connsiteX6186" fmla="*/ 4144678 w 12192185"/>
              <a:gd name="connsiteY6186" fmla="*/ 1487191 h 6859062"/>
              <a:gd name="connsiteX6187" fmla="*/ 4157032 w 12192185"/>
              <a:gd name="connsiteY6187" fmla="*/ 1490501 h 6859062"/>
              <a:gd name="connsiteX6188" fmla="*/ 4164524 w 12192185"/>
              <a:gd name="connsiteY6188" fmla="*/ 1492510 h 6859062"/>
              <a:gd name="connsiteX6189" fmla="*/ 4168282 w 12192185"/>
              <a:gd name="connsiteY6189" fmla="*/ 1489160 h 6859062"/>
              <a:gd name="connsiteX6190" fmla="*/ 4160224 w 12192185"/>
              <a:gd name="connsiteY6190" fmla="*/ 1487072 h 6859062"/>
              <a:gd name="connsiteX6191" fmla="*/ 55449 w 12192185"/>
              <a:gd name="connsiteY6191" fmla="*/ 1460759 h 6859062"/>
              <a:gd name="connsiteX6192" fmla="*/ 55834 w 12192185"/>
              <a:gd name="connsiteY6192" fmla="*/ 1460817 h 6859062"/>
              <a:gd name="connsiteX6193" fmla="*/ 55708 w 12192185"/>
              <a:gd name="connsiteY6193" fmla="*/ 1461121 h 6859062"/>
              <a:gd name="connsiteX6194" fmla="*/ 7962086 w 12192185"/>
              <a:gd name="connsiteY6194" fmla="*/ 1437716 h 6859062"/>
              <a:gd name="connsiteX6195" fmla="*/ 7963118 w 12192185"/>
              <a:gd name="connsiteY6195" fmla="*/ 1438147 h 6859062"/>
              <a:gd name="connsiteX6196" fmla="*/ 7964921 w 12192185"/>
              <a:gd name="connsiteY6196" fmla="*/ 1442533 h 6859062"/>
              <a:gd name="connsiteX6197" fmla="*/ 11648643 w 12192185"/>
              <a:gd name="connsiteY6197" fmla="*/ 1406296 h 6859062"/>
              <a:gd name="connsiteX6198" fmla="*/ 11648664 w 12192185"/>
              <a:gd name="connsiteY6198" fmla="*/ 1406793 h 6859062"/>
              <a:gd name="connsiteX6199" fmla="*/ 11648240 w 12192185"/>
              <a:gd name="connsiteY6199" fmla="*/ 1406415 h 6859062"/>
              <a:gd name="connsiteX6200" fmla="*/ 4505374 w 12192185"/>
              <a:gd name="connsiteY6200" fmla="*/ 1403113 h 6859062"/>
              <a:gd name="connsiteX6201" fmla="*/ 4422809 w 12192185"/>
              <a:gd name="connsiteY6201" fmla="*/ 1469278 h 6859062"/>
              <a:gd name="connsiteX6202" fmla="*/ 4451788 w 12192185"/>
              <a:gd name="connsiteY6202" fmla="*/ 1477692 h 6859062"/>
              <a:gd name="connsiteX6203" fmla="*/ 4512832 w 12192185"/>
              <a:gd name="connsiteY6203" fmla="*/ 1429125 h 6859062"/>
              <a:gd name="connsiteX6204" fmla="*/ 4532701 w 12192185"/>
              <a:gd name="connsiteY6204" fmla="*/ 1415605 h 6859062"/>
              <a:gd name="connsiteX6205" fmla="*/ 4521088 w 12192185"/>
              <a:gd name="connsiteY6205" fmla="*/ 1411664 h 6859062"/>
              <a:gd name="connsiteX6206" fmla="*/ 1051478 w 12192185"/>
              <a:gd name="connsiteY6206" fmla="*/ 1397103 h 6859062"/>
              <a:gd name="connsiteX6207" fmla="*/ 1066451 w 12192185"/>
              <a:gd name="connsiteY6207" fmla="*/ 1403466 h 6859062"/>
              <a:gd name="connsiteX6208" fmla="*/ 1070172 w 12192185"/>
              <a:gd name="connsiteY6208" fmla="*/ 1406746 h 6859062"/>
              <a:gd name="connsiteX6209" fmla="*/ 1080498 w 12192185"/>
              <a:gd name="connsiteY6209" fmla="*/ 1413108 h 6859062"/>
              <a:gd name="connsiteX6210" fmla="*/ 1087312 w 12192185"/>
              <a:gd name="connsiteY6210" fmla="*/ 1414431 h 6859062"/>
              <a:gd name="connsiteX6211" fmla="*/ 1097921 w 12192185"/>
              <a:gd name="connsiteY6211" fmla="*/ 1427417 h 6859062"/>
              <a:gd name="connsiteX6212" fmla="*/ 1099130 w 12192185"/>
              <a:gd name="connsiteY6212" fmla="*/ 1441278 h 6859062"/>
              <a:gd name="connsiteX6213" fmla="*/ 1091627 w 12192185"/>
              <a:gd name="connsiteY6213" fmla="*/ 1453244 h 6859062"/>
              <a:gd name="connsiteX6214" fmla="*/ 1091043 w 12192185"/>
              <a:gd name="connsiteY6214" fmla="*/ 1455136 h 6859062"/>
              <a:gd name="connsiteX6215" fmla="*/ 1083570 w 12192185"/>
              <a:gd name="connsiteY6215" fmla="*/ 1457839 h 6859062"/>
              <a:gd name="connsiteX6216" fmla="*/ 1073872 w 12192185"/>
              <a:gd name="connsiteY6216" fmla="*/ 1456719 h 6859062"/>
              <a:gd name="connsiteX6217" fmla="*/ 1065847 w 12192185"/>
              <a:gd name="connsiteY6217" fmla="*/ 1452048 h 6859062"/>
              <a:gd name="connsiteX6218" fmla="*/ 1058107 w 12192185"/>
              <a:gd name="connsiteY6218" fmla="*/ 1443491 h 6859062"/>
              <a:gd name="connsiteX6219" fmla="*/ 1049381 w 12192185"/>
              <a:gd name="connsiteY6219" fmla="*/ 1435711 h 6859062"/>
              <a:gd name="connsiteX6220" fmla="*/ 1038203 w 12192185"/>
              <a:gd name="connsiteY6220" fmla="*/ 1430500 h 6859062"/>
              <a:gd name="connsiteX6221" fmla="*/ 1033363 w 12192185"/>
              <a:gd name="connsiteY6221" fmla="*/ 1417108 h 6859062"/>
              <a:gd name="connsiteX6222" fmla="*/ 1035964 w 12192185"/>
              <a:gd name="connsiteY6222" fmla="*/ 1410281 h 6859062"/>
              <a:gd name="connsiteX6223" fmla="*/ 1042302 w 12192185"/>
              <a:gd name="connsiteY6223" fmla="*/ 1402102 h 6859062"/>
              <a:gd name="connsiteX6224" fmla="*/ 1051478 w 12192185"/>
              <a:gd name="connsiteY6224" fmla="*/ 1397103 h 6859062"/>
              <a:gd name="connsiteX6225" fmla="*/ 2814110 w 12192185"/>
              <a:gd name="connsiteY6225" fmla="*/ 1396697 h 6859062"/>
              <a:gd name="connsiteX6226" fmla="*/ 2813589 w 12192185"/>
              <a:gd name="connsiteY6226" fmla="*/ 1398643 h 6859062"/>
              <a:gd name="connsiteX6227" fmla="*/ 2809201 w 12192185"/>
              <a:gd name="connsiteY6227" fmla="*/ 1397467 h 6859062"/>
              <a:gd name="connsiteX6228" fmla="*/ 11739699 w 12192185"/>
              <a:gd name="connsiteY6228" fmla="*/ 1379269 h 6859062"/>
              <a:gd name="connsiteX6229" fmla="*/ 11737608 w 12192185"/>
              <a:gd name="connsiteY6229" fmla="*/ 1382292 h 6859062"/>
              <a:gd name="connsiteX6230" fmla="*/ 11737150 w 12192185"/>
              <a:gd name="connsiteY6230" fmla="*/ 1386708 h 6859062"/>
              <a:gd name="connsiteX6231" fmla="*/ 11741781 w 12192185"/>
              <a:gd name="connsiteY6231" fmla="*/ 1387282 h 6859062"/>
              <a:gd name="connsiteX6232" fmla="*/ 11744546 w 12192185"/>
              <a:gd name="connsiteY6232" fmla="*/ 1385206 h 6859062"/>
              <a:gd name="connsiteX6233" fmla="*/ 11751501 w 12192185"/>
              <a:gd name="connsiteY6233" fmla="*/ 1387580 h 6859062"/>
              <a:gd name="connsiteX6234" fmla="*/ 11753235 w 12192185"/>
              <a:gd name="connsiteY6234" fmla="*/ 1390984 h 6859062"/>
              <a:gd name="connsiteX6235" fmla="*/ 11756752 w 12192185"/>
              <a:gd name="connsiteY6235" fmla="*/ 1389039 h 6859062"/>
              <a:gd name="connsiteX6236" fmla="*/ 11758766 w 12192185"/>
              <a:gd name="connsiteY6236" fmla="*/ 1386831 h 6859062"/>
              <a:gd name="connsiteX6237" fmla="*/ 11762211 w 12192185"/>
              <a:gd name="connsiteY6237" fmla="*/ 1385019 h 6859062"/>
              <a:gd name="connsiteX6238" fmla="*/ 11764786 w 12192185"/>
              <a:gd name="connsiteY6238" fmla="*/ 1387881 h 6859062"/>
              <a:gd name="connsiteX6239" fmla="*/ 11768484 w 12192185"/>
              <a:gd name="connsiteY6239" fmla="*/ 1397828 h 6859062"/>
              <a:gd name="connsiteX6240" fmla="*/ 11776698 w 12192185"/>
              <a:gd name="connsiteY6240" fmla="*/ 1404996 h 6859062"/>
              <a:gd name="connsiteX6241" fmla="*/ 11781313 w 12192185"/>
              <a:gd name="connsiteY6241" fmla="*/ 1409675 h 6859062"/>
              <a:gd name="connsiteX6242" fmla="*/ 11790967 w 12192185"/>
              <a:gd name="connsiteY6242" fmla="*/ 1422831 h 6859062"/>
              <a:gd name="connsiteX6243" fmla="*/ 11792178 w 12192185"/>
              <a:gd name="connsiteY6243" fmla="*/ 1425678 h 6859062"/>
              <a:gd name="connsiteX6244" fmla="*/ 11788677 w 12192185"/>
              <a:gd name="connsiteY6244" fmla="*/ 1459178 h 6859062"/>
              <a:gd name="connsiteX6245" fmla="*/ 11786141 w 12192185"/>
              <a:gd name="connsiteY6245" fmla="*/ 1464394 h 6859062"/>
              <a:gd name="connsiteX6246" fmla="*/ 11776520 w 12192185"/>
              <a:gd name="connsiteY6246" fmla="*/ 1475121 h 6859062"/>
              <a:gd name="connsiteX6247" fmla="*/ 11769092 w 12192185"/>
              <a:gd name="connsiteY6247" fmla="*/ 1484835 h 6859062"/>
              <a:gd name="connsiteX6248" fmla="*/ 11765558 w 12192185"/>
              <a:gd name="connsiteY6248" fmla="*/ 1487319 h 6859062"/>
              <a:gd name="connsiteX6249" fmla="*/ 11744991 w 12192185"/>
              <a:gd name="connsiteY6249" fmla="*/ 1495441 h 6859062"/>
              <a:gd name="connsiteX6250" fmla="*/ 11742455 w 12192185"/>
              <a:gd name="connsiteY6250" fmla="*/ 1497092 h 6859062"/>
              <a:gd name="connsiteX6251" fmla="*/ 11745090 w 12192185"/>
              <a:gd name="connsiteY6251" fmla="*/ 1513598 h 6859062"/>
              <a:gd name="connsiteX6252" fmla="*/ 11753222 w 12192185"/>
              <a:gd name="connsiteY6252" fmla="*/ 1527030 h 6859062"/>
              <a:gd name="connsiteX6253" fmla="*/ 11757984 w 12192185"/>
              <a:gd name="connsiteY6253" fmla="*/ 1548248 h 6859062"/>
              <a:gd name="connsiteX6254" fmla="*/ 11756053 w 12192185"/>
              <a:gd name="connsiteY6254" fmla="*/ 1551322 h 6859062"/>
              <a:gd name="connsiteX6255" fmla="*/ 11752666 w 12192185"/>
              <a:gd name="connsiteY6255" fmla="*/ 1559647 h 6859062"/>
              <a:gd name="connsiteX6256" fmla="*/ 11748266 w 12192185"/>
              <a:gd name="connsiteY6256" fmla="*/ 1569345 h 6859062"/>
              <a:gd name="connsiteX6257" fmla="*/ 11741950 w 12192185"/>
              <a:gd name="connsiteY6257" fmla="*/ 1574446 h 6859062"/>
              <a:gd name="connsiteX6258" fmla="*/ 11725899 w 12192185"/>
              <a:gd name="connsiteY6258" fmla="*/ 1590487 h 6859062"/>
              <a:gd name="connsiteX6259" fmla="*/ 11710469 w 12192185"/>
              <a:gd name="connsiteY6259" fmla="*/ 1596712 h 6859062"/>
              <a:gd name="connsiteX6260" fmla="*/ 11707540 w 12192185"/>
              <a:gd name="connsiteY6260" fmla="*/ 1597055 h 6859062"/>
              <a:gd name="connsiteX6261" fmla="*/ 11693731 w 12192185"/>
              <a:gd name="connsiteY6261" fmla="*/ 1596198 h 6859062"/>
              <a:gd name="connsiteX6262" fmla="*/ 11688871 w 12192185"/>
              <a:gd name="connsiteY6262" fmla="*/ 1596049 h 6859062"/>
              <a:gd name="connsiteX6263" fmla="*/ 11673279 w 12192185"/>
              <a:gd name="connsiteY6263" fmla="*/ 1586278 h 6859062"/>
              <a:gd name="connsiteX6264" fmla="*/ 11662136 w 12192185"/>
              <a:gd name="connsiteY6264" fmla="*/ 1575886 h 6859062"/>
              <a:gd name="connsiteX6265" fmla="*/ 11657537 w 12192185"/>
              <a:gd name="connsiteY6265" fmla="*/ 1574233 h 6859062"/>
              <a:gd name="connsiteX6266" fmla="*/ 11653921 w 12192185"/>
              <a:gd name="connsiteY6266" fmla="*/ 1575850 h 6859062"/>
              <a:gd name="connsiteX6267" fmla="*/ 11650060 w 12192185"/>
              <a:gd name="connsiteY6267" fmla="*/ 1574868 h 6859062"/>
              <a:gd name="connsiteX6268" fmla="*/ 11651909 w 12192185"/>
              <a:gd name="connsiteY6268" fmla="*/ 1570927 h 6859062"/>
              <a:gd name="connsiteX6269" fmla="*/ 11653888 w 12192185"/>
              <a:gd name="connsiteY6269" fmla="*/ 1569798 h 6859062"/>
              <a:gd name="connsiteX6270" fmla="*/ 11654967 w 12192185"/>
              <a:gd name="connsiteY6270" fmla="*/ 1559134 h 6859062"/>
              <a:gd name="connsiteX6271" fmla="*/ 11652219 w 12192185"/>
              <a:gd name="connsiteY6271" fmla="*/ 1557104 h 6859062"/>
              <a:gd name="connsiteX6272" fmla="*/ 11649862 w 12192185"/>
              <a:gd name="connsiteY6272" fmla="*/ 1552817 h 6859062"/>
              <a:gd name="connsiteX6273" fmla="*/ 11653396 w 12192185"/>
              <a:gd name="connsiteY6273" fmla="*/ 1550333 h 6859062"/>
              <a:gd name="connsiteX6274" fmla="*/ 11655934 w 12192185"/>
              <a:gd name="connsiteY6274" fmla="*/ 1545116 h 6859062"/>
              <a:gd name="connsiteX6275" fmla="*/ 11655556 w 12192185"/>
              <a:gd name="connsiteY6275" fmla="*/ 1532569 h 6859062"/>
              <a:gd name="connsiteX6276" fmla="*/ 11653379 w 12192185"/>
              <a:gd name="connsiteY6276" fmla="*/ 1525911 h 6859062"/>
              <a:gd name="connsiteX6277" fmla="*/ 11651728 w 12192185"/>
              <a:gd name="connsiteY6277" fmla="*/ 1523375 h 6859062"/>
              <a:gd name="connsiteX6278" fmla="*/ 11654264 w 12192185"/>
              <a:gd name="connsiteY6278" fmla="*/ 1521723 h 6859062"/>
              <a:gd name="connsiteX6279" fmla="*/ 11661038 w 12192185"/>
              <a:gd name="connsiteY6279" fmla="*/ 1519338 h 6859062"/>
              <a:gd name="connsiteX6280" fmla="*/ 11667336 w 12192185"/>
              <a:gd name="connsiteY6280" fmla="*/ 1507645 h 6859062"/>
              <a:gd name="connsiteX6281" fmla="*/ 11669184 w 12192185"/>
              <a:gd name="connsiteY6281" fmla="*/ 1493006 h 6859062"/>
              <a:gd name="connsiteX6282" fmla="*/ 11674928 w 12192185"/>
              <a:gd name="connsiteY6282" fmla="*/ 1492534 h 6859062"/>
              <a:gd name="connsiteX6283" fmla="*/ 11677449 w 12192185"/>
              <a:gd name="connsiteY6283" fmla="*/ 1498554 h 6859062"/>
              <a:gd name="connsiteX6284" fmla="*/ 11682504 w 12192185"/>
              <a:gd name="connsiteY6284" fmla="*/ 1502924 h 6859062"/>
              <a:gd name="connsiteX6285" fmla="*/ 11684991 w 12192185"/>
              <a:gd name="connsiteY6285" fmla="*/ 1495760 h 6859062"/>
              <a:gd name="connsiteX6286" fmla="*/ 11683501 w 12192185"/>
              <a:gd name="connsiteY6286" fmla="*/ 1491392 h 6859062"/>
              <a:gd name="connsiteX6287" fmla="*/ 11684925 w 12192185"/>
              <a:gd name="connsiteY6287" fmla="*/ 1487222 h 6859062"/>
              <a:gd name="connsiteX6288" fmla="*/ 11688312 w 12192185"/>
              <a:gd name="connsiteY6288" fmla="*/ 1489595 h 6859062"/>
              <a:gd name="connsiteX6289" fmla="*/ 11690766 w 12192185"/>
              <a:gd name="connsiteY6289" fmla="*/ 1494208 h 6859062"/>
              <a:gd name="connsiteX6290" fmla="*/ 11696641 w 12192185"/>
              <a:gd name="connsiteY6290" fmla="*/ 1496549 h 6859062"/>
              <a:gd name="connsiteX6291" fmla="*/ 11699161 w 12192185"/>
              <a:gd name="connsiteY6291" fmla="*/ 1491873 h 6859062"/>
              <a:gd name="connsiteX6292" fmla="*/ 11681423 w 12192185"/>
              <a:gd name="connsiteY6292" fmla="*/ 1474363 h 6859062"/>
              <a:gd name="connsiteX6293" fmla="*/ 11677349 w 12192185"/>
              <a:gd name="connsiteY6293" fmla="*/ 1469700 h 6859062"/>
              <a:gd name="connsiteX6294" fmla="*/ 11674583 w 12192185"/>
              <a:gd name="connsiteY6294" fmla="*/ 1453946 h 6859062"/>
              <a:gd name="connsiteX6295" fmla="*/ 11673455 w 12192185"/>
              <a:gd name="connsiteY6295" fmla="*/ 1448400 h 6859062"/>
              <a:gd name="connsiteX6296" fmla="*/ 11677397 w 12192185"/>
              <a:gd name="connsiteY6296" fmla="*/ 1432421 h 6859062"/>
              <a:gd name="connsiteX6297" fmla="*/ 11682355 w 12192185"/>
              <a:gd name="connsiteY6297" fmla="*/ 1422199 h 6859062"/>
              <a:gd name="connsiteX6298" fmla="*/ 11682207 w 12192185"/>
              <a:gd name="connsiteY6298" fmla="*/ 1412794 h 6859062"/>
              <a:gd name="connsiteX6299" fmla="*/ 11681569 w 12192185"/>
              <a:gd name="connsiteY6299" fmla="*/ 1412450 h 6859062"/>
              <a:gd name="connsiteX6300" fmla="*/ 11678902 w 12192185"/>
              <a:gd name="connsiteY6300" fmla="*/ 1407721 h 6859062"/>
              <a:gd name="connsiteX6301" fmla="*/ 11683140 w 12192185"/>
              <a:gd name="connsiteY6301" fmla="*/ 1406986 h 6859062"/>
              <a:gd name="connsiteX6302" fmla="*/ 11700254 w 12192185"/>
              <a:gd name="connsiteY6302" fmla="*/ 1395085 h 6859062"/>
              <a:gd name="connsiteX6303" fmla="*/ 11705556 w 12192185"/>
              <a:gd name="connsiteY6303" fmla="*/ 1391358 h 6859062"/>
              <a:gd name="connsiteX6304" fmla="*/ 11710300 w 12192185"/>
              <a:gd name="connsiteY6304" fmla="*/ 1391720 h 6859062"/>
              <a:gd name="connsiteX6305" fmla="*/ 11714391 w 12192185"/>
              <a:gd name="connsiteY6305" fmla="*/ 1388711 h 6859062"/>
              <a:gd name="connsiteX6306" fmla="*/ 11714167 w 12192185"/>
              <a:gd name="connsiteY6306" fmla="*/ 1386848 h 6859062"/>
              <a:gd name="connsiteX6307" fmla="*/ 1348845 w 12192185"/>
              <a:gd name="connsiteY6307" fmla="*/ 1376582 h 6859062"/>
              <a:gd name="connsiteX6308" fmla="*/ 1361922 w 12192185"/>
              <a:gd name="connsiteY6308" fmla="*/ 1378064 h 6859062"/>
              <a:gd name="connsiteX6309" fmla="*/ 1369407 w 12192185"/>
              <a:gd name="connsiteY6309" fmla="*/ 1379116 h 6859062"/>
              <a:gd name="connsiteX6310" fmla="*/ 1378568 w 12192185"/>
              <a:gd name="connsiteY6310" fmla="*/ 1382485 h 6859062"/>
              <a:gd name="connsiteX6311" fmla="*/ 1385139 w 12192185"/>
              <a:gd name="connsiteY6311" fmla="*/ 1386788 h 6859062"/>
              <a:gd name="connsiteX6312" fmla="*/ 1396187 w 12192185"/>
              <a:gd name="connsiteY6312" fmla="*/ 1401163 h 6859062"/>
              <a:gd name="connsiteX6313" fmla="*/ 1403489 w 12192185"/>
              <a:gd name="connsiteY6313" fmla="*/ 1409797 h 6859062"/>
              <a:gd name="connsiteX6314" fmla="*/ 1405090 w 12192185"/>
              <a:gd name="connsiteY6314" fmla="*/ 1414228 h 6859062"/>
              <a:gd name="connsiteX6315" fmla="*/ 1403857 w 12192185"/>
              <a:gd name="connsiteY6315" fmla="*/ 1424693 h 6859062"/>
              <a:gd name="connsiteX6316" fmla="*/ 1398680 w 12192185"/>
              <a:gd name="connsiteY6316" fmla="*/ 1441594 h 6859062"/>
              <a:gd name="connsiteX6317" fmla="*/ 1397960 w 12192185"/>
              <a:gd name="connsiteY6317" fmla="*/ 1447698 h 6859062"/>
              <a:gd name="connsiteX6318" fmla="*/ 1394191 w 12192185"/>
              <a:gd name="connsiteY6318" fmla="*/ 1451148 h 6859062"/>
              <a:gd name="connsiteX6319" fmla="*/ 1386623 w 12192185"/>
              <a:gd name="connsiteY6319" fmla="*/ 1456807 h 6859062"/>
              <a:gd name="connsiteX6320" fmla="*/ 1384199 w 12192185"/>
              <a:gd name="connsiteY6320" fmla="*/ 1459353 h 6859062"/>
              <a:gd name="connsiteX6321" fmla="*/ 1372903 w 12192185"/>
              <a:gd name="connsiteY6321" fmla="*/ 1465107 h 6859062"/>
              <a:gd name="connsiteX6322" fmla="*/ 1370582 w 12192185"/>
              <a:gd name="connsiteY6322" fmla="*/ 1466781 h 6859062"/>
              <a:gd name="connsiteX6323" fmla="*/ 1338327 w 12192185"/>
              <a:gd name="connsiteY6323" fmla="*/ 1459654 h 6859062"/>
              <a:gd name="connsiteX6324" fmla="*/ 1324722 w 12192185"/>
              <a:gd name="connsiteY6324" fmla="*/ 1447453 h 6859062"/>
              <a:gd name="connsiteX6325" fmla="*/ 1319866 w 12192185"/>
              <a:gd name="connsiteY6325" fmla="*/ 1442112 h 6859062"/>
              <a:gd name="connsiteX6326" fmla="*/ 1317226 w 12192185"/>
              <a:gd name="connsiteY6326" fmla="*/ 1435970 h 6859062"/>
              <a:gd name="connsiteX6327" fmla="*/ 1316601 w 12192185"/>
              <a:gd name="connsiteY6327" fmla="*/ 1430770 h 6859062"/>
              <a:gd name="connsiteX6328" fmla="*/ 1314845 w 12192185"/>
              <a:gd name="connsiteY6328" fmla="*/ 1420130 h 6859062"/>
              <a:gd name="connsiteX6329" fmla="*/ 1313880 w 12192185"/>
              <a:gd name="connsiteY6329" fmla="*/ 1416305 h 6859062"/>
              <a:gd name="connsiteX6330" fmla="*/ 1311787 w 12192185"/>
              <a:gd name="connsiteY6330" fmla="*/ 1407043 h 6859062"/>
              <a:gd name="connsiteX6331" fmla="*/ 1325066 w 12192185"/>
              <a:gd name="connsiteY6331" fmla="*/ 1385960 h 6859062"/>
              <a:gd name="connsiteX6332" fmla="*/ 1336762 w 12192185"/>
              <a:gd name="connsiteY6332" fmla="*/ 1381316 h 6859062"/>
              <a:gd name="connsiteX6333" fmla="*/ 1348845 w 12192185"/>
              <a:gd name="connsiteY6333" fmla="*/ 1376582 h 6859062"/>
              <a:gd name="connsiteX6334" fmla="*/ 4458893 w 12192185"/>
              <a:gd name="connsiteY6334" fmla="*/ 1374835 h 6859062"/>
              <a:gd name="connsiteX6335" fmla="*/ 4458153 w 12192185"/>
              <a:gd name="connsiteY6335" fmla="*/ 1375481 h 6859062"/>
              <a:gd name="connsiteX6336" fmla="*/ 4426494 w 12192185"/>
              <a:gd name="connsiteY6336" fmla="*/ 1404517 h 6859062"/>
              <a:gd name="connsiteX6337" fmla="*/ 4413330 w 12192185"/>
              <a:gd name="connsiteY6337" fmla="*/ 1409926 h 6859062"/>
              <a:gd name="connsiteX6338" fmla="*/ 4408157 w 12192185"/>
              <a:gd name="connsiteY6338" fmla="*/ 1422307 h 6859062"/>
              <a:gd name="connsiteX6339" fmla="*/ 4401964 w 12192185"/>
              <a:gd name="connsiteY6339" fmla="*/ 1419721 h 6859062"/>
              <a:gd name="connsiteX6340" fmla="*/ 4368708 w 12192185"/>
              <a:gd name="connsiteY6340" fmla="*/ 1452859 h 6859062"/>
              <a:gd name="connsiteX6341" fmla="*/ 4368187 w 12192185"/>
              <a:gd name="connsiteY6341" fmla="*/ 1453415 h 6859062"/>
              <a:gd name="connsiteX6342" fmla="*/ 4381421 w 12192185"/>
              <a:gd name="connsiteY6342" fmla="*/ 1457258 h 6859062"/>
              <a:gd name="connsiteX6343" fmla="*/ 4386476 w 12192185"/>
              <a:gd name="connsiteY6343" fmla="*/ 1452767 h 6859062"/>
              <a:gd name="connsiteX6344" fmla="*/ 4478478 w 12192185"/>
              <a:gd name="connsiteY6344" fmla="*/ 1388488 h 6859062"/>
              <a:gd name="connsiteX6345" fmla="*/ 4476848 w 12192185"/>
              <a:gd name="connsiteY6345" fmla="*/ 1388051 h 6859062"/>
              <a:gd name="connsiteX6346" fmla="*/ 4471905 w 12192185"/>
              <a:gd name="connsiteY6346" fmla="*/ 1379891 h 6859062"/>
              <a:gd name="connsiteX6347" fmla="*/ 3359121 w 12192185"/>
              <a:gd name="connsiteY6347" fmla="*/ 1367557 h 6859062"/>
              <a:gd name="connsiteX6348" fmla="*/ 3308828 w 12192185"/>
              <a:gd name="connsiteY6348" fmla="*/ 1376114 h 6859062"/>
              <a:gd name="connsiteX6349" fmla="*/ 3279968 w 12192185"/>
              <a:gd name="connsiteY6349" fmla="*/ 1380616 h 6859062"/>
              <a:gd name="connsiteX6350" fmla="*/ 3266638 w 12192185"/>
              <a:gd name="connsiteY6350" fmla="*/ 1403405 h 6859062"/>
              <a:gd name="connsiteX6351" fmla="*/ 3246586 w 12192185"/>
              <a:gd name="connsiteY6351" fmla="*/ 1434478 h 6859062"/>
              <a:gd name="connsiteX6352" fmla="*/ 3244962 w 12192185"/>
              <a:gd name="connsiteY6352" fmla="*/ 1437362 h 6859062"/>
              <a:gd name="connsiteX6353" fmla="*/ 3304083 w 12192185"/>
              <a:gd name="connsiteY6353" fmla="*/ 1424394 h 6859062"/>
              <a:gd name="connsiteX6354" fmla="*/ 3609546 w 12192185"/>
              <a:gd name="connsiteY6354" fmla="*/ 1394424 h 6859062"/>
              <a:gd name="connsiteX6355" fmla="*/ 3708724 w 12192185"/>
              <a:gd name="connsiteY6355" fmla="*/ 1394305 h 6859062"/>
              <a:gd name="connsiteX6356" fmla="*/ 3718262 w 12192185"/>
              <a:gd name="connsiteY6356" fmla="*/ 1383228 h 6859062"/>
              <a:gd name="connsiteX6357" fmla="*/ 3638268 w 12192185"/>
              <a:gd name="connsiteY6357" fmla="*/ 1378233 h 6859062"/>
              <a:gd name="connsiteX6358" fmla="*/ 3359055 w 12192185"/>
              <a:gd name="connsiteY6358" fmla="*/ 1369647 h 6859062"/>
              <a:gd name="connsiteX6359" fmla="*/ 11516879 w 12192185"/>
              <a:gd name="connsiteY6359" fmla="*/ 1358885 h 6859062"/>
              <a:gd name="connsiteX6360" fmla="*/ 11519259 w 12192185"/>
              <a:gd name="connsiteY6360" fmla="*/ 1361203 h 6859062"/>
              <a:gd name="connsiteX6361" fmla="*/ 11531256 w 12192185"/>
              <a:gd name="connsiteY6361" fmla="*/ 1369737 h 6859062"/>
              <a:gd name="connsiteX6362" fmla="*/ 11533606 w 12192185"/>
              <a:gd name="connsiteY6362" fmla="*/ 1373075 h 6859062"/>
              <a:gd name="connsiteX6363" fmla="*/ 11541337 w 12192185"/>
              <a:gd name="connsiteY6363" fmla="*/ 1380865 h 6859062"/>
              <a:gd name="connsiteX6364" fmla="*/ 11545080 w 12192185"/>
              <a:gd name="connsiteY6364" fmla="*/ 1385470 h 6859062"/>
              <a:gd name="connsiteX6365" fmla="*/ 11544865 w 12192185"/>
              <a:gd name="connsiteY6365" fmla="*/ 1392605 h 6859062"/>
              <a:gd name="connsiteX6366" fmla="*/ 11547932 w 12192185"/>
              <a:gd name="connsiteY6366" fmla="*/ 1412902 h 6859062"/>
              <a:gd name="connsiteX6367" fmla="*/ 11547566 w 12192185"/>
              <a:gd name="connsiteY6367" fmla="*/ 1425134 h 6859062"/>
              <a:gd name="connsiteX6368" fmla="*/ 11544971 w 12192185"/>
              <a:gd name="connsiteY6368" fmla="*/ 1429951 h 6859062"/>
              <a:gd name="connsiteX6369" fmla="*/ 11535114 w 12192185"/>
              <a:gd name="connsiteY6369" fmla="*/ 1438624 h 6859062"/>
              <a:gd name="connsiteX6370" fmla="*/ 11519971 w 12192185"/>
              <a:gd name="connsiteY6370" fmla="*/ 1453254 h 6859062"/>
              <a:gd name="connsiteX6371" fmla="*/ 11511688 w 12192185"/>
              <a:gd name="connsiteY6371" fmla="*/ 1457079 h 6859062"/>
              <a:gd name="connsiteX6372" fmla="*/ 11500592 w 12192185"/>
              <a:gd name="connsiteY6372" fmla="*/ 1459388 h 6859062"/>
              <a:gd name="connsiteX6373" fmla="*/ 11491813 w 12192185"/>
              <a:gd name="connsiteY6373" fmla="*/ 1459319 h 6859062"/>
              <a:gd name="connsiteX6374" fmla="*/ 11463466 w 12192185"/>
              <a:gd name="connsiteY6374" fmla="*/ 1451299 h 6859062"/>
              <a:gd name="connsiteX6375" fmla="*/ 11450820 w 12192185"/>
              <a:gd name="connsiteY6375" fmla="*/ 1443969 h 6859062"/>
              <a:gd name="connsiteX6376" fmla="*/ 11439157 w 12192185"/>
              <a:gd name="connsiteY6376" fmla="*/ 1417488 h 6859062"/>
              <a:gd name="connsiteX6377" fmla="*/ 11443142 w 12192185"/>
              <a:gd name="connsiteY6377" fmla="*/ 1407205 h 6859062"/>
              <a:gd name="connsiteX6378" fmla="*/ 11444903 w 12192185"/>
              <a:gd name="connsiteY6378" fmla="*/ 1402974 h 6859062"/>
              <a:gd name="connsiteX6379" fmla="*/ 11448731 w 12192185"/>
              <a:gd name="connsiteY6379" fmla="*/ 1391054 h 6859062"/>
              <a:gd name="connsiteX6380" fmla="*/ 11450337 w 12192185"/>
              <a:gd name="connsiteY6380" fmla="*/ 1385185 h 6859062"/>
              <a:gd name="connsiteX6381" fmla="*/ 11454415 w 12192185"/>
              <a:gd name="connsiteY6381" fmla="*/ 1378578 h 6859062"/>
              <a:gd name="connsiteX6382" fmla="*/ 11460903 w 12192185"/>
              <a:gd name="connsiteY6382" fmla="*/ 1373269 h 6859062"/>
              <a:gd name="connsiteX6383" fmla="*/ 11478611 w 12192185"/>
              <a:gd name="connsiteY6383" fmla="*/ 1361576 h 6859062"/>
              <a:gd name="connsiteX6384" fmla="*/ 11516879 w 12192185"/>
              <a:gd name="connsiteY6384" fmla="*/ 1358885 h 6859062"/>
              <a:gd name="connsiteX6385" fmla="*/ 3740910 w 12192185"/>
              <a:gd name="connsiteY6385" fmla="*/ 1353867 h 6859062"/>
              <a:gd name="connsiteX6386" fmla="*/ 3732447 w 12192185"/>
              <a:gd name="connsiteY6386" fmla="*/ 1354059 h 6859062"/>
              <a:gd name="connsiteX6387" fmla="*/ 3742918 w 12192185"/>
              <a:gd name="connsiteY6387" fmla="*/ 1354601 h 6859062"/>
              <a:gd name="connsiteX6388" fmla="*/ 3743401 w 12192185"/>
              <a:gd name="connsiteY6388" fmla="*/ 1354038 h 6859062"/>
              <a:gd name="connsiteX6389" fmla="*/ 3664153 w 12192185"/>
              <a:gd name="connsiteY6389" fmla="*/ 1349028 h 6859062"/>
              <a:gd name="connsiteX6390" fmla="*/ 3660936 w 12192185"/>
              <a:gd name="connsiteY6390" fmla="*/ 1351299 h 6859062"/>
              <a:gd name="connsiteX6391" fmla="*/ 3667561 w 12192185"/>
              <a:gd name="connsiteY6391" fmla="*/ 1351277 h 6859062"/>
              <a:gd name="connsiteX6392" fmla="*/ 4366837 w 12192185"/>
              <a:gd name="connsiteY6392" fmla="*/ 1348129 h 6859062"/>
              <a:gd name="connsiteX6393" fmla="*/ 4317814 w 12192185"/>
              <a:gd name="connsiteY6393" fmla="*/ 1392768 h 6859062"/>
              <a:gd name="connsiteX6394" fmla="*/ 4279352 w 12192185"/>
              <a:gd name="connsiteY6394" fmla="*/ 1429734 h 6859062"/>
              <a:gd name="connsiteX6395" fmla="*/ 4301544 w 12192185"/>
              <a:gd name="connsiteY6395" fmla="*/ 1434604 h 6859062"/>
              <a:gd name="connsiteX6396" fmla="*/ 4322383 w 12192185"/>
              <a:gd name="connsiteY6396" fmla="*/ 1410122 h 6859062"/>
              <a:gd name="connsiteX6397" fmla="*/ 4347039 w 12192185"/>
              <a:gd name="connsiteY6397" fmla="*/ 1385887 h 6859062"/>
              <a:gd name="connsiteX6398" fmla="*/ 4375469 w 12192185"/>
              <a:gd name="connsiteY6398" fmla="*/ 1353691 h 6859062"/>
              <a:gd name="connsiteX6399" fmla="*/ 4377476 w 12192185"/>
              <a:gd name="connsiteY6399" fmla="*/ 1351949 h 6859062"/>
              <a:gd name="connsiteX6400" fmla="*/ 52386 w 12192185"/>
              <a:gd name="connsiteY6400" fmla="*/ 1347265 h 6859062"/>
              <a:gd name="connsiteX6401" fmla="*/ 54508 w 12192185"/>
              <a:gd name="connsiteY6401" fmla="*/ 1348441 h 6859062"/>
              <a:gd name="connsiteX6402" fmla="*/ 63986 w 12192185"/>
              <a:gd name="connsiteY6402" fmla="*/ 1357042 h 6859062"/>
              <a:gd name="connsiteX6403" fmla="*/ 67262 w 12192185"/>
              <a:gd name="connsiteY6403" fmla="*/ 1361023 h 6859062"/>
              <a:gd name="connsiteX6404" fmla="*/ 72185 w 12192185"/>
              <a:gd name="connsiteY6404" fmla="*/ 1368013 h 6859062"/>
              <a:gd name="connsiteX6405" fmla="*/ 79644 w 12192185"/>
              <a:gd name="connsiteY6405" fmla="*/ 1371707 h 6859062"/>
              <a:gd name="connsiteX6406" fmla="*/ 81668 w 12192185"/>
              <a:gd name="connsiteY6406" fmla="*/ 1373948 h 6859062"/>
              <a:gd name="connsiteX6407" fmla="*/ 79974 w 12192185"/>
              <a:gd name="connsiteY6407" fmla="*/ 1376489 h 6859062"/>
              <a:gd name="connsiteX6408" fmla="*/ 78088 w 12192185"/>
              <a:gd name="connsiteY6408" fmla="*/ 1377880 h 6859062"/>
              <a:gd name="connsiteX6409" fmla="*/ 76285 w 12192185"/>
              <a:gd name="connsiteY6409" fmla="*/ 1380467 h 6859062"/>
              <a:gd name="connsiteX6410" fmla="*/ 78798 w 12192185"/>
              <a:gd name="connsiteY6410" fmla="*/ 1382096 h 6859062"/>
              <a:gd name="connsiteX6411" fmla="*/ 80085 w 12192185"/>
              <a:gd name="connsiteY6411" fmla="*/ 1387715 h 6859062"/>
              <a:gd name="connsiteX6412" fmla="*/ 78241 w 12192185"/>
              <a:gd name="connsiteY6412" fmla="*/ 1389703 h 6859062"/>
              <a:gd name="connsiteX6413" fmla="*/ 78312 w 12192185"/>
              <a:gd name="connsiteY6413" fmla="*/ 1393361 h 6859062"/>
              <a:gd name="connsiteX6414" fmla="*/ 81794 w 12192185"/>
              <a:gd name="connsiteY6414" fmla="*/ 1393364 h 6859062"/>
              <a:gd name="connsiteX6415" fmla="*/ 84323 w 12192185"/>
              <a:gd name="connsiteY6415" fmla="*/ 1391978 h 6859062"/>
              <a:gd name="connsiteX6416" fmla="*/ 76335 w 12192185"/>
              <a:gd name="connsiteY6416" fmla="*/ 1411281 h 6859062"/>
              <a:gd name="connsiteX6417" fmla="*/ 74899 w 12192185"/>
              <a:gd name="connsiteY6417" fmla="*/ 1410955 h 6859062"/>
              <a:gd name="connsiteX6418" fmla="*/ 72220 w 12192185"/>
              <a:gd name="connsiteY6418" fmla="*/ 1413901 h 6859062"/>
              <a:gd name="connsiteX6419" fmla="*/ 72116 w 12192185"/>
              <a:gd name="connsiteY6419" fmla="*/ 1417632 h 6859062"/>
              <a:gd name="connsiteX6420" fmla="*/ 68777 w 12192185"/>
              <a:gd name="connsiteY6420" fmla="*/ 1421464 h 6859062"/>
              <a:gd name="connsiteX6421" fmla="*/ 58101 w 12192185"/>
              <a:gd name="connsiteY6421" fmla="*/ 1433849 h 6859062"/>
              <a:gd name="connsiteX6422" fmla="*/ 57183 w 12192185"/>
              <a:gd name="connsiteY6422" fmla="*/ 1437094 h 6859062"/>
              <a:gd name="connsiteX6423" fmla="*/ 53711 w 12192185"/>
              <a:gd name="connsiteY6423" fmla="*/ 1434629 h 6859062"/>
              <a:gd name="connsiteX6424" fmla="*/ 53495 w 12192185"/>
              <a:gd name="connsiteY6424" fmla="*/ 1434103 h 6859062"/>
              <a:gd name="connsiteX6425" fmla="*/ 46170 w 12192185"/>
              <a:gd name="connsiteY6425" fmla="*/ 1433224 h 6859062"/>
              <a:gd name="connsiteX6426" fmla="*/ 37792 w 12192185"/>
              <a:gd name="connsiteY6426" fmla="*/ 1436261 h 6859062"/>
              <a:gd name="connsiteX6427" fmla="*/ 25005 w 12192185"/>
              <a:gd name="connsiteY6427" fmla="*/ 1438036 h 6859062"/>
              <a:gd name="connsiteX6428" fmla="*/ 20770 w 12192185"/>
              <a:gd name="connsiteY6428" fmla="*/ 1436704 h 6859062"/>
              <a:gd name="connsiteX6429" fmla="*/ 8706 w 12192185"/>
              <a:gd name="connsiteY6429" fmla="*/ 1433266 h 6859062"/>
              <a:gd name="connsiteX6430" fmla="*/ 5399 w 12192185"/>
              <a:gd name="connsiteY6430" fmla="*/ 1429709 h 6859062"/>
              <a:gd name="connsiteX6431" fmla="*/ 2455 w 12192185"/>
              <a:gd name="connsiteY6431" fmla="*/ 1419316 h 6859062"/>
              <a:gd name="connsiteX6432" fmla="*/ 0 w 12192185"/>
              <a:gd name="connsiteY6432" fmla="*/ 1418027 h 6859062"/>
              <a:gd name="connsiteX6433" fmla="*/ 0 w 12192185"/>
              <a:gd name="connsiteY6433" fmla="*/ 1367117 h 6859062"/>
              <a:gd name="connsiteX6434" fmla="*/ 2133 w 12192185"/>
              <a:gd name="connsiteY6434" fmla="*/ 1363019 h 6859062"/>
              <a:gd name="connsiteX6435" fmla="*/ 4359 w 12192185"/>
              <a:gd name="connsiteY6435" fmla="*/ 1360463 h 6859062"/>
              <a:gd name="connsiteX6436" fmla="*/ 12541 w 12192185"/>
              <a:gd name="connsiteY6436" fmla="*/ 1355459 h 6859062"/>
              <a:gd name="connsiteX6437" fmla="*/ 21691 w 12192185"/>
              <a:gd name="connsiteY6437" fmla="*/ 1348826 h 6859062"/>
              <a:gd name="connsiteX6438" fmla="*/ 25968 w 12192185"/>
              <a:gd name="connsiteY6438" fmla="*/ 1347272 h 6859062"/>
              <a:gd name="connsiteX6439" fmla="*/ 52386 w 12192185"/>
              <a:gd name="connsiteY6439" fmla="*/ 1347265 h 6859062"/>
              <a:gd name="connsiteX6440" fmla="*/ 4310174 w 12192185"/>
              <a:gd name="connsiteY6440" fmla="*/ 1327800 h 6859062"/>
              <a:gd name="connsiteX6441" fmla="*/ 4309830 w 12192185"/>
              <a:gd name="connsiteY6441" fmla="*/ 1328105 h 6859062"/>
              <a:gd name="connsiteX6442" fmla="*/ 4256228 w 12192185"/>
              <a:gd name="connsiteY6442" fmla="*/ 1377054 h 6859062"/>
              <a:gd name="connsiteX6443" fmla="*/ 4224739 w 12192185"/>
              <a:gd name="connsiteY6443" fmla="*/ 1400251 h 6859062"/>
              <a:gd name="connsiteX6444" fmla="*/ 4215796 w 12192185"/>
              <a:gd name="connsiteY6444" fmla="*/ 1409695 h 6859062"/>
              <a:gd name="connsiteX6445" fmla="*/ 4212587 w 12192185"/>
              <a:gd name="connsiteY6445" fmla="*/ 1415082 h 6859062"/>
              <a:gd name="connsiteX6446" fmla="*/ 4238157 w 12192185"/>
              <a:gd name="connsiteY6446" fmla="*/ 1420693 h 6859062"/>
              <a:gd name="connsiteX6447" fmla="*/ 4238685 w 12192185"/>
              <a:gd name="connsiteY6447" fmla="*/ 1420158 h 6859062"/>
              <a:gd name="connsiteX6448" fmla="*/ 4293126 w 12192185"/>
              <a:gd name="connsiteY6448" fmla="*/ 1367017 h 6859062"/>
              <a:gd name="connsiteX6449" fmla="*/ 4321014 w 12192185"/>
              <a:gd name="connsiteY6449" fmla="*/ 1335046 h 6859062"/>
              <a:gd name="connsiteX6450" fmla="*/ 4318429 w 12192185"/>
              <a:gd name="connsiteY6450" fmla="*/ 1341236 h 6859062"/>
              <a:gd name="connsiteX6451" fmla="*/ 4326927 w 12192185"/>
              <a:gd name="connsiteY6451" fmla="*/ 1333810 h 6859062"/>
              <a:gd name="connsiteX6452" fmla="*/ 5980953 w 12192185"/>
              <a:gd name="connsiteY6452" fmla="*/ 1318339 h 6859062"/>
              <a:gd name="connsiteX6453" fmla="*/ 5833013 w 12192185"/>
              <a:gd name="connsiteY6453" fmla="*/ 1332381 h 6859062"/>
              <a:gd name="connsiteX6454" fmla="*/ 5675794 w 12192185"/>
              <a:gd name="connsiteY6454" fmla="*/ 1359371 h 6859062"/>
              <a:gd name="connsiteX6455" fmla="*/ 5601825 w 12192185"/>
              <a:gd name="connsiteY6455" fmla="*/ 1390002 h 6859062"/>
              <a:gd name="connsiteX6456" fmla="*/ 5547248 w 12192185"/>
              <a:gd name="connsiteY6456" fmla="*/ 1412639 h 6859062"/>
              <a:gd name="connsiteX6457" fmla="*/ 5392539 w 12192185"/>
              <a:gd name="connsiteY6457" fmla="*/ 1455683 h 6859062"/>
              <a:gd name="connsiteX6458" fmla="*/ 5258281 w 12192185"/>
              <a:gd name="connsiteY6458" fmla="*/ 1503775 h 6859062"/>
              <a:gd name="connsiteX6459" fmla="*/ 5275248 w 12192185"/>
              <a:gd name="connsiteY6459" fmla="*/ 1513094 h 6859062"/>
              <a:gd name="connsiteX6460" fmla="*/ 5278445 w 12192185"/>
              <a:gd name="connsiteY6460" fmla="*/ 1514532 h 6859062"/>
              <a:gd name="connsiteX6461" fmla="*/ 5367633 w 12192185"/>
              <a:gd name="connsiteY6461" fmla="*/ 1482156 h 6859062"/>
              <a:gd name="connsiteX6462" fmla="*/ 5722438 w 12192185"/>
              <a:gd name="connsiteY6462" fmla="*/ 1395984 h 6859062"/>
              <a:gd name="connsiteX6463" fmla="*/ 5740737 w 12192185"/>
              <a:gd name="connsiteY6463" fmla="*/ 1391713 h 6859062"/>
              <a:gd name="connsiteX6464" fmla="*/ 5755866 w 12192185"/>
              <a:gd name="connsiteY6464" fmla="*/ 1403522 h 6859062"/>
              <a:gd name="connsiteX6465" fmla="*/ 5742790 w 12192185"/>
              <a:gd name="connsiteY6465" fmla="*/ 1417459 h 6859062"/>
              <a:gd name="connsiteX6466" fmla="*/ 5647350 w 12192185"/>
              <a:gd name="connsiteY6466" fmla="*/ 1433738 h 6859062"/>
              <a:gd name="connsiteX6467" fmla="*/ 5612514 w 12192185"/>
              <a:gd name="connsiteY6467" fmla="*/ 1442542 h 6859062"/>
              <a:gd name="connsiteX6468" fmla="*/ 5768255 w 12192185"/>
              <a:gd name="connsiteY6468" fmla="*/ 1422828 h 6859062"/>
              <a:gd name="connsiteX6469" fmla="*/ 6514852 w 12192185"/>
              <a:gd name="connsiteY6469" fmla="*/ 1511829 h 6859062"/>
              <a:gd name="connsiteX6470" fmla="*/ 6567531 w 12192185"/>
              <a:gd name="connsiteY6470" fmla="*/ 1530923 h 6859062"/>
              <a:gd name="connsiteX6471" fmla="*/ 6570782 w 12192185"/>
              <a:gd name="connsiteY6471" fmla="*/ 1531741 h 6859062"/>
              <a:gd name="connsiteX6472" fmla="*/ 6603935 w 12192185"/>
              <a:gd name="connsiteY6472" fmla="*/ 1536184 h 6859062"/>
              <a:gd name="connsiteX6473" fmla="*/ 6695034 w 12192185"/>
              <a:gd name="connsiteY6473" fmla="*/ 1572501 h 6859062"/>
              <a:gd name="connsiteX6474" fmla="*/ 6842218 w 12192185"/>
              <a:gd name="connsiteY6474" fmla="*/ 1624650 h 6859062"/>
              <a:gd name="connsiteX6475" fmla="*/ 7288613 w 12192185"/>
              <a:gd name="connsiteY6475" fmla="*/ 1867129 h 6859062"/>
              <a:gd name="connsiteX6476" fmla="*/ 7126826 w 12192185"/>
              <a:gd name="connsiteY6476" fmla="*/ 1751093 h 6859062"/>
              <a:gd name="connsiteX6477" fmla="*/ 6966491 w 12192185"/>
              <a:gd name="connsiteY6477" fmla="*/ 1648745 h 6859062"/>
              <a:gd name="connsiteX6478" fmla="*/ 6778184 w 12192185"/>
              <a:gd name="connsiteY6478" fmla="*/ 1562251 h 6859062"/>
              <a:gd name="connsiteX6479" fmla="*/ 6667626 w 12192185"/>
              <a:gd name="connsiteY6479" fmla="*/ 1515611 h 6859062"/>
              <a:gd name="connsiteX6480" fmla="*/ 6657188 w 12192185"/>
              <a:gd name="connsiteY6480" fmla="*/ 1513217 h 6859062"/>
              <a:gd name="connsiteX6481" fmla="*/ 6655558 w 12192185"/>
              <a:gd name="connsiteY6481" fmla="*/ 1509593 h 6859062"/>
              <a:gd name="connsiteX6482" fmla="*/ 6595576 w 12192185"/>
              <a:gd name="connsiteY6482" fmla="*/ 1488565 h 6859062"/>
              <a:gd name="connsiteX6483" fmla="*/ 6653901 w 12192185"/>
              <a:gd name="connsiteY6483" fmla="*/ 1502532 h 6859062"/>
              <a:gd name="connsiteX6484" fmla="*/ 6658608 w 12192185"/>
              <a:gd name="connsiteY6484" fmla="*/ 1493678 h 6859062"/>
              <a:gd name="connsiteX6485" fmla="*/ 6670094 w 12192185"/>
              <a:gd name="connsiteY6485" fmla="*/ 1490448 h 6859062"/>
              <a:gd name="connsiteX6486" fmla="*/ 6723935 w 12192185"/>
              <a:gd name="connsiteY6486" fmla="*/ 1502908 h 6859062"/>
              <a:gd name="connsiteX6487" fmla="*/ 6869337 w 12192185"/>
              <a:gd name="connsiteY6487" fmla="*/ 1564794 h 6859062"/>
              <a:gd name="connsiteX6488" fmla="*/ 6930405 w 12192185"/>
              <a:gd name="connsiteY6488" fmla="*/ 1594832 h 6859062"/>
              <a:gd name="connsiteX6489" fmla="*/ 6932086 w 12192185"/>
              <a:gd name="connsiteY6489" fmla="*/ 1595507 h 6859062"/>
              <a:gd name="connsiteX6490" fmla="*/ 6935824 w 12192185"/>
              <a:gd name="connsiteY6490" fmla="*/ 1597498 h 6859062"/>
              <a:gd name="connsiteX6491" fmla="*/ 6940845 w 12192185"/>
              <a:gd name="connsiteY6491" fmla="*/ 1599968 h 6859062"/>
              <a:gd name="connsiteX6492" fmla="*/ 6942799 w 12192185"/>
              <a:gd name="connsiteY6492" fmla="*/ 1601214 h 6859062"/>
              <a:gd name="connsiteX6493" fmla="*/ 7008880 w 12192185"/>
              <a:gd name="connsiteY6493" fmla="*/ 1636416 h 6859062"/>
              <a:gd name="connsiteX6494" fmla="*/ 7008973 w 12192185"/>
              <a:gd name="connsiteY6494" fmla="*/ 1632340 h 6859062"/>
              <a:gd name="connsiteX6495" fmla="*/ 7004680 w 12192185"/>
              <a:gd name="connsiteY6495" fmla="*/ 1623324 h 6859062"/>
              <a:gd name="connsiteX6496" fmla="*/ 7002838 w 12192185"/>
              <a:gd name="connsiteY6496" fmla="*/ 1619015 h 6859062"/>
              <a:gd name="connsiteX6497" fmla="*/ 6914912 w 12192185"/>
              <a:gd name="connsiteY6497" fmla="*/ 1564557 h 6859062"/>
              <a:gd name="connsiteX6498" fmla="*/ 6700816 w 12192185"/>
              <a:gd name="connsiteY6498" fmla="*/ 1464655 h 6859062"/>
              <a:gd name="connsiteX6499" fmla="*/ 6675593 w 12192185"/>
              <a:gd name="connsiteY6499" fmla="*/ 1454052 h 6859062"/>
              <a:gd name="connsiteX6500" fmla="*/ 6656009 w 12192185"/>
              <a:gd name="connsiteY6500" fmla="*/ 1446997 h 6859062"/>
              <a:gd name="connsiteX6501" fmla="*/ 6652983 w 12192185"/>
              <a:gd name="connsiteY6501" fmla="*/ 1444258 h 6859062"/>
              <a:gd name="connsiteX6502" fmla="*/ 6401065 w 12192185"/>
              <a:gd name="connsiteY6502" fmla="*/ 1366588 h 6859062"/>
              <a:gd name="connsiteX6503" fmla="*/ 6122108 w 12192185"/>
              <a:gd name="connsiteY6503" fmla="*/ 1321688 h 6859062"/>
              <a:gd name="connsiteX6504" fmla="*/ 4647348 w 12192185"/>
              <a:gd name="connsiteY6504" fmla="*/ 1298577 h 6859062"/>
              <a:gd name="connsiteX6505" fmla="*/ 4599112 w 12192185"/>
              <a:gd name="connsiteY6505" fmla="*/ 1332786 h 6859062"/>
              <a:gd name="connsiteX6506" fmla="*/ 4619461 w 12192185"/>
              <a:gd name="connsiteY6506" fmla="*/ 1341009 h 6859062"/>
              <a:gd name="connsiteX6507" fmla="*/ 4620552 w 12192185"/>
              <a:gd name="connsiteY6507" fmla="*/ 1340153 h 6859062"/>
              <a:gd name="connsiteX6508" fmla="*/ 4660819 w 12192185"/>
              <a:gd name="connsiteY6508" fmla="*/ 1313348 h 6859062"/>
              <a:gd name="connsiteX6509" fmla="*/ 4668900 w 12192185"/>
              <a:gd name="connsiteY6509" fmla="*/ 1308129 h 6859062"/>
              <a:gd name="connsiteX6510" fmla="*/ 4189235 w 12192185"/>
              <a:gd name="connsiteY6510" fmla="*/ 1291973 h 6859062"/>
              <a:gd name="connsiteX6511" fmla="*/ 4098598 w 12192185"/>
              <a:gd name="connsiteY6511" fmla="*/ 1376875 h 6859062"/>
              <a:gd name="connsiteX6512" fmla="*/ 4091755 w 12192185"/>
              <a:gd name="connsiteY6512" fmla="*/ 1384594 h 6859062"/>
              <a:gd name="connsiteX6513" fmla="*/ 4101724 w 12192185"/>
              <a:gd name="connsiteY6513" fmla="*/ 1386740 h 6859062"/>
              <a:gd name="connsiteX6514" fmla="*/ 4152119 w 12192185"/>
              <a:gd name="connsiteY6514" fmla="*/ 1333968 h 6859062"/>
              <a:gd name="connsiteX6515" fmla="*/ 4199163 w 12192185"/>
              <a:gd name="connsiteY6515" fmla="*/ 1294597 h 6859062"/>
              <a:gd name="connsiteX6516" fmla="*/ 10161899 w 12192185"/>
              <a:gd name="connsiteY6516" fmla="*/ 1289161 h 6859062"/>
              <a:gd name="connsiteX6517" fmla="*/ 10176157 w 12192185"/>
              <a:gd name="connsiteY6517" fmla="*/ 1292880 h 6859062"/>
              <a:gd name="connsiteX6518" fmla="*/ 10262490 w 12192185"/>
              <a:gd name="connsiteY6518" fmla="*/ 1323446 h 6859062"/>
              <a:gd name="connsiteX6519" fmla="*/ 10311772 w 12192185"/>
              <a:gd name="connsiteY6519" fmla="*/ 1330216 h 6859062"/>
              <a:gd name="connsiteX6520" fmla="*/ 10190736 w 12192185"/>
              <a:gd name="connsiteY6520" fmla="*/ 1292575 h 6859062"/>
              <a:gd name="connsiteX6521" fmla="*/ 10187386 w 12192185"/>
              <a:gd name="connsiteY6521" fmla="*/ 1292838 h 6859062"/>
              <a:gd name="connsiteX6522" fmla="*/ 3806284 w 12192185"/>
              <a:gd name="connsiteY6522" fmla="*/ 1281036 h 6859062"/>
              <a:gd name="connsiteX6523" fmla="*/ 3749995 w 12192185"/>
              <a:gd name="connsiteY6523" fmla="*/ 1309223 h 6859062"/>
              <a:gd name="connsiteX6524" fmla="*/ 3728766 w 12192185"/>
              <a:gd name="connsiteY6524" fmla="*/ 1324443 h 6859062"/>
              <a:gd name="connsiteX6525" fmla="*/ 3739360 w 12192185"/>
              <a:gd name="connsiteY6525" fmla="*/ 1325082 h 6859062"/>
              <a:gd name="connsiteX6526" fmla="*/ 3765386 w 12192185"/>
              <a:gd name="connsiteY6526" fmla="*/ 1328517 h 6859062"/>
              <a:gd name="connsiteX6527" fmla="*/ 4586770 w 12192185"/>
              <a:gd name="connsiteY6527" fmla="*/ 1271742 h 6859062"/>
              <a:gd name="connsiteX6528" fmla="*/ 4586218 w 12192185"/>
              <a:gd name="connsiteY6528" fmla="*/ 1272215 h 6859062"/>
              <a:gd name="connsiteX6529" fmla="*/ 4537926 w 12192185"/>
              <a:gd name="connsiteY6529" fmla="*/ 1308067 h 6859062"/>
              <a:gd name="connsiteX6530" fmla="*/ 4573199 w 12192185"/>
              <a:gd name="connsiteY6530" fmla="*/ 1322318 h 6859062"/>
              <a:gd name="connsiteX6531" fmla="*/ 4622768 w 12192185"/>
              <a:gd name="connsiteY6531" fmla="*/ 1287687 h 6859062"/>
              <a:gd name="connsiteX6532" fmla="*/ 508724 w 12192185"/>
              <a:gd name="connsiteY6532" fmla="*/ 1252916 h 6859062"/>
              <a:gd name="connsiteX6533" fmla="*/ 508570 w 12192185"/>
              <a:gd name="connsiteY6533" fmla="*/ 1253242 h 6859062"/>
              <a:gd name="connsiteX6534" fmla="*/ 508239 w 12192185"/>
              <a:gd name="connsiteY6534" fmla="*/ 1252971 h 6859062"/>
              <a:gd name="connsiteX6535" fmla="*/ 11169826 w 12192185"/>
              <a:gd name="connsiteY6535" fmla="*/ 1246950 h 6859062"/>
              <a:gd name="connsiteX6536" fmla="*/ 11173927 w 12192185"/>
              <a:gd name="connsiteY6536" fmla="*/ 1247360 h 6859062"/>
              <a:gd name="connsiteX6537" fmla="*/ 11181400 w 12192185"/>
              <a:gd name="connsiteY6537" fmla="*/ 1248867 h 6859062"/>
              <a:gd name="connsiteX6538" fmla="*/ 11184234 w 12192185"/>
              <a:gd name="connsiteY6538" fmla="*/ 1248956 h 6859062"/>
              <a:gd name="connsiteX6539" fmla="*/ 11193768 w 12192185"/>
              <a:gd name="connsiteY6539" fmla="*/ 1252653 h 6859062"/>
              <a:gd name="connsiteX6540" fmla="*/ 11196024 w 12192185"/>
              <a:gd name="connsiteY6540" fmla="*/ 1253149 h 6859062"/>
              <a:gd name="connsiteX6541" fmla="*/ 11209086 w 12192185"/>
              <a:gd name="connsiteY6541" fmla="*/ 1276373 h 6859062"/>
              <a:gd name="connsiteX6542" fmla="*/ 11209086 w 12192185"/>
              <a:gd name="connsiteY6542" fmla="*/ 1276374 h 6859062"/>
              <a:gd name="connsiteX6543" fmla="*/ 11209070 w 12192185"/>
              <a:gd name="connsiteY6543" fmla="*/ 1291114 h 6859062"/>
              <a:gd name="connsiteX6544" fmla="*/ 11208469 w 12192185"/>
              <a:gd name="connsiteY6544" fmla="*/ 1296906 h 6859062"/>
              <a:gd name="connsiteX6545" fmla="*/ 11206195 w 12192185"/>
              <a:gd name="connsiteY6545" fmla="*/ 1301796 h 6859062"/>
              <a:gd name="connsiteX6546" fmla="*/ 11203406 w 12192185"/>
              <a:gd name="connsiteY6546" fmla="*/ 1304970 h 6859062"/>
              <a:gd name="connsiteX6547" fmla="*/ 11197954 w 12192185"/>
              <a:gd name="connsiteY6547" fmla="*/ 1311745 h 6859062"/>
              <a:gd name="connsiteX6548" fmla="*/ 11196173 w 12192185"/>
              <a:gd name="connsiteY6548" fmla="*/ 1314384 h 6859062"/>
              <a:gd name="connsiteX6549" fmla="*/ 11191732 w 12192185"/>
              <a:gd name="connsiteY6549" fmla="*/ 1320624 h 6859062"/>
              <a:gd name="connsiteX6550" fmla="*/ 11171915 w 12192185"/>
              <a:gd name="connsiteY6550" fmla="*/ 1323978 h 6859062"/>
              <a:gd name="connsiteX6551" fmla="*/ 11162831 w 12192185"/>
              <a:gd name="connsiteY6551" fmla="*/ 1319445 h 6859062"/>
              <a:gd name="connsiteX6552" fmla="*/ 11147347 w 12192185"/>
              <a:gd name="connsiteY6552" fmla="*/ 1306067 h 6859062"/>
              <a:gd name="connsiteX6553" fmla="*/ 11143952 w 12192185"/>
              <a:gd name="connsiteY6553" fmla="*/ 1301001 h 6859062"/>
              <a:gd name="connsiteX6554" fmla="*/ 11141050 w 12192185"/>
              <a:gd name="connsiteY6554" fmla="*/ 1293682 h 6859062"/>
              <a:gd name="connsiteX6555" fmla="*/ 11140104 w 12192185"/>
              <a:gd name="connsiteY6555" fmla="*/ 1287416 h 6859062"/>
              <a:gd name="connsiteX6556" fmla="*/ 11140104 w 12192185"/>
              <a:gd name="connsiteY6556" fmla="*/ 1287415 h 6859062"/>
              <a:gd name="connsiteX6557" fmla="*/ 11142804 w 12192185"/>
              <a:gd name="connsiteY6557" fmla="*/ 1273043 h 6859062"/>
              <a:gd name="connsiteX6558" fmla="*/ 11144068 w 12192185"/>
              <a:gd name="connsiteY6558" fmla="*/ 1264011 h 6859062"/>
              <a:gd name="connsiteX6559" fmla="*/ 11145870 w 12192185"/>
              <a:gd name="connsiteY6559" fmla="*/ 1260664 h 6859062"/>
              <a:gd name="connsiteX6560" fmla="*/ 11152825 w 12192185"/>
              <a:gd name="connsiteY6560" fmla="*/ 1255778 h 6859062"/>
              <a:gd name="connsiteX6561" fmla="*/ 11165770 w 12192185"/>
              <a:gd name="connsiteY6561" fmla="*/ 1249800 h 6859062"/>
              <a:gd name="connsiteX6562" fmla="*/ 11169826 w 12192185"/>
              <a:gd name="connsiteY6562" fmla="*/ 1246950 h 6859062"/>
              <a:gd name="connsiteX6563" fmla="*/ 843455 w 12192185"/>
              <a:gd name="connsiteY6563" fmla="*/ 1245204 h 6859062"/>
              <a:gd name="connsiteX6564" fmla="*/ 853558 w 12192185"/>
              <a:gd name="connsiteY6564" fmla="*/ 1247441 h 6859062"/>
              <a:gd name="connsiteX6565" fmla="*/ 859924 w 12192185"/>
              <a:gd name="connsiteY6565" fmla="*/ 1251027 h 6859062"/>
              <a:gd name="connsiteX6566" fmla="*/ 864764 w 12192185"/>
              <a:gd name="connsiteY6566" fmla="*/ 1264418 h 6859062"/>
              <a:gd name="connsiteX6567" fmla="*/ 859502 w 12192185"/>
              <a:gd name="connsiteY6567" fmla="*/ 1275572 h 6859062"/>
              <a:gd name="connsiteX6568" fmla="*/ 857766 w 12192185"/>
              <a:gd name="connsiteY6568" fmla="*/ 1287133 h 6859062"/>
              <a:gd name="connsiteX6569" fmla="*/ 857287 w 12192185"/>
              <a:gd name="connsiteY6569" fmla="*/ 1298662 h 6859062"/>
              <a:gd name="connsiteX6570" fmla="*/ 854103 w 12192185"/>
              <a:gd name="connsiteY6570" fmla="*/ 1307383 h 6859062"/>
              <a:gd name="connsiteX6571" fmla="*/ 847362 w 12192185"/>
              <a:gd name="connsiteY6571" fmla="*/ 1314446 h 6859062"/>
              <a:gd name="connsiteX6572" fmla="*/ 839889 w 12192185"/>
              <a:gd name="connsiteY6572" fmla="*/ 1317146 h 6859062"/>
              <a:gd name="connsiteX6573" fmla="*/ 838231 w 12192185"/>
              <a:gd name="connsiteY6573" fmla="*/ 1316063 h 6859062"/>
              <a:gd name="connsiteX6574" fmla="*/ 824811 w 12192185"/>
              <a:gd name="connsiteY6574" fmla="*/ 1311663 h 6859062"/>
              <a:gd name="connsiteX6575" fmla="*/ 816878 w 12192185"/>
              <a:gd name="connsiteY6575" fmla="*/ 1300231 h 6859062"/>
              <a:gd name="connsiteX6576" fmla="*/ 816730 w 12192185"/>
              <a:gd name="connsiteY6576" fmla="*/ 1283464 h 6859062"/>
              <a:gd name="connsiteX6577" fmla="*/ 821124 w 12192185"/>
              <a:gd name="connsiteY6577" fmla="*/ 1278090 h 6859062"/>
              <a:gd name="connsiteX6578" fmla="*/ 824996 w 12192185"/>
              <a:gd name="connsiteY6578" fmla="*/ 1266597 h 6859062"/>
              <a:gd name="connsiteX6579" fmla="*/ 825760 w 12192185"/>
              <a:gd name="connsiteY6579" fmla="*/ 1261696 h 6859062"/>
              <a:gd name="connsiteX6580" fmla="*/ 833203 w 12192185"/>
              <a:gd name="connsiteY6580" fmla="*/ 1247229 h 6859062"/>
              <a:gd name="connsiteX6581" fmla="*/ 843455 w 12192185"/>
              <a:gd name="connsiteY6581" fmla="*/ 1245204 h 6859062"/>
              <a:gd name="connsiteX6582" fmla="*/ 6379346 w 12192185"/>
              <a:gd name="connsiteY6582" fmla="*/ 1243108 h 6859062"/>
              <a:gd name="connsiteX6583" fmla="*/ 6382424 w 12192185"/>
              <a:gd name="connsiteY6583" fmla="*/ 1245505 h 6859062"/>
              <a:gd name="connsiteX6584" fmla="*/ 6377442 w 12192185"/>
              <a:gd name="connsiteY6584" fmla="*/ 1243384 h 6859062"/>
              <a:gd name="connsiteX6585" fmla="*/ 4491710 w 12192185"/>
              <a:gd name="connsiteY6585" fmla="*/ 1235763 h 6859062"/>
              <a:gd name="connsiteX6586" fmla="*/ 4479069 w 12192185"/>
              <a:gd name="connsiteY6586" fmla="*/ 1247020 h 6859062"/>
              <a:gd name="connsiteX6587" fmla="*/ 4462185 w 12192185"/>
              <a:gd name="connsiteY6587" fmla="*/ 1266776 h 6859062"/>
              <a:gd name="connsiteX6588" fmla="*/ 4453416 w 12192185"/>
              <a:gd name="connsiteY6588" fmla="*/ 1270383 h 6859062"/>
              <a:gd name="connsiteX6589" fmla="*/ 4451026 w 12192185"/>
              <a:gd name="connsiteY6589" fmla="*/ 1276105 h 6859062"/>
              <a:gd name="connsiteX6590" fmla="*/ 4459625 w 12192185"/>
              <a:gd name="connsiteY6590" fmla="*/ 1278788 h 6859062"/>
              <a:gd name="connsiteX6591" fmla="*/ 4461407 w 12192185"/>
              <a:gd name="connsiteY6591" fmla="*/ 1277352 h 6859062"/>
              <a:gd name="connsiteX6592" fmla="*/ 4465791 w 12192185"/>
              <a:gd name="connsiteY6592" fmla="*/ 1275549 h 6859062"/>
              <a:gd name="connsiteX6593" fmla="*/ 4470183 w 12192185"/>
              <a:gd name="connsiteY6593" fmla="*/ 1273746 h 6859062"/>
              <a:gd name="connsiteX6594" fmla="*/ 4474565 w 12192185"/>
              <a:gd name="connsiteY6594" fmla="*/ 1271943 h 6859062"/>
              <a:gd name="connsiteX6595" fmla="*/ 4472767 w 12192185"/>
              <a:gd name="connsiteY6595" fmla="*/ 1267558 h 6859062"/>
              <a:gd name="connsiteX6596" fmla="*/ 4473548 w 12192185"/>
              <a:gd name="connsiteY6596" fmla="*/ 1256980 h 6859062"/>
              <a:gd name="connsiteX6597" fmla="*/ 4486127 w 12192185"/>
              <a:gd name="connsiteY6597" fmla="*/ 1248605 h 6859062"/>
              <a:gd name="connsiteX6598" fmla="*/ 4497918 w 12192185"/>
              <a:gd name="connsiteY6598" fmla="*/ 1238040 h 6859062"/>
              <a:gd name="connsiteX6599" fmla="*/ 3205385 w 12192185"/>
              <a:gd name="connsiteY6599" fmla="*/ 1235506 h 6859062"/>
              <a:gd name="connsiteX6600" fmla="*/ 3209772 w 12192185"/>
              <a:gd name="connsiteY6600" fmla="*/ 1236682 h 6859062"/>
              <a:gd name="connsiteX6601" fmla="*/ 3204457 w 12192185"/>
              <a:gd name="connsiteY6601" fmla="*/ 1236041 h 6859062"/>
              <a:gd name="connsiteX6602" fmla="*/ 3202175 w 12192185"/>
              <a:gd name="connsiteY6602" fmla="*/ 1229941 h 6859062"/>
              <a:gd name="connsiteX6603" fmla="*/ 3201800 w 12192185"/>
              <a:gd name="connsiteY6603" fmla="*/ 1235721 h 6859062"/>
              <a:gd name="connsiteX6604" fmla="*/ 3204457 w 12192185"/>
              <a:gd name="connsiteY6604" fmla="*/ 1236041 h 6859062"/>
              <a:gd name="connsiteX6605" fmla="*/ 3194255 w 12192185"/>
              <a:gd name="connsiteY6605" fmla="*/ 1241931 h 6859062"/>
              <a:gd name="connsiteX6606" fmla="*/ 3207419 w 12192185"/>
              <a:gd name="connsiteY6606" fmla="*/ 1245458 h 6859062"/>
              <a:gd name="connsiteX6607" fmla="*/ 3155306 w 12192185"/>
              <a:gd name="connsiteY6607" fmla="*/ 1264420 h 6859062"/>
              <a:gd name="connsiteX6608" fmla="*/ 3152094 w 12192185"/>
              <a:gd name="connsiteY6608" fmla="*/ 1258856 h 6859062"/>
              <a:gd name="connsiteX6609" fmla="*/ 3085629 w 12192185"/>
              <a:gd name="connsiteY6609" fmla="*/ 1278678 h 6859062"/>
              <a:gd name="connsiteX6610" fmla="*/ 3091193 w 12192185"/>
              <a:gd name="connsiteY6610" fmla="*/ 1275464 h 6859062"/>
              <a:gd name="connsiteX6611" fmla="*/ 3017129 w 12192185"/>
              <a:gd name="connsiteY6611" fmla="*/ 1288546 h 6859062"/>
              <a:gd name="connsiteX6612" fmla="*/ 3011568 w 12192185"/>
              <a:gd name="connsiteY6612" fmla="*/ 1291759 h 6859062"/>
              <a:gd name="connsiteX6613" fmla="*/ 3029120 w 12192185"/>
              <a:gd name="connsiteY6613" fmla="*/ 1296463 h 6859062"/>
              <a:gd name="connsiteX6614" fmla="*/ 2978178 w 12192185"/>
              <a:gd name="connsiteY6614" fmla="*/ 1311036 h 6859062"/>
              <a:gd name="connsiteX6615" fmla="*/ 2970573 w 12192185"/>
              <a:gd name="connsiteY6615" fmla="*/ 1304295 h 6859062"/>
              <a:gd name="connsiteX6616" fmla="*/ 2958270 w 12192185"/>
              <a:gd name="connsiteY6616" fmla="*/ 1315109 h 6859062"/>
              <a:gd name="connsiteX6617" fmla="*/ 2952704 w 12192185"/>
              <a:gd name="connsiteY6617" fmla="*/ 1318323 h 6859062"/>
              <a:gd name="connsiteX6618" fmla="*/ 2941573 w 12192185"/>
              <a:gd name="connsiteY6618" fmla="*/ 1324748 h 6859062"/>
              <a:gd name="connsiteX6619" fmla="*/ 2950352 w 12192185"/>
              <a:gd name="connsiteY6619" fmla="*/ 1327101 h 6859062"/>
              <a:gd name="connsiteX6620" fmla="*/ 2954742 w 12192185"/>
              <a:gd name="connsiteY6620" fmla="*/ 1328276 h 6859062"/>
              <a:gd name="connsiteX6621" fmla="*/ 2840552 w 12192185"/>
              <a:gd name="connsiteY6621" fmla="*/ 1368236 h 6859062"/>
              <a:gd name="connsiteX6622" fmla="*/ 2803088 w 12192185"/>
              <a:gd name="connsiteY6622" fmla="*/ 1367605 h 6859062"/>
              <a:gd name="connsiteX6623" fmla="*/ 2804265 w 12192185"/>
              <a:gd name="connsiteY6623" fmla="*/ 1363217 h 6859062"/>
              <a:gd name="connsiteX6624" fmla="*/ 2799875 w 12192185"/>
              <a:gd name="connsiteY6624" fmla="*/ 1362039 h 6859062"/>
              <a:gd name="connsiteX6625" fmla="*/ 2788746 w 12192185"/>
              <a:gd name="connsiteY6625" fmla="*/ 1368466 h 6859062"/>
              <a:gd name="connsiteX6626" fmla="*/ 2783178 w 12192185"/>
              <a:gd name="connsiteY6626" fmla="*/ 1371679 h 6859062"/>
              <a:gd name="connsiteX6627" fmla="*/ 2775266 w 12192185"/>
              <a:gd name="connsiteY6627" fmla="*/ 1383669 h 6859062"/>
              <a:gd name="connsiteX6628" fmla="*/ 2754182 w 12192185"/>
              <a:gd name="connsiteY6628" fmla="*/ 1392132 h 6859062"/>
              <a:gd name="connsiteX6629" fmla="*/ 2784042 w 12192185"/>
              <a:gd name="connsiteY6629" fmla="*/ 1386021 h 6859062"/>
              <a:gd name="connsiteX6630" fmla="*/ 2786393 w 12192185"/>
              <a:gd name="connsiteY6630" fmla="*/ 1377243 h 6859062"/>
              <a:gd name="connsiteX6631" fmla="*/ 2791959 w 12192185"/>
              <a:gd name="connsiteY6631" fmla="*/ 1374031 h 6859062"/>
              <a:gd name="connsiteX6632" fmla="*/ 2796348 w 12192185"/>
              <a:gd name="connsiteY6632" fmla="*/ 1375208 h 6859062"/>
              <a:gd name="connsiteX6633" fmla="*/ 2803088 w 12192185"/>
              <a:gd name="connsiteY6633" fmla="*/ 1367605 h 6859062"/>
              <a:gd name="connsiteX6634" fmla="*/ 2889144 w 12192185"/>
              <a:gd name="connsiteY6634" fmla="*/ 1362440 h 6859062"/>
              <a:gd name="connsiteX6635" fmla="*/ 2897922 w 12192185"/>
              <a:gd name="connsiteY6635" fmla="*/ 1364792 h 6859062"/>
              <a:gd name="connsiteX6636" fmla="*/ 2896747 w 12192185"/>
              <a:gd name="connsiteY6636" fmla="*/ 1369181 h 6859062"/>
              <a:gd name="connsiteX6637" fmla="*/ 2902310 w 12192185"/>
              <a:gd name="connsiteY6637" fmla="*/ 1365967 h 6859062"/>
              <a:gd name="connsiteX6638" fmla="*/ 2906700 w 12192185"/>
              <a:gd name="connsiteY6638" fmla="*/ 1367144 h 6859062"/>
              <a:gd name="connsiteX6639" fmla="*/ 2863208 w 12192185"/>
              <a:gd name="connsiteY6639" fmla="*/ 1389007 h 6859062"/>
              <a:gd name="connsiteX6640" fmla="*/ 2814110 w 12192185"/>
              <a:gd name="connsiteY6640" fmla="*/ 1396697 h 6859062"/>
              <a:gd name="connsiteX6641" fmla="*/ 2814765 w 12192185"/>
              <a:gd name="connsiteY6641" fmla="*/ 1394253 h 6859062"/>
              <a:gd name="connsiteX6642" fmla="*/ 2809201 w 12192185"/>
              <a:gd name="connsiteY6642" fmla="*/ 1397467 h 6859062"/>
              <a:gd name="connsiteX6643" fmla="*/ 2789292 w 12192185"/>
              <a:gd name="connsiteY6643" fmla="*/ 1401540 h 6859062"/>
              <a:gd name="connsiteX6644" fmla="*/ 2794857 w 12192185"/>
              <a:gd name="connsiteY6644" fmla="*/ 1398327 h 6859062"/>
              <a:gd name="connsiteX6645" fmla="*/ 2790468 w 12192185"/>
              <a:gd name="connsiteY6645" fmla="*/ 1397151 h 6859062"/>
              <a:gd name="connsiteX6646" fmla="*/ 2784901 w 12192185"/>
              <a:gd name="connsiteY6646" fmla="*/ 1400363 h 6859062"/>
              <a:gd name="connsiteX6647" fmla="*/ 2705278 w 12192185"/>
              <a:gd name="connsiteY6647" fmla="*/ 1416658 h 6859062"/>
              <a:gd name="connsiteX6648" fmla="*/ 2697676 w 12192185"/>
              <a:gd name="connsiteY6648" fmla="*/ 1409918 h 6859062"/>
              <a:gd name="connsiteX6649" fmla="*/ 2725497 w 12192185"/>
              <a:gd name="connsiteY6649" fmla="*/ 1393853 h 6859062"/>
              <a:gd name="connsiteX6650" fmla="*/ 2626824 w 12192185"/>
              <a:gd name="connsiteY6650" fmla="*/ 1428564 h 6859062"/>
              <a:gd name="connsiteX6651" fmla="*/ 2618046 w 12192185"/>
              <a:gd name="connsiteY6651" fmla="*/ 1426211 h 6859062"/>
              <a:gd name="connsiteX6652" fmla="*/ 2611306 w 12192185"/>
              <a:gd name="connsiteY6652" fmla="*/ 1433815 h 6859062"/>
              <a:gd name="connsiteX6653" fmla="*/ 2582307 w 12192185"/>
              <a:gd name="connsiteY6653" fmla="*/ 1454266 h 6859062"/>
              <a:gd name="connsiteX6654" fmla="*/ 2580271 w 12192185"/>
              <a:gd name="connsiteY6654" fmla="*/ 1444312 h 6859062"/>
              <a:gd name="connsiteX6655" fmla="*/ 2567967 w 12192185"/>
              <a:gd name="connsiteY6655" fmla="*/ 1455127 h 6859062"/>
              <a:gd name="connsiteX6656" fmla="*/ 2562402 w 12192185"/>
              <a:gd name="connsiteY6656" fmla="*/ 1458341 h 6859062"/>
              <a:gd name="connsiteX6657" fmla="*/ 2558016 w 12192185"/>
              <a:gd name="connsiteY6657" fmla="*/ 1457164 h 6859062"/>
              <a:gd name="connsiteX6658" fmla="*/ 2556838 w 12192185"/>
              <a:gd name="connsiteY6658" fmla="*/ 1461554 h 6859062"/>
              <a:gd name="connsiteX6659" fmla="*/ 2562402 w 12192185"/>
              <a:gd name="connsiteY6659" fmla="*/ 1458341 h 6859062"/>
              <a:gd name="connsiteX6660" fmla="*/ 2566791 w 12192185"/>
              <a:gd name="connsiteY6660" fmla="*/ 1459517 h 6859062"/>
              <a:gd name="connsiteX6661" fmla="*/ 2545708 w 12192185"/>
              <a:gd name="connsiteY6661" fmla="*/ 1467980 h 6859062"/>
              <a:gd name="connsiteX6662" fmla="*/ 2546884 w 12192185"/>
              <a:gd name="connsiteY6662" fmla="*/ 1463592 h 6859062"/>
              <a:gd name="connsiteX6663" fmla="*/ 2407450 w 12192185"/>
              <a:gd name="connsiteY6663" fmla="*/ 1562639 h 6859062"/>
              <a:gd name="connsiteX6664" fmla="*/ 2278831 w 12192185"/>
              <a:gd name="connsiteY6664" fmla="*/ 1673995 h 6859062"/>
              <a:gd name="connsiteX6665" fmla="*/ 2273581 w 12192185"/>
              <a:gd name="connsiteY6665" fmla="*/ 1658480 h 6859062"/>
              <a:gd name="connsiteX6666" fmla="*/ 2195047 w 12192185"/>
              <a:gd name="connsiteY6666" fmla="*/ 1740918 h 6859062"/>
              <a:gd name="connsiteX6667" fmla="*/ 2110944 w 12192185"/>
              <a:gd name="connsiteY6667" fmla="*/ 1826569 h 6859062"/>
              <a:gd name="connsiteX6668" fmla="*/ 2112117 w 12192185"/>
              <a:gd name="connsiteY6668" fmla="*/ 1822182 h 6859062"/>
              <a:gd name="connsiteX6669" fmla="*/ 2102165 w 12192185"/>
              <a:gd name="connsiteY6669" fmla="*/ 1824218 h 6859062"/>
              <a:gd name="connsiteX6670" fmla="*/ 2097778 w 12192185"/>
              <a:gd name="connsiteY6670" fmla="*/ 1823043 h 6859062"/>
              <a:gd name="connsiteX6671" fmla="*/ 2083104 w 12192185"/>
              <a:gd name="connsiteY6671" fmla="*/ 1842634 h 6859062"/>
              <a:gd name="connsiteX6672" fmla="*/ 2071973 w 12192185"/>
              <a:gd name="connsiteY6672" fmla="*/ 1849058 h 6859062"/>
              <a:gd name="connsiteX6673" fmla="*/ 2070798 w 12192185"/>
              <a:gd name="connsiteY6673" fmla="*/ 1853448 h 6859062"/>
              <a:gd name="connsiteX6674" fmla="*/ 2075187 w 12192185"/>
              <a:gd name="connsiteY6674" fmla="*/ 1854624 h 6859062"/>
              <a:gd name="connsiteX6675" fmla="*/ 2024787 w 12192185"/>
              <a:gd name="connsiteY6675" fmla="*/ 1902268 h 6859062"/>
              <a:gd name="connsiteX6676" fmla="*/ 2021260 w 12192185"/>
              <a:gd name="connsiteY6676" fmla="*/ 1915435 h 6859062"/>
              <a:gd name="connsiteX6677" fmla="*/ 2042342 w 12192185"/>
              <a:gd name="connsiteY6677" fmla="*/ 1906972 h 6859062"/>
              <a:gd name="connsiteX6678" fmla="*/ 2040304 w 12192185"/>
              <a:gd name="connsiteY6678" fmla="*/ 1897019 h 6859062"/>
              <a:gd name="connsiteX6679" fmla="*/ 2073696 w 12192185"/>
              <a:gd name="connsiteY6679" fmla="*/ 1877744 h 6859062"/>
              <a:gd name="connsiteX6680" fmla="*/ 2061389 w 12192185"/>
              <a:gd name="connsiteY6680" fmla="*/ 1888556 h 6859062"/>
              <a:gd name="connsiteX6681" fmla="*/ 2144018 w 12192185"/>
              <a:gd name="connsiteY6681" fmla="*/ 1826025 h 6859062"/>
              <a:gd name="connsiteX6682" fmla="*/ 2228980 w 12192185"/>
              <a:gd name="connsiteY6682" fmla="*/ 1754713 h 6859062"/>
              <a:gd name="connsiteX6683" fmla="*/ 2237760 w 12192185"/>
              <a:gd name="connsiteY6683" fmla="*/ 1757066 h 6859062"/>
              <a:gd name="connsiteX6684" fmla="*/ 2322406 w 12192185"/>
              <a:gd name="connsiteY6684" fmla="*/ 1704487 h 6859062"/>
              <a:gd name="connsiteX6685" fmla="*/ 2355794 w 12192185"/>
              <a:gd name="connsiteY6685" fmla="*/ 1685211 h 6859062"/>
              <a:gd name="connsiteX6686" fmla="*/ 2368099 w 12192185"/>
              <a:gd name="connsiteY6686" fmla="*/ 1674396 h 6859062"/>
              <a:gd name="connsiteX6687" fmla="*/ 2394746 w 12192185"/>
              <a:gd name="connsiteY6687" fmla="*/ 1662721 h 6859062"/>
              <a:gd name="connsiteX6688" fmla="*/ 2446004 w 12192185"/>
              <a:gd name="connsiteY6688" fmla="*/ 1629417 h 6859062"/>
              <a:gd name="connsiteX6689" fmla="*/ 2496086 w 12192185"/>
              <a:gd name="connsiteY6689" fmla="*/ 1600499 h 6859062"/>
              <a:gd name="connsiteX6690" fmla="*/ 2642806 w 12192185"/>
              <a:gd name="connsiteY6690" fmla="*/ 1526922 h 6859062"/>
              <a:gd name="connsiteX6691" fmla="*/ 2686146 w 12192185"/>
              <a:gd name="connsiteY6691" fmla="*/ 1505610 h 6859062"/>
              <a:gd name="connsiteX6692" fmla="*/ 2689360 w 12192185"/>
              <a:gd name="connsiteY6692" fmla="*/ 1511175 h 6859062"/>
              <a:gd name="connsiteX6693" fmla="*/ 2840151 w 12192185"/>
              <a:gd name="connsiteY6693" fmla="*/ 1457503 h 6859062"/>
              <a:gd name="connsiteX6694" fmla="*/ 2876751 w 12192185"/>
              <a:gd name="connsiteY6694" fmla="*/ 1443790 h 6859062"/>
              <a:gd name="connsiteX6695" fmla="*/ 2933259 w 12192185"/>
              <a:gd name="connsiteY6695" fmla="*/ 1426004 h 6859062"/>
              <a:gd name="connsiteX6696" fmla="*/ 3133510 w 12192185"/>
              <a:gd name="connsiteY6696" fmla="*/ 1380879 h 6859062"/>
              <a:gd name="connsiteX6697" fmla="*/ 3194405 w 12192185"/>
              <a:gd name="connsiteY6697" fmla="*/ 1364270 h 6859062"/>
              <a:gd name="connsiteX6698" fmla="*/ 3203178 w 12192185"/>
              <a:gd name="connsiteY6698" fmla="*/ 1366621 h 6859062"/>
              <a:gd name="connsiteX6699" fmla="*/ 3213583 w 12192185"/>
              <a:gd name="connsiteY6699" fmla="*/ 1368060 h 6859062"/>
              <a:gd name="connsiteX6700" fmla="*/ 3230130 w 12192185"/>
              <a:gd name="connsiteY6700" fmla="*/ 1339463 h 6859062"/>
              <a:gd name="connsiteX6701" fmla="*/ 3282776 w 12192185"/>
              <a:gd name="connsiteY6701" fmla="*/ 1263496 h 6859062"/>
              <a:gd name="connsiteX6702" fmla="*/ 3277652 w 12192185"/>
              <a:gd name="connsiteY6702" fmla="*/ 1281029 h 6859062"/>
              <a:gd name="connsiteX6703" fmla="*/ 3280943 w 12192185"/>
              <a:gd name="connsiteY6703" fmla="*/ 1276280 h 6859062"/>
              <a:gd name="connsiteX6704" fmla="*/ 3288254 w 12192185"/>
              <a:gd name="connsiteY6704" fmla="*/ 1270805 h 6859062"/>
              <a:gd name="connsiteX6705" fmla="*/ 3284965 w 12192185"/>
              <a:gd name="connsiteY6705" fmla="*/ 1275553 h 6859062"/>
              <a:gd name="connsiteX6706" fmla="*/ 3285692 w 12192185"/>
              <a:gd name="connsiteY6706" fmla="*/ 1279570 h 6859062"/>
              <a:gd name="connsiteX6707" fmla="*/ 3310185 w 12192185"/>
              <a:gd name="connsiteY6707" fmla="*/ 1254375 h 6859062"/>
              <a:gd name="connsiteX6708" fmla="*/ 3289337 w 12192185"/>
              <a:gd name="connsiteY6708" fmla="*/ 1299664 h 6859062"/>
              <a:gd name="connsiteX6709" fmla="*/ 3292629 w 12192185"/>
              <a:gd name="connsiteY6709" fmla="*/ 1294916 h 6859062"/>
              <a:gd name="connsiteX6710" fmla="*/ 3299209 w 12192185"/>
              <a:gd name="connsiteY6710" fmla="*/ 1285421 h 6859062"/>
              <a:gd name="connsiteX6711" fmla="*/ 3299938 w 12192185"/>
              <a:gd name="connsiteY6711" fmla="*/ 1289441 h 6859062"/>
              <a:gd name="connsiteX6712" fmla="*/ 3296649 w 12192185"/>
              <a:gd name="connsiteY6712" fmla="*/ 1294187 h 6859062"/>
              <a:gd name="connsiteX6713" fmla="*/ 3317120 w 12192185"/>
              <a:gd name="connsiteY6713" fmla="*/ 1269719 h 6859062"/>
              <a:gd name="connsiteX6714" fmla="*/ 3342575 w 12192185"/>
              <a:gd name="connsiteY6714" fmla="*/ 1230436 h 6859062"/>
              <a:gd name="connsiteX6715" fmla="*/ 3327111 w 12192185"/>
              <a:gd name="connsiteY6715" fmla="*/ 1231078 h 6859062"/>
              <a:gd name="connsiteX6716" fmla="*/ 3221765 w 12192185"/>
              <a:gd name="connsiteY6716" fmla="*/ 1244598 h 6859062"/>
              <a:gd name="connsiteX6717" fmla="*/ 3222941 w 12192185"/>
              <a:gd name="connsiteY6717" fmla="*/ 1240210 h 6859062"/>
              <a:gd name="connsiteX6718" fmla="*/ 3227330 w 12192185"/>
              <a:gd name="connsiteY6718" fmla="*/ 1241385 h 6859062"/>
              <a:gd name="connsiteX6719" fmla="*/ 3234069 w 12192185"/>
              <a:gd name="connsiteY6719" fmla="*/ 1233785 h 6859062"/>
              <a:gd name="connsiteX6720" fmla="*/ 3224118 w 12192185"/>
              <a:gd name="connsiteY6720" fmla="*/ 1235821 h 6859062"/>
              <a:gd name="connsiteX6721" fmla="*/ 3214165 w 12192185"/>
              <a:gd name="connsiteY6721" fmla="*/ 1237857 h 6859062"/>
              <a:gd name="connsiteX6722" fmla="*/ 3202175 w 12192185"/>
              <a:gd name="connsiteY6722" fmla="*/ 1229941 h 6859062"/>
              <a:gd name="connsiteX6723" fmla="*/ 4443437 w 12192185"/>
              <a:gd name="connsiteY6723" fmla="*/ 1218038 h 6859062"/>
              <a:gd name="connsiteX6724" fmla="*/ 4441569 w 12192185"/>
              <a:gd name="connsiteY6724" fmla="*/ 1219725 h 6859062"/>
              <a:gd name="connsiteX6725" fmla="*/ 4415248 w 12192185"/>
              <a:gd name="connsiteY6725" fmla="*/ 1239914 h 6859062"/>
              <a:gd name="connsiteX6726" fmla="*/ 4406480 w 12192185"/>
              <a:gd name="connsiteY6726" fmla="*/ 1243520 h 6859062"/>
              <a:gd name="connsiteX6727" fmla="*/ 4408280 w 12192185"/>
              <a:gd name="connsiteY6727" fmla="*/ 1247907 h 6859062"/>
              <a:gd name="connsiteX6728" fmla="*/ 4391772 w 12192185"/>
              <a:gd name="connsiteY6728" fmla="*/ 1257619 h 6859062"/>
              <a:gd name="connsiteX6729" fmla="*/ 4414019 w 12192185"/>
              <a:gd name="connsiteY6729" fmla="*/ 1264560 h 6859062"/>
              <a:gd name="connsiteX6730" fmla="*/ 4435464 w 12192185"/>
              <a:gd name="connsiteY6730" fmla="*/ 1246990 h 6859062"/>
              <a:gd name="connsiteX6731" fmla="*/ 4461838 w 12192185"/>
              <a:gd name="connsiteY6731" fmla="*/ 1224795 h 6859062"/>
              <a:gd name="connsiteX6732" fmla="*/ 6232478 w 12192185"/>
              <a:gd name="connsiteY6732" fmla="*/ 1216560 h 6859062"/>
              <a:gd name="connsiteX6733" fmla="*/ 6222229 w 12192185"/>
              <a:gd name="connsiteY6733" fmla="*/ 1218411 h 6859062"/>
              <a:gd name="connsiteX6734" fmla="*/ 6223479 w 12192185"/>
              <a:gd name="connsiteY6734" fmla="*/ 1218722 h 6859062"/>
              <a:gd name="connsiteX6735" fmla="*/ 6221201 w 12192185"/>
              <a:gd name="connsiteY6735" fmla="*/ 1219657 h 6859062"/>
              <a:gd name="connsiteX6736" fmla="*/ 6219429 w 12192185"/>
              <a:gd name="connsiteY6736" fmla="*/ 1218917 h 6859062"/>
              <a:gd name="connsiteX6737" fmla="*/ 6212139 w 12192185"/>
              <a:gd name="connsiteY6737" fmla="*/ 1220233 h 6859062"/>
              <a:gd name="connsiteX6738" fmla="*/ 6229831 w 12192185"/>
              <a:gd name="connsiteY6738" fmla="*/ 1220297 h 6859062"/>
              <a:gd name="connsiteX6739" fmla="*/ 6223479 w 12192185"/>
              <a:gd name="connsiteY6739" fmla="*/ 1218722 h 6859062"/>
              <a:gd name="connsiteX6740" fmla="*/ 6224780 w 12192185"/>
              <a:gd name="connsiteY6740" fmla="*/ 1218186 h 6859062"/>
              <a:gd name="connsiteX6741" fmla="*/ 6233410 w 12192185"/>
              <a:gd name="connsiteY6741" fmla="*/ 1218826 h 6859062"/>
              <a:gd name="connsiteX6742" fmla="*/ 7577843 w 12192185"/>
              <a:gd name="connsiteY6742" fmla="*/ 1211888 h 6859062"/>
              <a:gd name="connsiteX6743" fmla="*/ 7581590 w 12192185"/>
              <a:gd name="connsiteY6743" fmla="*/ 1215476 h 6859062"/>
              <a:gd name="connsiteX6744" fmla="*/ 7579646 w 12192185"/>
              <a:gd name="connsiteY6744" fmla="*/ 1216276 h 6859062"/>
              <a:gd name="connsiteX6745" fmla="*/ 7577843 w 12192185"/>
              <a:gd name="connsiteY6745" fmla="*/ 1211888 h 6859062"/>
              <a:gd name="connsiteX6746" fmla="*/ 3528825 w 12192185"/>
              <a:gd name="connsiteY6746" fmla="*/ 1204578 h 6859062"/>
              <a:gd name="connsiteX6747" fmla="*/ 3526475 w 12192185"/>
              <a:gd name="connsiteY6747" fmla="*/ 1213355 h 6859062"/>
              <a:gd name="connsiteX6748" fmla="*/ 3522087 w 12192185"/>
              <a:gd name="connsiteY6748" fmla="*/ 1212179 h 6859062"/>
              <a:gd name="connsiteX6749" fmla="*/ 3512132 w 12192185"/>
              <a:gd name="connsiteY6749" fmla="*/ 1214217 h 6859062"/>
              <a:gd name="connsiteX6750" fmla="*/ 3519733 w 12192185"/>
              <a:gd name="connsiteY6750" fmla="*/ 1220956 h 6859062"/>
              <a:gd name="connsiteX6751" fmla="*/ 3520911 w 12192185"/>
              <a:gd name="connsiteY6751" fmla="*/ 1216568 h 6859062"/>
              <a:gd name="connsiteX6752" fmla="*/ 3524122 w 12192185"/>
              <a:gd name="connsiteY6752" fmla="*/ 1222133 h 6859062"/>
              <a:gd name="connsiteX6753" fmla="*/ 3405006 w 12192185"/>
              <a:gd name="connsiteY6753" fmla="*/ 1227843 h 6859062"/>
              <a:gd name="connsiteX6754" fmla="*/ 3381961 w 12192185"/>
              <a:gd name="connsiteY6754" fmla="*/ 1228800 h 6859062"/>
              <a:gd name="connsiteX6755" fmla="*/ 3345615 w 12192185"/>
              <a:gd name="connsiteY6755" fmla="*/ 1283748 h 6859062"/>
              <a:gd name="connsiteX6756" fmla="*/ 3297377 w 12192185"/>
              <a:gd name="connsiteY6756" fmla="*/ 1353856 h 6859062"/>
              <a:gd name="connsiteX6757" fmla="*/ 3347270 w 12192185"/>
              <a:gd name="connsiteY6757" fmla="*/ 1351136 h 6859062"/>
              <a:gd name="connsiteX6758" fmla="*/ 3393163 w 12192185"/>
              <a:gd name="connsiteY6758" fmla="*/ 1342264 h 6859062"/>
              <a:gd name="connsiteX6759" fmla="*/ 3456091 w 12192185"/>
              <a:gd name="connsiteY6759" fmla="*/ 1335609 h 6859062"/>
              <a:gd name="connsiteX6760" fmla="*/ 3545350 w 12192185"/>
              <a:gd name="connsiteY6760" fmla="*/ 1336008 h 6859062"/>
              <a:gd name="connsiteX6761" fmla="*/ 3560866 w 12192185"/>
              <a:gd name="connsiteY6761" fmla="*/ 1330759 h 6859062"/>
              <a:gd name="connsiteX6762" fmla="*/ 3598325 w 12192185"/>
              <a:gd name="connsiteY6762" fmla="*/ 1331388 h 6859062"/>
              <a:gd name="connsiteX6763" fmla="*/ 3647776 w 12192185"/>
              <a:gd name="connsiteY6763" fmla="*/ 1339935 h 6859062"/>
              <a:gd name="connsiteX6764" fmla="*/ 3661256 w 12192185"/>
              <a:gd name="connsiteY6764" fmla="*/ 1324732 h 6859062"/>
              <a:gd name="connsiteX6765" fmla="*/ 3685550 w 12192185"/>
              <a:gd name="connsiteY6765" fmla="*/ 1321836 h 6859062"/>
              <a:gd name="connsiteX6766" fmla="*/ 3706844 w 12192185"/>
              <a:gd name="connsiteY6766" fmla="*/ 1323120 h 6859062"/>
              <a:gd name="connsiteX6767" fmla="*/ 3732033 w 12192185"/>
              <a:gd name="connsiteY6767" fmla="*/ 1288591 h 6859062"/>
              <a:gd name="connsiteX6768" fmla="*/ 3773637 w 12192185"/>
              <a:gd name="connsiteY6768" fmla="*/ 1240615 h 6859062"/>
              <a:gd name="connsiteX6769" fmla="*/ 3784607 w 12192185"/>
              <a:gd name="connsiteY6769" fmla="*/ 1229209 h 6859062"/>
              <a:gd name="connsiteX6770" fmla="*/ 3748885 w 12192185"/>
              <a:gd name="connsiteY6770" fmla="*/ 1225912 h 6859062"/>
              <a:gd name="connsiteX6771" fmla="*/ 3652016 w 12192185"/>
              <a:gd name="connsiteY6771" fmla="*/ 1218774 h 6859062"/>
              <a:gd name="connsiteX6772" fmla="*/ 3620122 w 12192185"/>
              <a:gd name="connsiteY6772" fmla="*/ 1214932 h 6859062"/>
              <a:gd name="connsiteX6773" fmla="*/ 3553981 w 12192185"/>
              <a:gd name="connsiteY6773" fmla="*/ 1216022 h 6859062"/>
              <a:gd name="connsiteX6774" fmla="*/ 3555155 w 12192185"/>
              <a:gd name="connsiteY6774" fmla="*/ 1211634 h 6859062"/>
              <a:gd name="connsiteX6775" fmla="*/ 3550768 w 12192185"/>
              <a:gd name="connsiteY6775" fmla="*/ 1210457 h 6859062"/>
              <a:gd name="connsiteX6776" fmla="*/ 3541990 w 12192185"/>
              <a:gd name="connsiteY6776" fmla="*/ 1208105 h 6859062"/>
              <a:gd name="connsiteX6777" fmla="*/ 3536427 w 12192185"/>
              <a:gd name="connsiteY6777" fmla="*/ 1211319 h 6859062"/>
              <a:gd name="connsiteX6778" fmla="*/ 3528825 w 12192185"/>
              <a:gd name="connsiteY6778" fmla="*/ 1204578 h 6859062"/>
              <a:gd name="connsiteX6779" fmla="*/ 6241298 w 12192185"/>
              <a:gd name="connsiteY6779" fmla="*/ 1203868 h 6859062"/>
              <a:gd name="connsiteX6780" fmla="*/ 6249337 w 12192185"/>
              <a:gd name="connsiteY6780" fmla="*/ 1211409 h 6859062"/>
              <a:gd name="connsiteX6781" fmla="*/ 6263513 w 12192185"/>
              <a:gd name="connsiteY6781" fmla="*/ 1210642 h 6859062"/>
              <a:gd name="connsiteX6782" fmla="*/ 6259934 w 12192185"/>
              <a:gd name="connsiteY6782" fmla="*/ 1212113 h 6859062"/>
              <a:gd name="connsiteX6783" fmla="*/ 6268564 w 12192185"/>
              <a:gd name="connsiteY6783" fmla="*/ 1212752 h 6859062"/>
              <a:gd name="connsiteX6784" fmla="*/ 6273613 w 12192185"/>
              <a:gd name="connsiteY6784" fmla="*/ 1214863 h 6859062"/>
              <a:gd name="connsiteX6785" fmla="*/ 6333625 w 12192185"/>
              <a:gd name="connsiteY6785" fmla="*/ 1224740 h 6859062"/>
              <a:gd name="connsiteX6786" fmla="*/ 6377442 w 12192185"/>
              <a:gd name="connsiteY6786" fmla="*/ 1243384 h 6859062"/>
              <a:gd name="connsiteX6787" fmla="*/ 6377372 w 12192185"/>
              <a:gd name="connsiteY6787" fmla="*/ 1243395 h 6859062"/>
              <a:gd name="connsiteX6788" fmla="*/ 6375267 w 12192185"/>
              <a:gd name="connsiteY6788" fmla="*/ 1248446 h 6859062"/>
              <a:gd name="connsiteX6789" fmla="*/ 6378845 w 12192185"/>
              <a:gd name="connsiteY6789" fmla="*/ 1246976 h 6859062"/>
              <a:gd name="connsiteX6790" fmla="*/ 6382424 w 12192185"/>
              <a:gd name="connsiteY6790" fmla="*/ 1245505 h 6859062"/>
              <a:gd name="connsiteX6791" fmla="*/ 6387475 w 12192185"/>
              <a:gd name="connsiteY6791" fmla="*/ 1247616 h 6859062"/>
              <a:gd name="connsiteX6792" fmla="*/ 6412728 w 12192185"/>
              <a:gd name="connsiteY6792" fmla="*/ 1258171 h 6859062"/>
              <a:gd name="connsiteX6793" fmla="*/ 6406206 w 12192185"/>
              <a:gd name="connsiteY6793" fmla="*/ 1252479 h 6859062"/>
              <a:gd name="connsiteX6794" fmla="*/ 6409784 w 12192185"/>
              <a:gd name="connsiteY6794" fmla="*/ 1251007 h 6859062"/>
              <a:gd name="connsiteX6795" fmla="*/ 6413364 w 12192185"/>
              <a:gd name="connsiteY6795" fmla="*/ 1249537 h 6859062"/>
              <a:gd name="connsiteX6796" fmla="*/ 6408312 w 12192185"/>
              <a:gd name="connsiteY6796" fmla="*/ 1247426 h 6859062"/>
              <a:gd name="connsiteX6797" fmla="*/ 6439253 w 12192185"/>
              <a:gd name="connsiteY6797" fmla="*/ 1251457 h 6859062"/>
              <a:gd name="connsiteX6798" fmla="*/ 6435674 w 12192185"/>
              <a:gd name="connsiteY6798" fmla="*/ 1252929 h 6859062"/>
              <a:gd name="connsiteX6799" fmla="*/ 6430623 w 12192185"/>
              <a:gd name="connsiteY6799" fmla="*/ 1250816 h 6859062"/>
              <a:gd name="connsiteX6800" fmla="*/ 6427045 w 12192185"/>
              <a:gd name="connsiteY6800" fmla="*/ 1252288 h 6859062"/>
              <a:gd name="connsiteX6801" fmla="*/ 6437146 w 12192185"/>
              <a:gd name="connsiteY6801" fmla="*/ 1256509 h 6859062"/>
              <a:gd name="connsiteX6802" fmla="*/ 6442196 w 12192185"/>
              <a:gd name="connsiteY6802" fmla="*/ 1258621 h 6859062"/>
              <a:gd name="connsiteX6803" fmla="*/ 6480495 w 12192185"/>
              <a:gd name="connsiteY6803" fmla="*/ 1280560 h 6859062"/>
              <a:gd name="connsiteX6804" fmla="*/ 6509567 w 12192185"/>
              <a:gd name="connsiteY6804" fmla="*/ 1286407 h 6859062"/>
              <a:gd name="connsiteX6805" fmla="*/ 6519680 w 12192185"/>
              <a:gd name="connsiteY6805" fmla="*/ 1287066 h 6859062"/>
              <a:gd name="connsiteX6806" fmla="*/ 6537936 w 12192185"/>
              <a:gd name="connsiteY6806" fmla="*/ 1280075 h 6859062"/>
              <a:gd name="connsiteX6807" fmla="*/ 6568644 w 12192185"/>
              <a:gd name="connsiteY6807" fmla="*/ 1285367 h 6859062"/>
              <a:gd name="connsiteX6808" fmla="*/ 6596597 w 12192185"/>
              <a:gd name="connsiteY6808" fmla="*/ 1297148 h 6859062"/>
              <a:gd name="connsiteX6809" fmla="*/ 6598170 w 12192185"/>
              <a:gd name="connsiteY6809" fmla="*/ 1297686 h 6859062"/>
              <a:gd name="connsiteX6810" fmla="*/ 6608881 w 12192185"/>
              <a:gd name="connsiteY6810" fmla="*/ 1284665 h 6859062"/>
              <a:gd name="connsiteX6811" fmla="*/ 6527020 w 12192185"/>
              <a:gd name="connsiteY6811" fmla="*/ 1261440 h 6859062"/>
              <a:gd name="connsiteX6812" fmla="*/ 6436943 w 12192185"/>
              <a:gd name="connsiteY6812" fmla="*/ 1235659 h 6859062"/>
              <a:gd name="connsiteX6813" fmla="*/ 6347703 w 12192185"/>
              <a:gd name="connsiteY6813" fmla="*/ 1222095 h 6859062"/>
              <a:gd name="connsiteX6814" fmla="*/ 6275721 w 12192185"/>
              <a:gd name="connsiteY6814" fmla="*/ 1209810 h 6859062"/>
              <a:gd name="connsiteX6815" fmla="*/ 6270670 w 12192185"/>
              <a:gd name="connsiteY6815" fmla="*/ 1207702 h 6859062"/>
              <a:gd name="connsiteX6816" fmla="*/ 6262039 w 12192185"/>
              <a:gd name="connsiteY6816" fmla="*/ 1207060 h 6859062"/>
              <a:gd name="connsiteX6817" fmla="*/ 1479789 w 12192185"/>
              <a:gd name="connsiteY6817" fmla="*/ 1201104 h 6859062"/>
              <a:gd name="connsiteX6818" fmla="*/ 1479720 w 12192185"/>
              <a:gd name="connsiteY6818" fmla="*/ 1201462 h 6859062"/>
              <a:gd name="connsiteX6819" fmla="*/ 1479440 w 12192185"/>
              <a:gd name="connsiteY6819" fmla="*/ 1201333 h 6859062"/>
              <a:gd name="connsiteX6820" fmla="*/ 6127443 w 12192185"/>
              <a:gd name="connsiteY6820" fmla="*/ 1190892 h 6859062"/>
              <a:gd name="connsiteX6821" fmla="*/ 6199100 w 12192185"/>
              <a:gd name="connsiteY6821" fmla="*/ 1197375 h 6859062"/>
              <a:gd name="connsiteX6822" fmla="*/ 6172169 w 12192185"/>
              <a:gd name="connsiteY6822" fmla="*/ 1193231 h 6859062"/>
              <a:gd name="connsiteX6823" fmla="*/ 6005273 w 12192185"/>
              <a:gd name="connsiteY6823" fmla="*/ 1182802 h 6859062"/>
              <a:gd name="connsiteX6824" fmla="*/ 6005212 w 12192185"/>
              <a:gd name="connsiteY6824" fmla="*/ 1182828 h 6859062"/>
              <a:gd name="connsiteX6825" fmla="*/ 6005285 w 12192185"/>
              <a:gd name="connsiteY6825" fmla="*/ 1182827 h 6859062"/>
              <a:gd name="connsiteX6826" fmla="*/ 5953261 w 12192185"/>
              <a:gd name="connsiteY6826" fmla="*/ 1182201 h 6859062"/>
              <a:gd name="connsiteX6827" fmla="*/ 5939219 w 12192185"/>
              <a:gd name="connsiteY6827" fmla="*/ 1182867 h 6859062"/>
              <a:gd name="connsiteX6828" fmla="*/ 5937563 w 12192185"/>
              <a:gd name="connsiteY6828" fmla="*/ 1184001 h 6859062"/>
              <a:gd name="connsiteX6829" fmla="*/ 5964268 w 12192185"/>
              <a:gd name="connsiteY6829" fmla="*/ 1183537 h 6859062"/>
              <a:gd name="connsiteX6830" fmla="*/ 5845732 w 12192185"/>
              <a:gd name="connsiteY6830" fmla="*/ 1181386 h 6859062"/>
              <a:gd name="connsiteX6831" fmla="*/ 5763221 w 12192185"/>
              <a:gd name="connsiteY6831" fmla="*/ 1194364 h 6859062"/>
              <a:gd name="connsiteX6832" fmla="*/ 5766793 w 12192185"/>
              <a:gd name="connsiteY6832" fmla="*/ 1194487 h 6859062"/>
              <a:gd name="connsiteX6833" fmla="*/ 5843528 w 12192185"/>
              <a:gd name="connsiteY6833" fmla="*/ 1185629 h 6859062"/>
              <a:gd name="connsiteX6834" fmla="*/ 5894340 w 12192185"/>
              <a:gd name="connsiteY6834" fmla="*/ 1184750 h 6859062"/>
              <a:gd name="connsiteX6835" fmla="*/ 5888593 w 12192185"/>
              <a:gd name="connsiteY6835" fmla="*/ 1182613 h 6859062"/>
              <a:gd name="connsiteX6836" fmla="*/ 5845732 w 12192185"/>
              <a:gd name="connsiteY6836" fmla="*/ 1181386 h 6859062"/>
              <a:gd name="connsiteX6837" fmla="*/ 4851551 w 12192185"/>
              <a:gd name="connsiteY6837" fmla="*/ 1178554 h 6859062"/>
              <a:gd name="connsiteX6838" fmla="*/ 4844587 w 12192185"/>
              <a:gd name="connsiteY6838" fmla="*/ 1186547 h 6859062"/>
              <a:gd name="connsiteX6839" fmla="*/ 4827038 w 12192185"/>
              <a:gd name="connsiteY6839" fmla="*/ 1193758 h 6859062"/>
              <a:gd name="connsiteX6840" fmla="*/ 4838391 w 12192185"/>
              <a:gd name="connsiteY6840" fmla="*/ 1183963 h 6859062"/>
              <a:gd name="connsiteX6841" fmla="*/ 4842782 w 12192185"/>
              <a:gd name="connsiteY6841" fmla="*/ 1182160 h 6859062"/>
              <a:gd name="connsiteX6842" fmla="*/ 4847160 w 12192185"/>
              <a:gd name="connsiteY6842" fmla="*/ 1180357 h 6859062"/>
              <a:gd name="connsiteX6843" fmla="*/ 4316974 w 12192185"/>
              <a:gd name="connsiteY6843" fmla="*/ 1178325 h 6859062"/>
              <a:gd name="connsiteX6844" fmla="*/ 4278530 w 12192185"/>
              <a:gd name="connsiteY6844" fmla="*/ 1208283 h 6859062"/>
              <a:gd name="connsiteX6845" fmla="*/ 4266951 w 12192185"/>
              <a:gd name="connsiteY6845" fmla="*/ 1219130 h 6859062"/>
              <a:gd name="connsiteX6846" fmla="*/ 4272447 w 12192185"/>
              <a:gd name="connsiteY6846" fmla="*/ 1220396 h 6859062"/>
              <a:gd name="connsiteX6847" fmla="*/ 4283732 w 12192185"/>
              <a:gd name="connsiteY6847" fmla="*/ 1223914 h 6859062"/>
              <a:gd name="connsiteX6848" fmla="*/ 4332724 w 12192185"/>
              <a:gd name="connsiteY6848" fmla="*/ 1182960 h 6859062"/>
              <a:gd name="connsiteX6849" fmla="*/ 7192583 w 12192185"/>
              <a:gd name="connsiteY6849" fmla="*/ 1177898 h 6859062"/>
              <a:gd name="connsiteX6850" fmla="*/ 7190537 w 12192185"/>
              <a:gd name="connsiteY6850" fmla="*/ 1180492 h 6859062"/>
              <a:gd name="connsiteX6851" fmla="*/ 7185357 w 12192185"/>
              <a:gd name="connsiteY6851" fmla="*/ 1182435 h 6859062"/>
              <a:gd name="connsiteX6852" fmla="*/ 7163990 w 12192185"/>
              <a:gd name="connsiteY6852" fmla="*/ 1188690 h 6859062"/>
              <a:gd name="connsiteX6853" fmla="*/ 7163990 w 12192185"/>
              <a:gd name="connsiteY6853" fmla="*/ 1191657 h 6859062"/>
              <a:gd name="connsiteX6854" fmla="*/ 7164566 w 12192185"/>
              <a:gd name="connsiteY6854" fmla="*/ 1192000 h 6859062"/>
              <a:gd name="connsiteX6855" fmla="*/ 7163989 w 12192185"/>
              <a:gd name="connsiteY6855" fmla="*/ 1192236 h 6859062"/>
              <a:gd name="connsiteX6856" fmla="*/ 7163990 w 12192185"/>
              <a:gd name="connsiteY6856" fmla="*/ 1193435 h 6859062"/>
              <a:gd name="connsiteX6857" fmla="*/ 7169601 w 12192185"/>
              <a:gd name="connsiteY6857" fmla="*/ 1194083 h 6859062"/>
              <a:gd name="connsiteX6858" fmla="*/ 7171149 w 12192185"/>
              <a:gd name="connsiteY6858" fmla="*/ 1193050 h 6859062"/>
              <a:gd name="connsiteX6859" fmla="*/ 7168952 w 12192185"/>
              <a:gd name="connsiteY6859" fmla="*/ 1190197 h 6859062"/>
              <a:gd name="connsiteX6860" fmla="*/ 7172937 w 12192185"/>
              <a:gd name="connsiteY6860" fmla="*/ 1191860 h 6859062"/>
              <a:gd name="connsiteX6861" fmla="*/ 7173486 w 12192185"/>
              <a:gd name="connsiteY6861" fmla="*/ 1191494 h 6859062"/>
              <a:gd name="connsiteX6862" fmla="*/ 7177155 w 12192185"/>
              <a:gd name="connsiteY6862" fmla="*/ 1191063 h 6859062"/>
              <a:gd name="connsiteX6863" fmla="*/ 7176762 w 12192185"/>
              <a:gd name="connsiteY6863" fmla="*/ 1193420 h 6859062"/>
              <a:gd name="connsiteX6864" fmla="*/ 7195808 w 12192185"/>
              <a:gd name="connsiteY6864" fmla="*/ 1200955 h 6859062"/>
              <a:gd name="connsiteX6865" fmla="*/ 7210479 w 12192185"/>
              <a:gd name="connsiteY6865" fmla="*/ 1203899 h 6859062"/>
              <a:gd name="connsiteX6866" fmla="*/ 7198881 w 12192185"/>
              <a:gd name="connsiteY6866" fmla="*/ 1188154 h 6859062"/>
              <a:gd name="connsiteX6867" fmla="*/ 7219254 w 12192185"/>
              <a:gd name="connsiteY6867" fmla="*/ 1200291 h 6859062"/>
              <a:gd name="connsiteX6868" fmla="*/ 7237823 w 12192185"/>
              <a:gd name="connsiteY6868" fmla="*/ 1208044 h 6859062"/>
              <a:gd name="connsiteX6869" fmla="*/ 7245814 w 12192185"/>
              <a:gd name="connsiteY6869" fmla="*/ 1215016 h 6859062"/>
              <a:gd name="connsiteX6870" fmla="*/ 7237041 w 12192185"/>
              <a:gd name="connsiteY6870" fmla="*/ 1218620 h 6859062"/>
              <a:gd name="connsiteX6871" fmla="*/ 7261800 w 12192185"/>
              <a:gd name="connsiteY6871" fmla="*/ 1228957 h 6859062"/>
              <a:gd name="connsiteX6872" fmla="*/ 7259216 w 12192185"/>
              <a:gd name="connsiteY6872" fmla="*/ 1235146 h 6859062"/>
              <a:gd name="connsiteX6873" fmla="*/ 7253026 w 12192185"/>
              <a:gd name="connsiteY6873" fmla="*/ 1232562 h 6859062"/>
              <a:gd name="connsiteX6874" fmla="*/ 7248639 w 12192185"/>
              <a:gd name="connsiteY6874" fmla="*/ 1234366 h 6859062"/>
              <a:gd name="connsiteX6875" fmla="*/ 7250443 w 12192185"/>
              <a:gd name="connsiteY6875" fmla="*/ 1238753 h 6859062"/>
              <a:gd name="connsiteX6876" fmla="*/ 7256632 w 12192185"/>
              <a:gd name="connsiteY6876" fmla="*/ 1241336 h 6859062"/>
              <a:gd name="connsiteX6877" fmla="*/ 7261019 w 12192185"/>
              <a:gd name="connsiteY6877" fmla="*/ 1239533 h 6859062"/>
              <a:gd name="connsiteX6878" fmla="*/ 7267210 w 12192185"/>
              <a:gd name="connsiteY6878" fmla="*/ 1242117 h 6859062"/>
              <a:gd name="connsiteX6879" fmla="*/ 7273400 w 12192185"/>
              <a:gd name="connsiteY6879" fmla="*/ 1244701 h 6859062"/>
              <a:gd name="connsiteX6880" fmla="*/ 7275204 w 12192185"/>
              <a:gd name="connsiteY6880" fmla="*/ 1249088 h 6859062"/>
              <a:gd name="connsiteX6881" fmla="*/ 7279589 w 12192185"/>
              <a:gd name="connsiteY6881" fmla="*/ 1247286 h 6859062"/>
              <a:gd name="connsiteX6882" fmla="*/ 7281392 w 12192185"/>
              <a:gd name="connsiteY6882" fmla="*/ 1251672 h 6859062"/>
              <a:gd name="connsiteX6883" fmla="*/ 7277006 w 12192185"/>
              <a:gd name="connsiteY6883" fmla="*/ 1253475 h 6859062"/>
              <a:gd name="connsiteX6884" fmla="*/ 7266428 w 12192185"/>
              <a:gd name="connsiteY6884" fmla="*/ 1252694 h 6859062"/>
              <a:gd name="connsiteX6885" fmla="*/ 7254048 w 12192185"/>
              <a:gd name="connsiteY6885" fmla="*/ 1247525 h 6859062"/>
              <a:gd name="connsiteX6886" fmla="*/ 7255851 w 12192185"/>
              <a:gd name="connsiteY6886" fmla="*/ 1251914 h 6859062"/>
              <a:gd name="connsiteX6887" fmla="*/ 7262041 w 12192185"/>
              <a:gd name="connsiteY6887" fmla="*/ 1254497 h 6859062"/>
              <a:gd name="connsiteX6888" fmla="*/ 7280612 w 12192185"/>
              <a:gd name="connsiteY6888" fmla="*/ 1262249 h 6859062"/>
              <a:gd name="connsiteX6889" fmla="*/ 7284998 w 12192185"/>
              <a:gd name="connsiteY6889" fmla="*/ 1260446 h 6859062"/>
              <a:gd name="connsiteX6890" fmla="*/ 7301765 w 12192185"/>
              <a:gd name="connsiteY6890" fmla="*/ 1263812 h 6859062"/>
              <a:gd name="connsiteX6891" fmla="*/ 7369072 w 12192185"/>
              <a:gd name="connsiteY6891" fmla="*/ 1302813 h 6859062"/>
              <a:gd name="connsiteX6892" fmla="*/ 7370875 w 12192185"/>
              <a:gd name="connsiteY6892" fmla="*/ 1307200 h 6859062"/>
              <a:gd name="connsiteX6893" fmla="*/ 7377066 w 12192185"/>
              <a:gd name="connsiteY6893" fmla="*/ 1309784 h 6859062"/>
              <a:gd name="connsiteX6894" fmla="*/ 7391246 w 12192185"/>
              <a:gd name="connsiteY6894" fmla="*/ 1319340 h 6859062"/>
              <a:gd name="connsiteX6895" fmla="*/ 7397438 w 12192185"/>
              <a:gd name="connsiteY6895" fmla="*/ 1321924 h 6859062"/>
              <a:gd name="connsiteX6896" fmla="*/ 7411620 w 12192185"/>
              <a:gd name="connsiteY6896" fmla="*/ 1331479 h 6859062"/>
              <a:gd name="connsiteX6897" fmla="*/ 7425803 w 12192185"/>
              <a:gd name="connsiteY6897" fmla="*/ 1341033 h 6859062"/>
              <a:gd name="connsiteX6898" fmla="*/ 7463963 w 12192185"/>
              <a:gd name="connsiteY6898" fmla="*/ 1371502 h 6859062"/>
              <a:gd name="connsiteX6899" fmla="*/ 7521475 w 12192185"/>
              <a:gd name="connsiteY6899" fmla="*/ 1399146 h 6859062"/>
              <a:gd name="connsiteX6900" fmla="*/ 7535658 w 12192185"/>
              <a:gd name="connsiteY6900" fmla="*/ 1408701 h 6859062"/>
              <a:gd name="connsiteX6901" fmla="*/ 7532923 w 12192185"/>
              <a:gd name="connsiteY6901" fmla="*/ 1398929 h 6859062"/>
              <a:gd name="connsiteX6902" fmla="*/ 7533929 w 12192185"/>
              <a:gd name="connsiteY6902" fmla="*/ 1398921 h 6859062"/>
              <a:gd name="connsiteX6903" fmla="*/ 7507772 w 12192185"/>
              <a:gd name="connsiteY6903" fmla="*/ 1379553 h 6859062"/>
              <a:gd name="connsiteX6904" fmla="*/ 7488977 w 12192185"/>
              <a:gd name="connsiteY6904" fmla="*/ 1364076 h 6859062"/>
              <a:gd name="connsiteX6905" fmla="*/ 7481128 w 12192185"/>
              <a:gd name="connsiteY6905" fmla="*/ 1358680 h 6859062"/>
              <a:gd name="connsiteX6906" fmla="*/ 7453147 w 12192185"/>
              <a:gd name="connsiteY6906" fmla="*/ 1345180 h 6859062"/>
              <a:gd name="connsiteX6907" fmla="*/ 7432773 w 12192185"/>
              <a:gd name="connsiteY6907" fmla="*/ 1333041 h 6859062"/>
              <a:gd name="connsiteX6908" fmla="*/ 7437161 w 12192185"/>
              <a:gd name="connsiteY6908" fmla="*/ 1331238 h 6859062"/>
              <a:gd name="connsiteX6909" fmla="*/ 7438964 w 12192185"/>
              <a:gd name="connsiteY6909" fmla="*/ 1335625 h 6859062"/>
              <a:gd name="connsiteX6910" fmla="*/ 7443350 w 12192185"/>
              <a:gd name="connsiteY6910" fmla="*/ 1333822 h 6859062"/>
              <a:gd name="connsiteX6911" fmla="*/ 7441548 w 12192185"/>
              <a:gd name="connsiteY6911" fmla="*/ 1329435 h 6859062"/>
              <a:gd name="connsiteX6912" fmla="*/ 7435357 w 12192185"/>
              <a:gd name="connsiteY6912" fmla="*/ 1326850 h 6859062"/>
              <a:gd name="connsiteX6913" fmla="*/ 7422197 w 12192185"/>
              <a:gd name="connsiteY6913" fmla="*/ 1332260 h 6859062"/>
              <a:gd name="connsiteX6914" fmla="*/ 7408014 w 12192185"/>
              <a:gd name="connsiteY6914" fmla="*/ 1322705 h 6859062"/>
              <a:gd name="connsiteX6915" fmla="*/ 7404409 w 12192185"/>
              <a:gd name="connsiteY6915" fmla="*/ 1313931 h 6859062"/>
              <a:gd name="connsiteX6916" fmla="*/ 7408795 w 12192185"/>
              <a:gd name="connsiteY6916" fmla="*/ 1312127 h 6859062"/>
              <a:gd name="connsiteX6917" fmla="*/ 7402604 w 12192185"/>
              <a:gd name="connsiteY6917" fmla="*/ 1309544 h 6859062"/>
              <a:gd name="connsiteX6918" fmla="*/ 7398219 w 12192185"/>
              <a:gd name="connsiteY6918" fmla="*/ 1311347 h 6859062"/>
              <a:gd name="connsiteX6919" fmla="*/ 7387641 w 12192185"/>
              <a:gd name="connsiteY6919" fmla="*/ 1310566 h 6859062"/>
              <a:gd name="connsiteX6920" fmla="*/ 7379649 w 12192185"/>
              <a:gd name="connsiteY6920" fmla="*/ 1303595 h 6859062"/>
              <a:gd name="connsiteX6921" fmla="*/ 7377847 w 12192185"/>
              <a:gd name="connsiteY6921" fmla="*/ 1299208 h 6859062"/>
              <a:gd name="connsiteX6922" fmla="*/ 7373458 w 12192185"/>
              <a:gd name="connsiteY6922" fmla="*/ 1301011 h 6859062"/>
              <a:gd name="connsiteX6923" fmla="*/ 7367269 w 12192185"/>
              <a:gd name="connsiteY6923" fmla="*/ 1298427 h 6859062"/>
              <a:gd name="connsiteX6924" fmla="*/ 7304349 w 12192185"/>
              <a:gd name="connsiteY6924" fmla="*/ 1257622 h 6859062"/>
              <a:gd name="connsiteX6925" fmla="*/ 7298158 w 12192185"/>
              <a:gd name="connsiteY6925" fmla="*/ 1255037 h 6859062"/>
              <a:gd name="connsiteX6926" fmla="*/ 7293772 w 12192185"/>
              <a:gd name="connsiteY6926" fmla="*/ 1256840 h 6859062"/>
              <a:gd name="connsiteX6927" fmla="*/ 7291969 w 12192185"/>
              <a:gd name="connsiteY6927" fmla="*/ 1252453 h 6859062"/>
              <a:gd name="connsiteX6928" fmla="*/ 7296356 w 12192185"/>
              <a:gd name="connsiteY6928" fmla="*/ 1250650 h 6859062"/>
              <a:gd name="connsiteX6929" fmla="*/ 7278568 w 12192185"/>
              <a:gd name="connsiteY6929" fmla="*/ 1232322 h 6859062"/>
              <a:gd name="connsiteX6930" fmla="*/ 7274181 w 12192185"/>
              <a:gd name="connsiteY6930" fmla="*/ 1234124 h 6859062"/>
              <a:gd name="connsiteX6931" fmla="*/ 7289144 w 12192185"/>
              <a:gd name="connsiteY6931" fmla="*/ 1233103 h 6859062"/>
              <a:gd name="connsiteX6932" fmla="*/ 7248398 w 12192185"/>
              <a:gd name="connsiteY6932" fmla="*/ 1208825 h 6859062"/>
              <a:gd name="connsiteX6933" fmla="*/ 7221837 w 12192185"/>
              <a:gd name="connsiteY6933" fmla="*/ 1194103 h 6859062"/>
              <a:gd name="connsiteX6934" fmla="*/ 7195274 w 12192185"/>
              <a:gd name="connsiteY6934" fmla="*/ 1179378 h 6859062"/>
              <a:gd name="connsiteX6935" fmla="*/ 9486745 w 12192185"/>
              <a:gd name="connsiteY6935" fmla="*/ 1176999 h 6859062"/>
              <a:gd name="connsiteX6936" fmla="*/ 9454702 w 12192185"/>
              <a:gd name="connsiteY6936" fmla="*/ 1183057 h 6859062"/>
              <a:gd name="connsiteX6937" fmla="*/ 8403626 w 12192185"/>
              <a:gd name="connsiteY6937" fmla="*/ 1419708 h 6859062"/>
              <a:gd name="connsiteX6938" fmla="*/ 8317356 w 12192185"/>
              <a:gd name="connsiteY6938" fmla="*/ 1463619 h 6859062"/>
              <a:gd name="connsiteX6939" fmla="*/ 8338713 w 12192185"/>
              <a:gd name="connsiteY6939" fmla="*/ 1491949 h 6859062"/>
              <a:gd name="connsiteX6940" fmla="*/ 8376282 w 12192185"/>
              <a:gd name="connsiteY6940" fmla="*/ 1470609 h 6859062"/>
              <a:gd name="connsiteX6941" fmla="*/ 8920026 w 12192185"/>
              <a:gd name="connsiteY6941" fmla="*/ 1267287 h 6859062"/>
              <a:gd name="connsiteX6942" fmla="*/ 8912060 w 12192185"/>
              <a:gd name="connsiteY6942" fmla="*/ 1276955 h 6859062"/>
              <a:gd name="connsiteX6943" fmla="*/ 8984112 w 12192185"/>
              <a:gd name="connsiteY6943" fmla="*/ 1255169 h 6859062"/>
              <a:gd name="connsiteX6944" fmla="*/ 8980889 w 12192185"/>
              <a:gd name="connsiteY6944" fmla="*/ 1252515 h 6859062"/>
              <a:gd name="connsiteX6945" fmla="*/ 9071140 w 12192185"/>
              <a:gd name="connsiteY6945" fmla="*/ 1234907 h 6859062"/>
              <a:gd name="connsiteX6946" fmla="*/ 9126695 w 12192185"/>
              <a:gd name="connsiteY6946" fmla="*/ 1226580 h 6859062"/>
              <a:gd name="connsiteX6947" fmla="*/ 9132572 w 12192185"/>
              <a:gd name="connsiteY6947" fmla="*/ 1226011 h 6859062"/>
              <a:gd name="connsiteX6948" fmla="*/ 9135226 w 12192185"/>
              <a:gd name="connsiteY6948" fmla="*/ 1222789 h 6859062"/>
              <a:gd name="connsiteX6949" fmla="*/ 9144326 w 12192185"/>
              <a:gd name="connsiteY6949" fmla="*/ 1224877 h 6859062"/>
              <a:gd name="connsiteX6950" fmla="*/ 9170492 w 12192185"/>
              <a:gd name="connsiteY6950" fmla="*/ 1219386 h 6859062"/>
              <a:gd name="connsiteX6951" fmla="*/ 9249556 w 12192185"/>
              <a:gd name="connsiteY6951" fmla="*/ 1208790 h 6859062"/>
              <a:gd name="connsiteX6952" fmla="*/ 9284820 w 12192185"/>
              <a:gd name="connsiteY6952" fmla="*/ 1205386 h 6859062"/>
              <a:gd name="connsiteX6953" fmla="*/ 9358574 w 12192185"/>
              <a:gd name="connsiteY6953" fmla="*/ 1201235 h 6859062"/>
              <a:gd name="connsiteX6954" fmla="*/ 9355918 w 12192185"/>
              <a:gd name="connsiteY6954" fmla="*/ 1204456 h 6859062"/>
              <a:gd name="connsiteX6955" fmla="*/ 9370328 w 12192185"/>
              <a:gd name="connsiteY6955" fmla="*/ 1200099 h 6859062"/>
              <a:gd name="connsiteX6956" fmla="*/ 9684296 w 12192185"/>
              <a:gd name="connsiteY6956" fmla="*/ 1203166 h 6859062"/>
              <a:gd name="connsiteX6957" fmla="*/ 9708626 w 12192185"/>
              <a:gd name="connsiteY6957" fmla="*/ 1205738 h 6859062"/>
              <a:gd name="connsiteX6958" fmla="*/ 9805007 w 12192185"/>
              <a:gd name="connsiteY6958" fmla="*/ 1209310 h 6859062"/>
              <a:gd name="connsiteX6959" fmla="*/ 9792173 w 12192185"/>
              <a:gd name="connsiteY6959" fmla="*/ 1206845 h 6859062"/>
              <a:gd name="connsiteX6960" fmla="*/ 9821252 w 12192185"/>
              <a:gd name="connsiteY6960" fmla="*/ 1209912 h 6859062"/>
              <a:gd name="connsiteX6961" fmla="*/ 9831506 w 12192185"/>
              <a:gd name="connsiteY6961" fmla="*/ 1210292 h 6859062"/>
              <a:gd name="connsiteX6962" fmla="*/ 9851515 w 12192185"/>
              <a:gd name="connsiteY6962" fmla="*/ 1207049 h 6859062"/>
              <a:gd name="connsiteX6963" fmla="*/ 9781938 w 12192185"/>
              <a:gd name="connsiteY6963" fmla="*/ 1193001 h 6859062"/>
              <a:gd name="connsiteX6964" fmla="*/ 9729041 w 12192185"/>
              <a:gd name="connsiteY6964" fmla="*/ 1198108 h 6859062"/>
              <a:gd name="connsiteX6965" fmla="*/ 9786295 w 12192185"/>
              <a:gd name="connsiteY6965" fmla="*/ 1207411 h 6859062"/>
              <a:gd name="connsiteX6966" fmla="*/ 9633299 w 12192185"/>
              <a:gd name="connsiteY6966" fmla="*/ 1189551 h 6859062"/>
              <a:gd name="connsiteX6967" fmla="*/ 9546655 w 12192185"/>
              <a:gd name="connsiteY6967" fmla="*/ 1183082 h 6859062"/>
              <a:gd name="connsiteX6968" fmla="*/ 9486745 w 12192185"/>
              <a:gd name="connsiteY6968" fmla="*/ 1176999 h 6859062"/>
              <a:gd name="connsiteX6969" fmla="*/ 2034745 w 12192185"/>
              <a:gd name="connsiteY6969" fmla="*/ 1176954 h 6859062"/>
              <a:gd name="connsiteX6970" fmla="*/ 1867633 w 12192185"/>
              <a:gd name="connsiteY6970" fmla="*/ 1270320 h 6859062"/>
              <a:gd name="connsiteX6971" fmla="*/ 1851126 w 12192185"/>
              <a:gd name="connsiteY6971" fmla="*/ 1288920 h 6859062"/>
              <a:gd name="connsiteX6972" fmla="*/ 1803078 w 12192185"/>
              <a:gd name="connsiteY6972" fmla="*/ 1310582 h 6859062"/>
              <a:gd name="connsiteX6973" fmla="*/ 1771986 w 12192185"/>
              <a:gd name="connsiteY6973" fmla="*/ 1340624 h 6859062"/>
              <a:gd name="connsiteX6974" fmla="*/ 1720354 w 12192185"/>
              <a:gd name="connsiteY6974" fmla="*/ 1361325 h 6859062"/>
              <a:gd name="connsiteX6975" fmla="*/ 1715106 w 12192185"/>
              <a:gd name="connsiteY6975" fmla="*/ 1352243 h 6859062"/>
              <a:gd name="connsiteX6976" fmla="*/ 1682350 w 12192185"/>
              <a:gd name="connsiteY6976" fmla="*/ 1374166 h 6859062"/>
              <a:gd name="connsiteX6977" fmla="*/ 1685932 w 12192185"/>
              <a:gd name="connsiteY6977" fmla="*/ 1375125 h 6859062"/>
              <a:gd name="connsiteX6978" fmla="*/ 1690475 w 12192185"/>
              <a:gd name="connsiteY6978" fmla="*/ 1372504 h 6859062"/>
              <a:gd name="connsiteX6979" fmla="*/ 1689516 w 12192185"/>
              <a:gd name="connsiteY6979" fmla="*/ 1376086 h 6859062"/>
              <a:gd name="connsiteX6980" fmla="*/ 1701224 w 12192185"/>
              <a:gd name="connsiteY6980" fmla="*/ 1375385 h 6859062"/>
              <a:gd name="connsiteX6981" fmla="*/ 1677553 w 12192185"/>
              <a:gd name="connsiteY6981" fmla="*/ 1392067 h 6859062"/>
              <a:gd name="connsiteX6982" fmla="*/ 1676594 w 12192185"/>
              <a:gd name="connsiteY6982" fmla="*/ 1395648 h 6859062"/>
              <a:gd name="connsiteX6983" fmla="*/ 1673011 w 12192185"/>
              <a:gd name="connsiteY6983" fmla="*/ 1394689 h 6859062"/>
              <a:gd name="connsiteX6984" fmla="*/ 1667508 w 12192185"/>
              <a:gd name="connsiteY6984" fmla="*/ 1400888 h 6859062"/>
              <a:gd name="connsiteX6985" fmla="*/ 1663926 w 12192185"/>
              <a:gd name="connsiteY6985" fmla="*/ 1399927 h 6859062"/>
              <a:gd name="connsiteX6986" fmla="*/ 1627332 w 12192185"/>
              <a:gd name="connsiteY6986" fmla="*/ 1436172 h 6859062"/>
              <a:gd name="connsiteX6987" fmla="*/ 1588367 w 12192185"/>
              <a:gd name="connsiteY6987" fmla="*/ 1452593 h 6859062"/>
              <a:gd name="connsiteX6988" fmla="*/ 1583825 w 12192185"/>
              <a:gd name="connsiteY6988" fmla="*/ 1455214 h 6859062"/>
              <a:gd name="connsiteX6989" fmla="*/ 1574740 w 12192185"/>
              <a:gd name="connsiteY6989" fmla="*/ 1460454 h 6859062"/>
              <a:gd name="connsiteX6990" fmla="*/ 1575699 w 12192185"/>
              <a:gd name="connsiteY6990" fmla="*/ 1456874 h 6859062"/>
              <a:gd name="connsiteX6991" fmla="*/ 1580242 w 12192185"/>
              <a:gd name="connsiteY6991" fmla="*/ 1454253 h 6859062"/>
              <a:gd name="connsiteX6992" fmla="*/ 1581201 w 12192185"/>
              <a:gd name="connsiteY6992" fmla="*/ 1450673 h 6859062"/>
              <a:gd name="connsiteX6993" fmla="*/ 1560153 w 12192185"/>
              <a:gd name="connsiteY6993" fmla="*/ 1471897 h 6859062"/>
              <a:gd name="connsiteX6994" fmla="*/ 1564695 w 12192185"/>
              <a:gd name="connsiteY6994" fmla="*/ 1469277 h 6859062"/>
              <a:gd name="connsiteX6995" fmla="*/ 1563737 w 12192185"/>
              <a:gd name="connsiteY6995" fmla="*/ 1472858 h 6859062"/>
              <a:gd name="connsiteX6996" fmla="*/ 1562777 w 12192185"/>
              <a:gd name="connsiteY6996" fmla="*/ 1476437 h 6859062"/>
              <a:gd name="connsiteX6997" fmla="*/ 1570903 w 12192185"/>
              <a:gd name="connsiteY6997" fmla="*/ 1474776 h 6859062"/>
              <a:gd name="connsiteX6998" fmla="*/ 1548191 w 12192185"/>
              <a:gd name="connsiteY6998" fmla="*/ 1487877 h 6859062"/>
              <a:gd name="connsiteX6999" fmla="*/ 1543648 w 12192185"/>
              <a:gd name="connsiteY6999" fmla="*/ 1490496 h 6859062"/>
              <a:gd name="connsiteX7000" fmla="*/ 1457086 w 12192185"/>
              <a:gd name="connsiteY7000" fmla="*/ 1555558 h 6859062"/>
              <a:gd name="connsiteX7001" fmla="*/ 1452544 w 12192185"/>
              <a:gd name="connsiteY7001" fmla="*/ 1558179 h 6859062"/>
              <a:gd name="connsiteX7002" fmla="*/ 1447043 w 12192185"/>
              <a:gd name="connsiteY7002" fmla="*/ 1564381 h 6859062"/>
              <a:gd name="connsiteX7003" fmla="*/ 1448002 w 12192185"/>
              <a:gd name="connsiteY7003" fmla="*/ 1560801 h 6859062"/>
              <a:gd name="connsiteX7004" fmla="*/ 1427659 w 12192185"/>
              <a:gd name="connsiteY7004" fmla="*/ 1593721 h 6859062"/>
              <a:gd name="connsiteX7005" fmla="*/ 1433161 w 12192185"/>
              <a:gd name="connsiteY7005" fmla="*/ 1587521 h 6859062"/>
              <a:gd name="connsiteX7006" fmla="*/ 1436743 w 12192185"/>
              <a:gd name="connsiteY7006" fmla="*/ 1588480 h 6859062"/>
              <a:gd name="connsiteX7007" fmla="*/ 1431243 w 12192185"/>
              <a:gd name="connsiteY7007" fmla="*/ 1594679 h 6859062"/>
              <a:gd name="connsiteX7008" fmla="*/ 1430893 w 12192185"/>
              <a:gd name="connsiteY7008" fmla="*/ 1595984 h 6859062"/>
              <a:gd name="connsiteX7009" fmla="*/ 1429059 w 12192185"/>
              <a:gd name="connsiteY7009" fmla="*/ 1597453 h 6859062"/>
              <a:gd name="connsiteX7010" fmla="*/ 1425740 w 12192185"/>
              <a:gd name="connsiteY7010" fmla="*/ 1600882 h 6859062"/>
              <a:gd name="connsiteX7011" fmla="*/ 1430283 w 12192185"/>
              <a:gd name="connsiteY7011" fmla="*/ 1598261 h 6859062"/>
              <a:gd name="connsiteX7012" fmla="*/ 1430893 w 12192185"/>
              <a:gd name="connsiteY7012" fmla="*/ 1595984 h 6859062"/>
              <a:gd name="connsiteX7013" fmla="*/ 1435783 w 12192185"/>
              <a:gd name="connsiteY7013" fmla="*/ 1592061 h 6859062"/>
              <a:gd name="connsiteX7014" fmla="*/ 1325748 w 12192185"/>
              <a:gd name="connsiteY7014" fmla="*/ 1716073 h 6859062"/>
              <a:gd name="connsiteX7015" fmla="*/ 1306619 w 12192185"/>
              <a:gd name="connsiteY7015" fmla="*/ 1730135 h 6859062"/>
              <a:gd name="connsiteX7016" fmla="*/ 1308282 w 12192185"/>
              <a:gd name="connsiteY7016" fmla="*/ 1738254 h 6859062"/>
              <a:gd name="connsiteX7017" fmla="*/ 1303740 w 12192185"/>
              <a:gd name="connsiteY7017" fmla="*/ 1740876 h 6859062"/>
              <a:gd name="connsiteX7018" fmla="*/ 1298240 w 12192185"/>
              <a:gd name="connsiteY7018" fmla="*/ 1747075 h 6859062"/>
              <a:gd name="connsiteX7019" fmla="*/ 1246099 w 12192185"/>
              <a:gd name="connsiteY7019" fmla="*/ 1798338 h 6859062"/>
              <a:gd name="connsiteX7020" fmla="*/ 1250642 w 12192185"/>
              <a:gd name="connsiteY7020" fmla="*/ 1795716 h 6859062"/>
              <a:gd name="connsiteX7021" fmla="*/ 1253265 w 12192185"/>
              <a:gd name="connsiteY7021" fmla="*/ 1800259 h 6859062"/>
              <a:gd name="connsiteX7022" fmla="*/ 1248724 w 12192185"/>
              <a:gd name="connsiteY7022" fmla="*/ 1802877 h 6859062"/>
              <a:gd name="connsiteX7023" fmla="*/ 1247763 w 12192185"/>
              <a:gd name="connsiteY7023" fmla="*/ 1806458 h 6859062"/>
              <a:gd name="connsiteX7024" fmla="*/ 1200166 w 12192185"/>
              <a:gd name="connsiteY7024" fmla="*/ 1855102 h 6859062"/>
              <a:gd name="connsiteX7025" fmla="*/ 1144894 w 12192185"/>
              <a:gd name="connsiteY7025" fmla="*/ 1932387 h 6859062"/>
              <a:gd name="connsiteX7026" fmla="*/ 1182955 w 12192185"/>
              <a:gd name="connsiteY7026" fmla="*/ 1862003 h 6859062"/>
              <a:gd name="connsiteX7027" fmla="*/ 1229593 w 12192185"/>
              <a:gd name="connsiteY7027" fmla="*/ 1816940 h 6859062"/>
              <a:gd name="connsiteX7028" fmla="*/ 1226969 w 12192185"/>
              <a:gd name="connsiteY7028" fmla="*/ 1812400 h 6859062"/>
              <a:gd name="connsiteX7029" fmla="*/ 1237014 w 12192185"/>
              <a:gd name="connsiteY7029" fmla="*/ 1803578 h 6859062"/>
              <a:gd name="connsiteX7030" fmla="*/ 1241556 w 12192185"/>
              <a:gd name="connsiteY7030" fmla="*/ 1800957 h 6859062"/>
              <a:gd name="connsiteX7031" fmla="*/ 1237975 w 12192185"/>
              <a:gd name="connsiteY7031" fmla="*/ 1799997 h 6859062"/>
              <a:gd name="connsiteX7032" fmla="*/ 1273863 w 12192185"/>
              <a:gd name="connsiteY7032" fmla="*/ 1752056 h 6859062"/>
              <a:gd name="connsiteX7033" fmla="*/ 1274821 w 12192185"/>
              <a:gd name="connsiteY7033" fmla="*/ 1748474 h 6859062"/>
              <a:gd name="connsiteX7034" fmla="*/ 1275781 w 12192185"/>
              <a:gd name="connsiteY7034" fmla="*/ 1744894 h 6859062"/>
              <a:gd name="connsiteX7035" fmla="*/ 1276740 w 12192185"/>
              <a:gd name="connsiteY7035" fmla="*/ 1741315 h 6859062"/>
              <a:gd name="connsiteX7036" fmla="*/ 1280323 w 12192185"/>
              <a:gd name="connsiteY7036" fmla="*/ 1742274 h 6859062"/>
              <a:gd name="connsiteX7037" fmla="*/ 1277700 w 12192185"/>
              <a:gd name="connsiteY7037" fmla="*/ 1737733 h 6859062"/>
              <a:gd name="connsiteX7038" fmla="*/ 1292541 w 12192185"/>
              <a:gd name="connsiteY7038" fmla="*/ 1711012 h 6859062"/>
              <a:gd name="connsiteX7039" fmla="*/ 1271747 w 12192185"/>
              <a:gd name="connsiteY7039" fmla="*/ 1716953 h 6859062"/>
              <a:gd name="connsiteX7040" fmla="*/ 1275457 w 12192185"/>
              <a:gd name="connsiteY7040" fmla="*/ 1710272 h 6859062"/>
              <a:gd name="connsiteX7041" fmla="*/ 1277312 w 12192185"/>
              <a:gd name="connsiteY7041" fmla="*/ 1706933 h 6859062"/>
              <a:gd name="connsiteX7042" fmla="*/ 1278208 w 12192185"/>
              <a:gd name="connsiteY7042" fmla="*/ 1707173 h 6859062"/>
              <a:gd name="connsiteX7043" fmla="*/ 1279166 w 12192185"/>
              <a:gd name="connsiteY7043" fmla="*/ 1703593 h 6859062"/>
              <a:gd name="connsiteX7044" fmla="*/ 1277312 w 12192185"/>
              <a:gd name="connsiteY7044" fmla="*/ 1706933 h 6859062"/>
              <a:gd name="connsiteX7045" fmla="*/ 1274624 w 12192185"/>
              <a:gd name="connsiteY7045" fmla="*/ 1706213 h 6859062"/>
              <a:gd name="connsiteX7046" fmla="*/ 1275584 w 12192185"/>
              <a:gd name="connsiteY7046" fmla="*/ 1702632 h 6859062"/>
              <a:gd name="connsiteX7047" fmla="*/ 1276543 w 12192185"/>
              <a:gd name="connsiteY7047" fmla="*/ 1699051 h 6859062"/>
              <a:gd name="connsiteX7048" fmla="*/ 1292090 w 12192185"/>
              <a:gd name="connsiteY7048" fmla="*/ 1684031 h 6859062"/>
              <a:gd name="connsiteX7049" fmla="*/ 1296632 w 12192185"/>
              <a:gd name="connsiteY7049" fmla="*/ 1681412 h 6859062"/>
              <a:gd name="connsiteX7050" fmla="*/ 1302134 w 12192185"/>
              <a:gd name="connsiteY7050" fmla="*/ 1675210 h 6859062"/>
              <a:gd name="connsiteX7051" fmla="*/ 1306676 w 12192185"/>
              <a:gd name="connsiteY7051" fmla="*/ 1672590 h 6859062"/>
              <a:gd name="connsiteX7052" fmla="*/ 1301175 w 12192185"/>
              <a:gd name="connsiteY7052" fmla="*/ 1678791 h 6859062"/>
              <a:gd name="connsiteX7053" fmla="*/ 1295672 w 12192185"/>
              <a:gd name="connsiteY7053" fmla="*/ 1684992 h 6859062"/>
              <a:gd name="connsiteX7054" fmla="*/ 1318385 w 12192185"/>
              <a:gd name="connsiteY7054" fmla="*/ 1671890 h 6859062"/>
              <a:gd name="connsiteX7055" fmla="*/ 1326257 w 12192185"/>
              <a:gd name="connsiteY7055" fmla="*/ 1685511 h 6859062"/>
              <a:gd name="connsiteX7056" fmla="*/ 1444418 w 12192185"/>
              <a:gd name="connsiteY7056" fmla="*/ 1559840 h 6859062"/>
              <a:gd name="connsiteX7057" fmla="*/ 1449921 w 12192185"/>
              <a:gd name="connsiteY7057" fmla="*/ 1553638 h 6859062"/>
              <a:gd name="connsiteX7058" fmla="*/ 1454463 w 12192185"/>
              <a:gd name="connsiteY7058" fmla="*/ 1551020 h 6859062"/>
              <a:gd name="connsiteX7059" fmla="*/ 1505642 w 12192185"/>
              <a:gd name="connsiteY7059" fmla="*/ 1503338 h 6859062"/>
              <a:gd name="connsiteX7060" fmla="*/ 1567827 w 12192185"/>
              <a:gd name="connsiteY7060" fmla="*/ 1443251 h 6859062"/>
              <a:gd name="connsiteX7061" fmla="*/ 1639803 w 12192185"/>
              <a:gd name="connsiteY7061" fmla="*/ 1389628 h 6859062"/>
              <a:gd name="connsiteX7062" fmla="*/ 1745494 w 12192185"/>
              <a:gd name="connsiteY7062" fmla="*/ 1310501 h 6859062"/>
              <a:gd name="connsiteX7063" fmla="*/ 1838008 w 12192185"/>
              <a:gd name="connsiteY7063" fmla="*/ 1266217 h 6859062"/>
              <a:gd name="connsiteX7064" fmla="*/ 1824381 w 12192185"/>
              <a:gd name="connsiteY7064" fmla="*/ 1274080 h 6859062"/>
              <a:gd name="connsiteX7065" fmla="*/ 1832505 w 12192185"/>
              <a:gd name="connsiteY7065" fmla="*/ 1272418 h 6859062"/>
              <a:gd name="connsiteX7066" fmla="*/ 1837048 w 12192185"/>
              <a:gd name="connsiteY7066" fmla="*/ 1269798 h 6859062"/>
              <a:gd name="connsiteX7067" fmla="*/ 1831546 w 12192185"/>
              <a:gd name="connsiteY7067" fmla="*/ 1275999 h 6859062"/>
              <a:gd name="connsiteX7068" fmla="*/ 1830586 w 12192185"/>
              <a:gd name="connsiteY7068" fmla="*/ 1279579 h 6859062"/>
              <a:gd name="connsiteX7069" fmla="*/ 1927897 w 12192185"/>
              <a:gd name="connsiteY7069" fmla="*/ 1217396 h 6859062"/>
              <a:gd name="connsiteX7070" fmla="*/ 2034745 w 12192185"/>
              <a:gd name="connsiteY7070" fmla="*/ 1176954 h 6859062"/>
              <a:gd name="connsiteX7071" fmla="*/ 7329058 w 12192185"/>
              <a:gd name="connsiteY7071" fmla="*/ 1166349 h 6859062"/>
              <a:gd name="connsiteX7072" fmla="*/ 7331857 w 12192185"/>
              <a:gd name="connsiteY7072" fmla="*/ 1171524 h 6859062"/>
              <a:gd name="connsiteX7073" fmla="*/ 7342922 w 12192185"/>
              <a:gd name="connsiteY7073" fmla="*/ 1182539 h 6859062"/>
              <a:gd name="connsiteX7074" fmla="*/ 7342923 w 12192185"/>
              <a:gd name="connsiteY7074" fmla="*/ 1188010 h 6859062"/>
              <a:gd name="connsiteX7075" fmla="*/ 7363918 w 12192185"/>
              <a:gd name="connsiteY7075" fmla="*/ 1199811 h 6859062"/>
              <a:gd name="connsiteX7076" fmla="*/ 7439023 w 12192185"/>
              <a:gd name="connsiteY7076" fmla="*/ 1248427 h 6859062"/>
              <a:gd name="connsiteX7077" fmla="*/ 7450622 w 12192185"/>
              <a:gd name="connsiteY7077" fmla="*/ 1264172 h 6859062"/>
              <a:gd name="connsiteX7078" fmla="*/ 7533914 w 12192185"/>
              <a:gd name="connsiteY7078" fmla="*/ 1317114 h 6859062"/>
              <a:gd name="connsiteX7079" fmla="*/ 7537521 w 12192185"/>
              <a:gd name="connsiteY7079" fmla="*/ 1325889 h 6859062"/>
              <a:gd name="connsiteX7080" fmla="*/ 7546293 w 12192185"/>
              <a:gd name="connsiteY7080" fmla="*/ 1322282 h 6859062"/>
              <a:gd name="connsiteX7081" fmla="*/ 7640404 w 12192185"/>
              <a:gd name="connsiteY7081" fmla="*/ 1401550 h 6859062"/>
              <a:gd name="connsiteX7082" fmla="*/ 7626222 w 12192185"/>
              <a:gd name="connsiteY7082" fmla="*/ 1391994 h 6859062"/>
              <a:gd name="connsiteX7083" fmla="*/ 7585477 w 12192185"/>
              <a:gd name="connsiteY7083" fmla="*/ 1367716 h 6859062"/>
              <a:gd name="connsiteX7084" fmla="*/ 7510177 w 12192185"/>
              <a:gd name="connsiteY7084" fmla="*/ 1321743 h 6859062"/>
              <a:gd name="connsiteX7085" fmla="*/ 7502184 w 12192185"/>
              <a:gd name="connsiteY7085" fmla="*/ 1314771 h 6859062"/>
              <a:gd name="connsiteX7086" fmla="*/ 7498579 w 12192185"/>
              <a:gd name="connsiteY7086" fmla="*/ 1305998 h 6859062"/>
              <a:gd name="connsiteX7087" fmla="*/ 7467628 w 12192185"/>
              <a:gd name="connsiteY7087" fmla="*/ 1293077 h 6859062"/>
              <a:gd name="connsiteX7088" fmla="*/ 7433074 w 12192185"/>
              <a:gd name="connsiteY7088" fmla="*/ 1271381 h 6859062"/>
              <a:gd name="connsiteX7089" fmla="*/ 7378927 w 12192185"/>
              <a:gd name="connsiteY7089" fmla="*/ 1226974 h 6859062"/>
              <a:gd name="connsiteX7090" fmla="*/ 7374540 w 12192185"/>
              <a:gd name="connsiteY7090" fmla="*/ 1228776 h 6859062"/>
              <a:gd name="connsiteX7091" fmla="*/ 7354167 w 12192185"/>
              <a:gd name="connsiteY7091" fmla="*/ 1216639 h 6859062"/>
              <a:gd name="connsiteX7092" fmla="*/ 7347977 w 12192185"/>
              <a:gd name="connsiteY7092" fmla="*/ 1214053 h 6859062"/>
              <a:gd name="connsiteX7093" fmla="*/ 7336962 w 12192185"/>
              <a:gd name="connsiteY7093" fmla="*/ 1207488 h 6859062"/>
              <a:gd name="connsiteX7094" fmla="*/ 7336887 w 12192185"/>
              <a:gd name="connsiteY7094" fmla="*/ 1207574 h 6859062"/>
              <a:gd name="connsiteX7095" fmla="*/ 7325821 w 12192185"/>
              <a:gd name="connsiteY7095" fmla="*/ 1214585 h 6859062"/>
              <a:gd name="connsiteX7096" fmla="*/ 7319603 w 12192185"/>
              <a:gd name="connsiteY7096" fmla="*/ 1215538 h 6859062"/>
              <a:gd name="connsiteX7097" fmla="*/ 7324240 w 12192185"/>
              <a:gd name="connsiteY7097" fmla="*/ 1218680 h 6859062"/>
              <a:gd name="connsiteX7098" fmla="*/ 7458074 w 12192185"/>
              <a:gd name="connsiteY7098" fmla="*/ 1307259 h 6859062"/>
              <a:gd name="connsiteX7099" fmla="*/ 7486440 w 12192185"/>
              <a:gd name="connsiteY7099" fmla="*/ 1326370 h 6859062"/>
              <a:gd name="connsiteX7100" fmla="*/ 7488242 w 12192185"/>
              <a:gd name="connsiteY7100" fmla="*/ 1330757 h 6859062"/>
              <a:gd name="connsiteX7101" fmla="*/ 7498037 w 12192185"/>
              <a:gd name="connsiteY7101" fmla="*/ 1342115 h 6859062"/>
              <a:gd name="connsiteX7102" fmla="*/ 7504228 w 12192185"/>
              <a:gd name="connsiteY7102" fmla="*/ 1344700 h 6859062"/>
              <a:gd name="connsiteX7103" fmla="*/ 7502425 w 12192185"/>
              <a:gd name="connsiteY7103" fmla="*/ 1340313 h 6859062"/>
              <a:gd name="connsiteX7104" fmla="*/ 7568951 w 12192185"/>
              <a:gd name="connsiteY7104" fmla="*/ 1389892 h 6859062"/>
              <a:gd name="connsiteX7105" fmla="*/ 7621294 w 12192185"/>
              <a:gd name="connsiteY7105" fmla="*/ 1429916 h 6859062"/>
              <a:gd name="connsiteX7106" fmla="*/ 7623842 w 12192185"/>
              <a:gd name="connsiteY7106" fmla="*/ 1432139 h 6859062"/>
              <a:gd name="connsiteX7107" fmla="*/ 7625017 w 12192185"/>
              <a:gd name="connsiteY7107" fmla="*/ 1432966 h 6859062"/>
              <a:gd name="connsiteX7108" fmla="*/ 7714956 w 12192185"/>
              <a:gd name="connsiteY7108" fmla="*/ 1509206 h 6859062"/>
              <a:gd name="connsiteX7109" fmla="*/ 7715406 w 12192185"/>
              <a:gd name="connsiteY7109" fmla="*/ 1509182 h 6859062"/>
              <a:gd name="connsiteX7110" fmla="*/ 7726375 w 12192185"/>
              <a:gd name="connsiteY7110" fmla="*/ 1518885 h 6859062"/>
              <a:gd name="connsiteX7111" fmla="*/ 7852902 w 12192185"/>
              <a:gd name="connsiteY7111" fmla="*/ 1626143 h 6859062"/>
              <a:gd name="connsiteX7112" fmla="*/ 7890997 w 12192185"/>
              <a:gd name="connsiteY7112" fmla="*/ 1592967 h 6859062"/>
              <a:gd name="connsiteX7113" fmla="*/ 7859034 w 12192185"/>
              <a:gd name="connsiteY7113" fmla="*/ 1562328 h 6859062"/>
              <a:gd name="connsiteX7114" fmla="*/ 7816787 w 12192185"/>
              <a:gd name="connsiteY7114" fmla="*/ 1518797 h 6859062"/>
              <a:gd name="connsiteX7115" fmla="*/ 7804407 w 12192185"/>
              <a:gd name="connsiteY7115" fmla="*/ 1513629 h 6859062"/>
              <a:gd name="connsiteX7116" fmla="*/ 7808793 w 12192185"/>
              <a:gd name="connsiteY7116" fmla="*/ 1511827 h 6859062"/>
              <a:gd name="connsiteX7117" fmla="*/ 7756450 w 12192185"/>
              <a:gd name="connsiteY7117" fmla="*/ 1471804 h 6859062"/>
              <a:gd name="connsiteX7118" fmla="*/ 7735056 w 12192185"/>
              <a:gd name="connsiteY7118" fmla="*/ 1444698 h 6859062"/>
              <a:gd name="connsiteX7119" fmla="*/ 7728084 w 12192185"/>
              <a:gd name="connsiteY7119" fmla="*/ 1452692 h 6859062"/>
              <a:gd name="connsiteX7120" fmla="*/ 7705909 w 12192185"/>
              <a:gd name="connsiteY7120" fmla="*/ 1436166 h 6859062"/>
              <a:gd name="connsiteX7121" fmla="*/ 7704888 w 12192185"/>
              <a:gd name="connsiteY7121" fmla="*/ 1421202 h 6859062"/>
              <a:gd name="connsiteX7122" fmla="*/ 7597616 w 12192185"/>
              <a:gd name="connsiteY7122" fmla="*/ 1347342 h 6859062"/>
              <a:gd name="connsiteX7123" fmla="*/ 7589624 w 12192185"/>
              <a:gd name="connsiteY7123" fmla="*/ 1340372 h 6859062"/>
              <a:gd name="connsiteX7124" fmla="*/ 7583432 w 12192185"/>
              <a:gd name="connsiteY7124" fmla="*/ 1337788 h 6859062"/>
              <a:gd name="connsiteX7125" fmla="*/ 7585237 w 12192185"/>
              <a:gd name="connsiteY7125" fmla="*/ 1342175 h 6859062"/>
              <a:gd name="connsiteX7126" fmla="*/ 7587039 w 12192185"/>
              <a:gd name="connsiteY7126" fmla="*/ 1346562 h 6859062"/>
              <a:gd name="connsiteX7127" fmla="*/ 7471775 w 12192185"/>
              <a:gd name="connsiteY7127" fmla="*/ 1265735 h 6859062"/>
              <a:gd name="connsiteX7128" fmla="*/ 7470753 w 12192185"/>
              <a:gd name="connsiteY7128" fmla="*/ 1250769 h 6859062"/>
              <a:gd name="connsiteX7129" fmla="*/ 7377626 w 12192185"/>
              <a:gd name="connsiteY7129" fmla="*/ 1194177 h 6859062"/>
              <a:gd name="connsiteX7130" fmla="*/ 6038116 w 12192185"/>
              <a:gd name="connsiteY7130" fmla="*/ 1160930 h 6859062"/>
              <a:gd name="connsiteX7131" fmla="*/ 6034539 w 12192185"/>
              <a:gd name="connsiteY7131" fmla="*/ 1162402 h 6859062"/>
              <a:gd name="connsiteX7132" fmla="*/ 6034171 w 12192185"/>
              <a:gd name="connsiteY7132" fmla="*/ 1161507 h 6859062"/>
              <a:gd name="connsiteX7133" fmla="*/ 399572 w 12192185"/>
              <a:gd name="connsiteY7133" fmla="*/ 1157374 h 6859062"/>
              <a:gd name="connsiteX7134" fmla="*/ 401040 w 12192185"/>
              <a:gd name="connsiteY7134" fmla="*/ 1160824 h 6859062"/>
              <a:gd name="connsiteX7135" fmla="*/ 400628 w 12192185"/>
              <a:gd name="connsiteY7135" fmla="*/ 1162742 h 6859062"/>
              <a:gd name="connsiteX7136" fmla="*/ 406852 w 12192185"/>
              <a:gd name="connsiteY7136" fmla="*/ 1169558 h 6859062"/>
              <a:gd name="connsiteX7137" fmla="*/ 409733 w 12192185"/>
              <a:gd name="connsiteY7137" fmla="*/ 1168959 h 6859062"/>
              <a:gd name="connsiteX7138" fmla="*/ 413836 w 12192185"/>
              <a:gd name="connsiteY7138" fmla="*/ 1169907 h 6859062"/>
              <a:gd name="connsiteX7139" fmla="*/ 413402 w 12192185"/>
              <a:gd name="connsiteY7139" fmla="*/ 1173603 h 6859062"/>
              <a:gd name="connsiteX7140" fmla="*/ 415294 w 12192185"/>
              <a:gd name="connsiteY7140" fmla="*/ 1178224 h 6859062"/>
              <a:gd name="connsiteX7141" fmla="*/ 423563 w 12192185"/>
              <a:gd name="connsiteY7141" fmla="*/ 1185186 h 6859062"/>
              <a:gd name="connsiteX7142" fmla="*/ 429085 w 12192185"/>
              <a:gd name="connsiteY7142" fmla="*/ 1187612 h 6859062"/>
              <a:gd name="connsiteX7143" fmla="*/ 431662 w 12192185"/>
              <a:gd name="connsiteY7143" fmla="*/ 1188007 h 6859062"/>
              <a:gd name="connsiteX7144" fmla="*/ 431266 w 12192185"/>
              <a:gd name="connsiteY7144" fmla="*/ 1190583 h 6859062"/>
              <a:gd name="connsiteX7145" fmla="*/ 428907 w 12192185"/>
              <a:gd name="connsiteY7145" fmla="*/ 1196299 h 6859062"/>
              <a:gd name="connsiteX7146" fmla="*/ 432795 w 12192185"/>
              <a:gd name="connsiteY7146" fmla="*/ 1207055 h 6859062"/>
              <a:gd name="connsiteX7147" fmla="*/ 441129 w 12192185"/>
              <a:gd name="connsiteY7147" fmla="*/ 1216647 h 6859062"/>
              <a:gd name="connsiteX7148" fmla="*/ 438135 w 12192185"/>
              <a:gd name="connsiteY7148" fmla="*/ 1220603 h 6859062"/>
              <a:gd name="connsiteX7149" fmla="*/ 432825 w 12192185"/>
              <a:gd name="connsiteY7149" fmla="*/ 1218764 h 6859062"/>
              <a:gd name="connsiteX7150" fmla="*/ 427117 w 12192185"/>
              <a:gd name="connsiteY7150" fmla="*/ 1219501 h 6859062"/>
              <a:gd name="connsiteX7151" fmla="*/ 430287 w 12192185"/>
              <a:gd name="connsiteY7151" fmla="*/ 1225208 h 6859062"/>
              <a:gd name="connsiteX7152" fmla="*/ 433945 w 12192185"/>
              <a:gd name="connsiteY7152" fmla="*/ 1226760 h 6859062"/>
              <a:gd name="connsiteX7153" fmla="*/ 435805 w 12192185"/>
              <a:gd name="connsiteY7153" fmla="*/ 1230069 h 6859062"/>
              <a:gd name="connsiteX7154" fmla="*/ 432337 w 12192185"/>
              <a:gd name="connsiteY7154" fmla="*/ 1230879 h 6859062"/>
              <a:gd name="connsiteX7155" fmla="*/ 427967 w 12192185"/>
              <a:gd name="connsiteY7155" fmla="*/ 1229807 h 6859062"/>
              <a:gd name="connsiteX7156" fmla="*/ 423092 w 12192185"/>
              <a:gd name="connsiteY7156" fmla="*/ 1232232 h 6859062"/>
              <a:gd name="connsiteX7157" fmla="*/ 424647 w 12192185"/>
              <a:gd name="connsiteY7157" fmla="*/ 1236534 h 6859062"/>
              <a:gd name="connsiteX7158" fmla="*/ 446067 w 12192185"/>
              <a:gd name="connsiteY7158" fmla="*/ 1235203 h 6859062"/>
              <a:gd name="connsiteX7159" fmla="*/ 451399 w 12192185"/>
              <a:gd name="connsiteY7159" fmla="*/ 1235266 h 6859062"/>
              <a:gd name="connsiteX7160" fmla="*/ 463097 w 12192185"/>
              <a:gd name="connsiteY7160" fmla="*/ 1242534 h 6859062"/>
              <a:gd name="connsiteX7161" fmla="*/ 467304 w 12192185"/>
              <a:gd name="connsiteY7161" fmla="*/ 1244994 h 6859062"/>
              <a:gd name="connsiteX7162" fmla="*/ 475296 w 12192185"/>
              <a:gd name="connsiteY7162" fmla="*/ 1256698 h 6859062"/>
              <a:gd name="connsiteX7163" fmla="*/ 479010 w 12192185"/>
              <a:gd name="connsiteY7163" fmla="*/ 1265748 h 6859062"/>
              <a:gd name="connsiteX7164" fmla="*/ 485131 w 12192185"/>
              <a:gd name="connsiteY7164" fmla="*/ 1271052 h 6859062"/>
              <a:gd name="connsiteX7165" fmla="*/ 485718 w 12192185"/>
              <a:gd name="connsiteY7165" fmla="*/ 1270841 h 6859062"/>
              <a:gd name="connsiteX7166" fmla="*/ 490283 w 12192185"/>
              <a:gd name="connsiteY7166" fmla="*/ 1271844 h 6859062"/>
              <a:gd name="connsiteX7167" fmla="*/ 488322 w 12192185"/>
              <a:gd name="connsiteY7167" fmla="*/ 1274986 h 6859062"/>
              <a:gd name="connsiteX7168" fmla="*/ 486135 w 12192185"/>
              <a:gd name="connsiteY7168" fmla="*/ 1292801 h 6859062"/>
              <a:gd name="connsiteX7169" fmla="*/ 485483 w 12192185"/>
              <a:gd name="connsiteY7169" fmla="*/ 1298344 h 6859062"/>
              <a:gd name="connsiteX7170" fmla="*/ 482527 w 12192185"/>
              <a:gd name="connsiteY7170" fmla="*/ 1301181 h 6859062"/>
              <a:gd name="connsiteX7171" fmla="*/ 482109 w 12192185"/>
              <a:gd name="connsiteY7171" fmla="*/ 1305533 h 6859062"/>
              <a:gd name="connsiteX7172" fmla="*/ 483434 w 12192185"/>
              <a:gd name="connsiteY7172" fmla="*/ 1306459 h 6859062"/>
              <a:gd name="connsiteX7173" fmla="*/ 473639 w 12192185"/>
              <a:gd name="connsiteY7173" fmla="*/ 1327197 h 6859062"/>
              <a:gd name="connsiteX7174" fmla="*/ 472900 w 12192185"/>
              <a:gd name="connsiteY7174" fmla="*/ 1324120 h 6859062"/>
              <a:gd name="connsiteX7175" fmla="*/ 470329 w 12192185"/>
              <a:gd name="connsiteY7175" fmla="*/ 1321290 h 6859062"/>
              <a:gd name="connsiteX7176" fmla="*/ 467301 w 12192185"/>
              <a:gd name="connsiteY7176" fmla="*/ 1323932 h 6859062"/>
              <a:gd name="connsiteX7177" fmla="*/ 467046 w 12192185"/>
              <a:gd name="connsiteY7177" fmla="*/ 1326899 h 6859062"/>
              <a:gd name="connsiteX7178" fmla="*/ 461529 w 12192185"/>
              <a:gd name="connsiteY7178" fmla="*/ 1329998 h 6859062"/>
              <a:gd name="connsiteX7179" fmla="*/ 458350 w 12192185"/>
              <a:gd name="connsiteY7179" fmla="*/ 1329158 h 6859062"/>
              <a:gd name="connsiteX7180" fmla="*/ 457579 w 12192185"/>
              <a:gd name="connsiteY7180" fmla="*/ 1332532 h 6859062"/>
              <a:gd name="connsiteX7181" fmla="*/ 457841 w 12192185"/>
              <a:gd name="connsiteY7181" fmla="*/ 1335091 h 6859062"/>
              <a:gd name="connsiteX7182" fmla="*/ 457025 w 12192185"/>
              <a:gd name="connsiteY7182" fmla="*/ 1338343 h 6859062"/>
              <a:gd name="connsiteX7183" fmla="*/ 453710 w 12192185"/>
              <a:gd name="connsiteY7183" fmla="*/ 1338353 h 6859062"/>
              <a:gd name="connsiteX7184" fmla="*/ 445202 w 12192185"/>
              <a:gd name="connsiteY7184" fmla="*/ 1335016 h 6859062"/>
              <a:gd name="connsiteX7185" fmla="*/ 435887 w 12192185"/>
              <a:gd name="connsiteY7185" fmla="*/ 1336172 h 6859062"/>
              <a:gd name="connsiteX7186" fmla="*/ 430234 w 12192185"/>
              <a:gd name="connsiteY7186" fmla="*/ 1336446 h 6859062"/>
              <a:gd name="connsiteX7187" fmla="*/ 416250 w 12192185"/>
              <a:gd name="connsiteY7187" fmla="*/ 1335090 h 6859062"/>
              <a:gd name="connsiteX7188" fmla="*/ 413728 w 12192185"/>
              <a:gd name="connsiteY7188" fmla="*/ 1334233 h 6859062"/>
              <a:gd name="connsiteX7189" fmla="*/ 394238 w 12192185"/>
              <a:gd name="connsiteY7189" fmla="*/ 1312753 h 6859062"/>
              <a:gd name="connsiteX7190" fmla="*/ 392346 w 12192185"/>
              <a:gd name="connsiteY7190" fmla="*/ 1308131 h 6859062"/>
              <a:gd name="connsiteX7191" fmla="*/ 390986 w 12192185"/>
              <a:gd name="connsiteY7191" fmla="*/ 1295798 h 6859062"/>
              <a:gd name="connsiteX7192" fmla="*/ 389016 w 12192185"/>
              <a:gd name="connsiteY7192" fmla="*/ 1285455 h 6859062"/>
              <a:gd name="connsiteX7193" fmla="*/ 389451 w 12192185"/>
              <a:gd name="connsiteY7193" fmla="*/ 1281760 h 6859062"/>
              <a:gd name="connsiteX7194" fmla="*/ 396046 w 12192185"/>
              <a:gd name="connsiteY7194" fmla="*/ 1263898 h 6859062"/>
              <a:gd name="connsiteX7195" fmla="*/ 396442 w 12192185"/>
              <a:gd name="connsiteY7195" fmla="*/ 1261322 h 6859062"/>
              <a:gd name="connsiteX7196" fmla="*/ 384337 w 12192185"/>
              <a:gd name="connsiteY7196" fmla="*/ 1253537 h 6859062"/>
              <a:gd name="connsiteX7197" fmla="*/ 371046 w 12192185"/>
              <a:gd name="connsiteY7197" fmla="*/ 1251043 h 6859062"/>
              <a:gd name="connsiteX7198" fmla="*/ 354696 w 12192185"/>
              <a:gd name="connsiteY7198" fmla="*/ 1241919 h 6859062"/>
              <a:gd name="connsiteX7199" fmla="*/ 353832 w 12192185"/>
              <a:gd name="connsiteY7199" fmla="*/ 1238916 h 6859062"/>
              <a:gd name="connsiteX7200" fmla="*/ 350433 w 12192185"/>
              <a:gd name="connsiteY7200" fmla="*/ 1231962 h 6859062"/>
              <a:gd name="connsiteX7201" fmla="*/ 346735 w 12192185"/>
              <a:gd name="connsiteY7201" fmla="*/ 1223571 h 6859062"/>
              <a:gd name="connsiteX7202" fmla="*/ 347088 w 12192185"/>
              <a:gd name="connsiteY7202" fmla="*/ 1216589 h 6859062"/>
              <a:gd name="connsiteX7203" fmla="*/ 346008 w 12192185"/>
              <a:gd name="connsiteY7203" fmla="*/ 1197080 h 6859062"/>
              <a:gd name="connsiteX7204" fmla="*/ 350871 w 12192185"/>
              <a:gd name="connsiteY7204" fmla="*/ 1183602 h 6859062"/>
              <a:gd name="connsiteX7205" fmla="*/ 352333 w 12192185"/>
              <a:gd name="connsiteY7205" fmla="*/ 1181526 h 6859062"/>
              <a:gd name="connsiteX7206" fmla="*/ 360811 w 12192185"/>
              <a:gd name="connsiteY7206" fmla="*/ 1173155 h 6859062"/>
              <a:gd name="connsiteX7207" fmla="*/ 363696 w 12192185"/>
              <a:gd name="connsiteY7207" fmla="*/ 1170122 h 6859062"/>
              <a:gd name="connsiteX7208" fmla="*/ 378919 w 12192185"/>
              <a:gd name="connsiteY7208" fmla="*/ 1165725 h 6859062"/>
              <a:gd name="connsiteX7209" fmla="*/ 391985 w 12192185"/>
              <a:gd name="connsiteY7209" fmla="*/ 1164539 h 6859062"/>
              <a:gd name="connsiteX7210" fmla="*/ 395687 w 12192185"/>
              <a:gd name="connsiteY7210" fmla="*/ 1162538 h 6859062"/>
              <a:gd name="connsiteX7211" fmla="*/ 396724 w 12192185"/>
              <a:gd name="connsiteY7211" fmla="*/ 1159289 h 6859062"/>
              <a:gd name="connsiteX7212" fmla="*/ 399572 w 12192185"/>
              <a:gd name="connsiteY7212" fmla="*/ 1157374 h 6859062"/>
              <a:gd name="connsiteX7213" fmla="*/ 6040222 w 12192185"/>
              <a:gd name="connsiteY7213" fmla="*/ 1155880 h 6859062"/>
              <a:gd name="connsiteX7214" fmla="*/ 6036645 w 12192185"/>
              <a:gd name="connsiteY7214" fmla="*/ 1157350 h 6859062"/>
              <a:gd name="connsiteX7215" fmla="*/ 6033067 w 12192185"/>
              <a:gd name="connsiteY7215" fmla="*/ 1158820 h 6859062"/>
              <a:gd name="connsiteX7216" fmla="*/ 6034171 w 12192185"/>
              <a:gd name="connsiteY7216" fmla="*/ 1161507 h 6859062"/>
              <a:gd name="connsiteX7217" fmla="*/ 6030223 w 12192185"/>
              <a:gd name="connsiteY7217" fmla="*/ 1162083 h 6859062"/>
              <a:gd name="connsiteX7218" fmla="*/ 6022327 w 12192185"/>
              <a:gd name="connsiteY7218" fmla="*/ 1163233 h 6859062"/>
              <a:gd name="connsiteX7219" fmla="*/ 6040425 w 12192185"/>
              <a:gd name="connsiteY7219" fmla="*/ 1176729 h 6859062"/>
              <a:gd name="connsiteX7220" fmla="*/ 6008854 w 12192185"/>
              <a:gd name="connsiteY7220" fmla="*/ 1181333 h 6859062"/>
              <a:gd name="connsiteX7221" fmla="*/ 6008251 w 12192185"/>
              <a:gd name="connsiteY7221" fmla="*/ 1182776 h 6859062"/>
              <a:gd name="connsiteX7222" fmla="*/ 6033002 w 12192185"/>
              <a:gd name="connsiteY7222" fmla="*/ 1182347 h 6859062"/>
              <a:gd name="connsiteX7223" fmla="*/ 6082822 w 12192185"/>
              <a:gd name="connsiteY7223" fmla="*/ 1186854 h 6859062"/>
              <a:gd name="connsiteX7224" fmla="*/ 6082310 w 12192185"/>
              <a:gd name="connsiteY7224" fmla="*/ 1179403 h 6859062"/>
              <a:gd name="connsiteX7225" fmla="*/ 6089254 w 12192185"/>
              <a:gd name="connsiteY7225" fmla="*/ 1173407 h 6859062"/>
              <a:gd name="connsiteX7226" fmla="*/ 6064001 w 12192185"/>
              <a:gd name="connsiteY7226" fmla="*/ 1162852 h 6859062"/>
              <a:gd name="connsiteX7227" fmla="*/ 6072632 w 12192185"/>
              <a:gd name="connsiteY7227" fmla="*/ 1163493 h 6859062"/>
              <a:gd name="connsiteX7228" fmla="*/ 6081262 w 12192185"/>
              <a:gd name="connsiteY7228" fmla="*/ 1164133 h 6859062"/>
              <a:gd name="connsiteX7229" fmla="*/ 6076211 w 12192185"/>
              <a:gd name="connsiteY7229" fmla="*/ 1162021 h 6859062"/>
              <a:gd name="connsiteX7230" fmla="*/ 6067583 w 12192185"/>
              <a:gd name="connsiteY7230" fmla="*/ 1161382 h 6859062"/>
              <a:gd name="connsiteX7231" fmla="*/ 6062532 w 12192185"/>
              <a:gd name="connsiteY7231" fmla="*/ 1159270 h 6859062"/>
              <a:gd name="connsiteX7232" fmla="*/ 6040222 w 12192185"/>
              <a:gd name="connsiteY7232" fmla="*/ 1155880 h 6859062"/>
              <a:gd name="connsiteX7233" fmla="*/ 4553348 w 12192185"/>
              <a:gd name="connsiteY7233" fmla="*/ 1137654 h 6859062"/>
              <a:gd name="connsiteX7234" fmla="*/ 4550276 w 12192185"/>
              <a:gd name="connsiteY7234" fmla="*/ 1138535 h 6859062"/>
              <a:gd name="connsiteX7235" fmla="*/ 4552446 w 12192185"/>
              <a:gd name="connsiteY7235" fmla="*/ 1139234 h 6859062"/>
              <a:gd name="connsiteX7236" fmla="*/ 1006422 w 12192185"/>
              <a:gd name="connsiteY7236" fmla="*/ 1134067 h 6859062"/>
              <a:gd name="connsiteX7237" fmla="*/ 1016183 w 12192185"/>
              <a:gd name="connsiteY7237" fmla="*/ 1135175 h 6859062"/>
              <a:gd name="connsiteX7238" fmla="*/ 1021771 w 12192185"/>
              <a:gd name="connsiteY7238" fmla="*/ 1135960 h 6859062"/>
              <a:gd name="connsiteX7239" fmla="*/ 1028608 w 12192185"/>
              <a:gd name="connsiteY7239" fmla="*/ 1138474 h 6859062"/>
              <a:gd name="connsiteX7240" fmla="*/ 1033513 w 12192185"/>
              <a:gd name="connsiteY7240" fmla="*/ 1141687 h 6859062"/>
              <a:gd name="connsiteX7241" fmla="*/ 1041759 w 12192185"/>
              <a:gd name="connsiteY7241" fmla="*/ 1152416 h 6859062"/>
              <a:gd name="connsiteX7242" fmla="*/ 1047209 w 12192185"/>
              <a:gd name="connsiteY7242" fmla="*/ 1158861 h 6859062"/>
              <a:gd name="connsiteX7243" fmla="*/ 1048404 w 12192185"/>
              <a:gd name="connsiteY7243" fmla="*/ 1162168 h 6859062"/>
              <a:gd name="connsiteX7244" fmla="*/ 1047483 w 12192185"/>
              <a:gd name="connsiteY7244" fmla="*/ 1169980 h 6859062"/>
              <a:gd name="connsiteX7245" fmla="*/ 1043620 w 12192185"/>
              <a:gd name="connsiteY7245" fmla="*/ 1182594 h 6859062"/>
              <a:gd name="connsiteX7246" fmla="*/ 1043083 w 12192185"/>
              <a:gd name="connsiteY7246" fmla="*/ 1187151 h 6859062"/>
              <a:gd name="connsiteX7247" fmla="*/ 1040270 w 12192185"/>
              <a:gd name="connsiteY7247" fmla="*/ 1189724 h 6859062"/>
              <a:gd name="connsiteX7248" fmla="*/ 1034621 w 12192185"/>
              <a:gd name="connsiteY7248" fmla="*/ 1193949 h 6859062"/>
              <a:gd name="connsiteX7249" fmla="*/ 1032811 w 12192185"/>
              <a:gd name="connsiteY7249" fmla="*/ 1195849 h 6859062"/>
              <a:gd name="connsiteX7250" fmla="*/ 1024379 w 12192185"/>
              <a:gd name="connsiteY7250" fmla="*/ 1200144 h 6859062"/>
              <a:gd name="connsiteX7251" fmla="*/ 1022647 w 12192185"/>
              <a:gd name="connsiteY7251" fmla="*/ 1201393 h 6859062"/>
              <a:gd name="connsiteX7252" fmla="*/ 998572 w 12192185"/>
              <a:gd name="connsiteY7252" fmla="*/ 1196074 h 6859062"/>
              <a:gd name="connsiteX7253" fmla="*/ 988417 w 12192185"/>
              <a:gd name="connsiteY7253" fmla="*/ 1186970 h 6859062"/>
              <a:gd name="connsiteX7254" fmla="*/ 984791 w 12192185"/>
              <a:gd name="connsiteY7254" fmla="*/ 1182981 h 6859062"/>
              <a:gd name="connsiteX7255" fmla="*/ 982822 w 12192185"/>
              <a:gd name="connsiteY7255" fmla="*/ 1178395 h 6859062"/>
              <a:gd name="connsiteX7256" fmla="*/ 982355 w 12192185"/>
              <a:gd name="connsiteY7256" fmla="*/ 1174515 h 6859062"/>
              <a:gd name="connsiteX7257" fmla="*/ 981044 w 12192185"/>
              <a:gd name="connsiteY7257" fmla="*/ 1166574 h 6859062"/>
              <a:gd name="connsiteX7258" fmla="*/ 980324 w 12192185"/>
              <a:gd name="connsiteY7258" fmla="*/ 1163718 h 6859062"/>
              <a:gd name="connsiteX7259" fmla="*/ 978761 w 12192185"/>
              <a:gd name="connsiteY7259" fmla="*/ 1156805 h 6859062"/>
              <a:gd name="connsiteX7260" fmla="*/ 988674 w 12192185"/>
              <a:gd name="connsiteY7260" fmla="*/ 1141069 h 6859062"/>
              <a:gd name="connsiteX7261" fmla="*/ 997403 w 12192185"/>
              <a:gd name="connsiteY7261" fmla="*/ 1137601 h 6859062"/>
              <a:gd name="connsiteX7262" fmla="*/ 1006422 w 12192185"/>
              <a:gd name="connsiteY7262" fmla="*/ 1134067 h 6859062"/>
              <a:gd name="connsiteX7263" fmla="*/ 7211787 w 12192185"/>
              <a:gd name="connsiteY7263" fmla="*/ 1133483 h 6859062"/>
              <a:gd name="connsiteX7264" fmla="*/ 7211471 w 12192185"/>
              <a:gd name="connsiteY7264" fmla="*/ 1133681 h 6859062"/>
              <a:gd name="connsiteX7265" fmla="*/ 7210824 w 12192185"/>
              <a:gd name="connsiteY7265" fmla="*/ 1133682 h 6859062"/>
              <a:gd name="connsiteX7266" fmla="*/ 7206723 w 12192185"/>
              <a:gd name="connsiteY7266" fmla="*/ 1141017 h 6859062"/>
              <a:gd name="connsiteX7267" fmla="*/ 7206391 w 12192185"/>
              <a:gd name="connsiteY7267" fmla="*/ 1148834 h 6859062"/>
              <a:gd name="connsiteX7268" fmla="*/ 7222377 w 12192185"/>
              <a:gd name="connsiteY7268" fmla="*/ 1157984 h 6859062"/>
              <a:gd name="connsiteX7269" fmla="*/ 7226763 w 12192185"/>
              <a:gd name="connsiteY7269" fmla="*/ 1156183 h 6859062"/>
              <a:gd name="connsiteX7270" fmla="*/ 7277147 w 12192185"/>
              <a:gd name="connsiteY7270" fmla="*/ 1186757 h 6859062"/>
              <a:gd name="connsiteX7271" fmla="*/ 7295990 w 12192185"/>
              <a:gd name="connsiteY7271" fmla="*/ 1199530 h 6859062"/>
              <a:gd name="connsiteX7272" fmla="*/ 7294636 w 12192185"/>
              <a:gd name="connsiteY7272" fmla="*/ 1197060 h 6859062"/>
              <a:gd name="connsiteX7273" fmla="*/ 7285080 w 12192185"/>
              <a:gd name="connsiteY7273" fmla="*/ 1185044 h 6859062"/>
              <a:gd name="connsiteX7274" fmla="*/ 7277535 w 12192185"/>
              <a:gd name="connsiteY7274" fmla="*/ 1180536 h 6859062"/>
              <a:gd name="connsiteX7275" fmla="*/ 7273774 w 12192185"/>
              <a:gd name="connsiteY7275" fmla="*/ 1169839 h 6859062"/>
              <a:gd name="connsiteX7276" fmla="*/ 7225743 w 12192185"/>
              <a:gd name="connsiteY7276" fmla="*/ 1141218 h 6859062"/>
              <a:gd name="connsiteX7277" fmla="*/ 4567066 w 12192185"/>
              <a:gd name="connsiteY7277" fmla="*/ 1130093 h 6859062"/>
              <a:gd name="connsiteX7278" fmla="*/ 4561347 w 12192185"/>
              <a:gd name="connsiteY7278" fmla="*/ 1133726 h 6859062"/>
              <a:gd name="connsiteX7279" fmla="*/ 4556343 w 12192185"/>
              <a:gd name="connsiteY7279" fmla="*/ 1140268 h 6859062"/>
              <a:gd name="connsiteX7280" fmla="*/ 4556078 w 12192185"/>
              <a:gd name="connsiteY7280" fmla="*/ 1140406 h 6859062"/>
              <a:gd name="connsiteX7281" fmla="*/ 4563736 w 12192185"/>
              <a:gd name="connsiteY7281" fmla="*/ 1142876 h 6859062"/>
              <a:gd name="connsiteX7282" fmla="*/ 4564950 w 12192185"/>
              <a:gd name="connsiteY7282" fmla="*/ 1142500 h 6859062"/>
              <a:gd name="connsiteX7283" fmla="*/ 4567066 w 12192185"/>
              <a:gd name="connsiteY7283" fmla="*/ 1130093 h 6859062"/>
              <a:gd name="connsiteX7284" fmla="*/ 1254004 w 12192185"/>
              <a:gd name="connsiteY7284" fmla="*/ 1122504 h 6859062"/>
              <a:gd name="connsiteX7285" fmla="*/ 1263764 w 12192185"/>
              <a:gd name="connsiteY7285" fmla="*/ 1123613 h 6859062"/>
              <a:gd name="connsiteX7286" fmla="*/ 1269352 w 12192185"/>
              <a:gd name="connsiteY7286" fmla="*/ 1124397 h 6859062"/>
              <a:gd name="connsiteX7287" fmla="*/ 1276188 w 12192185"/>
              <a:gd name="connsiteY7287" fmla="*/ 1126911 h 6859062"/>
              <a:gd name="connsiteX7288" fmla="*/ 1281094 w 12192185"/>
              <a:gd name="connsiteY7288" fmla="*/ 1130124 h 6859062"/>
              <a:gd name="connsiteX7289" fmla="*/ 1289340 w 12192185"/>
              <a:gd name="connsiteY7289" fmla="*/ 1140853 h 6859062"/>
              <a:gd name="connsiteX7290" fmla="*/ 1294789 w 12192185"/>
              <a:gd name="connsiteY7290" fmla="*/ 1147297 h 6859062"/>
              <a:gd name="connsiteX7291" fmla="*/ 1295985 w 12192185"/>
              <a:gd name="connsiteY7291" fmla="*/ 1150604 h 6859062"/>
              <a:gd name="connsiteX7292" fmla="*/ 1295064 w 12192185"/>
              <a:gd name="connsiteY7292" fmla="*/ 1158417 h 6859062"/>
              <a:gd name="connsiteX7293" fmla="*/ 1291201 w 12192185"/>
              <a:gd name="connsiteY7293" fmla="*/ 1171032 h 6859062"/>
              <a:gd name="connsiteX7294" fmla="*/ 1290664 w 12192185"/>
              <a:gd name="connsiteY7294" fmla="*/ 1175588 h 6859062"/>
              <a:gd name="connsiteX7295" fmla="*/ 1287850 w 12192185"/>
              <a:gd name="connsiteY7295" fmla="*/ 1178163 h 6859062"/>
              <a:gd name="connsiteX7296" fmla="*/ 1282201 w 12192185"/>
              <a:gd name="connsiteY7296" fmla="*/ 1182386 h 6859062"/>
              <a:gd name="connsiteX7297" fmla="*/ 1280392 w 12192185"/>
              <a:gd name="connsiteY7297" fmla="*/ 1184286 h 6859062"/>
              <a:gd name="connsiteX7298" fmla="*/ 1271960 w 12192185"/>
              <a:gd name="connsiteY7298" fmla="*/ 1188580 h 6859062"/>
              <a:gd name="connsiteX7299" fmla="*/ 1270228 w 12192185"/>
              <a:gd name="connsiteY7299" fmla="*/ 1189830 h 6859062"/>
              <a:gd name="connsiteX7300" fmla="*/ 1246153 w 12192185"/>
              <a:gd name="connsiteY7300" fmla="*/ 1184510 h 6859062"/>
              <a:gd name="connsiteX7301" fmla="*/ 1235997 w 12192185"/>
              <a:gd name="connsiteY7301" fmla="*/ 1175406 h 6859062"/>
              <a:gd name="connsiteX7302" fmla="*/ 1232372 w 12192185"/>
              <a:gd name="connsiteY7302" fmla="*/ 1171418 h 6859062"/>
              <a:gd name="connsiteX7303" fmla="*/ 1230403 w 12192185"/>
              <a:gd name="connsiteY7303" fmla="*/ 1166833 h 6859062"/>
              <a:gd name="connsiteX7304" fmla="*/ 1229936 w 12192185"/>
              <a:gd name="connsiteY7304" fmla="*/ 1162951 h 6859062"/>
              <a:gd name="connsiteX7305" fmla="*/ 1228625 w 12192185"/>
              <a:gd name="connsiteY7305" fmla="*/ 1155012 h 6859062"/>
              <a:gd name="connsiteX7306" fmla="*/ 1227906 w 12192185"/>
              <a:gd name="connsiteY7306" fmla="*/ 1152155 h 6859062"/>
              <a:gd name="connsiteX7307" fmla="*/ 1226343 w 12192185"/>
              <a:gd name="connsiteY7307" fmla="*/ 1145241 h 6859062"/>
              <a:gd name="connsiteX7308" fmla="*/ 1236254 w 12192185"/>
              <a:gd name="connsiteY7308" fmla="*/ 1129505 h 6859062"/>
              <a:gd name="connsiteX7309" fmla="*/ 1244984 w 12192185"/>
              <a:gd name="connsiteY7309" fmla="*/ 1126038 h 6859062"/>
              <a:gd name="connsiteX7310" fmla="*/ 1254004 w 12192185"/>
              <a:gd name="connsiteY7310" fmla="*/ 1122504 h 6859062"/>
              <a:gd name="connsiteX7311" fmla="*/ 8537522 w 12192185"/>
              <a:gd name="connsiteY7311" fmla="*/ 1105800 h 6859062"/>
              <a:gd name="connsiteX7312" fmla="*/ 8544666 w 12192185"/>
              <a:gd name="connsiteY7312" fmla="*/ 1105801 h 6859062"/>
              <a:gd name="connsiteX7313" fmla="*/ 8545737 w 12192185"/>
              <a:gd name="connsiteY7313" fmla="*/ 1107222 h 6859062"/>
              <a:gd name="connsiteX7314" fmla="*/ 8555739 w 12192185"/>
              <a:gd name="connsiteY7314" fmla="*/ 1115046 h 6859062"/>
              <a:gd name="connsiteX7315" fmla="*/ 8558954 w 12192185"/>
              <a:gd name="connsiteY7315" fmla="*/ 1127136 h 6859062"/>
              <a:gd name="connsiteX7316" fmla="*/ 8553952 w 12192185"/>
              <a:gd name="connsiteY7316" fmla="*/ 1141360 h 6859062"/>
              <a:gd name="connsiteX7317" fmla="*/ 8548595 w 12192185"/>
              <a:gd name="connsiteY7317" fmla="*/ 1144559 h 6859062"/>
              <a:gd name="connsiteX7318" fmla="*/ 8541808 w 12192185"/>
              <a:gd name="connsiteY7318" fmla="*/ 1153093 h 6859062"/>
              <a:gd name="connsiteX7319" fmla="*/ 8539666 w 12192185"/>
              <a:gd name="connsiteY7319" fmla="*/ 1157005 h 6859062"/>
              <a:gd name="connsiteX7320" fmla="*/ 8528950 w 12192185"/>
              <a:gd name="connsiteY7320" fmla="*/ 1166961 h 6859062"/>
              <a:gd name="connsiteX7321" fmla="*/ 8519664 w 12192185"/>
              <a:gd name="connsiteY7321" fmla="*/ 1165538 h 6859062"/>
              <a:gd name="connsiteX7322" fmla="*/ 8511807 w 12192185"/>
              <a:gd name="connsiteY7322" fmla="*/ 1160559 h 6859062"/>
              <a:gd name="connsiteX7323" fmla="*/ 8507520 w 12192185"/>
              <a:gd name="connsiteY7323" fmla="*/ 1155582 h 6859062"/>
              <a:gd name="connsiteX7324" fmla="*/ 8507521 w 12192185"/>
              <a:gd name="connsiteY7324" fmla="*/ 1142781 h 6859062"/>
              <a:gd name="connsiteX7325" fmla="*/ 8515379 w 12192185"/>
              <a:gd name="connsiteY7325" fmla="*/ 1134958 h 6859062"/>
              <a:gd name="connsiteX7326" fmla="*/ 8520378 w 12192185"/>
              <a:gd name="connsiteY7326" fmla="*/ 1125713 h 6859062"/>
              <a:gd name="connsiteX7327" fmla="*/ 8524307 w 12192185"/>
              <a:gd name="connsiteY7327" fmla="*/ 1116113 h 6859062"/>
              <a:gd name="connsiteX7328" fmla="*/ 8529665 w 12192185"/>
              <a:gd name="connsiteY7328" fmla="*/ 1109713 h 6859062"/>
              <a:gd name="connsiteX7329" fmla="*/ 8537522 w 12192185"/>
              <a:gd name="connsiteY7329" fmla="*/ 1105800 h 6859062"/>
              <a:gd name="connsiteX7330" fmla="*/ 597961 w 12192185"/>
              <a:gd name="connsiteY7330" fmla="*/ 1104654 h 6859062"/>
              <a:gd name="connsiteX7331" fmla="*/ 621651 w 12192185"/>
              <a:gd name="connsiteY7331" fmla="*/ 1112373 h 6859062"/>
              <a:gd name="connsiteX7332" fmla="*/ 625963 w 12192185"/>
              <a:gd name="connsiteY7332" fmla="*/ 1120833 h 6859062"/>
              <a:gd name="connsiteX7333" fmla="*/ 627667 w 12192185"/>
              <a:gd name="connsiteY7333" fmla="*/ 1124392 h 6859062"/>
              <a:gd name="connsiteX7334" fmla="*/ 633119 w 12192185"/>
              <a:gd name="connsiteY7334" fmla="*/ 1133694 h 6859062"/>
              <a:gd name="connsiteX7335" fmla="*/ 635963 w 12192185"/>
              <a:gd name="connsiteY7335" fmla="*/ 1138092 h 6859062"/>
              <a:gd name="connsiteX7336" fmla="*/ 637863 w 12192185"/>
              <a:gd name="connsiteY7336" fmla="*/ 1144504 h 6859062"/>
              <a:gd name="connsiteX7337" fmla="*/ 637543 w 12192185"/>
              <a:gd name="connsiteY7337" fmla="*/ 1151716 h 6859062"/>
              <a:gd name="connsiteX7338" fmla="*/ 634883 w 12192185"/>
              <a:gd name="connsiteY7338" fmla="*/ 1169795 h 6859062"/>
              <a:gd name="connsiteX7339" fmla="*/ 614641 w 12192185"/>
              <a:gd name="connsiteY7339" fmla="*/ 1195898 h 6859062"/>
              <a:gd name="connsiteX7340" fmla="*/ 611786 w 12192185"/>
              <a:gd name="connsiteY7340" fmla="*/ 1196095 h 6859062"/>
              <a:gd name="connsiteX7341" fmla="*/ 599422 w 12192185"/>
              <a:gd name="connsiteY7341" fmla="*/ 1198895 h 6859062"/>
              <a:gd name="connsiteX7342" fmla="*/ 595931 w 12192185"/>
              <a:gd name="connsiteY7342" fmla="*/ 1198487 h 6859062"/>
              <a:gd name="connsiteX7343" fmla="*/ 586493 w 12192185"/>
              <a:gd name="connsiteY7343" fmla="*/ 1198976 h 6859062"/>
              <a:gd name="connsiteX7344" fmla="*/ 581389 w 12192185"/>
              <a:gd name="connsiteY7344" fmla="*/ 1198734 h 6859062"/>
              <a:gd name="connsiteX7345" fmla="*/ 576932 w 12192185"/>
              <a:gd name="connsiteY7345" fmla="*/ 1194499 h 6859062"/>
              <a:gd name="connsiteX7346" fmla="*/ 562147 w 12192185"/>
              <a:gd name="connsiteY7346" fmla="*/ 1184816 h 6859062"/>
              <a:gd name="connsiteX7347" fmla="*/ 554507 w 12192185"/>
              <a:gd name="connsiteY7347" fmla="*/ 1177558 h 6859062"/>
              <a:gd name="connsiteX7348" fmla="*/ 552905 w 12192185"/>
              <a:gd name="connsiteY7348" fmla="*/ 1173128 h 6859062"/>
              <a:gd name="connsiteX7349" fmla="*/ 552999 w 12192185"/>
              <a:gd name="connsiteY7349" fmla="*/ 1161822 h 6859062"/>
              <a:gd name="connsiteX7350" fmla="*/ 552302 w 12192185"/>
              <a:gd name="connsiteY7350" fmla="*/ 1143705 h 6859062"/>
              <a:gd name="connsiteX7351" fmla="*/ 554602 w 12192185"/>
              <a:gd name="connsiteY7351" fmla="*/ 1136193 h 6859062"/>
              <a:gd name="connsiteX7352" fmla="*/ 559491 w 12192185"/>
              <a:gd name="connsiteY7352" fmla="*/ 1127746 h 6859062"/>
              <a:gd name="connsiteX7353" fmla="*/ 564575 w 12192185"/>
              <a:gd name="connsiteY7353" fmla="*/ 1122151 h 6859062"/>
              <a:gd name="connsiteX7354" fmla="*/ 585997 w 12192185"/>
              <a:gd name="connsiteY7354" fmla="*/ 1108563 h 6859062"/>
              <a:gd name="connsiteX7355" fmla="*/ 597961 w 12192185"/>
              <a:gd name="connsiteY7355" fmla="*/ 1104654 h 6859062"/>
              <a:gd name="connsiteX7356" fmla="*/ 7013964 w 12192185"/>
              <a:gd name="connsiteY7356" fmla="*/ 1100052 h 6859062"/>
              <a:gd name="connsiteX7357" fmla="*/ 7020155 w 12192185"/>
              <a:gd name="connsiteY7357" fmla="*/ 1102634 h 6859062"/>
              <a:gd name="connsiteX7358" fmla="*/ 7013833 w 12192185"/>
              <a:gd name="connsiteY7358" fmla="*/ 1100105 h 6859062"/>
              <a:gd name="connsiteX7359" fmla="*/ 7183887 w 12192185"/>
              <a:gd name="connsiteY7359" fmla="*/ 1087008 h 6859062"/>
              <a:gd name="connsiteX7360" fmla="*/ 7196682 w 12192185"/>
              <a:gd name="connsiteY7360" fmla="*/ 1099734 h 6859062"/>
              <a:gd name="connsiteX7361" fmla="*/ 7195716 w 12192185"/>
              <a:gd name="connsiteY7361" fmla="*/ 1101106 h 6859062"/>
              <a:gd name="connsiteX7362" fmla="*/ 7197615 w 12192185"/>
              <a:gd name="connsiteY7362" fmla="*/ 1105110 h 6859062"/>
              <a:gd name="connsiteX7363" fmla="*/ 7198660 w 12192185"/>
              <a:gd name="connsiteY7363" fmla="*/ 1105650 h 6859062"/>
              <a:gd name="connsiteX7364" fmla="*/ 7201544 w 12192185"/>
              <a:gd name="connsiteY7364" fmla="*/ 1106931 h 6859062"/>
              <a:gd name="connsiteX7365" fmla="*/ 7201681 w 12192185"/>
              <a:gd name="connsiteY7365" fmla="*/ 1107206 h 6859062"/>
              <a:gd name="connsiteX7366" fmla="*/ 7214474 w 12192185"/>
              <a:gd name="connsiteY7366" fmla="*/ 1113799 h 6859062"/>
              <a:gd name="connsiteX7367" fmla="*/ 7273609 w 12192185"/>
              <a:gd name="connsiteY7367" fmla="*/ 1148793 h 6859062"/>
              <a:gd name="connsiteX7368" fmla="*/ 7275020 w 12192185"/>
              <a:gd name="connsiteY7368" fmla="*/ 1143484 h 6859062"/>
              <a:gd name="connsiteX7369" fmla="*/ 7278871 w 12192185"/>
              <a:gd name="connsiteY7369" fmla="*/ 1137687 h 6859062"/>
              <a:gd name="connsiteX7370" fmla="*/ 11811558 w 12192185"/>
              <a:gd name="connsiteY7370" fmla="*/ 1073556 h 6859062"/>
              <a:gd name="connsiteX7371" fmla="*/ 11815660 w 12192185"/>
              <a:gd name="connsiteY7371" fmla="*/ 1073967 h 6859062"/>
              <a:gd name="connsiteX7372" fmla="*/ 11823133 w 12192185"/>
              <a:gd name="connsiteY7372" fmla="*/ 1075474 h 6859062"/>
              <a:gd name="connsiteX7373" fmla="*/ 11825966 w 12192185"/>
              <a:gd name="connsiteY7373" fmla="*/ 1075563 h 6859062"/>
              <a:gd name="connsiteX7374" fmla="*/ 11835500 w 12192185"/>
              <a:gd name="connsiteY7374" fmla="*/ 1079259 h 6859062"/>
              <a:gd name="connsiteX7375" fmla="*/ 11837755 w 12192185"/>
              <a:gd name="connsiteY7375" fmla="*/ 1079754 h 6859062"/>
              <a:gd name="connsiteX7376" fmla="*/ 11850817 w 12192185"/>
              <a:gd name="connsiteY7376" fmla="*/ 1102979 h 6859062"/>
              <a:gd name="connsiteX7377" fmla="*/ 11850801 w 12192185"/>
              <a:gd name="connsiteY7377" fmla="*/ 1117720 h 6859062"/>
              <a:gd name="connsiteX7378" fmla="*/ 11850201 w 12192185"/>
              <a:gd name="connsiteY7378" fmla="*/ 1123512 h 6859062"/>
              <a:gd name="connsiteX7379" fmla="*/ 11847927 w 12192185"/>
              <a:gd name="connsiteY7379" fmla="*/ 1128402 h 6859062"/>
              <a:gd name="connsiteX7380" fmla="*/ 11845137 w 12192185"/>
              <a:gd name="connsiteY7380" fmla="*/ 1131575 h 6859062"/>
              <a:gd name="connsiteX7381" fmla="*/ 11839686 w 12192185"/>
              <a:gd name="connsiteY7381" fmla="*/ 1138351 h 6859062"/>
              <a:gd name="connsiteX7382" fmla="*/ 11837905 w 12192185"/>
              <a:gd name="connsiteY7382" fmla="*/ 1140989 h 6859062"/>
              <a:gd name="connsiteX7383" fmla="*/ 11833463 w 12192185"/>
              <a:gd name="connsiteY7383" fmla="*/ 1147230 h 6859062"/>
              <a:gd name="connsiteX7384" fmla="*/ 11813646 w 12192185"/>
              <a:gd name="connsiteY7384" fmla="*/ 1150584 h 6859062"/>
              <a:gd name="connsiteX7385" fmla="*/ 11804563 w 12192185"/>
              <a:gd name="connsiteY7385" fmla="*/ 1146050 h 6859062"/>
              <a:gd name="connsiteX7386" fmla="*/ 11789078 w 12192185"/>
              <a:gd name="connsiteY7386" fmla="*/ 1132672 h 6859062"/>
              <a:gd name="connsiteX7387" fmla="*/ 11785685 w 12192185"/>
              <a:gd name="connsiteY7387" fmla="*/ 1127607 h 6859062"/>
              <a:gd name="connsiteX7388" fmla="*/ 11782783 w 12192185"/>
              <a:gd name="connsiteY7388" fmla="*/ 1120288 h 6859062"/>
              <a:gd name="connsiteX7389" fmla="*/ 11781836 w 12192185"/>
              <a:gd name="connsiteY7389" fmla="*/ 1114023 h 6859062"/>
              <a:gd name="connsiteX7390" fmla="*/ 11784536 w 12192185"/>
              <a:gd name="connsiteY7390" fmla="*/ 1099649 h 6859062"/>
              <a:gd name="connsiteX7391" fmla="*/ 11785800 w 12192185"/>
              <a:gd name="connsiteY7391" fmla="*/ 1090616 h 6859062"/>
              <a:gd name="connsiteX7392" fmla="*/ 11787602 w 12192185"/>
              <a:gd name="connsiteY7392" fmla="*/ 1087270 h 6859062"/>
              <a:gd name="connsiteX7393" fmla="*/ 11794558 w 12192185"/>
              <a:gd name="connsiteY7393" fmla="*/ 1082383 h 6859062"/>
              <a:gd name="connsiteX7394" fmla="*/ 11807502 w 12192185"/>
              <a:gd name="connsiteY7394" fmla="*/ 1076407 h 6859062"/>
              <a:gd name="connsiteX7395" fmla="*/ 11811558 w 12192185"/>
              <a:gd name="connsiteY7395" fmla="*/ 1073556 h 6859062"/>
              <a:gd name="connsiteX7396" fmla="*/ 3461799 w 12192185"/>
              <a:gd name="connsiteY7396" fmla="*/ 1070611 h 6859062"/>
              <a:gd name="connsiteX7397" fmla="*/ 3458820 w 12192185"/>
              <a:gd name="connsiteY7397" fmla="*/ 1070638 h 6859062"/>
              <a:gd name="connsiteX7398" fmla="*/ 2776378 w 12192185"/>
              <a:gd name="connsiteY7398" fmla="*/ 1186408 h 6859062"/>
              <a:gd name="connsiteX7399" fmla="*/ 1048197 w 12192185"/>
              <a:gd name="connsiteY7399" fmla="*/ 2825953 h 6859062"/>
              <a:gd name="connsiteX7400" fmla="*/ 994734 w 12192185"/>
              <a:gd name="connsiteY7400" fmla="*/ 2990368 h 6859062"/>
              <a:gd name="connsiteX7401" fmla="*/ 989169 w 12192185"/>
              <a:gd name="connsiteY7401" fmla="*/ 2993579 h 6859062"/>
              <a:gd name="connsiteX7402" fmla="*/ 985640 w 12192185"/>
              <a:gd name="connsiteY7402" fmla="*/ 3006747 h 6859062"/>
              <a:gd name="connsiteX7403" fmla="*/ 988854 w 12192185"/>
              <a:gd name="connsiteY7403" fmla="*/ 3012311 h 6859062"/>
              <a:gd name="connsiteX7404" fmla="*/ 955927 w 12192185"/>
              <a:gd name="connsiteY7404" fmla="*/ 3135204 h 6859062"/>
              <a:gd name="connsiteX7405" fmla="*/ 905823 w 12192185"/>
              <a:gd name="connsiteY7405" fmla="*/ 3427500 h 6859062"/>
              <a:gd name="connsiteX7406" fmla="*/ 958252 w 12192185"/>
              <a:gd name="connsiteY7406" fmla="*/ 4372873 h 6859062"/>
              <a:gd name="connsiteX7407" fmla="*/ 1119498 w 12192185"/>
              <a:gd name="connsiteY7407" fmla="*/ 4877053 h 6859062"/>
              <a:gd name="connsiteX7408" fmla="*/ 1111898 w 12192185"/>
              <a:gd name="connsiteY7408" fmla="*/ 4870312 h 6859062"/>
              <a:gd name="connsiteX7409" fmla="*/ 1143710 w 12192185"/>
              <a:gd name="connsiteY7409" fmla="*/ 4944689 h 6859062"/>
              <a:gd name="connsiteX7410" fmla="*/ 1166200 w 12192185"/>
              <a:gd name="connsiteY7410" fmla="*/ 4983643 h 6859062"/>
              <a:gd name="connsiteX7411" fmla="*/ 1232490 w 12192185"/>
              <a:gd name="connsiteY7411" fmla="*/ 5104889 h 6859062"/>
              <a:gd name="connsiteX7412" fmla="*/ 1258195 w 12192185"/>
              <a:gd name="connsiteY7412" fmla="*/ 5149406 h 6859062"/>
              <a:gd name="connsiteX7413" fmla="*/ 1519689 w 12192185"/>
              <a:gd name="connsiteY7413" fmla="*/ 5525221 h 6859062"/>
              <a:gd name="connsiteX7414" fmla="*/ 1426433 w 12192185"/>
              <a:gd name="connsiteY7414" fmla="*/ 5434382 h 6859062"/>
              <a:gd name="connsiteX7415" fmla="*/ 1414759 w 12192185"/>
              <a:gd name="connsiteY7415" fmla="*/ 5407733 h 6859062"/>
              <a:gd name="connsiteX7416" fmla="*/ 1323856 w 12192185"/>
              <a:gd name="connsiteY7416" fmla="*/ 5308115 h 6859062"/>
              <a:gd name="connsiteX7417" fmla="*/ 1339605 w 12192185"/>
              <a:gd name="connsiteY7417" fmla="*/ 5354669 h 6859062"/>
              <a:gd name="connsiteX7418" fmla="*/ 1415304 w 12192185"/>
              <a:gd name="connsiteY7418" fmla="*/ 5440806 h 6859062"/>
              <a:gd name="connsiteX7419" fmla="*/ 1426979 w 12192185"/>
              <a:gd name="connsiteY7419" fmla="*/ 5467453 h 6859062"/>
              <a:gd name="connsiteX7420" fmla="*/ 1491003 w 12192185"/>
              <a:gd name="connsiteY7420" fmla="*/ 5526944 h 6859062"/>
              <a:gd name="connsiteX7421" fmla="*/ 1547112 w 12192185"/>
              <a:gd name="connsiteY7421" fmla="*/ 5598424 h 6859062"/>
              <a:gd name="connsiteX7422" fmla="*/ 1567879 w 12192185"/>
              <a:gd name="connsiteY7422" fmla="*/ 5608694 h 6859062"/>
              <a:gd name="connsiteX7423" fmla="*/ 1591545 w 12192185"/>
              <a:gd name="connsiteY7423" fmla="*/ 5643256 h 6859062"/>
              <a:gd name="connsiteX7424" fmla="*/ 1623988 w 12192185"/>
              <a:gd name="connsiteY7424" fmla="*/ 5680173 h 6859062"/>
              <a:gd name="connsiteX7425" fmla="*/ 1674301 w 12192185"/>
              <a:gd name="connsiteY7425" fmla="*/ 5703061 h 6859062"/>
              <a:gd name="connsiteX7426" fmla="*/ 1664663 w 12192185"/>
              <a:gd name="connsiteY7426" fmla="*/ 5686367 h 6859062"/>
              <a:gd name="connsiteX7427" fmla="*/ 2884881 w 12192185"/>
              <a:gd name="connsiteY7427" fmla="*/ 6399030 h 6859062"/>
              <a:gd name="connsiteX7428" fmla="*/ 2885870 w 12192185"/>
              <a:gd name="connsiteY7428" fmla="*/ 6399247 h 6859062"/>
              <a:gd name="connsiteX7429" fmla="*/ 2757097 w 12192185"/>
              <a:gd name="connsiteY7429" fmla="*/ 6354345 h 6859062"/>
              <a:gd name="connsiteX7430" fmla="*/ 2503954 w 12192185"/>
              <a:gd name="connsiteY7430" fmla="*/ 6224184 h 6859062"/>
              <a:gd name="connsiteX7431" fmla="*/ 2420336 w 12192185"/>
              <a:gd name="connsiteY7431" fmla="*/ 6174340 h 6859062"/>
              <a:gd name="connsiteX7432" fmla="*/ 2407395 w 12192185"/>
              <a:gd name="connsiteY7432" fmla="*/ 6168781 h 6859062"/>
              <a:gd name="connsiteX7433" fmla="*/ 1715291 w 12192185"/>
              <a:gd name="connsiteY7433" fmla="*/ 5690526 h 6859062"/>
              <a:gd name="connsiteX7434" fmla="*/ 1728457 w 12192185"/>
              <a:gd name="connsiteY7434" fmla="*/ 5694053 h 6859062"/>
              <a:gd name="connsiteX7435" fmla="*/ 1667644 w 12192185"/>
              <a:gd name="connsiteY7435" fmla="*/ 5640128 h 6859062"/>
              <a:gd name="connsiteX7436" fmla="*/ 1597193 w 12192185"/>
              <a:gd name="connsiteY7436" fmla="*/ 5569508 h 6859062"/>
              <a:gd name="connsiteX7437" fmla="*/ 1557151 w 12192185"/>
              <a:gd name="connsiteY7437" fmla="*/ 5525852 h 6859062"/>
              <a:gd name="connsiteX7438" fmla="*/ 1558327 w 12192185"/>
              <a:gd name="connsiteY7438" fmla="*/ 5521463 h 6859062"/>
              <a:gd name="connsiteX7439" fmla="*/ 1553938 w 12192185"/>
              <a:gd name="connsiteY7439" fmla="*/ 5520289 h 6859062"/>
              <a:gd name="connsiteX7440" fmla="*/ 1550725 w 12192185"/>
              <a:gd name="connsiteY7440" fmla="*/ 5514723 h 6859062"/>
              <a:gd name="connsiteX7441" fmla="*/ 1543124 w 12192185"/>
              <a:gd name="connsiteY7441" fmla="*/ 5507982 h 6859062"/>
              <a:gd name="connsiteX7442" fmla="*/ 1524708 w 12192185"/>
              <a:gd name="connsiteY7442" fmla="*/ 5488937 h 6859062"/>
              <a:gd name="connsiteX7443" fmla="*/ 1467423 w 12192185"/>
              <a:gd name="connsiteY7443" fmla="*/ 5421844 h 6859062"/>
              <a:gd name="connsiteX7444" fmla="*/ 1446970 w 12192185"/>
              <a:gd name="connsiteY7444" fmla="*/ 5392846 h 6859062"/>
              <a:gd name="connsiteX7445" fmla="*/ 1398464 w 12192185"/>
              <a:gd name="connsiteY7445" fmla="*/ 5328106 h 6859062"/>
              <a:gd name="connsiteX7446" fmla="*/ 1402853 w 12192185"/>
              <a:gd name="connsiteY7446" fmla="*/ 5329282 h 6859062"/>
              <a:gd name="connsiteX7447" fmla="*/ 1392039 w 12192185"/>
              <a:gd name="connsiteY7447" fmla="*/ 5316977 h 6859062"/>
              <a:gd name="connsiteX7448" fmla="*/ 958252 w 12192185"/>
              <a:gd name="connsiteY7448" fmla="*/ 4372873 h 6859062"/>
              <a:gd name="connsiteX7449" fmla="*/ 976380 w 12192185"/>
              <a:gd name="connsiteY7449" fmla="*/ 3164204 h 6859062"/>
              <a:gd name="connsiteX7450" fmla="*/ 985158 w 12192185"/>
              <a:gd name="connsiteY7450" fmla="*/ 3166556 h 6859062"/>
              <a:gd name="connsiteX7451" fmla="*/ 999331 w 12192185"/>
              <a:gd name="connsiteY7451" fmla="*/ 3306771 h 6859062"/>
              <a:gd name="connsiteX7452" fmla="*/ 1008424 w 12192185"/>
              <a:gd name="connsiteY7452" fmla="*/ 3290393 h 6859062"/>
              <a:gd name="connsiteX7453" fmla="*/ 996035 w 12192185"/>
              <a:gd name="connsiteY7453" fmla="*/ 3371709 h 6859062"/>
              <a:gd name="connsiteX7454" fmla="*/ 1002691 w 12192185"/>
              <a:gd name="connsiteY7454" fmla="*/ 3434641 h 6859062"/>
              <a:gd name="connsiteX7455" fmla="*/ 1023227 w 12192185"/>
              <a:gd name="connsiteY7455" fmla="*/ 3393108 h 6859062"/>
              <a:gd name="connsiteX7456" fmla="*/ 1026441 w 12192185"/>
              <a:gd name="connsiteY7456" fmla="*/ 3398673 h 6859062"/>
              <a:gd name="connsiteX7457" fmla="*/ 1025264 w 12192185"/>
              <a:gd name="connsiteY7457" fmla="*/ 3403067 h 6859062"/>
              <a:gd name="connsiteX7458" fmla="*/ 1024089 w 12192185"/>
              <a:gd name="connsiteY7458" fmla="*/ 3407448 h 6859062"/>
              <a:gd name="connsiteX7459" fmla="*/ 1021737 w 12192185"/>
              <a:gd name="connsiteY7459" fmla="*/ 3416226 h 6859062"/>
              <a:gd name="connsiteX7460" fmla="*/ 1027300 w 12192185"/>
              <a:gd name="connsiteY7460" fmla="*/ 3413014 h 6859062"/>
              <a:gd name="connsiteX7461" fmla="*/ 1028477 w 12192185"/>
              <a:gd name="connsiteY7461" fmla="*/ 3408636 h 6859062"/>
              <a:gd name="connsiteX7462" fmla="*/ 1029653 w 12192185"/>
              <a:gd name="connsiteY7462" fmla="*/ 3404237 h 6859062"/>
              <a:gd name="connsiteX7463" fmla="*/ 1037569 w 12192185"/>
              <a:gd name="connsiteY7463" fmla="*/ 3392250 h 6859062"/>
              <a:gd name="connsiteX7464" fmla="*/ 1034356 w 12192185"/>
              <a:gd name="connsiteY7464" fmla="*/ 3386690 h 6859062"/>
              <a:gd name="connsiteX7465" fmla="*/ 1033180 w 12192185"/>
              <a:gd name="connsiteY7465" fmla="*/ 3391085 h 6859062"/>
              <a:gd name="connsiteX7466" fmla="*/ 1027616 w 12192185"/>
              <a:gd name="connsiteY7466" fmla="*/ 3394299 h 6859062"/>
              <a:gd name="connsiteX7467" fmla="*/ 1031143 w 12192185"/>
              <a:gd name="connsiteY7467" fmla="*/ 3381121 h 6859062"/>
              <a:gd name="connsiteX7468" fmla="*/ 1032320 w 12192185"/>
              <a:gd name="connsiteY7468" fmla="*/ 3376735 h 6859062"/>
              <a:gd name="connsiteX7469" fmla="*/ 1063671 w 12192185"/>
              <a:gd name="connsiteY7469" fmla="*/ 3347514 h 6859062"/>
              <a:gd name="connsiteX7470" fmla="*/ 1053948 w 12192185"/>
              <a:gd name="connsiteY7470" fmla="*/ 3401338 h 6859062"/>
              <a:gd name="connsiteX7471" fmla="*/ 1076207 w 12192185"/>
              <a:gd name="connsiteY7471" fmla="*/ 3388493 h 6859062"/>
              <a:gd name="connsiteX7472" fmla="*/ 1091872 w 12192185"/>
              <a:gd name="connsiteY7472" fmla="*/ 3505565 h 6859062"/>
              <a:gd name="connsiteX7473" fmla="*/ 1090695 w 12192185"/>
              <a:gd name="connsiteY7473" fmla="*/ 3509957 h 6859062"/>
              <a:gd name="connsiteX7474" fmla="*/ 1088344 w 12192185"/>
              <a:gd name="connsiteY7474" fmla="*/ 3518731 h 6859062"/>
              <a:gd name="connsiteX7475" fmla="*/ 1091555 w 12192185"/>
              <a:gd name="connsiteY7475" fmla="*/ 3524296 h 6859062"/>
              <a:gd name="connsiteX7476" fmla="*/ 1091787 w 12192185"/>
              <a:gd name="connsiteY7476" fmla="*/ 3576082 h 6859062"/>
              <a:gd name="connsiteX7477" fmla="*/ 1091471 w 12192185"/>
              <a:gd name="connsiteY7477" fmla="*/ 3594812 h 6859062"/>
              <a:gd name="connsiteX7478" fmla="*/ 1094684 w 12192185"/>
              <a:gd name="connsiteY7478" fmla="*/ 3600379 h 6859062"/>
              <a:gd name="connsiteX7479" fmla="*/ 1093508 w 12192185"/>
              <a:gd name="connsiteY7479" fmla="*/ 3604767 h 6859062"/>
              <a:gd name="connsiteX7480" fmla="*/ 1097897 w 12192185"/>
              <a:gd name="connsiteY7480" fmla="*/ 3605941 h 6859062"/>
              <a:gd name="connsiteX7481" fmla="*/ 1096721 w 12192185"/>
              <a:gd name="connsiteY7481" fmla="*/ 3610330 h 6859062"/>
              <a:gd name="connsiteX7482" fmla="*/ 1100795 w 12192185"/>
              <a:gd name="connsiteY7482" fmla="*/ 3630235 h 6859062"/>
              <a:gd name="connsiteX7483" fmla="*/ 1108711 w 12192185"/>
              <a:gd name="connsiteY7483" fmla="*/ 3618247 h 6859062"/>
              <a:gd name="connsiteX7484" fmla="*/ 1115137 w 12192185"/>
              <a:gd name="connsiteY7484" fmla="*/ 3629376 h 6859062"/>
              <a:gd name="connsiteX7485" fmla="*/ 1108943 w 12192185"/>
              <a:gd name="connsiteY7485" fmla="*/ 3670048 h 6859062"/>
              <a:gd name="connsiteX7486" fmla="*/ 1115830 w 12192185"/>
              <a:gd name="connsiteY7486" fmla="*/ 3784784 h 6859062"/>
              <a:gd name="connsiteX7487" fmla="*/ 1117551 w 12192185"/>
              <a:gd name="connsiteY7487" fmla="*/ 3813469 h 6859062"/>
              <a:gd name="connsiteX7488" fmla="*/ 1124752 w 12192185"/>
              <a:gd name="connsiteY7488" fmla="*/ 3909475 h 6859062"/>
              <a:gd name="connsiteX7489" fmla="*/ 1121225 w 12192185"/>
              <a:gd name="connsiteY7489" fmla="*/ 3922641 h 6859062"/>
              <a:gd name="connsiteX7490" fmla="*/ 1127650 w 12192185"/>
              <a:gd name="connsiteY7490" fmla="*/ 3933770 h 6859062"/>
              <a:gd name="connsiteX7491" fmla="*/ 1122085 w 12192185"/>
              <a:gd name="connsiteY7491" fmla="*/ 3936983 h 6859062"/>
              <a:gd name="connsiteX7492" fmla="*/ 1131953 w 12192185"/>
              <a:gd name="connsiteY7492" fmla="*/ 4005480 h 6859062"/>
              <a:gd name="connsiteX7493" fmla="*/ 1123178 w 12192185"/>
              <a:gd name="connsiteY7493" fmla="*/ 4003129 h 6859062"/>
              <a:gd name="connsiteX7494" fmla="*/ 1132816 w 12192185"/>
              <a:gd name="connsiteY7494" fmla="*/ 4019823 h 6859062"/>
              <a:gd name="connsiteX7495" fmla="*/ 1137750 w 12192185"/>
              <a:gd name="connsiteY7495" fmla="*/ 4054073 h 6859062"/>
              <a:gd name="connsiteX7496" fmla="*/ 1136575 w 12192185"/>
              <a:gd name="connsiteY7496" fmla="*/ 4058460 h 6859062"/>
              <a:gd name="connsiteX7497" fmla="*/ 1132186 w 12192185"/>
              <a:gd name="connsiteY7497" fmla="*/ 4057284 h 6859062"/>
              <a:gd name="connsiteX7498" fmla="*/ 1127797 w 12192185"/>
              <a:gd name="connsiteY7498" fmla="*/ 4056109 h 6859062"/>
              <a:gd name="connsiteX7499" fmla="*/ 1126621 w 12192185"/>
              <a:gd name="connsiteY7499" fmla="*/ 4060497 h 6859062"/>
              <a:gd name="connsiteX7500" fmla="*/ 1125131 w 12192185"/>
              <a:gd name="connsiteY7500" fmla="*/ 4083618 h 6859062"/>
              <a:gd name="connsiteX7501" fmla="*/ 1120741 w 12192185"/>
              <a:gd name="connsiteY7501" fmla="*/ 4082442 h 6859062"/>
              <a:gd name="connsiteX7502" fmla="*/ 1119566 w 12192185"/>
              <a:gd name="connsiteY7502" fmla="*/ 4086829 h 6859062"/>
              <a:gd name="connsiteX7503" fmla="*/ 1122778 w 12192185"/>
              <a:gd name="connsiteY7503" fmla="*/ 4092394 h 6859062"/>
              <a:gd name="connsiteX7504" fmla="*/ 1135543 w 12192185"/>
              <a:gd name="connsiteY7504" fmla="*/ 4185188 h 6859062"/>
              <a:gd name="connsiteX7505" fmla="*/ 1161478 w 12192185"/>
              <a:gd name="connsiteY7505" fmla="*/ 4281508 h 6859062"/>
              <a:gd name="connsiteX7506" fmla="*/ 1167618 w 12192185"/>
              <a:gd name="connsiteY7506" fmla="*/ 4317844 h 6859062"/>
              <a:gd name="connsiteX7507" fmla="*/ 1171554 w 12192185"/>
              <a:gd name="connsiteY7507" fmla="*/ 4332234 h 6859062"/>
              <a:gd name="connsiteX7508" fmla="*/ 1160505 w 12192185"/>
              <a:gd name="connsiteY7508" fmla="*/ 4265501 h 6859062"/>
              <a:gd name="connsiteX7509" fmla="*/ 1150929 w 12192185"/>
              <a:gd name="connsiteY7509" fmla="*/ 3665582 h 6859062"/>
              <a:gd name="connsiteX7510" fmla="*/ 1178732 w 12192185"/>
              <a:gd name="connsiteY7510" fmla="*/ 3438240 h 6859062"/>
              <a:gd name="connsiteX7511" fmla="*/ 1189121 w 12192185"/>
              <a:gd name="connsiteY7511" fmla="*/ 3419631 h 6859062"/>
              <a:gd name="connsiteX7512" fmla="*/ 1195965 w 12192185"/>
              <a:gd name="connsiteY7512" fmla="*/ 3430300 h 6859062"/>
              <a:gd name="connsiteX7513" fmla="*/ 1183716 w 12192185"/>
              <a:gd name="connsiteY7513" fmla="*/ 4164602 h 6859062"/>
              <a:gd name="connsiteX7514" fmla="*/ 1253661 w 12192185"/>
              <a:gd name="connsiteY7514" fmla="*/ 4542677 h 6859062"/>
              <a:gd name="connsiteX7515" fmla="*/ 1262984 w 12192185"/>
              <a:gd name="connsiteY7515" fmla="*/ 4588363 h 6859062"/>
              <a:gd name="connsiteX7516" fmla="*/ 1276127 w 12192185"/>
              <a:gd name="connsiteY7516" fmla="*/ 4606414 h 6859062"/>
              <a:gd name="connsiteX7517" fmla="*/ 1285691 w 12192185"/>
              <a:gd name="connsiteY7517" fmla="*/ 4582880 h 6859062"/>
              <a:gd name="connsiteX7518" fmla="*/ 1242654 w 12192185"/>
              <a:gd name="connsiteY7518" fmla="*/ 4406159 h 6859062"/>
              <a:gd name="connsiteX7519" fmla="*/ 1213893 w 12192185"/>
              <a:gd name="connsiteY7519" fmla="*/ 4222124 h 6859062"/>
              <a:gd name="connsiteX7520" fmla="*/ 1201399 w 12192185"/>
              <a:gd name="connsiteY7520" fmla="*/ 4084102 h 6859062"/>
              <a:gd name="connsiteX7521" fmla="*/ 1200053 w 12192185"/>
              <a:gd name="connsiteY7521" fmla="*/ 4084878 h 6859062"/>
              <a:gd name="connsiteX7522" fmla="*/ 1192221 w 12192185"/>
              <a:gd name="connsiteY7522" fmla="*/ 4026335 h 6859062"/>
              <a:gd name="connsiteX7523" fmla="*/ 1196609 w 12192185"/>
              <a:gd name="connsiteY7523" fmla="*/ 4027511 h 6859062"/>
              <a:gd name="connsiteX7524" fmla="*/ 1196295 w 12192185"/>
              <a:gd name="connsiteY7524" fmla="*/ 4046239 h 6859062"/>
              <a:gd name="connsiteX7525" fmla="*/ 1199302 w 12192185"/>
              <a:gd name="connsiteY7525" fmla="*/ 4060941 h 6859062"/>
              <a:gd name="connsiteX7526" fmla="*/ 1197352 w 12192185"/>
              <a:gd name="connsiteY7526" fmla="*/ 4039386 h 6859062"/>
              <a:gd name="connsiteX7527" fmla="*/ 1196501 w 12192185"/>
              <a:gd name="connsiteY7527" fmla="*/ 3997671 h 6859062"/>
              <a:gd name="connsiteX7528" fmla="*/ 1192077 w 12192185"/>
              <a:gd name="connsiteY7528" fmla="*/ 3993956 h 6859062"/>
              <a:gd name="connsiteX7529" fmla="*/ 1187286 w 12192185"/>
              <a:gd name="connsiteY7529" fmla="*/ 3992084 h 6859062"/>
              <a:gd name="connsiteX7530" fmla="*/ 1189638 w 12192185"/>
              <a:gd name="connsiteY7530" fmla="*/ 3983306 h 6859062"/>
              <a:gd name="connsiteX7531" fmla="*/ 1194026 w 12192185"/>
              <a:gd name="connsiteY7531" fmla="*/ 3984482 h 6859062"/>
              <a:gd name="connsiteX7532" fmla="*/ 1195201 w 12192185"/>
              <a:gd name="connsiteY7532" fmla="*/ 3980095 h 6859062"/>
              <a:gd name="connsiteX7533" fmla="*/ 1196078 w 12192185"/>
              <a:gd name="connsiteY7533" fmla="*/ 3976830 h 6859062"/>
              <a:gd name="connsiteX7534" fmla="*/ 1193656 w 12192185"/>
              <a:gd name="connsiteY7534" fmla="*/ 3858023 h 6859062"/>
              <a:gd name="connsiteX7535" fmla="*/ 1195387 w 12192185"/>
              <a:gd name="connsiteY7535" fmla="*/ 3826168 h 6859062"/>
              <a:gd name="connsiteX7536" fmla="*/ 1189261 w 12192185"/>
              <a:gd name="connsiteY7536" fmla="*/ 3809165 h 6859062"/>
              <a:gd name="connsiteX7537" fmla="*/ 1186364 w 12192185"/>
              <a:gd name="connsiteY7537" fmla="*/ 3784870 h 6859062"/>
              <a:gd name="connsiteX7538" fmla="*/ 1189031 w 12192185"/>
              <a:gd name="connsiteY7538" fmla="*/ 3757361 h 6859062"/>
              <a:gd name="connsiteX7539" fmla="*/ 1188486 w 12192185"/>
              <a:gd name="connsiteY7539" fmla="*/ 3724289 h 6859062"/>
              <a:gd name="connsiteX7540" fmla="*/ 1191467 w 12192185"/>
              <a:gd name="connsiteY7540" fmla="*/ 3678050 h 6859062"/>
              <a:gd name="connsiteX7541" fmla="*/ 1189745 w 12192185"/>
              <a:gd name="connsiteY7541" fmla="*/ 3649366 h 6859062"/>
              <a:gd name="connsiteX7542" fmla="*/ 1190921 w 12192185"/>
              <a:gd name="connsiteY7542" fmla="*/ 3644976 h 6859062"/>
              <a:gd name="connsiteX7543" fmla="*/ 1191551 w 12192185"/>
              <a:gd name="connsiteY7543" fmla="*/ 3607517 h 6859062"/>
              <a:gd name="connsiteX7544" fmla="*/ 1191005 w 12192185"/>
              <a:gd name="connsiteY7544" fmla="*/ 3574448 h 6859062"/>
              <a:gd name="connsiteX7545" fmla="*/ 1190145 w 12192185"/>
              <a:gd name="connsiteY7545" fmla="*/ 3560123 h 6859062"/>
              <a:gd name="connsiteX7546" fmla="*/ 1191320 w 12192185"/>
              <a:gd name="connsiteY7546" fmla="*/ 3555733 h 6859062"/>
              <a:gd name="connsiteX7547" fmla="*/ 1199237 w 12192185"/>
              <a:gd name="connsiteY7547" fmla="*/ 3543742 h 6859062"/>
              <a:gd name="connsiteX7548" fmla="*/ 1200413 w 12192185"/>
              <a:gd name="connsiteY7548" fmla="*/ 3539355 h 6859062"/>
              <a:gd name="connsiteX7549" fmla="*/ 1198376 w 12192185"/>
              <a:gd name="connsiteY7549" fmla="*/ 3529400 h 6859062"/>
              <a:gd name="connsiteX7550" fmla="*/ 1193987 w 12192185"/>
              <a:gd name="connsiteY7550" fmla="*/ 3528224 h 6859062"/>
              <a:gd name="connsiteX7551" fmla="*/ 1199867 w 12192185"/>
              <a:gd name="connsiteY7551" fmla="*/ 3506280 h 6859062"/>
              <a:gd name="connsiteX7552" fmla="*/ 1196655 w 12192185"/>
              <a:gd name="connsiteY7552" fmla="*/ 3500715 h 6859062"/>
              <a:gd name="connsiteX7553" fmla="*/ 1195479 w 12192185"/>
              <a:gd name="connsiteY7553" fmla="*/ 3505105 h 6859062"/>
              <a:gd name="connsiteX7554" fmla="*/ 1193987 w 12192185"/>
              <a:gd name="connsiteY7554" fmla="*/ 3528224 h 6859062"/>
              <a:gd name="connsiteX7555" fmla="*/ 1189599 w 12192185"/>
              <a:gd name="connsiteY7555" fmla="*/ 3527046 h 6859062"/>
              <a:gd name="connsiteX7556" fmla="*/ 1191951 w 12192185"/>
              <a:gd name="connsiteY7556" fmla="*/ 3518270 h 6859062"/>
              <a:gd name="connsiteX7557" fmla="*/ 1193127 w 12192185"/>
              <a:gd name="connsiteY7557" fmla="*/ 3513881 h 6859062"/>
              <a:gd name="connsiteX7558" fmla="*/ 1192266 w 12192185"/>
              <a:gd name="connsiteY7558" fmla="*/ 3499539 h 6859062"/>
              <a:gd name="connsiteX7559" fmla="*/ 1196970 w 12192185"/>
              <a:gd name="connsiteY7559" fmla="*/ 3481986 h 6859062"/>
              <a:gd name="connsiteX7560" fmla="*/ 1200183 w 12192185"/>
              <a:gd name="connsiteY7560" fmla="*/ 3487553 h 6859062"/>
              <a:gd name="connsiteX7561" fmla="*/ 1202534 w 12192185"/>
              <a:gd name="connsiteY7561" fmla="*/ 3478773 h 6859062"/>
              <a:gd name="connsiteX7562" fmla="*/ 1204886 w 12192185"/>
              <a:gd name="connsiteY7562" fmla="*/ 3469994 h 6859062"/>
              <a:gd name="connsiteX7563" fmla="*/ 1204026 w 12192185"/>
              <a:gd name="connsiteY7563" fmla="*/ 3455658 h 6859062"/>
              <a:gd name="connsiteX7564" fmla="*/ 1206377 w 12192185"/>
              <a:gd name="connsiteY7564" fmla="*/ 3446890 h 6859062"/>
              <a:gd name="connsiteX7565" fmla="*/ 1203164 w 12192185"/>
              <a:gd name="connsiteY7565" fmla="*/ 3441325 h 6859062"/>
              <a:gd name="connsiteX7566" fmla="*/ 1202303 w 12192185"/>
              <a:gd name="connsiteY7566" fmla="*/ 3426982 h 6859062"/>
              <a:gd name="connsiteX7567" fmla="*/ 1204655 w 12192185"/>
              <a:gd name="connsiteY7567" fmla="*/ 3418201 h 6859062"/>
              <a:gd name="connsiteX7568" fmla="*/ 1210220 w 12192185"/>
              <a:gd name="connsiteY7568" fmla="*/ 3414990 h 6859062"/>
              <a:gd name="connsiteX7569" fmla="*/ 1207006 w 12192185"/>
              <a:gd name="connsiteY7569" fmla="*/ 3409422 h 6859062"/>
              <a:gd name="connsiteX7570" fmla="*/ 1213747 w 12192185"/>
              <a:gd name="connsiteY7570" fmla="*/ 3401828 h 6859062"/>
              <a:gd name="connsiteX7571" fmla="*/ 1211710 w 12192185"/>
              <a:gd name="connsiteY7571" fmla="*/ 3391869 h 6859062"/>
              <a:gd name="connsiteX7572" fmla="*/ 1206147 w 12192185"/>
              <a:gd name="connsiteY7572" fmla="*/ 3395082 h 6859062"/>
              <a:gd name="connsiteX7573" fmla="*/ 1209675 w 12192185"/>
              <a:gd name="connsiteY7573" fmla="*/ 3381925 h 6859062"/>
              <a:gd name="connsiteX7574" fmla="*/ 1210852 w 12192185"/>
              <a:gd name="connsiteY7574" fmla="*/ 3377530 h 6859062"/>
              <a:gd name="connsiteX7575" fmla="*/ 1211164 w 12192185"/>
              <a:gd name="connsiteY7575" fmla="*/ 3358810 h 6859062"/>
              <a:gd name="connsiteX7576" fmla="*/ 1215869 w 12192185"/>
              <a:gd name="connsiteY7576" fmla="*/ 3341259 h 6859062"/>
              <a:gd name="connsiteX7577" fmla="*/ 1219396 w 12192185"/>
              <a:gd name="connsiteY7577" fmla="*/ 3328096 h 6859062"/>
              <a:gd name="connsiteX7578" fmla="*/ 1226452 w 12192185"/>
              <a:gd name="connsiteY7578" fmla="*/ 3301773 h 6859062"/>
              <a:gd name="connsiteX7579" fmla="*/ 1234369 w 12192185"/>
              <a:gd name="connsiteY7579" fmla="*/ 3289786 h 6859062"/>
              <a:gd name="connsiteX7580" fmla="*/ 1237581 w 12192185"/>
              <a:gd name="connsiteY7580" fmla="*/ 3295346 h 6859062"/>
              <a:gd name="connsiteX7581" fmla="*/ 1240795 w 12192185"/>
              <a:gd name="connsiteY7581" fmla="*/ 3300916 h 6859062"/>
              <a:gd name="connsiteX7582" fmla="*/ 1241970 w 12192185"/>
              <a:gd name="connsiteY7582" fmla="*/ 3296528 h 6859062"/>
              <a:gd name="connsiteX7583" fmla="*/ 1243146 w 12192185"/>
              <a:gd name="connsiteY7583" fmla="*/ 3292135 h 6859062"/>
              <a:gd name="connsiteX7584" fmla="*/ 1239934 w 12192185"/>
              <a:gd name="connsiteY7584" fmla="*/ 3286572 h 6859062"/>
              <a:gd name="connsiteX7585" fmla="*/ 1236721 w 12192185"/>
              <a:gd name="connsiteY7585" fmla="*/ 3281008 h 6859062"/>
              <a:gd name="connsiteX7586" fmla="*/ 1232332 w 12192185"/>
              <a:gd name="connsiteY7586" fmla="*/ 3279831 h 6859062"/>
              <a:gd name="connsiteX7587" fmla="*/ 1222064 w 12192185"/>
              <a:gd name="connsiteY7587" fmla="*/ 3300599 h 6859062"/>
              <a:gd name="connsiteX7588" fmla="*/ 1220889 w 12192185"/>
              <a:gd name="connsiteY7588" fmla="*/ 3304985 h 6859062"/>
              <a:gd name="connsiteX7589" fmla="*/ 1216184 w 12192185"/>
              <a:gd name="connsiteY7589" fmla="*/ 3322536 h 6859062"/>
              <a:gd name="connsiteX7590" fmla="*/ 1213832 w 12192185"/>
              <a:gd name="connsiteY7590" fmla="*/ 3331310 h 6859062"/>
              <a:gd name="connsiteX7591" fmla="*/ 1215323 w 12192185"/>
              <a:gd name="connsiteY7591" fmla="*/ 3308198 h 6859062"/>
              <a:gd name="connsiteX7592" fmla="*/ 1217989 w 12192185"/>
              <a:gd name="connsiteY7592" fmla="*/ 3280691 h 6859062"/>
              <a:gd name="connsiteX7593" fmla="*/ 1224731 w 12192185"/>
              <a:gd name="connsiteY7593" fmla="*/ 3273086 h 6859062"/>
              <a:gd name="connsiteX7594" fmla="*/ 1227083 w 12192185"/>
              <a:gd name="connsiteY7594" fmla="*/ 3264315 h 6859062"/>
              <a:gd name="connsiteX7595" fmla="*/ 1232963 w 12192185"/>
              <a:gd name="connsiteY7595" fmla="*/ 3242369 h 6859062"/>
              <a:gd name="connsiteX7596" fmla="*/ 1236175 w 12192185"/>
              <a:gd name="connsiteY7596" fmla="*/ 3247936 h 6859062"/>
              <a:gd name="connsiteX7597" fmla="*/ 1240563 w 12192185"/>
              <a:gd name="connsiteY7597" fmla="*/ 3249108 h 6859062"/>
              <a:gd name="connsiteX7598" fmla="*/ 1241739 w 12192185"/>
              <a:gd name="connsiteY7598" fmla="*/ 3244723 h 6859062"/>
              <a:gd name="connsiteX7599" fmla="*/ 1242916 w 12192185"/>
              <a:gd name="connsiteY7599" fmla="*/ 3240333 h 6859062"/>
              <a:gd name="connsiteX7600" fmla="*/ 1239703 w 12192185"/>
              <a:gd name="connsiteY7600" fmla="*/ 3234769 h 6859062"/>
              <a:gd name="connsiteX7601" fmla="*/ 1240878 w 12192185"/>
              <a:gd name="connsiteY7601" fmla="*/ 3230376 h 6859062"/>
              <a:gd name="connsiteX7602" fmla="*/ 1242054 w 12192185"/>
              <a:gd name="connsiteY7602" fmla="*/ 3225989 h 6859062"/>
              <a:gd name="connsiteX7603" fmla="*/ 1242370 w 12192185"/>
              <a:gd name="connsiteY7603" fmla="*/ 3207259 h 6859062"/>
              <a:gd name="connsiteX7604" fmla="*/ 1248251 w 12192185"/>
              <a:gd name="connsiteY7604" fmla="*/ 3185312 h 6859062"/>
              <a:gd name="connsiteX7605" fmla="*/ 1253814 w 12192185"/>
              <a:gd name="connsiteY7605" fmla="*/ 3182099 h 6859062"/>
              <a:gd name="connsiteX7606" fmla="*/ 1257029 w 12192185"/>
              <a:gd name="connsiteY7606" fmla="*/ 3187663 h 6859062"/>
              <a:gd name="connsiteX7607" fmla="*/ 1247304 w 12192185"/>
              <a:gd name="connsiteY7607" fmla="*/ 3241511 h 6859062"/>
              <a:gd name="connsiteX7608" fmla="*/ 1246128 w 12192185"/>
              <a:gd name="connsiteY7608" fmla="*/ 3245898 h 6859062"/>
              <a:gd name="connsiteX7609" fmla="*/ 1251693 w 12192185"/>
              <a:gd name="connsiteY7609" fmla="*/ 3242685 h 6859062"/>
              <a:gd name="connsiteX7610" fmla="*/ 1261416 w 12192185"/>
              <a:gd name="connsiteY7610" fmla="*/ 3188839 h 6859062"/>
              <a:gd name="connsiteX7611" fmla="*/ 1276934 w 12192185"/>
              <a:gd name="connsiteY7611" fmla="*/ 3183592 h 6859062"/>
              <a:gd name="connsiteX7612" fmla="*/ 1298646 w 12192185"/>
              <a:gd name="connsiteY7612" fmla="*/ 3137662 h 6859062"/>
              <a:gd name="connsiteX7613" fmla="*/ 1303878 w 12192185"/>
              <a:gd name="connsiteY7613" fmla="*/ 3128544 h 6859062"/>
              <a:gd name="connsiteX7614" fmla="*/ 1303323 w 12192185"/>
              <a:gd name="connsiteY7614" fmla="*/ 3125969 h 6859062"/>
              <a:gd name="connsiteX7615" fmla="*/ 1302413 w 12192185"/>
              <a:gd name="connsiteY7615" fmla="*/ 3117734 h 6859062"/>
              <a:gd name="connsiteX7616" fmla="*/ 1296610 w 12192185"/>
              <a:gd name="connsiteY7616" fmla="*/ 3127709 h 6859062"/>
              <a:gd name="connsiteX7617" fmla="*/ 1297786 w 12192185"/>
              <a:gd name="connsiteY7617" fmla="*/ 3123321 h 6859062"/>
              <a:gd name="connsiteX7618" fmla="*/ 1286656 w 12192185"/>
              <a:gd name="connsiteY7618" fmla="*/ 3129749 h 6859062"/>
              <a:gd name="connsiteX7619" fmla="*/ 1290183 w 12192185"/>
              <a:gd name="connsiteY7619" fmla="*/ 3116583 h 6859062"/>
              <a:gd name="connsiteX7620" fmla="*/ 1294573 w 12192185"/>
              <a:gd name="connsiteY7620" fmla="*/ 3117757 h 6859062"/>
              <a:gd name="connsiteX7621" fmla="*/ 1295749 w 12192185"/>
              <a:gd name="connsiteY7621" fmla="*/ 3113366 h 6859062"/>
              <a:gd name="connsiteX7622" fmla="*/ 1296924 w 12192185"/>
              <a:gd name="connsiteY7622" fmla="*/ 3108979 h 6859062"/>
              <a:gd name="connsiteX7623" fmla="*/ 1292536 w 12192185"/>
              <a:gd name="connsiteY7623" fmla="*/ 3107802 h 6859062"/>
              <a:gd name="connsiteX7624" fmla="*/ 1302804 w 12192185"/>
              <a:gd name="connsiteY7624" fmla="*/ 3087032 h 6859062"/>
              <a:gd name="connsiteX7625" fmla="*/ 1305156 w 12192185"/>
              <a:gd name="connsiteY7625" fmla="*/ 3078252 h 6859062"/>
              <a:gd name="connsiteX7626" fmla="*/ 1308685 w 12192185"/>
              <a:gd name="connsiteY7626" fmla="*/ 3065092 h 6859062"/>
              <a:gd name="connsiteX7627" fmla="*/ 1309860 w 12192185"/>
              <a:gd name="connsiteY7627" fmla="*/ 3060704 h 6859062"/>
              <a:gd name="connsiteX7628" fmla="*/ 1315426 w 12192185"/>
              <a:gd name="connsiteY7628" fmla="*/ 3057491 h 6859062"/>
              <a:gd name="connsiteX7629" fmla="*/ 1317777 w 12192185"/>
              <a:gd name="connsiteY7629" fmla="*/ 3048712 h 6859062"/>
              <a:gd name="connsiteX7630" fmla="*/ 1314564 w 12192185"/>
              <a:gd name="connsiteY7630" fmla="*/ 3043147 h 6859062"/>
              <a:gd name="connsiteX7631" fmla="*/ 1342787 w 12192185"/>
              <a:gd name="connsiteY7631" fmla="*/ 2937813 h 6859062"/>
              <a:gd name="connsiteX7632" fmla="*/ 1364499 w 12192185"/>
              <a:gd name="connsiteY7632" fmla="*/ 2891895 h 6859062"/>
              <a:gd name="connsiteX7633" fmla="*/ 1358935 w 12192185"/>
              <a:gd name="connsiteY7633" fmla="*/ 2895102 h 6859062"/>
              <a:gd name="connsiteX7634" fmla="*/ 1391231 w 12192185"/>
              <a:gd name="connsiteY7634" fmla="*/ 2809681 h 6859062"/>
              <a:gd name="connsiteX7635" fmla="*/ 1388018 w 12192185"/>
              <a:gd name="connsiteY7635" fmla="*/ 2804112 h 6859062"/>
              <a:gd name="connsiteX7636" fmla="*/ 1398286 w 12192185"/>
              <a:gd name="connsiteY7636" fmla="*/ 2783346 h 6859062"/>
              <a:gd name="connsiteX7637" fmla="*/ 1403851 w 12192185"/>
              <a:gd name="connsiteY7637" fmla="*/ 2780138 h 6859062"/>
              <a:gd name="connsiteX7638" fmla="*/ 1401815 w 12192185"/>
              <a:gd name="connsiteY7638" fmla="*/ 2770183 h 6859062"/>
              <a:gd name="connsiteX7639" fmla="*/ 1413259 w 12192185"/>
              <a:gd name="connsiteY7639" fmla="*/ 2745029 h 6859062"/>
              <a:gd name="connsiteX7640" fmla="*/ 1414436 w 12192185"/>
              <a:gd name="connsiteY7640" fmla="*/ 2740640 h 6859062"/>
              <a:gd name="connsiteX7641" fmla="*/ 1422351 w 12192185"/>
              <a:gd name="connsiteY7641" fmla="*/ 2728649 h 6859062"/>
              <a:gd name="connsiteX7642" fmla="*/ 1423527 w 12192185"/>
              <a:gd name="connsiteY7642" fmla="*/ 2724261 h 6859062"/>
              <a:gd name="connsiteX7643" fmla="*/ 1424703 w 12192185"/>
              <a:gd name="connsiteY7643" fmla="*/ 2719874 h 6859062"/>
              <a:gd name="connsiteX7644" fmla="*/ 1462248 w 12192185"/>
              <a:gd name="connsiteY7644" fmla="*/ 2649963 h 6859062"/>
              <a:gd name="connsiteX7645" fmla="*/ 1465777 w 12192185"/>
              <a:gd name="connsiteY7645" fmla="*/ 2636797 h 6859062"/>
              <a:gd name="connsiteX7646" fmla="*/ 1466952 w 12192185"/>
              <a:gd name="connsiteY7646" fmla="*/ 2632407 h 6859062"/>
              <a:gd name="connsiteX7647" fmla="*/ 1471655 w 12192185"/>
              <a:gd name="connsiteY7647" fmla="*/ 2614853 h 6859062"/>
              <a:gd name="connsiteX7648" fmla="*/ 1502147 w 12192185"/>
              <a:gd name="connsiteY7648" fmla="*/ 2571278 h 6859062"/>
              <a:gd name="connsiteX7649" fmla="*/ 1608591 w 12192185"/>
              <a:gd name="connsiteY7649" fmla="*/ 2402239 h 6859062"/>
              <a:gd name="connsiteX7650" fmla="*/ 1609767 w 12192185"/>
              <a:gd name="connsiteY7650" fmla="*/ 2397846 h 6859062"/>
              <a:gd name="connsiteX7651" fmla="*/ 1615330 w 12192185"/>
              <a:gd name="connsiteY7651" fmla="*/ 2394634 h 6859062"/>
              <a:gd name="connsiteX7652" fmla="*/ 1663827 w 12192185"/>
              <a:gd name="connsiteY7652" fmla="*/ 2345305 h 6859062"/>
              <a:gd name="connsiteX7653" fmla="*/ 1708684 w 12192185"/>
              <a:gd name="connsiteY7653" fmla="*/ 2295402 h 6859062"/>
              <a:gd name="connsiteX7654" fmla="*/ 1707836 w 12192185"/>
              <a:gd name="connsiteY7654" fmla="*/ 2296534 h 6859062"/>
              <a:gd name="connsiteX7655" fmla="*/ 1699430 w 12192185"/>
              <a:gd name="connsiteY7655" fmla="*/ 2308981 h 6859062"/>
              <a:gd name="connsiteX7656" fmla="*/ 1692690 w 12192185"/>
              <a:gd name="connsiteY7656" fmla="*/ 2316585 h 6859062"/>
              <a:gd name="connsiteX7657" fmla="*/ 1671292 w 12192185"/>
              <a:gd name="connsiteY7657" fmla="*/ 2343775 h 6859062"/>
              <a:gd name="connsiteX7658" fmla="*/ 1635237 w 12192185"/>
              <a:gd name="connsiteY7658" fmla="*/ 2390564 h 6859062"/>
              <a:gd name="connsiteX7659" fmla="*/ 1628497 w 12192185"/>
              <a:gd name="connsiteY7659" fmla="*/ 2398157 h 6859062"/>
              <a:gd name="connsiteX7660" fmla="*/ 1621756 w 12192185"/>
              <a:gd name="connsiteY7660" fmla="*/ 2405764 h 6859062"/>
              <a:gd name="connsiteX7661" fmla="*/ 1624969 w 12192185"/>
              <a:gd name="connsiteY7661" fmla="*/ 2411329 h 6859062"/>
              <a:gd name="connsiteX7662" fmla="*/ 1642839 w 12192185"/>
              <a:gd name="connsiteY7662" fmla="*/ 2397304 h 6859062"/>
              <a:gd name="connsiteX7663" fmla="*/ 1644015 w 12192185"/>
              <a:gd name="connsiteY7663" fmla="*/ 2392913 h 6859062"/>
              <a:gd name="connsiteX7664" fmla="*/ 1700292 w 12192185"/>
              <a:gd name="connsiteY7664" fmla="*/ 2323327 h 6859062"/>
              <a:gd name="connsiteX7665" fmla="*/ 1701467 w 12192185"/>
              <a:gd name="connsiteY7665" fmla="*/ 2318935 h 6859062"/>
              <a:gd name="connsiteX7666" fmla="*/ 1724901 w 12192185"/>
              <a:gd name="connsiteY7666" fmla="*/ 2301696 h 6859062"/>
              <a:gd name="connsiteX7667" fmla="*/ 1745124 w 12192185"/>
              <a:gd name="connsiteY7667" fmla="*/ 2278887 h 6859062"/>
              <a:gd name="connsiteX7668" fmla="*/ 1782824 w 12192185"/>
              <a:gd name="connsiteY7668" fmla="*/ 2232551 h 6859062"/>
              <a:gd name="connsiteX7669" fmla="*/ 1822696 w 12192185"/>
              <a:gd name="connsiteY7669" fmla="*/ 2195935 h 6859062"/>
              <a:gd name="connsiteX7670" fmla="*/ 1822484 w 12192185"/>
              <a:gd name="connsiteY7670" fmla="*/ 2200849 h 6859062"/>
              <a:gd name="connsiteX7671" fmla="*/ 1999462 w 12192185"/>
              <a:gd name="connsiteY7671" fmla="*/ 2031893 h 6859062"/>
              <a:gd name="connsiteX7672" fmla="*/ 2003849 w 12192185"/>
              <a:gd name="connsiteY7672" fmla="*/ 2033068 h 6859062"/>
              <a:gd name="connsiteX7673" fmla="*/ 2005028 w 12192185"/>
              <a:gd name="connsiteY7673" fmla="*/ 2028679 h 6859062"/>
              <a:gd name="connsiteX7674" fmla="*/ 2006202 w 12192185"/>
              <a:gd name="connsiteY7674" fmla="*/ 2024291 h 6859062"/>
              <a:gd name="connsiteX7675" fmla="*/ 2027284 w 12192185"/>
              <a:gd name="connsiteY7675" fmla="*/ 2015829 h 6859062"/>
              <a:gd name="connsiteX7676" fmla="*/ 2078861 w 12192185"/>
              <a:gd name="connsiteY7676" fmla="*/ 1963796 h 6859062"/>
              <a:gd name="connsiteX7677" fmla="*/ 2075332 w 12192185"/>
              <a:gd name="connsiteY7677" fmla="*/ 1976962 h 6859062"/>
              <a:gd name="connsiteX7678" fmla="*/ 2096730 w 12192185"/>
              <a:gd name="connsiteY7678" fmla="*/ 1949770 h 6859062"/>
              <a:gd name="connsiteX7679" fmla="*/ 2099959 w 12192185"/>
              <a:gd name="connsiteY7679" fmla="*/ 1955334 h 6859062"/>
              <a:gd name="connsiteX7680" fmla="*/ 2172619 w 12192185"/>
              <a:gd name="connsiteY7680" fmla="*/ 1894836 h 6859062"/>
              <a:gd name="connsiteX7681" fmla="*/ 2177007 w 12192185"/>
              <a:gd name="connsiteY7681" fmla="*/ 1896012 h 6859062"/>
              <a:gd name="connsiteX7682" fmla="*/ 2239395 w 12192185"/>
              <a:gd name="connsiteY7682" fmla="*/ 1856284 h 6859062"/>
              <a:gd name="connsiteX7683" fmla="*/ 2314087 w 12192185"/>
              <a:gd name="connsiteY7683" fmla="*/ 1805741 h 6859062"/>
              <a:gd name="connsiteX7684" fmla="*/ 2355050 w 12192185"/>
              <a:gd name="connsiteY7684" fmla="*/ 1786728 h 6859062"/>
              <a:gd name="connsiteX7685" fmla="*/ 2396347 w 12192185"/>
              <a:gd name="connsiteY7685" fmla="*/ 1762071 h 6859062"/>
              <a:gd name="connsiteX7686" fmla="*/ 2395206 w 12192185"/>
              <a:gd name="connsiteY7686" fmla="*/ 1766326 h 6859062"/>
              <a:gd name="connsiteX7687" fmla="*/ 2400772 w 12192185"/>
              <a:gd name="connsiteY7687" fmla="*/ 1763115 h 6859062"/>
              <a:gd name="connsiteX7688" fmla="*/ 2407512 w 12192185"/>
              <a:gd name="connsiteY7688" fmla="*/ 1755513 h 6859062"/>
              <a:gd name="connsiteX7689" fmla="*/ 2406336 w 12192185"/>
              <a:gd name="connsiteY7689" fmla="*/ 1759904 h 6859062"/>
              <a:gd name="connsiteX7690" fmla="*/ 2439724 w 12192185"/>
              <a:gd name="connsiteY7690" fmla="*/ 1740626 h 6859062"/>
              <a:gd name="connsiteX7691" fmla="*/ 2440900 w 12192185"/>
              <a:gd name="connsiteY7691" fmla="*/ 1736237 h 6859062"/>
              <a:gd name="connsiteX7692" fmla="*/ 2447641 w 12192185"/>
              <a:gd name="connsiteY7692" fmla="*/ 1728636 h 6859062"/>
              <a:gd name="connsiteX7693" fmla="*/ 2445289 w 12192185"/>
              <a:gd name="connsiteY7693" fmla="*/ 1737413 h 6859062"/>
              <a:gd name="connsiteX7694" fmla="*/ 2461984 w 12192185"/>
              <a:gd name="connsiteY7694" fmla="*/ 1727775 h 6859062"/>
              <a:gd name="connsiteX7695" fmla="*/ 2460807 w 12192185"/>
              <a:gd name="connsiteY7695" fmla="*/ 1732164 h 6859062"/>
              <a:gd name="connsiteX7696" fmla="*/ 2459631 w 12192185"/>
              <a:gd name="connsiteY7696" fmla="*/ 1736551 h 6859062"/>
              <a:gd name="connsiteX7697" fmla="*/ 2464021 w 12192185"/>
              <a:gd name="connsiteY7697" fmla="*/ 1737728 h 6859062"/>
              <a:gd name="connsiteX7698" fmla="*/ 2466372 w 12192185"/>
              <a:gd name="connsiteY7698" fmla="*/ 1728950 h 6859062"/>
              <a:gd name="connsiteX7699" fmla="*/ 2467548 w 12192185"/>
              <a:gd name="connsiteY7699" fmla="*/ 1724561 h 6859062"/>
              <a:gd name="connsiteX7700" fmla="*/ 2473113 w 12192185"/>
              <a:gd name="connsiteY7700" fmla="*/ 1721349 h 6859062"/>
              <a:gd name="connsiteX7701" fmla="*/ 2477501 w 12192185"/>
              <a:gd name="connsiteY7701" fmla="*/ 1722524 h 6859062"/>
              <a:gd name="connsiteX7702" fmla="*/ 2481891 w 12192185"/>
              <a:gd name="connsiteY7702" fmla="*/ 1723700 h 6859062"/>
              <a:gd name="connsiteX7703" fmla="*/ 2483066 w 12192185"/>
              <a:gd name="connsiteY7703" fmla="*/ 1719312 h 6859062"/>
              <a:gd name="connsiteX7704" fmla="*/ 2484241 w 12192185"/>
              <a:gd name="connsiteY7704" fmla="*/ 1714923 h 6859062"/>
              <a:gd name="connsiteX7705" fmla="*/ 2499760 w 12192185"/>
              <a:gd name="connsiteY7705" fmla="*/ 1709675 h 6859062"/>
              <a:gd name="connsiteX7706" fmla="*/ 2498584 w 12192185"/>
              <a:gd name="connsiteY7706" fmla="*/ 1714063 h 6859062"/>
              <a:gd name="connsiteX7707" fmla="*/ 2504150 w 12192185"/>
              <a:gd name="connsiteY7707" fmla="*/ 1710851 h 6859062"/>
              <a:gd name="connsiteX7708" fmla="*/ 2509714 w 12192185"/>
              <a:gd name="connsiteY7708" fmla="*/ 1707638 h 6859062"/>
              <a:gd name="connsiteX7709" fmla="*/ 2516453 w 12192185"/>
              <a:gd name="connsiteY7709" fmla="*/ 1700037 h 6859062"/>
              <a:gd name="connsiteX7710" fmla="*/ 2515278 w 12192185"/>
              <a:gd name="connsiteY7710" fmla="*/ 1704424 h 6859062"/>
              <a:gd name="connsiteX7711" fmla="*/ 2535183 w 12192185"/>
              <a:gd name="connsiteY7711" fmla="*/ 1700351 h 6859062"/>
              <a:gd name="connsiteX7712" fmla="*/ 2532833 w 12192185"/>
              <a:gd name="connsiteY7712" fmla="*/ 1709129 h 6859062"/>
              <a:gd name="connsiteX7713" fmla="*/ 2553917 w 12192185"/>
              <a:gd name="connsiteY7713" fmla="*/ 1700667 h 6859062"/>
              <a:gd name="connsiteX7714" fmla="*/ 2552740 w 12192185"/>
              <a:gd name="connsiteY7714" fmla="*/ 1705055 h 6859062"/>
              <a:gd name="connsiteX7715" fmla="*/ 2547174 w 12192185"/>
              <a:gd name="connsiteY7715" fmla="*/ 1708269 h 6859062"/>
              <a:gd name="connsiteX7716" fmla="*/ 2545999 w 12192185"/>
              <a:gd name="connsiteY7716" fmla="*/ 1712656 h 6859062"/>
              <a:gd name="connsiteX7717" fmla="*/ 2551565 w 12192185"/>
              <a:gd name="connsiteY7717" fmla="*/ 1709444 h 6859062"/>
              <a:gd name="connsiteX7718" fmla="*/ 2557127 w 12192185"/>
              <a:gd name="connsiteY7718" fmla="*/ 1706231 h 6859062"/>
              <a:gd name="connsiteX7719" fmla="*/ 2563873 w 12192185"/>
              <a:gd name="connsiteY7719" fmla="*/ 1698631 h 6859062"/>
              <a:gd name="connsiteX7720" fmla="*/ 2555092 w 12192185"/>
              <a:gd name="connsiteY7720" fmla="*/ 1696279 h 6859062"/>
              <a:gd name="connsiteX7721" fmla="*/ 2560654 w 12192185"/>
              <a:gd name="connsiteY7721" fmla="*/ 1693066 h 6859062"/>
              <a:gd name="connsiteX7722" fmla="*/ 2589658 w 12192185"/>
              <a:gd name="connsiteY7722" fmla="*/ 1672614 h 6859062"/>
              <a:gd name="connsiteX7723" fmla="*/ 2570929 w 12192185"/>
              <a:gd name="connsiteY7723" fmla="*/ 1672297 h 6859062"/>
              <a:gd name="connsiteX7724" fmla="*/ 2592009 w 12192185"/>
              <a:gd name="connsiteY7724" fmla="*/ 1663836 h 6859062"/>
              <a:gd name="connsiteX7725" fmla="*/ 2608703 w 12192185"/>
              <a:gd name="connsiteY7725" fmla="*/ 1654198 h 6859062"/>
              <a:gd name="connsiteX7726" fmla="*/ 2618656 w 12192185"/>
              <a:gd name="connsiteY7726" fmla="*/ 1652161 h 6859062"/>
              <a:gd name="connsiteX7727" fmla="*/ 2616301 w 12192185"/>
              <a:gd name="connsiteY7727" fmla="*/ 1660938 h 6859062"/>
              <a:gd name="connsiteX7728" fmla="*/ 2638562 w 12192185"/>
              <a:gd name="connsiteY7728" fmla="*/ 1648089 h 6859062"/>
              <a:gd name="connsiteX7729" fmla="*/ 2641775 w 12192185"/>
              <a:gd name="connsiteY7729" fmla="*/ 1653652 h 6859062"/>
              <a:gd name="connsiteX7730" fmla="*/ 2636209 w 12192185"/>
              <a:gd name="connsiteY7730" fmla="*/ 1656866 h 6859062"/>
              <a:gd name="connsiteX7731" fmla="*/ 2635034 w 12192185"/>
              <a:gd name="connsiteY7731" fmla="*/ 1661255 h 6859062"/>
              <a:gd name="connsiteX7732" fmla="*/ 2639422 w 12192185"/>
              <a:gd name="connsiteY7732" fmla="*/ 1662430 h 6859062"/>
              <a:gd name="connsiteX7733" fmla="*/ 2644988 w 12192185"/>
              <a:gd name="connsiteY7733" fmla="*/ 1659216 h 6859062"/>
              <a:gd name="connsiteX7734" fmla="*/ 2646164 w 12192185"/>
              <a:gd name="connsiteY7734" fmla="*/ 1654827 h 6859062"/>
              <a:gd name="connsiteX7735" fmla="*/ 2651728 w 12192185"/>
              <a:gd name="connsiteY7735" fmla="*/ 1651615 h 6859062"/>
              <a:gd name="connsiteX7736" fmla="*/ 2657295 w 12192185"/>
              <a:gd name="connsiteY7736" fmla="*/ 1648402 h 6859062"/>
              <a:gd name="connsiteX7737" fmla="*/ 2661683 w 12192185"/>
              <a:gd name="connsiteY7737" fmla="*/ 1649578 h 6859062"/>
              <a:gd name="connsiteX7738" fmla="*/ 2662859 w 12192185"/>
              <a:gd name="connsiteY7738" fmla="*/ 1645189 h 6859062"/>
              <a:gd name="connsiteX7739" fmla="*/ 2667247 w 12192185"/>
              <a:gd name="connsiteY7739" fmla="*/ 1646365 h 6859062"/>
              <a:gd name="connsiteX7740" fmla="*/ 2666072 w 12192185"/>
              <a:gd name="connsiteY7740" fmla="*/ 1650754 h 6859062"/>
              <a:gd name="connsiteX7741" fmla="*/ 2659333 w 12192185"/>
              <a:gd name="connsiteY7741" fmla="*/ 1658356 h 6859062"/>
              <a:gd name="connsiteX7742" fmla="*/ 2648201 w 12192185"/>
              <a:gd name="connsiteY7742" fmla="*/ 1664781 h 6859062"/>
              <a:gd name="connsiteX7743" fmla="*/ 2652590 w 12192185"/>
              <a:gd name="connsiteY7743" fmla="*/ 1665958 h 6859062"/>
              <a:gd name="connsiteX7744" fmla="*/ 2658155 w 12192185"/>
              <a:gd name="connsiteY7744" fmla="*/ 1662744 h 6859062"/>
              <a:gd name="connsiteX7745" fmla="*/ 2674849 w 12192185"/>
              <a:gd name="connsiteY7745" fmla="*/ 1653107 h 6859062"/>
              <a:gd name="connsiteX7746" fmla="*/ 2676025 w 12192185"/>
              <a:gd name="connsiteY7746" fmla="*/ 1648718 h 6859062"/>
              <a:gd name="connsiteX7747" fmla="*/ 2688331 w 12192185"/>
              <a:gd name="connsiteY7747" fmla="*/ 1637903 h 6859062"/>
              <a:gd name="connsiteX7748" fmla="*/ 2757141 w 12192185"/>
              <a:gd name="connsiteY7748" fmla="*/ 1609301 h 6859062"/>
              <a:gd name="connsiteX7749" fmla="*/ 2761529 w 12192185"/>
              <a:gd name="connsiteY7749" fmla="*/ 1610476 h 6859062"/>
              <a:gd name="connsiteX7750" fmla="*/ 2767095 w 12192185"/>
              <a:gd name="connsiteY7750" fmla="*/ 1607263 h 6859062"/>
              <a:gd name="connsiteX7751" fmla="*/ 2782612 w 12192185"/>
              <a:gd name="connsiteY7751" fmla="*/ 1602015 h 6859062"/>
              <a:gd name="connsiteX7752" fmla="*/ 2788178 w 12192185"/>
              <a:gd name="connsiteY7752" fmla="*/ 1598800 h 6859062"/>
              <a:gd name="connsiteX7753" fmla="*/ 2803695 w 12192185"/>
              <a:gd name="connsiteY7753" fmla="*/ 1593550 h 6859062"/>
              <a:gd name="connsiteX7754" fmla="*/ 2819213 w 12192185"/>
              <a:gd name="connsiteY7754" fmla="*/ 1588300 h 6859062"/>
              <a:gd name="connsiteX7755" fmla="*/ 2864594 w 12192185"/>
              <a:gd name="connsiteY7755" fmla="*/ 1576943 h 6859062"/>
              <a:gd name="connsiteX7756" fmla="*/ 2919067 w 12192185"/>
              <a:gd name="connsiteY7756" fmla="*/ 1549205 h 6859062"/>
              <a:gd name="connsiteX7757" fmla="*/ 2934582 w 12192185"/>
              <a:gd name="connsiteY7757" fmla="*/ 1543954 h 6859062"/>
              <a:gd name="connsiteX7758" fmla="*/ 2925554 w 12192185"/>
              <a:gd name="connsiteY7758" fmla="*/ 1540358 h 6859062"/>
              <a:gd name="connsiteX7759" fmla="*/ 2926131 w 12192185"/>
              <a:gd name="connsiteY7759" fmla="*/ 1539588 h 6859062"/>
              <a:gd name="connsiteX7760" fmla="*/ 2896181 w 12192185"/>
              <a:gd name="connsiteY7760" fmla="*/ 1548255 h 6859062"/>
              <a:gd name="connsiteX7761" fmla="*/ 2873472 w 12192185"/>
              <a:gd name="connsiteY7761" fmla="*/ 1553580 h 6859062"/>
              <a:gd name="connsiteX7762" fmla="*/ 2864801 w 12192185"/>
              <a:gd name="connsiteY7762" fmla="*/ 1556418 h 6859062"/>
              <a:gd name="connsiteX7763" fmla="*/ 2838261 w 12192185"/>
              <a:gd name="connsiteY7763" fmla="*/ 1569888 h 6859062"/>
              <a:gd name="connsiteX7764" fmla="*/ 2817177 w 12192185"/>
              <a:gd name="connsiteY7764" fmla="*/ 1578349 h 6859062"/>
              <a:gd name="connsiteX7765" fmla="*/ 2818353 w 12192185"/>
              <a:gd name="connsiteY7765" fmla="*/ 1573960 h 6859062"/>
              <a:gd name="connsiteX7766" fmla="*/ 2822743 w 12192185"/>
              <a:gd name="connsiteY7766" fmla="*/ 1575134 h 6859062"/>
              <a:gd name="connsiteX7767" fmla="*/ 2823919 w 12192185"/>
              <a:gd name="connsiteY7767" fmla="*/ 1570746 h 6859062"/>
              <a:gd name="connsiteX7768" fmla="*/ 2819530 w 12192185"/>
              <a:gd name="connsiteY7768" fmla="*/ 1569571 h 6859062"/>
              <a:gd name="connsiteX7769" fmla="*/ 2813965 w 12192185"/>
              <a:gd name="connsiteY7769" fmla="*/ 1572784 h 6859062"/>
              <a:gd name="connsiteX7770" fmla="*/ 2810439 w 12192185"/>
              <a:gd name="connsiteY7770" fmla="*/ 1585948 h 6859062"/>
              <a:gd name="connsiteX7771" fmla="*/ 2794920 w 12192185"/>
              <a:gd name="connsiteY7771" fmla="*/ 1591198 h 6859062"/>
              <a:gd name="connsiteX7772" fmla="*/ 2786141 w 12192185"/>
              <a:gd name="connsiteY7772" fmla="*/ 1588846 h 6859062"/>
              <a:gd name="connsiteX7773" fmla="*/ 2787317 w 12192185"/>
              <a:gd name="connsiteY7773" fmla="*/ 1584457 h 6859062"/>
              <a:gd name="connsiteX7774" fmla="*/ 2781755 w 12192185"/>
              <a:gd name="connsiteY7774" fmla="*/ 1587670 h 6859062"/>
              <a:gd name="connsiteX7775" fmla="*/ 2780580 w 12192185"/>
              <a:gd name="connsiteY7775" fmla="*/ 1592059 h 6859062"/>
              <a:gd name="connsiteX7776" fmla="*/ 2773837 w 12192185"/>
              <a:gd name="connsiteY7776" fmla="*/ 1599661 h 6859062"/>
              <a:gd name="connsiteX7777" fmla="*/ 2763883 w 12192185"/>
              <a:gd name="connsiteY7777" fmla="*/ 1601698 h 6859062"/>
              <a:gd name="connsiteX7778" fmla="*/ 2759493 w 12192185"/>
              <a:gd name="connsiteY7778" fmla="*/ 1600521 h 6859062"/>
              <a:gd name="connsiteX7779" fmla="*/ 2758317 w 12192185"/>
              <a:gd name="connsiteY7779" fmla="*/ 1604911 h 6859062"/>
              <a:gd name="connsiteX7780" fmla="*/ 2752753 w 12192185"/>
              <a:gd name="connsiteY7780" fmla="*/ 1608124 h 6859062"/>
              <a:gd name="connsiteX7781" fmla="*/ 2685119 w 12192185"/>
              <a:gd name="connsiteY7781" fmla="*/ 1632337 h 6859062"/>
              <a:gd name="connsiteX7782" fmla="*/ 2679549 w 12192185"/>
              <a:gd name="connsiteY7782" fmla="*/ 1635550 h 6859062"/>
              <a:gd name="connsiteX7783" fmla="*/ 2678376 w 12192185"/>
              <a:gd name="connsiteY7783" fmla="*/ 1639939 h 6859062"/>
              <a:gd name="connsiteX7784" fmla="*/ 2673989 w 12192185"/>
              <a:gd name="connsiteY7784" fmla="*/ 1638763 h 6859062"/>
              <a:gd name="connsiteX7785" fmla="*/ 2675162 w 12192185"/>
              <a:gd name="connsiteY7785" fmla="*/ 1634373 h 6859062"/>
              <a:gd name="connsiteX7786" fmla="*/ 2650869 w 12192185"/>
              <a:gd name="connsiteY7786" fmla="*/ 1637272 h 6859062"/>
              <a:gd name="connsiteX7787" fmla="*/ 2649692 w 12192185"/>
              <a:gd name="connsiteY7787" fmla="*/ 1641661 h 6859062"/>
              <a:gd name="connsiteX7788" fmla="*/ 2657609 w 12192185"/>
              <a:gd name="connsiteY7788" fmla="*/ 1629671 h 6859062"/>
              <a:gd name="connsiteX7789" fmla="*/ 2615441 w 12192185"/>
              <a:gd name="connsiteY7789" fmla="*/ 1646597 h 6859062"/>
              <a:gd name="connsiteX7790" fmla="*/ 2588799 w 12192185"/>
              <a:gd name="connsiteY7790" fmla="*/ 1658272 h 6859062"/>
              <a:gd name="connsiteX7791" fmla="*/ 2562149 w 12192185"/>
              <a:gd name="connsiteY7791" fmla="*/ 1669945 h 6859062"/>
              <a:gd name="connsiteX7792" fmla="*/ 2513243 w 12192185"/>
              <a:gd name="connsiteY7792" fmla="*/ 1694471 h 6859062"/>
              <a:gd name="connsiteX7793" fmla="*/ 2497725 w 12192185"/>
              <a:gd name="connsiteY7793" fmla="*/ 1699722 h 6859062"/>
              <a:gd name="connsiteX7794" fmla="*/ 2486593 w 12192185"/>
              <a:gd name="connsiteY7794" fmla="*/ 1706147 h 6859062"/>
              <a:gd name="connsiteX7795" fmla="*/ 2476641 w 12192185"/>
              <a:gd name="connsiteY7795" fmla="*/ 1708184 h 6859062"/>
              <a:gd name="connsiteX7796" fmla="*/ 2459945 w 12192185"/>
              <a:gd name="connsiteY7796" fmla="*/ 1717821 h 6859062"/>
              <a:gd name="connsiteX7797" fmla="*/ 2444428 w 12192185"/>
              <a:gd name="connsiteY7797" fmla="*/ 1723070 h 6859062"/>
              <a:gd name="connsiteX7798" fmla="*/ 2432123 w 12192185"/>
              <a:gd name="connsiteY7798" fmla="*/ 1733884 h 6859062"/>
              <a:gd name="connsiteX7799" fmla="*/ 2427734 w 12192185"/>
              <a:gd name="connsiteY7799" fmla="*/ 1732709 h 6859062"/>
              <a:gd name="connsiteX7800" fmla="*/ 2265492 w 12192185"/>
              <a:gd name="connsiteY7800" fmla="*/ 1811535 h 6859062"/>
              <a:gd name="connsiteX7801" fmla="*/ 2261108 w 12192185"/>
              <a:gd name="connsiteY7801" fmla="*/ 1810360 h 6859062"/>
              <a:gd name="connsiteX7802" fmla="*/ 2256718 w 12192185"/>
              <a:gd name="connsiteY7802" fmla="*/ 1809184 h 6859062"/>
              <a:gd name="connsiteX7803" fmla="*/ 2267847 w 12192185"/>
              <a:gd name="connsiteY7803" fmla="*/ 1802759 h 6859062"/>
              <a:gd name="connsiteX7804" fmla="*/ 2278977 w 12192185"/>
              <a:gd name="connsiteY7804" fmla="*/ 1796331 h 6859062"/>
              <a:gd name="connsiteX7805" fmla="*/ 2290107 w 12192185"/>
              <a:gd name="connsiteY7805" fmla="*/ 1789909 h 6859062"/>
              <a:gd name="connsiteX7806" fmla="*/ 2291284 w 12192185"/>
              <a:gd name="connsiteY7806" fmla="*/ 1785517 h 6859062"/>
              <a:gd name="connsiteX7807" fmla="*/ 2319109 w 12192185"/>
              <a:gd name="connsiteY7807" fmla="*/ 1769456 h 6859062"/>
              <a:gd name="connsiteX7808" fmla="*/ 2320284 w 12192185"/>
              <a:gd name="connsiteY7808" fmla="*/ 1765070 h 6859062"/>
              <a:gd name="connsiteX7809" fmla="*/ 2315894 w 12192185"/>
              <a:gd name="connsiteY7809" fmla="*/ 1763891 h 6859062"/>
              <a:gd name="connsiteX7810" fmla="*/ 2310330 w 12192185"/>
              <a:gd name="connsiteY7810" fmla="*/ 1767104 h 6859062"/>
              <a:gd name="connsiteX7811" fmla="*/ 2309877 w 12192185"/>
              <a:gd name="connsiteY7811" fmla="*/ 1767096 h 6859062"/>
              <a:gd name="connsiteX7812" fmla="*/ 2321368 w 12192185"/>
              <a:gd name="connsiteY7812" fmla="*/ 1760700 h 6859062"/>
              <a:gd name="connsiteX7813" fmla="*/ 2321459 w 12192185"/>
              <a:gd name="connsiteY7813" fmla="*/ 1760679 h 6859062"/>
              <a:gd name="connsiteX7814" fmla="*/ 2321486 w 12192185"/>
              <a:gd name="connsiteY7814" fmla="*/ 1760638 h 6859062"/>
              <a:gd name="connsiteX7815" fmla="*/ 2322851 w 12192185"/>
              <a:gd name="connsiteY7815" fmla="*/ 1759876 h 6859062"/>
              <a:gd name="connsiteX7816" fmla="*/ 2329060 w 12192185"/>
              <a:gd name="connsiteY7816" fmla="*/ 1767419 h 6859062"/>
              <a:gd name="connsiteX7817" fmla="*/ 2385884 w 12192185"/>
              <a:gd name="connsiteY7817" fmla="*/ 1730903 h 6859062"/>
              <a:gd name="connsiteX7818" fmla="*/ 2381494 w 12192185"/>
              <a:gd name="connsiteY7818" fmla="*/ 1729727 h 6859062"/>
              <a:gd name="connsiteX7819" fmla="*/ 2398190 w 12192185"/>
              <a:gd name="connsiteY7819" fmla="*/ 1720088 h 6859062"/>
              <a:gd name="connsiteX7820" fmla="*/ 2402579 w 12192185"/>
              <a:gd name="connsiteY7820" fmla="*/ 1721264 h 6859062"/>
              <a:gd name="connsiteX7821" fmla="*/ 2403755 w 12192185"/>
              <a:gd name="connsiteY7821" fmla="*/ 1716876 h 6859062"/>
              <a:gd name="connsiteX7822" fmla="*/ 2408140 w 12192185"/>
              <a:gd name="connsiteY7822" fmla="*/ 1718053 h 6859062"/>
              <a:gd name="connsiteX7823" fmla="*/ 2419271 w 12192185"/>
              <a:gd name="connsiteY7823" fmla="*/ 1711626 h 6859062"/>
              <a:gd name="connsiteX7824" fmla="*/ 2426012 w 12192185"/>
              <a:gd name="connsiteY7824" fmla="*/ 1704026 h 6859062"/>
              <a:gd name="connsiteX7825" fmla="*/ 2431577 w 12192185"/>
              <a:gd name="connsiteY7825" fmla="*/ 1700812 h 6859062"/>
              <a:gd name="connsiteX7826" fmla="*/ 2448272 w 12192185"/>
              <a:gd name="connsiteY7826" fmla="*/ 1691174 h 6859062"/>
              <a:gd name="connsiteX7827" fmla="*/ 2449446 w 12192185"/>
              <a:gd name="connsiteY7827" fmla="*/ 1686786 h 6859062"/>
              <a:gd name="connsiteX7828" fmla="*/ 2455012 w 12192185"/>
              <a:gd name="connsiteY7828" fmla="*/ 1683574 h 6859062"/>
              <a:gd name="connsiteX7829" fmla="*/ 2503917 w 12192185"/>
              <a:gd name="connsiteY7829" fmla="*/ 1659049 h 6859062"/>
              <a:gd name="connsiteX7830" fmla="*/ 2507131 w 12192185"/>
              <a:gd name="connsiteY7830" fmla="*/ 1664611 h 6859062"/>
              <a:gd name="connsiteX7831" fmla="*/ 2501567 w 12192185"/>
              <a:gd name="connsiteY7831" fmla="*/ 1667825 h 6859062"/>
              <a:gd name="connsiteX7832" fmla="*/ 2496002 w 12192185"/>
              <a:gd name="connsiteY7832" fmla="*/ 1671037 h 6859062"/>
              <a:gd name="connsiteX7833" fmla="*/ 2500392 w 12192185"/>
              <a:gd name="connsiteY7833" fmla="*/ 1672213 h 6859062"/>
              <a:gd name="connsiteX7834" fmla="*/ 2505955 w 12192185"/>
              <a:gd name="connsiteY7834" fmla="*/ 1669000 h 6859062"/>
              <a:gd name="connsiteX7835" fmla="*/ 2511520 w 12192185"/>
              <a:gd name="connsiteY7835" fmla="*/ 1665788 h 6859062"/>
              <a:gd name="connsiteX7836" fmla="*/ 2512696 w 12192185"/>
              <a:gd name="connsiteY7836" fmla="*/ 1661400 h 6859062"/>
              <a:gd name="connsiteX7837" fmla="*/ 2513872 w 12192185"/>
              <a:gd name="connsiteY7837" fmla="*/ 1657010 h 6859062"/>
              <a:gd name="connsiteX7838" fmla="*/ 2561602 w 12192185"/>
              <a:gd name="connsiteY7838" fmla="*/ 1636873 h 6859062"/>
              <a:gd name="connsiteX7839" fmla="*/ 2562779 w 12192185"/>
              <a:gd name="connsiteY7839" fmla="*/ 1632484 h 6859062"/>
              <a:gd name="connsiteX7840" fmla="*/ 2667018 w 12192185"/>
              <a:gd name="connsiteY7840" fmla="*/ 1594558 h 6859062"/>
              <a:gd name="connsiteX7841" fmla="*/ 2812243 w 12192185"/>
              <a:gd name="connsiteY7841" fmla="*/ 1544100 h 6859062"/>
              <a:gd name="connsiteX7842" fmla="*/ 2843282 w 12192185"/>
              <a:gd name="connsiteY7842" fmla="*/ 1533600 h 6859062"/>
              <a:gd name="connsiteX7843" fmla="*/ 2847669 w 12192185"/>
              <a:gd name="connsiteY7843" fmla="*/ 1534777 h 6859062"/>
              <a:gd name="connsiteX7844" fmla="*/ 2862010 w 12192185"/>
              <a:gd name="connsiteY7844" fmla="*/ 1533917 h 6859062"/>
              <a:gd name="connsiteX7845" fmla="*/ 2867576 w 12192185"/>
              <a:gd name="connsiteY7845" fmla="*/ 1530703 h 6859062"/>
              <a:gd name="connsiteX7846" fmla="*/ 2863186 w 12192185"/>
              <a:gd name="connsiteY7846" fmla="*/ 1529528 h 6859062"/>
              <a:gd name="connsiteX7847" fmla="*/ 2939600 w 12192185"/>
              <a:gd name="connsiteY7847" fmla="*/ 1507670 h 6859062"/>
              <a:gd name="connsiteX7848" fmla="*/ 3000498 w 12192185"/>
              <a:gd name="connsiteY7848" fmla="*/ 1491062 h 6859062"/>
              <a:gd name="connsiteX7849" fmla="*/ 3003670 w 12192185"/>
              <a:gd name="connsiteY7849" fmla="*/ 1490412 h 6859062"/>
              <a:gd name="connsiteX7850" fmla="*/ 3004982 w 12192185"/>
              <a:gd name="connsiteY7850" fmla="*/ 1489998 h 6859062"/>
              <a:gd name="connsiteX7851" fmla="*/ 3115310 w 12192185"/>
              <a:gd name="connsiteY7851" fmla="*/ 1465800 h 6859062"/>
              <a:gd name="connsiteX7852" fmla="*/ 3115554 w 12192185"/>
              <a:gd name="connsiteY7852" fmla="*/ 1465444 h 6859062"/>
              <a:gd name="connsiteX7853" fmla="*/ 3129316 w 12192185"/>
              <a:gd name="connsiteY7853" fmla="*/ 1462727 h 6859062"/>
              <a:gd name="connsiteX7854" fmla="*/ 3210333 w 12192185"/>
              <a:gd name="connsiteY7854" fmla="*/ 1444957 h 6859062"/>
              <a:gd name="connsiteX7855" fmla="*/ 3214742 w 12192185"/>
              <a:gd name="connsiteY7855" fmla="*/ 1437725 h 6859062"/>
              <a:gd name="connsiteX7856" fmla="*/ 3203786 w 12192185"/>
              <a:gd name="connsiteY7856" fmla="*/ 1423109 h 6859062"/>
              <a:gd name="connsiteX7857" fmla="*/ 3211471 w 12192185"/>
              <a:gd name="connsiteY7857" fmla="*/ 1396809 h 6859062"/>
              <a:gd name="connsiteX7858" fmla="*/ 3208176 w 12192185"/>
              <a:gd name="connsiteY7858" fmla="*/ 1401557 h 6859062"/>
              <a:gd name="connsiteX7859" fmla="*/ 3204160 w 12192185"/>
              <a:gd name="connsiteY7859" fmla="*/ 1402287 h 6859062"/>
              <a:gd name="connsiteX7860" fmla="*/ 3210738 w 12192185"/>
              <a:gd name="connsiteY7860" fmla="*/ 1392791 h 6859062"/>
              <a:gd name="connsiteX7861" fmla="*/ 3212576 w 12192185"/>
              <a:gd name="connsiteY7861" fmla="*/ 1390141 h 6859062"/>
              <a:gd name="connsiteX7862" fmla="*/ 3181782 w 12192185"/>
              <a:gd name="connsiteY7862" fmla="*/ 1393815 h 6859062"/>
              <a:gd name="connsiteX7863" fmla="*/ 3170657 w 12192185"/>
              <a:gd name="connsiteY7863" fmla="*/ 1400241 h 6859062"/>
              <a:gd name="connsiteX7864" fmla="*/ 3171830 w 12192185"/>
              <a:gd name="connsiteY7864" fmla="*/ 1395852 h 6859062"/>
              <a:gd name="connsiteX7865" fmla="*/ 3110932 w 12192185"/>
              <a:gd name="connsiteY7865" fmla="*/ 1412461 h 6859062"/>
              <a:gd name="connsiteX7866" fmla="*/ 3077859 w 12192185"/>
              <a:gd name="connsiteY7866" fmla="*/ 1413008 h 6859062"/>
              <a:gd name="connsiteX7867" fmla="*/ 3079894 w 12192185"/>
              <a:gd name="connsiteY7867" fmla="*/ 1422961 h 6859062"/>
              <a:gd name="connsiteX7868" fmla="*/ 3054422 w 12192185"/>
              <a:gd name="connsiteY7868" fmla="*/ 1430249 h 6859062"/>
              <a:gd name="connsiteX7869" fmla="*/ 3042433 w 12192185"/>
              <a:gd name="connsiteY7869" fmla="*/ 1422330 h 6859062"/>
              <a:gd name="connsiteX7870" fmla="*/ 2923854 w 12192185"/>
              <a:gd name="connsiteY7870" fmla="*/ 1461116 h 6859062"/>
              <a:gd name="connsiteX7871" fmla="*/ 2913904 w 12192185"/>
              <a:gd name="connsiteY7871" fmla="*/ 1463154 h 6859062"/>
              <a:gd name="connsiteX7872" fmla="*/ 2908337 w 12192185"/>
              <a:gd name="connsiteY7872" fmla="*/ 1466367 h 6859062"/>
              <a:gd name="connsiteX7873" fmla="*/ 2912728 w 12192185"/>
              <a:gd name="connsiteY7873" fmla="*/ 1467543 h 6859062"/>
              <a:gd name="connsiteX7874" fmla="*/ 2917116 w 12192185"/>
              <a:gd name="connsiteY7874" fmla="*/ 1468719 h 6859062"/>
              <a:gd name="connsiteX7875" fmla="*/ 2788579 w 12192185"/>
              <a:gd name="connsiteY7875" fmla="*/ 1509539 h 6859062"/>
              <a:gd name="connsiteX7876" fmla="*/ 2776589 w 12192185"/>
              <a:gd name="connsiteY7876" fmla="*/ 1501621 h 6859062"/>
              <a:gd name="connsiteX7877" fmla="*/ 2581277 w 12192185"/>
              <a:gd name="connsiteY7877" fmla="*/ 1580992 h 6859062"/>
              <a:gd name="connsiteX7878" fmla="*/ 2386829 w 12192185"/>
              <a:gd name="connsiteY7878" fmla="*/ 1674711 h 6859062"/>
              <a:gd name="connsiteX7879" fmla="*/ 2445688 w 12192185"/>
              <a:gd name="connsiteY7879" fmla="*/ 1648148 h 6859062"/>
              <a:gd name="connsiteX7880" fmla="*/ 2460031 w 12192185"/>
              <a:gd name="connsiteY7880" fmla="*/ 1647288 h 6859062"/>
              <a:gd name="connsiteX7881" fmla="*/ 2593268 w 12192185"/>
              <a:gd name="connsiteY7881" fmla="*/ 1588907 h 6859062"/>
              <a:gd name="connsiteX7882" fmla="*/ 2756365 w 12192185"/>
              <a:gd name="connsiteY7882" fmla="*/ 1524424 h 6859062"/>
              <a:gd name="connsiteX7883" fmla="*/ 2775098 w 12192185"/>
              <a:gd name="connsiteY7883" fmla="*/ 1524741 h 6859062"/>
              <a:gd name="connsiteX7884" fmla="*/ 2863815 w 12192185"/>
              <a:gd name="connsiteY7884" fmla="*/ 1492067 h 6859062"/>
              <a:gd name="connsiteX7885" fmla="*/ 2872596 w 12192185"/>
              <a:gd name="connsiteY7885" fmla="*/ 1494420 h 6859062"/>
              <a:gd name="connsiteX7886" fmla="*/ 2874945 w 12192185"/>
              <a:gd name="connsiteY7886" fmla="*/ 1485642 h 6859062"/>
              <a:gd name="connsiteX7887" fmla="*/ 2989998 w 12192185"/>
              <a:gd name="connsiteY7887" fmla="*/ 1460024 h 6859062"/>
              <a:gd name="connsiteX7888" fmla="*/ 2974481 w 12192185"/>
              <a:gd name="connsiteY7888" fmla="*/ 1465274 h 6859062"/>
              <a:gd name="connsiteX7889" fmla="*/ 2932314 w 12192185"/>
              <a:gd name="connsiteY7889" fmla="*/ 1482198 h 6859062"/>
              <a:gd name="connsiteX7890" fmla="*/ 2853551 w 12192185"/>
              <a:gd name="connsiteY7890" fmla="*/ 1512836 h 6859062"/>
              <a:gd name="connsiteX7891" fmla="*/ 2843595 w 12192185"/>
              <a:gd name="connsiteY7891" fmla="*/ 1514871 h 6859062"/>
              <a:gd name="connsiteX7892" fmla="*/ 2834817 w 12192185"/>
              <a:gd name="connsiteY7892" fmla="*/ 1512520 h 6859062"/>
              <a:gd name="connsiteX7893" fmla="*/ 2806992 w 12192185"/>
              <a:gd name="connsiteY7893" fmla="*/ 1528583 h 6859062"/>
              <a:gd name="connsiteX7894" fmla="*/ 2770392 w 12192185"/>
              <a:gd name="connsiteY7894" fmla="*/ 1542293 h 6859062"/>
              <a:gd name="connsiteX7895" fmla="*/ 2705109 w 12192185"/>
              <a:gd name="connsiteY7895" fmla="*/ 1557728 h 6859062"/>
              <a:gd name="connsiteX7896" fmla="*/ 2703933 w 12192185"/>
              <a:gd name="connsiteY7896" fmla="*/ 1562118 h 6859062"/>
              <a:gd name="connsiteX7897" fmla="*/ 2682853 w 12192185"/>
              <a:gd name="connsiteY7897" fmla="*/ 1570578 h 6859062"/>
              <a:gd name="connsiteX7898" fmla="*/ 2677283 w 12192185"/>
              <a:gd name="connsiteY7898" fmla="*/ 1573790 h 6859062"/>
              <a:gd name="connsiteX7899" fmla="*/ 2635119 w 12192185"/>
              <a:gd name="connsiteY7899" fmla="*/ 1590714 h 6859062"/>
              <a:gd name="connsiteX7900" fmla="*/ 2614036 w 12192185"/>
              <a:gd name="connsiteY7900" fmla="*/ 1599178 h 6859062"/>
              <a:gd name="connsiteX7901" fmla="*/ 2550789 w 12192185"/>
              <a:gd name="connsiteY7901" fmla="*/ 1624566 h 6859062"/>
              <a:gd name="connsiteX7902" fmla="*/ 2524140 w 12192185"/>
              <a:gd name="connsiteY7902" fmla="*/ 1636243 h 6859062"/>
              <a:gd name="connsiteX7903" fmla="*/ 2519752 w 12192185"/>
              <a:gd name="connsiteY7903" fmla="*/ 1635067 h 6859062"/>
              <a:gd name="connsiteX7904" fmla="*/ 2514186 w 12192185"/>
              <a:gd name="connsiteY7904" fmla="*/ 1638279 h 6859062"/>
              <a:gd name="connsiteX7905" fmla="*/ 2513011 w 12192185"/>
              <a:gd name="connsiteY7905" fmla="*/ 1642667 h 6859062"/>
              <a:gd name="connsiteX7906" fmla="*/ 2508623 w 12192185"/>
              <a:gd name="connsiteY7906" fmla="*/ 1641491 h 6859062"/>
              <a:gd name="connsiteX7907" fmla="*/ 2405246 w 12192185"/>
              <a:gd name="connsiteY7907" fmla="*/ 1693756 h 6859062"/>
              <a:gd name="connsiteX7908" fmla="*/ 2395293 w 12192185"/>
              <a:gd name="connsiteY7908" fmla="*/ 1695795 h 6859062"/>
              <a:gd name="connsiteX7909" fmla="*/ 2390903 w 12192185"/>
              <a:gd name="connsiteY7909" fmla="*/ 1694618 h 6859062"/>
              <a:gd name="connsiteX7910" fmla="*/ 2385337 w 12192185"/>
              <a:gd name="connsiteY7910" fmla="*/ 1697830 h 6859062"/>
              <a:gd name="connsiteX7911" fmla="*/ 2384162 w 12192185"/>
              <a:gd name="connsiteY7911" fmla="*/ 1702219 h 6859062"/>
              <a:gd name="connsiteX7912" fmla="*/ 2344032 w 12192185"/>
              <a:gd name="connsiteY7912" fmla="*/ 1729096 h 6859062"/>
              <a:gd name="connsiteX7913" fmla="*/ 2338469 w 12192185"/>
              <a:gd name="connsiteY7913" fmla="*/ 1732309 h 6859062"/>
              <a:gd name="connsiteX7914" fmla="*/ 2331728 w 12192185"/>
              <a:gd name="connsiteY7914" fmla="*/ 1739910 h 6859062"/>
              <a:gd name="connsiteX7915" fmla="*/ 2340322 w 12192185"/>
              <a:gd name="connsiteY7915" fmla="*/ 1742214 h 6859062"/>
              <a:gd name="connsiteX7916" fmla="*/ 2328827 w 12192185"/>
              <a:gd name="connsiteY7916" fmla="*/ 1748540 h 6859062"/>
              <a:gd name="connsiteX7917" fmla="*/ 2321486 w 12192185"/>
              <a:gd name="connsiteY7917" fmla="*/ 1760638 h 6859062"/>
              <a:gd name="connsiteX7918" fmla="*/ 2321368 w 12192185"/>
              <a:gd name="connsiteY7918" fmla="*/ 1760700 h 6859062"/>
              <a:gd name="connsiteX7919" fmla="*/ 2303894 w 12192185"/>
              <a:gd name="connsiteY7919" fmla="*/ 1764793 h 6859062"/>
              <a:gd name="connsiteX7920" fmla="*/ 2283680 w 12192185"/>
              <a:gd name="connsiteY7920" fmla="*/ 1778776 h 6859062"/>
              <a:gd name="connsiteX7921" fmla="*/ 2279292 w 12192185"/>
              <a:gd name="connsiteY7921" fmla="*/ 1777601 h 6859062"/>
              <a:gd name="connsiteX7922" fmla="*/ 2278116 w 12192185"/>
              <a:gd name="connsiteY7922" fmla="*/ 1781987 h 6859062"/>
              <a:gd name="connsiteX7923" fmla="*/ 2276941 w 12192185"/>
              <a:gd name="connsiteY7923" fmla="*/ 1786379 h 6859062"/>
              <a:gd name="connsiteX7924" fmla="*/ 2262596 w 12192185"/>
              <a:gd name="connsiteY7924" fmla="*/ 1787239 h 6859062"/>
              <a:gd name="connsiteX7925" fmla="*/ 2268165 w 12192185"/>
              <a:gd name="connsiteY7925" fmla="*/ 1784027 h 6859062"/>
              <a:gd name="connsiteX7926" fmla="*/ 2274904 w 12192185"/>
              <a:gd name="connsiteY7926" fmla="*/ 1776425 h 6859062"/>
              <a:gd name="connsiteX7927" fmla="*/ 2264951 w 12192185"/>
              <a:gd name="connsiteY7927" fmla="*/ 1778461 h 6859062"/>
              <a:gd name="connsiteX7928" fmla="*/ 2260563 w 12192185"/>
              <a:gd name="connsiteY7928" fmla="*/ 1777284 h 6859062"/>
              <a:gd name="connsiteX7929" fmla="*/ 2283996 w 12192185"/>
              <a:gd name="connsiteY7929" fmla="*/ 1760049 h 6859062"/>
              <a:gd name="connsiteX7930" fmla="*/ 2110312 w 12192185"/>
              <a:gd name="connsiteY7930" fmla="*/ 1864033 h 6859062"/>
              <a:gd name="connsiteX7931" fmla="*/ 2092424 w 12192185"/>
              <a:gd name="connsiteY7931" fmla="*/ 1878058 h 6859062"/>
              <a:gd name="connsiteX7932" fmla="*/ 2086862 w 12192185"/>
              <a:gd name="connsiteY7932" fmla="*/ 1881270 h 6859062"/>
              <a:gd name="connsiteX7933" fmla="*/ 1937160 w 12192185"/>
              <a:gd name="connsiteY7933" fmla="*/ 2001089 h 6859062"/>
              <a:gd name="connsiteX7934" fmla="*/ 1930371 w 12192185"/>
              <a:gd name="connsiteY7934" fmla="*/ 2003698 h 6859062"/>
              <a:gd name="connsiteX7935" fmla="*/ 1938336 w 12192185"/>
              <a:gd name="connsiteY7935" fmla="*/ 1996700 h 6859062"/>
              <a:gd name="connsiteX7936" fmla="*/ 1940688 w 12192185"/>
              <a:gd name="connsiteY7936" fmla="*/ 1987921 h 6859062"/>
              <a:gd name="connsiteX7937" fmla="*/ 1954168 w 12192185"/>
              <a:gd name="connsiteY7937" fmla="*/ 1972720 h 6859062"/>
              <a:gd name="connsiteX7938" fmla="*/ 1959734 w 12192185"/>
              <a:gd name="connsiteY7938" fmla="*/ 1969507 h 6859062"/>
              <a:gd name="connsiteX7939" fmla="*/ 1960909 w 12192185"/>
              <a:gd name="connsiteY7939" fmla="*/ 1965118 h 6859062"/>
              <a:gd name="connsiteX7940" fmla="*/ 1989045 w 12192185"/>
              <a:gd name="connsiteY7940" fmla="*/ 1930324 h 6859062"/>
              <a:gd name="connsiteX7941" fmla="*/ 1982306 w 12192185"/>
              <a:gd name="connsiteY7941" fmla="*/ 1937926 h 6859062"/>
              <a:gd name="connsiteX7942" fmla="*/ 1984659 w 12192185"/>
              <a:gd name="connsiteY7942" fmla="*/ 1929146 h 6859062"/>
              <a:gd name="connsiteX7943" fmla="*/ 1974705 w 12192185"/>
              <a:gd name="connsiteY7943" fmla="*/ 1931184 h 6859062"/>
              <a:gd name="connsiteX7944" fmla="*/ 1975880 w 12192185"/>
              <a:gd name="connsiteY7944" fmla="*/ 1926795 h 6859062"/>
              <a:gd name="connsiteX7945" fmla="*/ 1981445 w 12192185"/>
              <a:gd name="connsiteY7945" fmla="*/ 1923582 h 6859062"/>
              <a:gd name="connsiteX7946" fmla="*/ 1982620 w 12192185"/>
              <a:gd name="connsiteY7946" fmla="*/ 1919193 h 6859062"/>
              <a:gd name="connsiteX7947" fmla="*/ 2002843 w 12192185"/>
              <a:gd name="connsiteY7947" fmla="*/ 1896389 h 6859062"/>
              <a:gd name="connsiteX7948" fmla="*/ 2004019 w 12192185"/>
              <a:gd name="connsiteY7948" fmla="*/ 1892000 h 6859062"/>
              <a:gd name="connsiteX7949" fmla="*/ 1998454 w 12192185"/>
              <a:gd name="connsiteY7949" fmla="*/ 1895211 h 6859062"/>
              <a:gd name="connsiteX7950" fmla="*/ 1994066 w 12192185"/>
              <a:gd name="connsiteY7950" fmla="*/ 1894036 h 6859062"/>
              <a:gd name="connsiteX7951" fmla="*/ 2059121 w 12192185"/>
              <a:gd name="connsiteY7951" fmla="*/ 1826799 h 6859062"/>
              <a:gd name="connsiteX7952" fmla="*/ 2127407 w 12192185"/>
              <a:gd name="connsiteY7952" fmla="*/ 1765129 h 6859062"/>
              <a:gd name="connsiteX7953" fmla="*/ 2128582 w 12192185"/>
              <a:gd name="connsiteY7953" fmla="*/ 1760743 h 6859062"/>
              <a:gd name="connsiteX7954" fmla="*/ 2132973 w 12192185"/>
              <a:gd name="connsiteY7954" fmla="*/ 1761916 h 6859062"/>
              <a:gd name="connsiteX7955" fmla="*/ 2134148 w 12192185"/>
              <a:gd name="connsiteY7955" fmla="*/ 1757527 h 6859062"/>
              <a:gd name="connsiteX7956" fmla="*/ 2139715 w 12192185"/>
              <a:gd name="connsiteY7956" fmla="*/ 1754314 h 6859062"/>
              <a:gd name="connsiteX7957" fmla="*/ 2152020 w 12192185"/>
              <a:gd name="connsiteY7957" fmla="*/ 1743500 h 6859062"/>
              <a:gd name="connsiteX7958" fmla="*/ 2154371 w 12192185"/>
              <a:gd name="connsiteY7958" fmla="*/ 1734723 h 6859062"/>
              <a:gd name="connsiteX7959" fmla="*/ 2140889 w 12192185"/>
              <a:gd name="connsiteY7959" fmla="*/ 1749926 h 6859062"/>
              <a:gd name="connsiteX7960" fmla="*/ 2136500 w 12192185"/>
              <a:gd name="connsiteY7960" fmla="*/ 1748750 h 6859062"/>
              <a:gd name="connsiteX7961" fmla="*/ 2137675 w 12192185"/>
              <a:gd name="connsiteY7961" fmla="*/ 1744361 h 6859062"/>
              <a:gd name="connsiteX7962" fmla="*/ 2132110 w 12192185"/>
              <a:gd name="connsiteY7962" fmla="*/ 1747575 h 6859062"/>
              <a:gd name="connsiteX7963" fmla="*/ 2130935 w 12192185"/>
              <a:gd name="connsiteY7963" fmla="*/ 1751963 h 6859062"/>
              <a:gd name="connsiteX7964" fmla="*/ 2125369 w 12192185"/>
              <a:gd name="connsiteY7964" fmla="*/ 1755176 h 6859062"/>
              <a:gd name="connsiteX7965" fmla="*/ 2113065 w 12192185"/>
              <a:gd name="connsiteY7965" fmla="*/ 1765989 h 6859062"/>
              <a:gd name="connsiteX7966" fmla="*/ 2110712 w 12192185"/>
              <a:gd name="connsiteY7966" fmla="*/ 1774765 h 6859062"/>
              <a:gd name="connsiteX7967" fmla="*/ 2101933 w 12192185"/>
              <a:gd name="connsiteY7967" fmla="*/ 1772415 h 6859062"/>
              <a:gd name="connsiteX7968" fmla="*/ 2080520 w 12192185"/>
              <a:gd name="connsiteY7968" fmla="*/ 1799606 h 6859062"/>
              <a:gd name="connsiteX7969" fmla="*/ 2031295 w 12192185"/>
              <a:gd name="connsiteY7969" fmla="*/ 1842864 h 6859062"/>
              <a:gd name="connsiteX7970" fmla="*/ 2035684 w 12192185"/>
              <a:gd name="connsiteY7970" fmla="*/ 1844040 h 6859062"/>
              <a:gd name="connsiteX7971" fmla="*/ 2024556 w 12192185"/>
              <a:gd name="connsiteY7971" fmla="*/ 1850465 h 6859062"/>
              <a:gd name="connsiteX7972" fmla="*/ 2022203 w 12192185"/>
              <a:gd name="connsiteY7972" fmla="*/ 1859243 h 6859062"/>
              <a:gd name="connsiteX7973" fmla="*/ 2017815 w 12192185"/>
              <a:gd name="connsiteY7973" fmla="*/ 1858067 h 6859062"/>
              <a:gd name="connsiteX7974" fmla="*/ 2006687 w 12192185"/>
              <a:gd name="connsiteY7974" fmla="*/ 1864492 h 6859062"/>
              <a:gd name="connsiteX7975" fmla="*/ 1972143 w 12192185"/>
              <a:gd name="connsiteY7975" fmla="*/ 1909476 h 6859062"/>
              <a:gd name="connsiteX7976" fmla="*/ 1963250 w 12192185"/>
              <a:gd name="connsiteY7976" fmla="*/ 1915263 h 6859062"/>
              <a:gd name="connsiteX7977" fmla="*/ 1963127 w 12192185"/>
              <a:gd name="connsiteY7977" fmla="*/ 1915145 h 6859062"/>
              <a:gd name="connsiteX7978" fmla="*/ 1959503 w 12192185"/>
              <a:gd name="connsiteY7978" fmla="*/ 1917702 h 6859062"/>
              <a:gd name="connsiteX7979" fmla="*/ 1963250 w 12192185"/>
              <a:gd name="connsiteY7979" fmla="*/ 1915263 h 6859062"/>
              <a:gd name="connsiteX7980" fmla="*/ 1968279 w 12192185"/>
              <a:gd name="connsiteY7980" fmla="*/ 1920055 h 6859062"/>
              <a:gd name="connsiteX7981" fmla="*/ 1889743 w 12192185"/>
              <a:gd name="connsiteY7981" fmla="*/ 2002493 h 6859062"/>
              <a:gd name="connsiteX7982" fmla="*/ 1829077 w 12192185"/>
              <a:gd name="connsiteY7982" fmla="*/ 2070907 h 6859062"/>
              <a:gd name="connsiteX7983" fmla="*/ 1824688 w 12192185"/>
              <a:gd name="connsiteY7983" fmla="*/ 2069729 h 6859062"/>
              <a:gd name="connsiteX7984" fmla="*/ 1784245 w 12192185"/>
              <a:gd name="connsiteY7984" fmla="*/ 2115340 h 6859062"/>
              <a:gd name="connsiteX7985" fmla="*/ 1787773 w 12192185"/>
              <a:gd name="connsiteY7985" fmla="*/ 2102173 h 6859062"/>
              <a:gd name="connsiteX7986" fmla="*/ 1787458 w 12192185"/>
              <a:gd name="connsiteY7986" fmla="*/ 2120900 h 6859062"/>
              <a:gd name="connsiteX7987" fmla="*/ 1737061 w 12192185"/>
              <a:gd name="connsiteY7987" fmla="*/ 2168550 h 6859062"/>
              <a:gd name="connsiteX7988" fmla="*/ 1731496 w 12192185"/>
              <a:gd name="connsiteY7988" fmla="*/ 2171762 h 6859062"/>
              <a:gd name="connsiteX7989" fmla="*/ 1730321 w 12192185"/>
              <a:gd name="connsiteY7989" fmla="*/ 2176153 h 6859062"/>
              <a:gd name="connsiteX7990" fmla="*/ 1734708 w 12192185"/>
              <a:gd name="connsiteY7990" fmla="*/ 2177325 h 6859062"/>
              <a:gd name="connsiteX7991" fmla="*/ 1727968 w 12192185"/>
              <a:gd name="connsiteY7991" fmla="*/ 2184927 h 6859062"/>
              <a:gd name="connsiteX7992" fmla="*/ 1729143 w 12192185"/>
              <a:gd name="connsiteY7992" fmla="*/ 2180539 h 6859062"/>
              <a:gd name="connsiteX7993" fmla="*/ 1724755 w 12192185"/>
              <a:gd name="connsiteY7993" fmla="*/ 2179365 h 6859062"/>
              <a:gd name="connsiteX7994" fmla="*/ 1722403 w 12192185"/>
              <a:gd name="connsiteY7994" fmla="*/ 2188140 h 6859062"/>
              <a:gd name="connsiteX7995" fmla="*/ 1716838 w 12192185"/>
              <a:gd name="connsiteY7995" fmla="*/ 2191359 h 6859062"/>
              <a:gd name="connsiteX7996" fmla="*/ 1713311 w 12192185"/>
              <a:gd name="connsiteY7996" fmla="*/ 2204523 h 6859062"/>
              <a:gd name="connsiteX7997" fmla="*/ 1706571 w 12192185"/>
              <a:gd name="connsiteY7997" fmla="*/ 2212124 h 6859062"/>
              <a:gd name="connsiteX7998" fmla="*/ 1712135 w 12192185"/>
              <a:gd name="connsiteY7998" fmla="*/ 2208911 h 6859062"/>
              <a:gd name="connsiteX7999" fmla="*/ 1717700 w 12192185"/>
              <a:gd name="connsiteY7999" fmla="*/ 2205701 h 6859062"/>
              <a:gd name="connsiteX8000" fmla="*/ 1715348 w 12192185"/>
              <a:gd name="connsiteY8000" fmla="*/ 2214474 h 6859062"/>
              <a:gd name="connsiteX8001" fmla="*/ 1695127 w 12192185"/>
              <a:gd name="connsiteY8001" fmla="*/ 2237275 h 6859062"/>
              <a:gd name="connsiteX8002" fmla="*/ 1660247 w 12192185"/>
              <a:gd name="connsiteY8002" fmla="*/ 2279661 h 6859062"/>
              <a:gd name="connsiteX8003" fmla="*/ 1654684 w 12192185"/>
              <a:gd name="connsiteY8003" fmla="*/ 2282877 h 6859062"/>
              <a:gd name="connsiteX8004" fmla="*/ 1653507 w 12192185"/>
              <a:gd name="connsiteY8004" fmla="*/ 2287266 h 6859062"/>
              <a:gd name="connsiteX8005" fmla="*/ 1638849 w 12192185"/>
              <a:gd name="connsiteY8005" fmla="*/ 2306859 h 6859062"/>
              <a:gd name="connsiteX8006" fmla="*/ 1629757 w 12192185"/>
              <a:gd name="connsiteY8006" fmla="*/ 2323240 h 6859062"/>
              <a:gd name="connsiteX8007" fmla="*/ 1603970 w 12192185"/>
              <a:gd name="connsiteY8007" fmla="*/ 2349258 h 6859062"/>
              <a:gd name="connsiteX8008" fmla="*/ 1599581 w 12192185"/>
              <a:gd name="connsiteY8008" fmla="*/ 2348080 h 6859062"/>
              <a:gd name="connsiteX8009" fmla="*/ 1597229 w 12192185"/>
              <a:gd name="connsiteY8009" fmla="*/ 2356858 h 6859062"/>
              <a:gd name="connsiteX8010" fmla="*/ 1596055 w 12192185"/>
              <a:gd name="connsiteY8010" fmla="*/ 2361251 h 6859062"/>
              <a:gd name="connsiteX8011" fmla="*/ 1601618 w 12192185"/>
              <a:gd name="connsiteY8011" fmla="*/ 2358035 h 6859062"/>
              <a:gd name="connsiteX8012" fmla="*/ 1580221 w 12192185"/>
              <a:gd name="connsiteY8012" fmla="*/ 2385231 h 6859062"/>
              <a:gd name="connsiteX8013" fmla="*/ 1574655 w 12192185"/>
              <a:gd name="connsiteY8013" fmla="*/ 2388437 h 6859062"/>
              <a:gd name="connsiteX8014" fmla="*/ 1573479 w 12192185"/>
              <a:gd name="connsiteY8014" fmla="*/ 2392829 h 6859062"/>
              <a:gd name="connsiteX8015" fmla="*/ 1556470 w 12192185"/>
              <a:gd name="connsiteY8015" fmla="*/ 2421201 h 6859062"/>
              <a:gd name="connsiteX8016" fmla="*/ 1557647 w 12192185"/>
              <a:gd name="connsiteY8016" fmla="*/ 2416809 h 6859062"/>
              <a:gd name="connsiteX8017" fmla="*/ 1561173 w 12192185"/>
              <a:gd name="connsiteY8017" fmla="*/ 2403644 h 6859062"/>
              <a:gd name="connsiteX8018" fmla="*/ 1554435 w 12192185"/>
              <a:gd name="connsiteY8018" fmla="*/ 2411246 h 6859062"/>
              <a:gd name="connsiteX8019" fmla="*/ 1548870 w 12192185"/>
              <a:gd name="connsiteY8019" fmla="*/ 2414457 h 6859062"/>
              <a:gd name="connsiteX8020" fmla="*/ 1557962 w 12192185"/>
              <a:gd name="connsiteY8020" fmla="*/ 2398072 h 6859062"/>
              <a:gd name="connsiteX8021" fmla="*/ 1550361 w 12192185"/>
              <a:gd name="connsiteY8021" fmla="*/ 2391334 h 6859062"/>
              <a:gd name="connsiteX8022" fmla="*/ 1528963 w 12192185"/>
              <a:gd name="connsiteY8022" fmla="*/ 2418533 h 6859062"/>
              <a:gd name="connsiteX8023" fmla="*/ 1523398 w 12192185"/>
              <a:gd name="connsiteY8023" fmla="*/ 2421746 h 6859062"/>
              <a:gd name="connsiteX8024" fmla="*/ 1522222 w 12192185"/>
              <a:gd name="connsiteY8024" fmla="*/ 2426134 h 6859062"/>
              <a:gd name="connsiteX8025" fmla="*/ 1521046 w 12192185"/>
              <a:gd name="connsiteY8025" fmla="*/ 2430521 h 6859062"/>
              <a:gd name="connsiteX8026" fmla="*/ 1526611 w 12192185"/>
              <a:gd name="connsiteY8026" fmla="*/ 2427311 h 6859062"/>
              <a:gd name="connsiteX8027" fmla="*/ 1523083 w 12192185"/>
              <a:gd name="connsiteY8027" fmla="*/ 2440473 h 6859062"/>
              <a:gd name="connsiteX8028" fmla="*/ 1526296 w 12192185"/>
              <a:gd name="connsiteY8028" fmla="*/ 2446043 h 6859062"/>
              <a:gd name="connsiteX8029" fmla="*/ 1540953 w 12192185"/>
              <a:gd name="connsiteY8029" fmla="*/ 2426449 h 6859062"/>
              <a:gd name="connsiteX8030" fmla="*/ 1539777 w 12192185"/>
              <a:gd name="connsiteY8030" fmla="*/ 2430837 h 6859062"/>
              <a:gd name="connsiteX8031" fmla="*/ 1541815 w 12192185"/>
              <a:gd name="connsiteY8031" fmla="*/ 2440790 h 6859062"/>
              <a:gd name="connsiteX8032" fmla="*/ 1547624 w 12192185"/>
              <a:gd name="connsiteY8032" fmla="*/ 2434236 h 6859062"/>
              <a:gd name="connsiteX8033" fmla="*/ 1544958 w 12192185"/>
              <a:gd name="connsiteY8033" fmla="*/ 2442221 h 6859062"/>
              <a:gd name="connsiteX8034" fmla="*/ 1531545 w 12192185"/>
              <a:gd name="connsiteY8034" fmla="*/ 2461558 h 6859062"/>
              <a:gd name="connsiteX8035" fmla="*/ 1541183 w 12192185"/>
              <a:gd name="connsiteY8035" fmla="*/ 2478255 h 6859062"/>
              <a:gd name="connsiteX8036" fmla="*/ 1537970 w 12192185"/>
              <a:gd name="connsiteY8036" fmla="*/ 2472689 h 6859062"/>
              <a:gd name="connsiteX8037" fmla="*/ 1533583 w 12192185"/>
              <a:gd name="connsiteY8037" fmla="*/ 2471511 h 6859062"/>
              <a:gd name="connsiteX8038" fmla="*/ 1529194 w 12192185"/>
              <a:gd name="connsiteY8038" fmla="*/ 2470336 h 6859062"/>
              <a:gd name="connsiteX8039" fmla="*/ 1526840 w 12192185"/>
              <a:gd name="connsiteY8039" fmla="*/ 2479113 h 6859062"/>
              <a:gd name="connsiteX8040" fmla="*/ 1525665 w 12192185"/>
              <a:gd name="connsiteY8040" fmla="*/ 2483505 h 6859062"/>
              <a:gd name="connsiteX8041" fmla="*/ 1514537 w 12192185"/>
              <a:gd name="connsiteY8041" fmla="*/ 2489929 h 6859062"/>
              <a:gd name="connsiteX8042" fmla="*/ 1516888 w 12192185"/>
              <a:gd name="connsiteY8042" fmla="*/ 2481153 h 6859062"/>
              <a:gd name="connsiteX8043" fmla="*/ 1512498 w 12192185"/>
              <a:gd name="connsiteY8043" fmla="*/ 2479973 h 6859062"/>
              <a:gd name="connsiteX8044" fmla="*/ 1505759 w 12192185"/>
              <a:gd name="connsiteY8044" fmla="*/ 2487577 h 6859062"/>
              <a:gd name="connsiteX8045" fmla="*/ 1503406 w 12192185"/>
              <a:gd name="connsiteY8045" fmla="*/ 2496355 h 6859062"/>
              <a:gd name="connsiteX8046" fmla="*/ 1509832 w 12192185"/>
              <a:gd name="connsiteY8046" fmla="*/ 2507482 h 6859062"/>
              <a:gd name="connsiteX8047" fmla="*/ 1513046 w 12192185"/>
              <a:gd name="connsiteY8047" fmla="*/ 2513048 h 6859062"/>
              <a:gd name="connsiteX8048" fmla="*/ 1518610 w 12192185"/>
              <a:gd name="connsiteY8048" fmla="*/ 2509835 h 6859062"/>
              <a:gd name="connsiteX8049" fmla="*/ 1508343 w 12192185"/>
              <a:gd name="connsiteY8049" fmla="*/ 2530604 h 6859062"/>
              <a:gd name="connsiteX8050" fmla="*/ 1511870 w 12192185"/>
              <a:gd name="connsiteY8050" fmla="*/ 2517438 h 6859062"/>
              <a:gd name="connsiteX8051" fmla="*/ 1498388 w 12192185"/>
              <a:gd name="connsiteY8051" fmla="*/ 2532642 h 6859062"/>
              <a:gd name="connsiteX8052" fmla="*/ 1493998 w 12192185"/>
              <a:gd name="connsiteY8052" fmla="*/ 2531466 h 6859062"/>
              <a:gd name="connsiteX8053" fmla="*/ 1492823 w 12192185"/>
              <a:gd name="connsiteY8053" fmla="*/ 2535852 h 6859062"/>
              <a:gd name="connsiteX8054" fmla="*/ 1491647 w 12192185"/>
              <a:gd name="connsiteY8054" fmla="*/ 2540241 h 6859062"/>
              <a:gd name="connsiteX8055" fmla="*/ 1496037 w 12192185"/>
              <a:gd name="connsiteY8055" fmla="*/ 2541420 h 6859062"/>
              <a:gd name="connsiteX8056" fmla="*/ 1484908 w 12192185"/>
              <a:gd name="connsiteY8056" fmla="*/ 2547842 h 6859062"/>
              <a:gd name="connsiteX8057" fmla="*/ 1480204 w 12192185"/>
              <a:gd name="connsiteY8057" fmla="*/ 2565400 h 6859062"/>
              <a:gd name="connsiteX8058" fmla="*/ 1473492 w 12192185"/>
              <a:gd name="connsiteY8058" fmla="*/ 2579476 h 6859062"/>
              <a:gd name="connsiteX8059" fmla="*/ 1464370 w 12192185"/>
              <a:gd name="connsiteY8059" fmla="*/ 2589380 h 6859062"/>
              <a:gd name="connsiteX8060" fmla="*/ 1461158 w 12192185"/>
              <a:gd name="connsiteY8060" fmla="*/ 2583815 h 6859062"/>
              <a:gd name="connsiteX8061" fmla="*/ 1459981 w 12192185"/>
              <a:gd name="connsiteY8061" fmla="*/ 2588205 h 6859062"/>
              <a:gd name="connsiteX8062" fmla="*/ 1455593 w 12192185"/>
              <a:gd name="connsiteY8062" fmla="*/ 2587026 h 6859062"/>
              <a:gd name="connsiteX8063" fmla="*/ 1452380 w 12192185"/>
              <a:gd name="connsiteY8063" fmla="*/ 2581463 h 6859062"/>
              <a:gd name="connsiteX8064" fmla="*/ 1471740 w 12192185"/>
              <a:gd name="connsiteY8064" fmla="*/ 2544315 h 6859062"/>
              <a:gd name="connsiteX8065" fmla="*/ 1476130 w 12192185"/>
              <a:gd name="connsiteY8065" fmla="*/ 2545491 h 6859062"/>
              <a:gd name="connsiteX8066" fmla="*/ 1485222 w 12192185"/>
              <a:gd name="connsiteY8066" fmla="*/ 2529113 h 6859062"/>
              <a:gd name="connsiteX8067" fmla="*/ 1472916 w 12192185"/>
              <a:gd name="connsiteY8067" fmla="*/ 2539926 h 6859062"/>
              <a:gd name="connsiteX8068" fmla="*/ 1483185 w 12192185"/>
              <a:gd name="connsiteY8068" fmla="*/ 2519158 h 6859062"/>
              <a:gd name="connsiteX8069" fmla="*/ 1488750 w 12192185"/>
              <a:gd name="connsiteY8069" fmla="*/ 2515946 h 6859062"/>
              <a:gd name="connsiteX8070" fmla="*/ 1489926 w 12192185"/>
              <a:gd name="connsiteY8070" fmla="*/ 2511558 h 6859062"/>
              <a:gd name="connsiteX8071" fmla="*/ 1486712 w 12192185"/>
              <a:gd name="connsiteY8071" fmla="*/ 2505993 h 6859062"/>
              <a:gd name="connsiteX8072" fmla="*/ 1481148 w 12192185"/>
              <a:gd name="connsiteY8072" fmla="*/ 2509205 h 6859062"/>
              <a:gd name="connsiteX8073" fmla="*/ 1474408 w 12192185"/>
              <a:gd name="connsiteY8073" fmla="*/ 2516807 h 6859062"/>
              <a:gd name="connsiteX8074" fmla="*/ 1473233 w 12192185"/>
              <a:gd name="connsiteY8074" fmla="*/ 2521196 h 6859062"/>
              <a:gd name="connsiteX8075" fmla="*/ 1477620 w 12192185"/>
              <a:gd name="connsiteY8075" fmla="*/ 2522370 h 6859062"/>
              <a:gd name="connsiteX8076" fmla="*/ 1447990 w 12192185"/>
              <a:gd name="connsiteY8076" fmla="*/ 2580287 h 6859062"/>
              <a:gd name="connsiteX8077" fmla="*/ 1442427 w 12192185"/>
              <a:gd name="connsiteY8077" fmla="*/ 2583502 h 6859062"/>
              <a:gd name="connsiteX8078" fmla="*/ 1441252 w 12192185"/>
              <a:gd name="connsiteY8078" fmla="*/ 2587888 h 6859062"/>
              <a:gd name="connsiteX8079" fmla="*/ 1440076 w 12192185"/>
              <a:gd name="connsiteY8079" fmla="*/ 2592277 h 6859062"/>
              <a:gd name="connsiteX8080" fmla="*/ 1424241 w 12192185"/>
              <a:gd name="connsiteY8080" fmla="*/ 2616259 h 6859062"/>
              <a:gd name="connsiteX8081" fmla="*/ 1428631 w 12192185"/>
              <a:gd name="connsiteY8081" fmla="*/ 2617435 h 6859062"/>
              <a:gd name="connsiteX8082" fmla="*/ 1423065 w 12192185"/>
              <a:gd name="connsiteY8082" fmla="*/ 2620646 h 6859062"/>
              <a:gd name="connsiteX8083" fmla="*/ 1416325 w 12192185"/>
              <a:gd name="connsiteY8083" fmla="*/ 2628250 h 6859062"/>
              <a:gd name="connsiteX8084" fmla="*/ 1419537 w 12192185"/>
              <a:gd name="connsiteY8084" fmla="*/ 2633816 h 6859062"/>
              <a:gd name="connsiteX8085" fmla="*/ 1380501 w 12192185"/>
              <a:gd name="connsiteY8085" fmla="*/ 2726844 h 6859062"/>
              <a:gd name="connsiteX8086" fmla="*/ 1373761 w 12192185"/>
              <a:gd name="connsiteY8086" fmla="*/ 2734444 h 6859062"/>
              <a:gd name="connsiteX8087" fmla="*/ 1372584 w 12192185"/>
              <a:gd name="connsiteY8087" fmla="*/ 2738834 h 6859062"/>
              <a:gd name="connsiteX8088" fmla="*/ 1376973 w 12192185"/>
              <a:gd name="connsiteY8088" fmla="*/ 2740010 h 6859062"/>
              <a:gd name="connsiteX8089" fmla="*/ 1361141 w 12192185"/>
              <a:gd name="connsiteY8089" fmla="*/ 2763987 h 6859062"/>
              <a:gd name="connsiteX8090" fmla="*/ 1359964 w 12192185"/>
              <a:gd name="connsiteY8090" fmla="*/ 2768378 h 6859062"/>
              <a:gd name="connsiteX8091" fmla="*/ 1357613 w 12192185"/>
              <a:gd name="connsiteY8091" fmla="*/ 2777156 h 6859062"/>
              <a:gd name="connsiteX8092" fmla="*/ 1356436 w 12192185"/>
              <a:gd name="connsiteY8092" fmla="*/ 2781545 h 6859062"/>
              <a:gd name="connsiteX8093" fmla="*/ 1350871 w 12192185"/>
              <a:gd name="connsiteY8093" fmla="*/ 2784756 h 6859062"/>
              <a:gd name="connsiteX8094" fmla="*/ 1349697 w 12192185"/>
              <a:gd name="connsiteY8094" fmla="*/ 2789146 h 6859062"/>
              <a:gd name="connsiteX8095" fmla="*/ 1342640 w 12192185"/>
              <a:gd name="connsiteY8095" fmla="*/ 2815473 h 6859062"/>
              <a:gd name="connsiteX8096" fmla="*/ 1341464 w 12192185"/>
              <a:gd name="connsiteY8096" fmla="*/ 2819866 h 6859062"/>
              <a:gd name="connsiteX8097" fmla="*/ 1339112 w 12192185"/>
              <a:gd name="connsiteY8097" fmla="*/ 2828643 h 6859062"/>
              <a:gd name="connsiteX8098" fmla="*/ 1337936 w 12192185"/>
              <a:gd name="connsiteY8098" fmla="*/ 2833031 h 6859062"/>
              <a:gd name="connsiteX8099" fmla="*/ 1329704 w 12192185"/>
              <a:gd name="connsiteY8099" fmla="*/ 2863758 h 6859062"/>
              <a:gd name="connsiteX8100" fmla="*/ 1316225 w 12192185"/>
              <a:gd name="connsiteY8100" fmla="*/ 2878956 h 6859062"/>
              <a:gd name="connsiteX8101" fmla="*/ 1310660 w 12192185"/>
              <a:gd name="connsiteY8101" fmla="*/ 2882167 h 6859062"/>
              <a:gd name="connsiteX8102" fmla="*/ 1309483 w 12192185"/>
              <a:gd name="connsiteY8102" fmla="*/ 2886559 h 6859062"/>
              <a:gd name="connsiteX8103" fmla="*/ 1313871 w 12192185"/>
              <a:gd name="connsiteY8103" fmla="*/ 2887732 h 6859062"/>
              <a:gd name="connsiteX8104" fmla="*/ 1315047 w 12192185"/>
              <a:gd name="connsiteY8104" fmla="*/ 2883346 h 6859062"/>
              <a:gd name="connsiteX8105" fmla="*/ 1314733 w 12192185"/>
              <a:gd name="connsiteY8105" fmla="*/ 2902077 h 6859062"/>
              <a:gd name="connsiteX8106" fmla="*/ 1305956 w 12192185"/>
              <a:gd name="connsiteY8106" fmla="*/ 2899725 h 6859062"/>
              <a:gd name="connsiteX8107" fmla="*/ 1302937 w 12192185"/>
              <a:gd name="connsiteY8107" fmla="*/ 2894496 h 6859062"/>
              <a:gd name="connsiteX8108" fmla="*/ 1311080 w 12192185"/>
              <a:gd name="connsiteY8108" fmla="*/ 2870452 h 6859062"/>
              <a:gd name="connsiteX8109" fmla="*/ 1326262 w 12192185"/>
              <a:gd name="connsiteY8109" fmla="*/ 2806382 h 6859062"/>
              <a:gd name="connsiteX8110" fmla="*/ 1331827 w 12192185"/>
              <a:gd name="connsiteY8110" fmla="*/ 2803167 h 6859062"/>
              <a:gd name="connsiteX8111" fmla="*/ 1333003 w 12192185"/>
              <a:gd name="connsiteY8111" fmla="*/ 2798780 h 6859062"/>
              <a:gd name="connsiteX8112" fmla="*/ 1334493 w 12192185"/>
              <a:gd name="connsiteY8112" fmla="*/ 2775664 h 6859062"/>
              <a:gd name="connsiteX8113" fmla="*/ 1329789 w 12192185"/>
              <a:gd name="connsiteY8113" fmla="*/ 2793217 h 6859062"/>
              <a:gd name="connsiteX8114" fmla="*/ 1326577 w 12192185"/>
              <a:gd name="connsiteY8114" fmla="*/ 2787655 h 6859062"/>
              <a:gd name="connsiteX8115" fmla="*/ 1325401 w 12192185"/>
              <a:gd name="connsiteY8115" fmla="*/ 2792044 h 6859062"/>
              <a:gd name="connsiteX8116" fmla="*/ 1324224 w 12192185"/>
              <a:gd name="connsiteY8116" fmla="*/ 2796428 h 6859062"/>
              <a:gd name="connsiteX8117" fmla="*/ 1323048 w 12192185"/>
              <a:gd name="connsiteY8117" fmla="*/ 2800817 h 6859062"/>
              <a:gd name="connsiteX8118" fmla="*/ 1289346 w 12192185"/>
              <a:gd name="connsiteY8118" fmla="*/ 2838830 h 6859062"/>
              <a:gd name="connsiteX8119" fmla="*/ 1223976 w 12192185"/>
              <a:gd name="connsiteY8119" fmla="*/ 2924793 h 6859062"/>
              <a:gd name="connsiteX8120" fmla="*/ 1218412 w 12192185"/>
              <a:gd name="connsiteY8120" fmla="*/ 2928006 h 6859062"/>
              <a:gd name="connsiteX8121" fmla="*/ 1212847 w 12192185"/>
              <a:gd name="connsiteY8121" fmla="*/ 2931216 h 6859062"/>
              <a:gd name="connsiteX8122" fmla="*/ 1209634 w 12192185"/>
              <a:gd name="connsiteY8122" fmla="*/ 2925654 h 6859062"/>
              <a:gd name="connsiteX8123" fmla="*/ 1206106 w 12192185"/>
              <a:gd name="connsiteY8123" fmla="*/ 2938819 h 6859062"/>
              <a:gd name="connsiteX8124" fmla="*/ 1166209 w 12192185"/>
              <a:gd name="connsiteY8124" fmla="*/ 3017499 h 6859062"/>
              <a:gd name="connsiteX8125" fmla="*/ 1164172 w 12192185"/>
              <a:gd name="connsiteY8125" fmla="*/ 3007543 h 6859062"/>
              <a:gd name="connsiteX8126" fmla="*/ 1123728 w 12192185"/>
              <a:gd name="connsiteY8126" fmla="*/ 3053158 h 6859062"/>
              <a:gd name="connsiteX8127" fmla="*/ 1126080 w 12192185"/>
              <a:gd name="connsiteY8127" fmla="*/ 3044382 h 6859062"/>
              <a:gd name="connsiteX8128" fmla="*/ 1127255 w 12192185"/>
              <a:gd name="connsiteY8128" fmla="*/ 3039995 h 6859062"/>
              <a:gd name="connsiteX8129" fmla="*/ 1121693 w 12192185"/>
              <a:gd name="connsiteY8129" fmla="*/ 3043205 h 6859062"/>
              <a:gd name="connsiteX8130" fmla="*/ 1119340 w 12192185"/>
              <a:gd name="connsiteY8130" fmla="*/ 3051983 h 6859062"/>
              <a:gd name="connsiteX8131" fmla="*/ 1138155 w 12192185"/>
              <a:gd name="connsiteY8131" fmla="*/ 2981758 h 6859062"/>
              <a:gd name="connsiteX8132" fmla="*/ 1063693 w 12192185"/>
              <a:gd name="connsiteY8132" fmla="*/ 3084111 h 6859062"/>
              <a:gd name="connsiteX8133" fmla="*/ 1042611 w 12192185"/>
              <a:gd name="connsiteY8133" fmla="*/ 3092573 h 6859062"/>
              <a:gd name="connsiteX8134" fmla="*/ 1041750 w 12192185"/>
              <a:gd name="connsiteY8134" fmla="*/ 3078232 h 6859062"/>
              <a:gd name="connsiteX8135" fmla="*/ 1074361 w 12192185"/>
              <a:gd name="connsiteY8135" fmla="*/ 2974074 h 6859062"/>
              <a:gd name="connsiteX8136" fmla="*/ 1074446 w 12192185"/>
              <a:gd name="connsiteY8136" fmla="*/ 2973268 h 6859062"/>
              <a:gd name="connsiteX8137" fmla="*/ 1071348 w 12192185"/>
              <a:gd name="connsiteY8137" fmla="*/ 2972375 h 6859062"/>
              <a:gd name="connsiteX8138" fmla="*/ 1063059 w 12192185"/>
              <a:gd name="connsiteY8138" fmla="*/ 2964763 h 6859062"/>
              <a:gd name="connsiteX8139" fmla="*/ 1058735 w 12192185"/>
              <a:gd name="connsiteY8139" fmla="*/ 2954974 h 6859062"/>
              <a:gd name="connsiteX8140" fmla="*/ 1057310 w 12192185"/>
              <a:gd name="connsiteY8140" fmla="*/ 2941752 h 6859062"/>
              <a:gd name="connsiteX8141" fmla="*/ 1054437 w 12192185"/>
              <a:gd name="connsiteY8141" fmla="*/ 2928586 h 6859062"/>
              <a:gd name="connsiteX8142" fmla="*/ 1047539 w 12192185"/>
              <a:gd name="connsiteY8142" fmla="*/ 2916158 h 6859062"/>
              <a:gd name="connsiteX8143" fmla="*/ 1052090 w 12192185"/>
              <a:gd name="connsiteY8143" fmla="*/ 2900391 h 6859062"/>
              <a:gd name="connsiteX8144" fmla="*/ 1057812 w 12192185"/>
              <a:gd name="connsiteY8144" fmla="*/ 2896650 h 6859062"/>
              <a:gd name="connsiteX8145" fmla="*/ 1147585 w 12192185"/>
              <a:gd name="connsiteY8145" fmla="*/ 2683246 h 6859062"/>
              <a:gd name="connsiteX8146" fmla="*/ 1157853 w 12192185"/>
              <a:gd name="connsiteY8146" fmla="*/ 2662480 h 6859062"/>
              <a:gd name="connsiteX8147" fmla="*/ 1165412 w 12192185"/>
              <a:gd name="connsiteY8147" fmla="*/ 2648623 h 6859062"/>
              <a:gd name="connsiteX8148" fmla="*/ 1166569 w 12192185"/>
              <a:gd name="connsiteY8148" fmla="*/ 2643502 h 6859062"/>
              <a:gd name="connsiteX8149" fmla="*/ 1168762 w 12192185"/>
              <a:gd name="connsiteY8149" fmla="*/ 2639565 h 6859062"/>
              <a:gd name="connsiteX8150" fmla="*/ 1172915 w 12192185"/>
              <a:gd name="connsiteY8150" fmla="*/ 2631271 h 6859062"/>
              <a:gd name="connsiteX8151" fmla="*/ 1174177 w 12192185"/>
              <a:gd name="connsiteY8151" fmla="*/ 2628119 h 6859062"/>
              <a:gd name="connsiteX8152" fmla="*/ 1177400 w 12192185"/>
              <a:gd name="connsiteY8152" fmla="*/ 2620612 h 6859062"/>
              <a:gd name="connsiteX8153" fmla="*/ 1182007 w 12192185"/>
              <a:gd name="connsiteY8153" fmla="*/ 2618204 h 6859062"/>
              <a:gd name="connsiteX8154" fmla="*/ 1313244 w 12192185"/>
              <a:gd name="connsiteY8154" fmla="*/ 2377642 h 6859062"/>
              <a:gd name="connsiteX8155" fmla="*/ 3093635 w 12192185"/>
              <a:gd name="connsiteY8155" fmla="*/ 1173129 h 6859062"/>
              <a:gd name="connsiteX8156" fmla="*/ 3190643 w 12192185"/>
              <a:gd name="connsiteY8156" fmla="*/ 1158181 h 6859062"/>
              <a:gd name="connsiteX8157" fmla="*/ 3190542 w 12192185"/>
              <a:gd name="connsiteY8157" fmla="*/ 1157164 h 6859062"/>
              <a:gd name="connsiteX8158" fmla="*/ 3188774 w 12192185"/>
              <a:gd name="connsiteY8158" fmla="*/ 1147633 h 6859062"/>
              <a:gd name="connsiteX8159" fmla="*/ 3187714 w 12192185"/>
              <a:gd name="connsiteY8159" fmla="*/ 1143045 h 6859062"/>
              <a:gd name="connsiteX8160" fmla="*/ 3188068 w 12192185"/>
              <a:gd name="connsiteY8160" fmla="*/ 1137043 h 6859062"/>
              <a:gd name="connsiteX8161" fmla="*/ 3190542 w 12192185"/>
              <a:gd name="connsiteY8161" fmla="*/ 1131043 h 6859062"/>
              <a:gd name="connsiteX8162" fmla="*/ 3198317 w 12192185"/>
              <a:gd name="connsiteY8162" fmla="*/ 1116571 h 6859062"/>
              <a:gd name="connsiteX8163" fmla="*/ 3223409 w 12192185"/>
              <a:gd name="connsiteY8163" fmla="*/ 1100686 h 6859062"/>
              <a:gd name="connsiteX8164" fmla="*/ 3225883 w 12192185"/>
              <a:gd name="connsiteY8164" fmla="*/ 1101391 h 6859062"/>
              <a:gd name="connsiteX8165" fmla="*/ 3237191 w 12192185"/>
              <a:gd name="connsiteY8165" fmla="*/ 1102803 h 6859062"/>
              <a:gd name="connsiteX8166" fmla="*/ 3240018 w 12192185"/>
              <a:gd name="connsiteY8166" fmla="*/ 1104215 h 6859062"/>
              <a:gd name="connsiteX8167" fmla="*/ 3248148 w 12192185"/>
              <a:gd name="connsiteY8167" fmla="*/ 1106687 h 6859062"/>
              <a:gd name="connsiteX8168" fmla="*/ 3252389 w 12192185"/>
              <a:gd name="connsiteY8168" fmla="*/ 1108451 h 6859062"/>
              <a:gd name="connsiteX8169" fmla="*/ 3254862 w 12192185"/>
              <a:gd name="connsiteY8169" fmla="*/ 1113394 h 6859062"/>
              <a:gd name="connsiteX8170" fmla="*/ 3264406 w 12192185"/>
              <a:gd name="connsiteY8170" fmla="*/ 1126101 h 6859062"/>
              <a:gd name="connsiteX8171" fmla="*/ 3268646 w 12192185"/>
              <a:gd name="connsiteY8171" fmla="*/ 1134572 h 6859062"/>
              <a:gd name="connsiteX8172" fmla="*/ 3268646 w 12192185"/>
              <a:gd name="connsiteY8172" fmla="*/ 1138809 h 6859062"/>
              <a:gd name="connsiteX8173" fmla="*/ 3265216 w 12192185"/>
              <a:gd name="connsiteY8173" fmla="*/ 1148055 h 6859062"/>
              <a:gd name="connsiteX8174" fmla="*/ 3266366 w 12192185"/>
              <a:gd name="connsiteY8174" fmla="*/ 1148363 h 6859062"/>
              <a:gd name="connsiteX8175" fmla="*/ 3270754 w 12192185"/>
              <a:gd name="connsiteY8175" fmla="*/ 1149540 h 6859062"/>
              <a:gd name="connsiteX8176" fmla="*/ 3273969 w 12192185"/>
              <a:gd name="connsiteY8176" fmla="*/ 1155104 h 6859062"/>
              <a:gd name="connsiteX8177" fmla="*/ 3264014 w 12192185"/>
              <a:gd name="connsiteY8177" fmla="*/ 1157139 h 6859062"/>
              <a:gd name="connsiteX8178" fmla="*/ 3261738 w 12192185"/>
              <a:gd name="connsiteY8178" fmla="*/ 1158925 h 6859062"/>
              <a:gd name="connsiteX8179" fmla="*/ 3260463 w 12192185"/>
              <a:gd name="connsiteY8179" fmla="*/ 1162931 h 6859062"/>
              <a:gd name="connsiteX8180" fmla="*/ 3261662 w 12192185"/>
              <a:gd name="connsiteY8180" fmla="*/ 1165918 h 6859062"/>
              <a:gd name="connsiteX8181" fmla="*/ 3271616 w 12192185"/>
              <a:gd name="connsiteY8181" fmla="*/ 1163880 h 6859062"/>
              <a:gd name="connsiteX8182" fmla="*/ 3277180 w 12192185"/>
              <a:gd name="connsiteY8182" fmla="*/ 1160668 h 6859062"/>
              <a:gd name="connsiteX8183" fmla="*/ 3281571 w 12192185"/>
              <a:gd name="connsiteY8183" fmla="*/ 1161845 h 6859062"/>
              <a:gd name="connsiteX8184" fmla="*/ 3293562 w 12192185"/>
              <a:gd name="connsiteY8184" fmla="*/ 1169761 h 6859062"/>
              <a:gd name="connsiteX8185" fmla="*/ 3301479 w 12192185"/>
              <a:gd name="connsiteY8185" fmla="*/ 1157772 h 6859062"/>
              <a:gd name="connsiteX8186" fmla="*/ 3291523 w 12192185"/>
              <a:gd name="connsiteY8186" fmla="*/ 1159807 h 6859062"/>
              <a:gd name="connsiteX8187" fmla="*/ 3298266 w 12192185"/>
              <a:gd name="connsiteY8187" fmla="*/ 1152207 h 6859062"/>
              <a:gd name="connsiteX8188" fmla="*/ 3283922 w 12192185"/>
              <a:gd name="connsiteY8188" fmla="*/ 1153068 h 6859062"/>
              <a:gd name="connsiteX8189" fmla="*/ 3278358 w 12192185"/>
              <a:gd name="connsiteY8189" fmla="*/ 1156280 h 6859062"/>
              <a:gd name="connsiteX8190" fmla="*/ 3285098 w 12192185"/>
              <a:gd name="connsiteY8190" fmla="*/ 1148678 h 6859062"/>
              <a:gd name="connsiteX8191" fmla="*/ 3289486 w 12192185"/>
              <a:gd name="connsiteY8191" fmla="*/ 1149854 h 6859062"/>
              <a:gd name="connsiteX8192" fmla="*/ 3295052 w 12192185"/>
              <a:gd name="connsiteY8192" fmla="*/ 1146639 h 6859062"/>
              <a:gd name="connsiteX8193" fmla="*/ 3296228 w 12192185"/>
              <a:gd name="connsiteY8193" fmla="*/ 1142253 h 6859062"/>
              <a:gd name="connsiteX8194" fmla="*/ 3407570 w 12192185"/>
              <a:gd name="connsiteY8194" fmla="*/ 1132691 h 6859062"/>
              <a:gd name="connsiteX8195" fmla="*/ 3408629 w 12192185"/>
              <a:gd name="connsiteY8195" fmla="*/ 1132641 h 6859062"/>
              <a:gd name="connsiteX8196" fmla="*/ 3422555 w 12192185"/>
              <a:gd name="connsiteY8196" fmla="*/ 1115689 h 6859062"/>
              <a:gd name="connsiteX8197" fmla="*/ 3439596 w 12192185"/>
              <a:gd name="connsiteY8197" fmla="*/ 1098067 h 6859062"/>
              <a:gd name="connsiteX8198" fmla="*/ 3600857 w 12192185"/>
              <a:gd name="connsiteY8198" fmla="*/ 1069314 h 6859062"/>
              <a:gd name="connsiteX8199" fmla="*/ 3486834 w 12192185"/>
              <a:gd name="connsiteY8199" fmla="*/ 1070377 h 6859062"/>
              <a:gd name="connsiteX8200" fmla="*/ 3482853 w 12192185"/>
              <a:gd name="connsiteY8200" fmla="*/ 1076212 h 6859062"/>
              <a:gd name="connsiteX8201" fmla="*/ 3470292 w 12192185"/>
              <a:gd name="connsiteY8201" fmla="*/ 1084198 h 6859062"/>
              <a:gd name="connsiteX8202" fmla="*/ 3467732 w 12192185"/>
              <a:gd name="connsiteY8202" fmla="*/ 1092964 h 6859062"/>
              <a:gd name="connsiteX8203" fmla="*/ 3463714 w 12192185"/>
              <a:gd name="connsiteY8203" fmla="*/ 1093692 h 6859062"/>
              <a:gd name="connsiteX8204" fmla="*/ 3459691 w 12192185"/>
              <a:gd name="connsiteY8204" fmla="*/ 1094422 h 6859062"/>
              <a:gd name="connsiteX8205" fmla="*/ 3462981 w 12192185"/>
              <a:gd name="connsiteY8205" fmla="*/ 1089674 h 6859062"/>
              <a:gd name="connsiteX8206" fmla="*/ 3465169 w 12192185"/>
              <a:gd name="connsiteY8206" fmla="*/ 1101729 h 6859062"/>
              <a:gd name="connsiteX8207" fmla="*/ 3463337 w 12192185"/>
              <a:gd name="connsiteY8207" fmla="*/ 1114518 h 6859062"/>
              <a:gd name="connsiteX8208" fmla="*/ 3482703 w 12192185"/>
              <a:gd name="connsiteY8208" fmla="*/ 1106851 h 6859062"/>
              <a:gd name="connsiteX8209" fmla="*/ 3470763 w 12192185"/>
              <a:gd name="connsiteY8209" fmla="*/ 1129698 h 6859062"/>
              <a:gd name="connsiteX8210" fmla="*/ 3521310 w 12192185"/>
              <a:gd name="connsiteY8210" fmla="*/ 1127302 h 6859062"/>
              <a:gd name="connsiteX8211" fmla="*/ 3533298 w 12192185"/>
              <a:gd name="connsiteY8211" fmla="*/ 1135219 h 6859062"/>
              <a:gd name="connsiteX8212" fmla="*/ 3534473 w 12192185"/>
              <a:gd name="connsiteY8212" fmla="*/ 1130831 h 6859062"/>
              <a:gd name="connsiteX8213" fmla="*/ 3717086 w 12192185"/>
              <a:gd name="connsiteY8213" fmla="*/ 1133094 h 6859062"/>
              <a:gd name="connsiteX8214" fmla="*/ 3868378 w 12192185"/>
              <a:gd name="connsiteY8214" fmla="*/ 1145890 h 6859062"/>
              <a:gd name="connsiteX8215" fmla="*/ 3877327 w 12192185"/>
              <a:gd name="connsiteY8215" fmla="*/ 1137338 h 6859062"/>
              <a:gd name="connsiteX8216" fmla="*/ 3925635 w 12192185"/>
              <a:gd name="connsiteY8216" fmla="*/ 1095084 h 6859062"/>
              <a:gd name="connsiteX8217" fmla="*/ 3888953 w 12192185"/>
              <a:gd name="connsiteY8217" fmla="*/ 1089400 h 6859062"/>
              <a:gd name="connsiteX8218" fmla="*/ 3600857 w 12192185"/>
              <a:gd name="connsiteY8218" fmla="*/ 1069314 h 6859062"/>
              <a:gd name="connsiteX8219" fmla="*/ 1529358 w 12192185"/>
              <a:gd name="connsiteY8219" fmla="*/ 1068042 h 6859062"/>
              <a:gd name="connsiteX8220" fmla="*/ 1532900 w 12192185"/>
              <a:gd name="connsiteY8220" fmla="*/ 1068456 h 6859062"/>
              <a:gd name="connsiteX8221" fmla="*/ 1543017 w 12192185"/>
              <a:gd name="connsiteY8221" fmla="*/ 1069322 h 6859062"/>
              <a:gd name="connsiteX8222" fmla="*/ 1545108 w 12192185"/>
              <a:gd name="connsiteY8222" fmla="*/ 1069886 h 6859062"/>
              <a:gd name="connsiteX8223" fmla="*/ 1555638 w 12192185"/>
              <a:gd name="connsiteY8223" fmla="*/ 1076068 h 6859062"/>
              <a:gd name="connsiteX8224" fmla="*/ 1565563 w 12192185"/>
              <a:gd name="connsiteY8224" fmla="*/ 1089439 h 6859062"/>
              <a:gd name="connsiteX8225" fmla="*/ 1569598 w 12192185"/>
              <a:gd name="connsiteY8225" fmla="*/ 1093822 h 6859062"/>
              <a:gd name="connsiteX8226" fmla="*/ 1571749 w 12192185"/>
              <a:gd name="connsiteY8226" fmla="*/ 1101337 h 6859062"/>
              <a:gd name="connsiteX8227" fmla="*/ 1573311 w 12192185"/>
              <a:gd name="connsiteY8227" fmla="*/ 1107747 h 6859062"/>
              <a:gd name="connsiteX8228" fmla="*/ 1574381 w 12192185"/>
              <a:gd name="connsiteY8228" fmla="*/ 1110186 h 6859062"/>
              <a:gd name="connsiteX8229" fmla="*/ 1568640 w 12192185"/>
              <a:gd name="connsiteY8229" fmla="*/ 1125078 h 6859062"/>
              <a:gd name="connsiteX8230" fmla="*/ 1561289 w 12192185"/>
              <a:gd name="connsiteY8230" fmla="*/ 1133953 h 6859062"/>
              <a:gd name="connsiteX8231" fmla="*/ 1557599 w 12192185"/>
              <a:gd name="connsiteY8231" fmla="*/ 1145653 h 6859062"/>
              <a:gd name="connsiteX8232" fmla="*/ 1559263 w 12192185"/>
              <a:gd name="connsiteY8232" fmla="*/ 1147125 h 6859062"/>
              <a:gd name="connsiteX8233" fmla="*/ 1573320 w 12192185"/>
              <a:gd name="connsiteY8233" fmla="*/ 1155235 h 6859062"/>
              <a:gd name="connsiteX8234" fmla="*/ 1575617 w 12192185"/>
              <a:gd name="connsiteY8234" fmla="*/ 1157419 h 6859062"/>
              <a:gd name="connsiteX8235" fmla="*/ 1579962 w 12192185"/>
              <a:gd name="connsiteY8235" fmla="*/ 1165271 h 6859062"/>
              <a:gd name="connsiteX8236" fmla="*/ 1585792 w 12192185"/>
              <a:gd name="connsiteY8236" fmla="*/ 1174094 h 6859062"/>
              <a:gd name="connsiteX8237" fmla="*/ 1587072 w 12192185"/>
              <a:gd name="connsiteY8237" fmla="*/ 1178155 h 6859062"/>
              <a:gd name="connsiteX8238" fmla="*/ 1586005 w 12192185"/>
              <a:gd name="connsiteY8238" fmla="*/ 1202850 h 6859062"/>
              <a:gd name="connsiteX8239" fmla="*/ 1584819 w 12192185"/>
              <a:gd name="connsiteY8239" fmla="*/ 1204785 h 6859062"/>
              <a:gd name="connsiteX8240" fmla="*/ 1576395 w 12192185"/>
              <a:gd name="connsiteY8240" fmla="*/ 1213296 h 6859062"/>
              <a:gd name="connsiteX8241" fmla="*/ 1572541 w 12192185"/>
              <a:gd name="connsiteY8241" fmla="*/ 1216197 h 6859062"/>
              <a:gd name="connsiteX8242" fmla="*/ 1565807 w 12192185"/>
              <a:gd name="connsiteY8242" fmla="*/ 1220516 h 6859062"/>
              <a:gd name="connsiteX8243" fmla="*/ 1562050 w 12192185"/>
              <a:gd name="connsiteY8243" fmla="*/ 1227337 h 6859062"/>
              <a:gd name="connsiteX8244" fmla="*/ 1559873 w 12192185"/>
              <a:gd name="connsiteY8244" fmla="*/ 1229137 h 6859062"/>
              <a:gd name="connsiteX8245" fmla="*/ 1557567 w 12192185"/>
              <a:gd name="connsiteY8245" fmla="*/ 1227452 h 6859062"/>
              <a:gd name="connsiteX8246" fmla="*/ 1556343 w 12192185"/>
              <a:gd name="connsiteY8246" fmla="*/ 1225631 h 6859062"/>
              <a:gd name="connsiteX8247" fmla="*/ 1553999 w 12192185"/>
              <a:gd name="connsiteY8247" fmla="*/ 1223842 h 6859062"/>
              <a:gd name="connsiteX8248" fmla="*/ 1552373 w 12192185"/>
              <a:gd name="connsiteY8248" fmla="*/ 1226123 h 6859062"/>
              <a:gd name="connsiteX8249" fmla="*/ 1547068 w 12192185"/>
              <a:gd name="connsiteY8249" fmla="*/ 1227100 h 6859062"/>
              <a:gd name="connsiteX8250" fmla="*/ 1545285 w 12192185"/>
              <a:gd name="connsiteY8250" fmla="*/ 1225295 h 6859062"/>
              <a:gd name="connsiteX8251" fmla="*/ 1541862 w 12192185"/>
              <a:gd name="connsiteY8251" fmla="*/ 1225213 h 6859062"/>
              <a:gd name="connsiteX8252" fmla="*/ 1541719 w 12192185"/>
              <a:gd name="connsiteY8252" fmla="*/ 1228469 h 6859062"/>
              <a:gd name="connsiteX8253" fmla="*/ 1542911 w 12192185"/>
              <a:gd name="connsiteY8253" fmla="*/ 1230888 h 6859062"/>
              <a:gd name="connsiteX8254" fmla="*/ 1525192 w 12192185"/>
              <a:gd name="connsiteY8254" fmla="*/ 1222637 h 6859062"/>
              <a:gd name="connsiteX8255" fmla="*/ 1525555 w 12192185"/>
              <a:gd name="connsiteY8255" fmla="*/ 1221308 h 6859062"/>
              <a:gd name="connsiteX8256" fmla="*/ 1522910 w 12192185"/>
              <a:gd name="connsiteY8256" fmla="*/ 1218685 h 6859062"/>
              <a:gd name="connsiteX8257" fmla="*/ 1519426 w 12192185"/>
              <a:gd name="connsiteY8257" fmla="*/ 1218436 h 6859062"/>
              <a:gd name="connsiteX8258" fmla="*/ 1515979 w 12192185"/>
              <a:gd name="connsiteY8258" fmla="*/ 1215159 h 6859062"/>
              <a:gd name="connsiteX8259" fmla="*/ 1504836 w 12192185"/>
              <a:gd name="connsiteY8259" fmla="*/ 1204676 h 6859062"/>
              <a:gd name="connsiteX8260" fmla="*/ 1501839 w 12192185"/>
              <a:gd name="connsiteY8260" fmla="*/ 1203687 h 6859062"/>
              <a:gd name="connsiteX8261" fmla="*/ 1504285 w 12192185"/>
              <a:gd name="connsiteY8261" fmla="*/ 1200542 h 6859062"/>
              <a:gd name="connsiteX8262" fmla="*/ 1504785 w 12192185"/>
              <a:gd name="connsiteY8262" fmla="*/ 1200361 h 6859062"/>
              <a:gd name="connsiteX8263" fmla="*/ 1505906 w 12192185"/>
              <a:gd name="connsiteY8263" fmla="*/ 1193548 h 6859062"/>
              <a:gd name="connsiteX8264" fmla="*/ 1503407 w 12192185"/>
              <a:gd name="connsiteY8264" fmla="*/ 1185595 h 6859062"/>
              <a:gd name="connsiteX8265" fmla="*/ 1502266 w 12192185"/>
              <a:gd name="connsiteY8265" fmla="*/ 1173570 h 6859062"/>
              <a:gd name="connsiteX8266" fmla="*/ 1503682 w 12192185"/>
              <a:gd name="connsiteY8266" fmla="*/ 1169666 h 6859062"/>
              <a:gd name="connsiteX8267" fmla="*/ 1507386 w 12192185"/>
              <a:gd name="connsiteY8267" fmla="*/ 1158528 h 6859062"/>
              <a:gd name="connsiteX8268" fmla="*/ 1510846 w 12192185"/>
              <a:gd name="connsiteY8268" fmla="*/ 1155580 h 6859062"/>
              <a:gd name="connsiteX8269" fmla="*/ 1525608 w 12192185"/>
              <a:gd name="connsiteY8269" fmla="*/ 1144779 h 6859062"/>
              <a:gd name="connsiteX8270" fmla="*/ 1524283 w 12192185"/>
              <a:gd name="connsiteY8270" fmla="*/ 1141112 h 6859062"/>
              <a:gd name="connsiteX8271" fmla="*/ 1519767 w 12192185"/>
              <a:gd name="connsiteY8271" fmla="*/ 1142180 h 6859062"/>
              <a:gd name="connsiteX8272" fmla="*/ 1517488 w 12192185"/>
              <a:gd name="connsiteY8272" fmla="*/ 1145264 h 6859062"/>
              <a:gd name="connsiteX8273" fmla="*/ 1514773 w 12192185"/>
              <a:gd name="connsiteY8273" fmla="*/ 1146622 h 6859062"/>
              <a:gd name="connsiteX8274" fmla="*/ 1514189 w 12192185"/>
              <a:gd name="connsiteY8274" fmla="*/ 1143442 h 6859062"/>
              <a:gd name="connsiteX8275" fmla="*/ 1515740 w 12192185"/>
              <a:gd name="connsiteY8275" fmla="*/ 1140431 h 6859062"/>
              <a:gd name="connsiteX8276" fmla="*/ 1514706 w 12192185"/>
              <a:gd name="connsiteY8276" fmla="*/ 1134962 h 6859062"/>
              <a:gd name="connsiteX8277" fmla="*/ 1510565 w 12192185"/>
              <a:gd name="connsiteY8277" fmla="*/ 1137590 h 6859062"/>
              <a:gd name="connsiteX8278" fmla="*/ 1508088 w 12192185"/>
              <a:gd name="connsiteY8278" fmla="*/ 1141689 h 6859062"/>
              <a:gd name="connsiteX8279" fmla="*/ 1503970 w 12192185"/>
              <a:gd name="connsiteY8279" fmla="*/ 1140729 h 6859062"/>
              <a:gd name="connsiteX8280" fmla="*/ 1504203 w 12192185"/>
              <a:gd name="connsiteY8280" fmla="*/ 1129901 h 6859062"/>
              <a:gd name="connsiteX8281" fmla="*/ 1500890 w 12192185"/>
              <a:gd name="connsiteY8281" fmla="*/ 1120734 h 6859062"/>
              <a:gd name="connsiteX8282" fmla="*/ 1496230 w 12192185"/>
              <a:gd name="connsiteY8282" fmla="*/ 1118274 h 6859062"/>
              <a:gd name="connsiteX8283" fmla="*/ 1494566 w 12192185"/>
              <a:gd name="connsiteY8283" fmla="*/ 1116801 h 6859062"/>
              <a:gd name="connsiteX8284" fmla="*/ 1496040 w 12192185"/>
              <a:gd name="connsiteY8284" fmla="*/ 1115139 h 6859062"/>
              <a:gd name="connsiteX8285" fmla="*/ 1498336 w 12192185"/>
              <a:gd name="connsiteY8285" fmla="*/ 1110539 h 6859062"/>
              <a:gd name="connsiteX8286" fmla="*/ 1499961 w 12192185"/>
              <a:gd name="connsiteY8286" fmla="*/ 1101470 h 6859062"/>
              <a:gd name="connsiteX8287" fmla="*/ 1498682 w 12192185"/>
              <a:gd name="connsiteY8287" fmla="*/ 1097407 h 6859062"/>
              <a:gd name="connsiteX8288" fmla="*/ 1496383 w 12192185"/>
              <a:gd name="connsiteY8288" fmla="*/ 1095224 h 6859062"/>
              <a:gd name="connsiteX8289" fmla="*/ 1498556 w 12192185"/>
              <a:gd name="connsiteY8289" fmla="*/ 1092365 h 6859062"/>
              <a:gd name="connsiteX8290" fmla="*/ 1500770 w 12192185"/>
              <a:gd name="connsiteY8290" fmla="*/ 1091189 h 6859062"/>
              <a:gd name="connsiteX8291" fmla="*/ 1501135 w 12192185"/>
              <a:gd name="connsiteY8291" fmla="*/ 1083330 h 6859062"/>
              <a:gd name="connsiteX8292" fmla="*/ 1499819 w 12192185"/>
              <a:gd name="connsiteY8292" fmla="*/ 1082299 h 6859062"/>
              <a:gd name="connsiteX8293" fmla="*/ 1498901 w 12192185"/>
              <a:gd name="connsiteY8293" fmla="*/ 1079239 h 6859062"/>
              <a:gd name="connsiteX8294" fmla="*/ 1501810 w 12192185"/>
              <a:gd name="connsiteY8294" fmla="*/ 1078941 h 6859062"/>
              <a:gd name="connsiteX8295" fmla="*/ 1504260 w 12192185"/>
              <a:gd name="connsiteY8295" fmla="*/ 1080505 h 6859062"/>
              <a:gd name="connsiteX8296" fmla="*/ 1507777 w 12192185"/>
              <a:gd name="connsiteY8296" fmla="*/ 1079800 h 6859062"/>
              <a:gd name="connsiteX8297" fmla="*/ 1516984 w 12192185"/>
              <a:gd name="connsiteY8297" fmla="*/ 1073456 h 6859062"/>
              <a:gd name="connsiteX8298" fmla="*/ 1529358 w 12192185"/>
              <a:gd name="connsiteY8298" fmla="*/ 1068042 h 6859062"/>
              <a:gd name="connsiteX8299" fmla="*/ 11427963 w 12192185"/>
              <a:gd name="connsiteY8299" fmla="*/ 1065298 h 6859062"/>
              <a:gd name="connsiteX8300" fmla="*/ 11439295 w 12192185"/>
              <a:gd name="connsiteY8300" fmla="*/ 1065664 h 6859062"/>
              <a:gd name="connsiteX8301" fmla="*/ 11447420 w 12192185"/>
              <a:gd name="connsiteY8301" fmla="*/ 1070040 h 6859062"/>
              <a:gd name="connsiteX8302" fmla="*/ 11447767 w 12192185"/>
              <a:gd name="connsiteY8302" fmla="*/ 1072314 h 6859062"/>
              <a:gd name="connsiteX8303" fmla="*/ 11454347 w 12192185"/>
              <a:gd name="connsiteY8303" fmla="*/ 1087336 h 6859062"/>
              <a:gd name="connsiteX8304" fmla="*/ 11450597 w 12192185"/>
              <a:gd name="connsiteY8304" fmla="*/ 1103054 h 6859062"/>
              <a:gd name="connsiteX8305" fmla="*/ 11436197 w 12192185"/>
              <a:gd name="connsiteY8305" fmla="*/ 1116167 h 6859062"/>
              <a:gd name="connsiteX8306" fmla="*/ 11428143 w 12192185"/>
              <a:gd name="connsiteY8306" fmla="*/ 1116524 h 6859062"/>
              <a:gd name="connsiteX8307" fmla="*/ 11415199 w 12192185"/>
              <a:gd name="connsiteY8307" fmla="*/ 1122071 h 6859062"/>
              <a:gd name="connsiteX8308" fmla="*/ 11410364 w 12192185"/>
              <a:gd name="connsiteY8308" fmla="*/ 1125206 h 6859062"/>
              <a:gd name="connsiteX8309" fmla="*/ 11392079 w 12192185"/>
              <a:gd name="connsiteY8309" fmla="*/ 1129964 h 6859062"/>
              <a:gd name="connsiteX8310" fmla="*/ 11382391 w 12192185"/>
              <a:gd name="connsiteY8310" fmla="*/ 1122657 h 6859062"/>
              <a:gd name="connsiteX8311" fmla="*/ 11376503 w 12192185"/>
              <a:gd name="connsiteY8311" fmla="*/ 1112183 h 6859062"/>
              <a:gd name="connsiteX8312" fmla="*/ 11374680 w 12192185"/>
              <a:gd name="connsiteY8312" fmla="*/ 1103895 h 6859062"/>
              <a:gd name="connsiteX8313" fmla="*/ 11382521 w 12192185"/>
              <a:gd name="connsiteY8313" fmla="*/ 1089337 h 6859062"/>
              <a:gd name="connsiteX8314" fmla="*/ 11396250 w 12192185"/>
              <a:gd name="connsiteY8314" fmla="*/ 1085255 h 6859062"/>
              <a:gd name="connsiteX8315" fmla="*/ 11407600 w 12192185"/>
              <a:gd name="connsiteY8315" fmla="*/ 1077805 h 6859062"/>
              <a:gd name="connsiteX8316" fmla="*/ 11417950 w 12192185"/>
              <a:gd name="connsiteY8316" fmla="*/ 1069294 h 6859062"/>
              <a:gd name="connsiteX8317" fmla="*/ 11427963 w 12192185"/>
              <a:gd name="connsiteY8317" fmla="*/ 1065298 h 6859062"/>
              <a:gd name="connsiteX8318" fmla="*/ 6994838 w 12192185"/>
              <a:gd name="connsiteY8318" fmla="*/ 1041027 h 6859062"/>
              <a:gd name="connsiteX8319" fmla="*/ 6995169 w 12192185"/>
              <a:gd name="connsiteY8319" fmla="*/ 1041173 h 6859062"/>
              <a:gd name="connsiteX8320" fmla="*/ 6994914 w 12192185"/>
              <a:gd name="connsiteY8320" fmla="*/ 1041210 h 6859062"/>
              <a:gd name="connsiteX8321" fmla="*/ 6997333 w 12192185"/>
              <a:gd name="connsiteY8321" fmla="*/ 1040857 h 6859062"/>
              <a:gd name="connsiteX8322" fmla="*/ 7001105 w 12192185"/>
              <a:gd name="connsiteY8322" fmla="*/ 1043795 h 6859062"/>
              <a:gd name="connsiteX8323" fmla="*/ 6995169 w 12192185"/>
              <a:gd name="connsiteY8323" fmla="*/ 1041173 h 6859062"/>
              <a:gd name="connsiteX8324" fmla="*/ 7080310 w 12192185"/>
              <a:gd name="connsiteY8324" fmla="*/ 1036883 h 6859062"/>
              <a:gd name="connsiteX8325" fmla="*/ 7139624 w 12192185"/>
              <a:gd name="connsiteY8325" fmla="*/ 1068921 h 6859062"/>
              <a:gd name="connsiteX8326" fmla="*/ 7149421 w 12192185"/>
              <a:gd name="connsiteY8326" fmla="*/ 1080280 h 6859062"/>
              <a:gd name="connsiteX8327" fmla="*/ 7152998 w 12192185"/>
              <a:gd name="connsiteY8327" fmla="*/ 1082122 h 6859062"/>
              <a:gd name="connsiteX8328" fmla="*/ 7156436 w 12192185"/>
              <a:gd name="connsiteY8328" fmla="*/ 1079103 h 6859062"/>
              <a:gd name="connsiteX8329" fmla="*/ 7159673 w 12192185"/>
              <a:gd name="connsiteY8329" fmla="*/ 1077943 h 6859062"/>
              <a:gd name="connsiteX8330" fmla="*/ 7161615 w 12192185"/>
              <a:gd name="connsiteY8330" fmla="*/ 1080829 h 6859062"/>
              <a:gd name="connsiteX8331" fmla="*/ 7162263 w 12192185"/>
              <a:gd name="connsiteY8331" fmla="*/ 1083417 h 6859062"/>
              <a:gd name="connsiteX8332" fmla="*/ 7164206 w 12192185"/>
              <a:gd name="connsiteY8332" fmla="*/ 1086436 h 6859062"/>
              <a:gd name="connsiteX8333" fmla="*/ 7167011 w 12192185"/>
              <a:gd name="connsiteY8333" fmla="*/ 1084496 h 6859062"/>
              <a:gd name="connsiteX8334" fmla="*/ 7173486 w 12192185"/>
              <a:gd name="connsiteY8334" fmla="*/ 1085574 h 6859062"/>
              <a:gd name="connsiteX8335" fmla="*/ 7174781 w 12192185"/>
              <a:gd name="connsiteY8335" fmla="*/ 1088377 h 6859062"/>
              <a:gd name="connsiteX8336" fmla="*/ 7178666 w 12192185"/>
              <a:gd name="connsiteY8336" fmla="*/ 1089889 h 6859062"/>
              <a:gd name="connsiteX8337" fmla="*/ 7180176 w 12192185"/>
              <a:gd name="connsiteY8337" fmla="*/ 1086221 h 6859062"/>
              <a:gd name="connsiteX8338" fmla="*/ 7180036 w 12192185"/>
              <a:gd name="connsiteY8338" fmla="*/ 1084955 h 6859062"/>
              <a:gd name="connsiteX8339" fmla="*/ 7179408 w 12192185"/>
              <a:gd name="connsiteY8339" fmla="*/ 1084620 h 6859062"/>
              <a:gd name="connsiteX8340" fmla="*/ 7080310 w 12192185"/>
              <a:gd name="connsiteY8340" fmla="*/ 1036883 h 6859062"/>
              <a:gd name="connsiteX8341" fmla="*/ 6950148 w 12192185"/>
              <a:gd name="connsiteY8341" fmla="*/ 1029461 h 6859062"/>
              <a:gd name="connsiteX8342" fmla="*/ 6953741 w 12192185"/>
              <a:gd name="connsiteY8342" fmla="*/ 1029928 h 6859062"/>
              <a:gd name="connsiteX8343" fmla="*/ 6954911 w 12192185"/>
              <a:gd name="connsiteY8343" fmla="*/ 1031515 h 6859062"/>
              <a:gd name="connsiteX8344" fmla="*/ 6950766 w 12192185"/>
              <a:gd name="connsiteY8344" fmla="*/ 1029708 h 6859062"/>
              <a:gd name="connsiteX8345" fmla="*/ 6930432 w 12192185"/>
              <a:gd name="connsiteY8345" fmla="*/ 1021560 h 6859062"/>
              <a:gd name="connsiteX8346" fmla="*/ 6950148 w 12192185"/>
              <a:gd name="connsiteY8346" fmla="*/ 1029461 h 6859062"/>
              <a:gd name="connsiteX8347" fmla="*/ 6949002 w 12192185"/>
              <a:gd name="connsiteY8347" fmla="*/ 1029312 h 6859062"/>
              <a:gd name="connsiteX8348" fmla="*/ 6942811 w 12192185"/>
              <a:gd name="connsiteY8348" fmla="*/ 1026727 h 6859062"/>
              <a:gd name="connsiteX8349" fmla="*/ 6930432 w 12192185"/>
              <a:gd name="connsiteY8349" fmla="*/ 1021560 h 6859062"/>
              <a:gd name="connsiteX8350" fmla="*/ 10397309 w 12192185"/>
              <a:gd name="connsiteY8350" fmla="*/ 1010275 h 6859062"/>
              <a:gd name="connsiteX8351" fmla="*/ 10401715 w 12192185"/>
              <a:gd name="connsiteY8351" fmla="*/ 1010716 h 6859062"/>
              <a:gd name="connsiteX8352" fmla="*/ 10409746 w 12192185"/>
              <a:gd name="connsiteY8352" fmla="*/ 1012336 h 6859062"/>
              <a:gd name="connsiteX8353" fmla="*/ 10412791 w 12192185"/>
              <a:gd name="connsiteY8353" fmla="*/ 1012431 h 6859062"/>
              <a:gd name="connsiteX8354" fmla="*/ 10423036 w 12192185"/>
              <a:gd name="connsiteY8354" fmla="*/ 1016404 h 6859062"/>
              <a:gd name="connsiteX8355" fmla="*/ 10425459 w 12192185"/>
              <a:gd name="connsiteY8355" fmla="*/ 1016935 h 6859062"/>
              <a:gd name="connsiteX8356" fmla="*/ 10439496 w 12192185"/>
              <a:gd name="connsiteY8356" fmla="*/ 1041892 h 6859062"/>
              <a:gd name="connsiteX8357" fmla="*/ 10439479 w 12192185"/>
              <a:gd name="connsiteY8357" fmla="*/ 1057734 h 6859062"/>
              <a:gd name="connsiteX8358" fmla="*/ 10438835 w 12192185"/>
              <a:gd name="connsiteY8358" fmla="*/ 1063958 h 6859062"/>
              <a:gd name="connsiteX8359" fmla="*/ 10436391 w 12192185"/>
              <a:gd name="connsiteY8359" fmla="*/ 1069214 h 6859062"/>
              <a:gd name="connsiteX8360" fmla="*/ 10433392 w 12192185"/>
              <a:gd name="connsiteY8360" fmla="*/ 1072623 h 6859062"/>
              <a:gd name="connsiteX8361" fmla="*/ 10427534 w 12192185"/>
              <a:gd name="connsiteY8361" fmla="*/ 1079905 h 6859062"/>
              <a:gd name="connsiteX8362" fmla="*/ 10425621 w 12192185"/>
              <a:gd name="connsiteY8362" fmla="*/ 1082738 h 6859062"/>
              <a:gd name="connsiteX8363" fmla="*/ 10420846 w 12192185"/>
              <a:gd name="connsiteY8363" fmla="*/ 1089445 h 6859062"/>
              <a:gd name="connsiteX8364" fmla="*/ 10399552 w 12192185"/>
              <a:gd name="connsiteY8364" fmla="*/ 1093050 h 6859062"/>
              <a:gd name="connsiteX8365" fmla="*/ 10389790 w 12192185"/>
              <a:gd name="connsiteY8365" fmla="*/ 1088178 h 6859062"/>
              <a:gd name="connsiteX8366" fmla="*/ 10373150 w 12192185"/>
              <a:gd name="connsiteY8366" fmla="*/ 1073802 h 6859062"/>
              <a:gd name="connsiteX8367" fmla="*/ 10369504 w 12192185"/>
              <a:gd name="connsiteY8367" fmla="*/ 1068359 h 6859062"/>
              <a:gd name="connsiteX8368" fmla="*/ 10366386 w 12192185"/>
              <a:gd name="connsiteY8368" fmla="*/ 1060494 h 6859062"/>
              <a:gd name="connsiteX8369" fmla="*/ 10365368 w 12192185"/>
              <a:gd name="connsiteY8369" fmla="*/ 1053761 h 6859062"/>
              <a:gd name="connsiteX8370" fmla="*/ 10368271 w 12192185"/>
              <a:gd name="connsiteY8370" fmla="*/ 1038314 h 6859062"/>
              <a:gd name="connsiteX8371" fmla="*/ 10369628 w 12192185"/>
              <a:gd name="connsiteY8371" fmla="*/ 1028608 h 6859062"/>
              <a:gd name="connsiteX8372" fmla="*/ 10371566 w 12192185"/>
              <a:gd name="connsiteY8372" fmla="*/ 1025013 h 6859062"/>
              <a:gd name="connsiteX8373" fmla="*/ 10379038 w 12192185"/>
              <a:gd name="connsiteY8373" fmla="*/ 1019761 h 6859062"/>
              <a:gd name="connsiteX8374" fmla="*/ 10392949 w 12192185"/>
              <a:gd name="connsiteY8374" fmla="*/ 1013338 h 6859062"/>
              <a:gd name="connsiteX8375" fmla="*/ 10397309 w 12192185"/>
              <a:gd name="connsiteY8375" fmla="*/ 1010275 h 6859062"/>
              <a:gd name="connsiteX8376" fmla="*/ 5174944 w 12192185"/>
              <a:gd name="connsiteY8376" fmla="*/ 1004625 h 6859062"/>
              <a:gd name="connsiteX8377" fmla="*/ 5176755 w 12192185"/>
              <a:gd name="connsiteY8377" fmla="*/ 1009012 h 6859062"/>
              <a:gd name="connsiteX8378" fmla="*/ 5172355 w 12192185"/>
              <a:gd name="connsiteY8378" fmla="*/ 1010815 h 6859062"/>
              <a:gd name="connsiteX8379" fmla="*/ 5174944 w 12192185"/>
              <a:gd name="connsiteY8379" fmla="*/ 1004625 h 6859062"/>
              <a:gd name="connsiteX8380" fmla="*/ 11177571 w 12192185"/>
              <a:gd name="connsiteY8380" fmla="*/ 994819 h 6859062"/>
              <a:gd name="connsiteX8381" fmla="*/ 11181977 w 12192185"/>
              <a:gd name="connsiteY8381" fmla="*/ 995260 h 6859062"/>
              <a:gd name="connsiteX8382" fmla="*/ 11190007 w 12192185"/>
              <a:gd name="connsiteY8382" fmla="*/ 996880 h 6859062"/>
              <a:gd name="connsiteX8383" fmla="*/ 11193053 w 12192185"/>
              <a:gd name="connsiteY8383" fmla="*/ 996974 h 6859062"/>
              <a:gd name="connsiteX8384" fmla="*/ 11203298 w 12192185"/>
              <a:gd name="connsiteY8384" fmla="*/ 1000947 h 6859062"/>
              <a:gd name="connsiteX8385" fmla="*/ 11205721 w 12192185"/>
              <a:gd name="connsiteY8385" fmla="*/ 1001480 h 6859062"/>
              <a:gd name="connsiteX8386" fmla="*/ 11219757 w 12192185"/>
              <a:gd name="connsiteY8386" fmla="*/ 1026436 h 6859062"/>
              <a:gd name="connsiteX8387" fmla="*/ 11219740 w 12192185"/>
              <a:gd name="connsiteY8387" fmla="*/ 1042275 h 6859062"/>
              <a:gd name="connsiteX8388" fmla="*/ 11219096 w 12192185"/>
              <a:gd name="connsiteY8388" fmla="*/ 1048500 h 6859062"/>
              <a:gd name="connsiteX8389" fmla="*/ 11216653 w 12192185"/>
              <a:gd name="connsiteY8389" fmla="*/ 1053757 h 6859062"/>
              <a:gd name="connsiteX8390" fmla="*/ 11213654 w 12192185"/>
              <a:gd name="connsiteY8390" fmla="*/ 1057168 h 6859062"/>
              <a:gd name="connsiteX8391" fmla="*/ 11207797 w 12192185"/>
              <a:gd name="connsiteY8391" fmla="*/ 1064448 h 6859062"/>
              <a:gd name="connsiteX8392" fmla="*/ 11205883 w 12192185"/>
              <a:gd name="connsiteY8392" fmla="*/ 1067284 h 6859062"/>
              <a:gd name="connsiteX8393" fmla="*/ 11201108 w 12192185"/>
              <a:gd name="connsiteY8393" fmla="*/ 1073989 h 6859062"/>
              <a:gd name="connsiteX8394" fmla="*/ 11179813 w 12192185"/>
              <a:gd name="connsiteY8394" fmla="*/ 1077594 h 6859062"/>
              <a:gd name="connsiteX8395" fmla="*/ 11170052 w 12192185"/>
              <a:gd name="connsiteY8395" fmla="*/ 1072722 h 6859062"/>
              <a:gd name="connsiteX8396" fmla="*/ 11153412 w 12192185"/>
              <a:gd name="connsiteY8396" fmla="*/ 1058346 h 6859062"/>
              <a:gd name="connsiteX8397" fmla="*/ 11149765 w 12192185"/>
              <a:gd name="connsiteY8397" fmla="*/ 1052903 h 6859062"/>
              <a:gd name="connsiteX8398" fmla="*/ 11146647 w 12192185"/>
              <a:gd name="connsiteY8398" fmla="*/ 1045036 h 6859062"/>
              <a:gd name="connsiteX8399" fmla="*/ 11145631 w 12192185"/>
              <a:gd name="connsiteY8399" fmla="*/ 1038304 h 6859062"/>
              <a:gd name="connsiteX8400" fmla="*/ 11148533 w 12192185"/>
              <a:gd name="connsiteY8400" fmla="*/ 1022858 h 6859062"/>
              <a:gd name="connsiteX8401" fmla="*/ 11149890 w 12192185"/>
              <a:gd name="connsiteY8401" fmla="*/ 1013152 h 6859062"/>
              <a:gd name="connsiteX8402" fmla="*/ 11151828 w 12192185"/>
              <a:gd name="connsiteY8402" fmla="*/ 1009556 h 6859062"/>
              <a:gd name="connsiteX8403" fmla="*/ 11159300 w 12192185"/>
              <a:gd name="connsiteY8403" fmla="*/ 1004305 h 6859062"/>
              <a:gd name="connsiteX8404" fmla="*/ 11173211 w 12192185"/>
              <a:gd name="connsiteY8404" fmla="*/ 997882 h 6859062"/>
              <a:gd name="connsiteX8405" fmla="*/ 11177571 w 12192185"/>
              <a:gd name="connsiteY8405" fmla="*/ 994819 h 6859062"/>
              <a:gd name="connsiteX8406" fmla="*/ 452680 w 12192185"/>
              <a:gd name="connsiteY8406" fmla="*/ 989550 h 6859062"/>
              <a:gd name="connsiteX8407" fmla="*/ 462782 w 12192185"/>
              <a:gd name="connsiteY8407" fmla="*/ 991786 h 6859062"/>
              <a:gd name="connsiteX8408" fmla="*/ 469148 w 12192185"/>
              <a:gd name="connsiteY8408" fmla="*/ 995373 h 6859062"/>
              <a:gd name="connsiteX8409" fmla="*/ 473988 w 12192185"/>
              <a:gd name="connsiteY8409" fmla="*/ 1008763 h 6859062"/>
              <a:gd name="connsiteX8410" fmla="*/ 468726 w 12192185"/>
              <a:gd name="connsiteY8410" fmla="*/ 1019917 h 6859062"/>
              <a:gd name="connsiteX8411" fmla="*/ 466991 w 12192185"/>
              <a:gd name="connsiteY8411" fmla="*/ 1031478 h 6859062"/>
              <a:gd name="connsiteX8412" fmla="*/ 466512 w 12192185"/>
              <a:gd name="connsiteY8412" fmla="*/ 1043006 h 6859062"/>
              <a:gd name="connsiteX8413" fmla="*/ 463327 w 12192185"/>
              <a:gd name="connsiteY8413" fmla="*/ 1051736 h 6859062"/>
              <a:gd name="connsiteX8414" fmla="*/ 456587 w 12192185"/>
              <a:gd name="connsiteY8414" fmla="*/ 1058798 h 6859062"/>
              <a:gd name="connsiteX8415" fmla="*/ 449114 w 12192185"/>
              <a:gd name="connsiteY8415" fmla="*/ 1061499 h 6859062"/>
              <a:gd name="connsiteX8416" fmla="*/ 447455 w 12192185"/>
              <a:gd name="connsiteY8416" fmla="*/ 1060417 h 6859062"/>
              <a:gd name="connsiteX8417" fmla="*/ 434036 w 12192185"/>
              <a:gd name="connsiteY8417" fmla="*/ 1056015 h 6859062"/>
              <a:gd name="connsiteX8418" fmla="*/ 426102 w 12192185"/>
              <a:gd name="connsiteY8418" fmla="*/ 1044577 h 6859062"/>
              <a:gd name="connsiteX8419" fmla="*/ 425954 w 12192185"/>
              <a:gd name="connsiteY8419" fmla="*/ 1027808 h 6859062"/>
              <a:gd name="connsiteX8420" fmla="*/ 430349 w 12192185"/>
              <a:gd name="connsiteY8420" fmla="*/ 1022435 h 6859062"/>
              <a:gd name="connsiteX8421" fmla="*/ 434221 w 12192185"/>
              <a:gd name="connsiteY8421" fmla="*/ 1010942 h 6859062"/>
              <a:gd name="connsiteX8422" fmla="*/ 434984 w 12192185"/>
              <a:gd name="connsiteY8422" fmla="*/ 1006040 h 6859062"/>
              <a:gd name="connsiteX8423" fmla="*/ 442428 w 12192185"/>
              <a:gd name="connsiteY8423" fmla="*/ 991574 h 6859062"/>
              <a:gd name="connsiteX8424" fmla="*/ 452680 w 12192185"/>
              <a:gd name="connsiteY8424" fmla="*/ 989550 h 6859062"/>
              <a:gd name="connsiteX8425" fmla="*/ 851606 w 12192185"/>
              <a:gd name="connsiteY8425" fmla="*/ 988026 h 6859062"/>
              <a:gd name="connsiteX8426" fmla="*/ 860689 w 12192185"/>
              <a:gd name="connsiteY8426" fmla="*/ 989056 h 6859062"/>
              <a:gd name="connsiteX8427" fmla="*/ 865888 w 12192185"/>
              <a:gd name="connsiteY8427" fmla="*/ 989787 h 6859062"/>
              <a:gd name="connsiteX8428" fmla="*/ 872251 w 12192185"/>
              <a:gd name="connsiteY8428" fmla="*/ 992126 h 6859062"/>
              <a:gd name="connsiteX8429" fmla="*/ 872252 w 12192185"/>
              <a:gd name="connsiteY8429" fmla="*/ 992127 h 6859062"/>
              <a:gd name="connsiteX8430" fmla="*/ 876817 w 12192185"/>
              <a:gd name="connsiteY8430" fmla="*/ 995116 h 6859062"/>
              <a:gd name="connsiteX8431" fmla="*/ 884491 w 12192185"/>
              <a:gd name="connsiteY8431" fmla="*/ 1005101 h 6859062"/>
              <a:gd name="connsiteX8432" fmla="*/ 889562 w 12192185"/>
              <a:gd name="connsiteY8432" fmla="*/ 1011097 h 6859062"/>
              <a:gd name="connsiteX8433" fmla="*/ 890674 w 12192185"/>
              <a:gd name="connsiteY8433" fmla="*/ 1014175 h 6859062"/>
              <a:gd name="connsiteX8434" fmla="*/ 889818 w 12192185"/>
              <a:gd name="connsiteY8434" fmla="*/ 1021444 h 6859062"/>
              <a:gd name="connsiteX8435" fmla="*/ 886222 w 12192185"/>
              <a:gd name="connsiteY8435" fmla="*/ 1033182 h 6859062"/>
              <a:gd name="connsiteX8436" fmla="*/ 885722 w 12192185"/>
              <a:gd name="connsiteY8436" fmla="*/ 1037423 h 6859062"/>
              <a:gd name="connsiteX8437" fmla="*/ 883105 w 12192185"/>
              <a:gd name="connsiteY8437" fmla="*/ 1039819 h 6859062"/>
              <a:gd name="connsiteX8438" fmla="*/ 877847 w 12192185"/>
              <a:gd name="connsiteY8438" fmla="*/ 1043749 h 6859062"/>
              <a:gd name="connsiteX8439" fmla="*/ 876164 w 12192185"/>
              <a:gd name="connsiteY8439" fmla="*/ 1045518 h 6859062"/>
              <a:gd name="connsiteX8440" fmla="*/ 868317 w 12192185"/>
              <a:gd name="connsiteY8440" fmla="*/ 1049522 h 6859062"/>
              <a:gd name="connsiteX8441" fmla="*/ 866705 w 12192185"/>
              <a:gd name="connsiteY8441" fmla="*/ 1050684 h 6859062"/>
              <a:gd name="connsiteX8442" fmla="*/ 844301 w 12192185"/>
              <a:gd name="connsiteY8442" fmla="*/ 1045726 h 6859062"/>
              <a:gd name="connsiteX8443" fmla="*/ 844301 w 12192185"/>
              <a:gd name="connsiteY8443" fmla="*/ 1045726 h 6859062"/>
              <a:gd name="connsiteX8444" fmla="*/ 834850 w 12192185"/>
              <a:gd name="connsiteY8444" fmla="*/ 1037253 h 6859062"/>
              <a:gd name="connsiteX8445" fmla="*/ 831476 w 12192185"/>
              <a:gd name="connsiteY8445" fmla="*/ 1033543 h 6859062"/>
              <a:gd name="connsiteX8446" fmla="*/ 829643 w 12192185"/>
              <a:gd name="connsiteY8446" fmla="*/ 1029275 h 6859062"/>
              <a:gd name="connsiteX8447" fmla="*/ 829209 w 12192185"/>
              <a:gd name="connsiteY8447" fmla="*/ 1025663 h 6859062"/>
              <a:gd name="connsiteX8448" fmla="*/ 827991 w 12192185"/>
              <a:gd name="connsiteY8448" fmla="*/ 1018274 h 6859062"/>
              <a:gd name="connsiteX8449" fmla="*/ 827320 w 12192185"/>
              <a:gd name="connsiteY8449" fmla="*/ 1015617 h 6859062"/>
              <a:gd name="connsiteX8450" fmla="*/ 825865 w 12192185"/>
              <a:gd name="connsiteY8450" fmla="*/ 1009184 h 6859062"/>
              <a:gd name="connsiteX8451" fmla="*/ 835089 w 12192185"/>
              <a:gd name="connsiteY8451" fmla="*/ 994541 h 6859062"/>
              <a:gd name="connsiteX8452" fmla="*/ 843213 w 12192185"/>
              <a:gd name="connsiteY8452" fmla="*/ 991314 h 6859062"/>
              <a:gd name="connsiteX8453" fmla="*/ 851606 w 12192185"/>
              <a:gd name="connsiteY8453" fmla="*/ 988026 h 6859062"/>
              <a:gd name="connsiteX8454" fmla="*/ 8188293 w 12192185"/>
              <a:gd name="connsiteY8454" fmla="*/ 987309 h 6859062"/>
              <a:gd name="connsiteX8455" fmla="*/ 8205722 w 12192185"/>
              <a:gd name="connsiteY8455" fmla="*/ 998341 h 6859062"/>
              <a:gd name="connsiteX8456" fmla="*/ 8211123 w 12192185"/>
              <a:gd name="connsiteY8456" fmla="*/ 1008393 h 6859062"/>
              <a:gd name="connsiteX8457" fmla="*/ 8212842 w 12192185"/>
              <a:gd name="connsiteY8457" fmla="*/ 1012561 h 6859062"/>
              <a:gd name="connsiteX8458" fmla="*/ 8213087 w 12192185"/>
              <a:gd name="connsiteY8458" fmla="*/ 1016729 h 6859062"/>
              <a:gd name="connsiteX8459" fmla="*/ 8213087 w 12192185"/>
              <a:gd name="connsiteY8459" fmla="*/ 1016730 h 6859062"/>
              <a:gd name="connsiteX8460" fmla="*/ 8212351 w 12192185"/>
              <a:gd name="connsiteY8460" fmla="*/ 1019916 h 6859062"/>
              <a:gd name="connsiteX8461" fmla="*/ 8211124 w 12192185"/>
              <a:gd name="connsiteY8461" fmla="*/ 1026536 h 6859062"/>
              <a:gd name="connsiteX8462" fmla="*/ 8210878 w 12192185"/>
              <a:gd name="connsiteY8462" fmla="*/ 1028988 h 6859062"/>
              <a:gd name="connsiteX8463" fmla="*/ 8210141 w 12192185"/>
              <a:gd name="connsiteY8463" fmla="*/ 1034872 h 6859062"/>
              <a:gd name="connsiteX8464" fmla="*/ 8197867 w 12192185"/>
              <a:gd name="connsiteY8464" fmla="*/ 1044433 h 6859062"/>
              <a:gd name="connsiteX8465" fmla="*/ 8190012 w 12192185"/>
              <a:gd name="connsiteY8465" fmla="*/ 1044679 h 6859062"/>
              <a:gd name="connsiteX8466" fmla="*/ 8174546 w 12192185"/>
              <a:gd name="connsiteY8466" fmla="*/ 1041246 h 6859062"/>
              <a:gd name="connsiteX8467" fmla="*/ 8170373 w 12192185"/>
              <a:gd name="connsiteY8467" fmla="*/ 1039039 h 6859062"/>
              <a:gd name="connsiteX8468" fmla="*/ 8165709 w 12192185"/>
              <a:gd name="connsiteY8468" fmla="*/ 1035117 h 6859062"/>
              <a:gd name="connsiteX8469" fmla="*/ 8162763 w 12192185"/>
              <a:gd name="connsiteY8469" fmla="*/ 1031194 h 6859062"/>
              <a:gd name="connsiteX8470" fmla="*/ 8159327 w 12192185"/>
              <a:gd name="connsiteY8470" fmla="*/ 1020407 h 6859062"/>
              <a:gd name="connsiteX8471" fmla="*/ 8156872 w 12192185"/>
              <a:gd name="connsiteY8471" fmla="*/ 1013787 h 6859062"/>
              <a:gd name="connsiteX8472" fmla="*/ 8156872 w 12192185"/>
              <a:gd name="connsiteY8472" fmla="*/ 1013787 h 6859062"/>
              <a:gd name="connsiteX8473" fmla="*/ 8156872 w 12192185"/>
              <a:gd name="connsiteY8473" fmla="*/ 1010845 h 6859062"/>
              <a:gd name="connsiteX8474" fmla="*/ 8159817 w 12192185"/>
              <a:gd name="connsiteY8474" fmla="*/ 1004961 h 6859062"/>
              <a:gd name="connsiteX8475" fmla="*/ 8166446 w 12192185"/>
              <a:gd name="connsiteY8475" fmla="*/ 996134 h 6859062"/>
              <a:gd name="connsiteX8476" fmla="*/ 8168164 w 12192185"/>
              <a:gd name="connsiteY8476" fmla="*/ 992702 h 6859062"/>
              <a:gd name="connsiteX8477" fmla="*/ 8171110 w 12192185"/>
              <a:gd name="connsiteY8477" fmla="*/ 991476 h 6859062"/>
              <a:gd name="connsiteX8478" fmla="*/ 8176755 w 12192185"/>
              <a:gd name="connsiteY8478" fmla="*/ 989760 h 6859062"/>
              <a:gd name="connsiteX8479" fmla="*/ 8178719 w 12192185"/>
              <a:gd name="connsiteY8479" fmla="*/ 988780 h 6859062"/>
              <a:gd name="connsiteX8480" fmla="*/ 8186575 w 12192185"/>
              <a:gd name="connsiteY8480" fmla="*/ 987799 h 6859062"/>
              <a:gd name="connsiteX8481" fmla="*/ 8188293 w 12192185"/>
              <a:gd name="connsiteY8481" fmla="*/ 987309 h 6859062"/>
              <a:gd name="connsiteX8482" fmla="*/ 3557296 w 12192185"/>
              <a:gd name="connsiteY8482" fmla="*/ 968784 h 6859062"/>
              <a:gd name="connsiteX8483" fmla="*/ 3540675 w 12192185"/>
              <a:gd name="connsiteY8483" fmla="*/ 982712 h 6859062"/>
              <a:gd name="connsiteX8484" fmla="*/ 3552670 w 12192185"/>
              <a:gd name="connsiteY8484" fmla="*/ 983190 h 6859062"/>
              <a:gd name="connsiteX8485" fmla="*/ 2209806 w 12192185"/>
              <a:gd name="connsiteY8485" fmla="*/ 956984 h 6859062"/>
              <a:gd name="connsiteX8486" fmla="*/ 2210072 w 12192185"/>
              <a:gd name="connsiteY8486" fmla="*/ 957248 h 6859062"/>
              <a:gd name="connsiteX8487" fmla="*/ 2209579 w 12192185"/>
              <a:gd name="connsiteY8487" fmla="*/ 957365 h 6859062"/>
              <a:gd name="connsiteX8488" fmla="*/ 10684116 w 12192185"/>
              <a:gd name="connsiteY8488" fmla="*/ 950821 h 6859062"/>
              <a:gd name="connsiteX8489" fmla="*/ 10688522 w 12192185"/>
              <a:gd name="connsiteY8489" fmla="*/ 951262 h 6859062"/>
              <a:gd name="connsiteX8490" fmla="*/ 10696552 w 12192185"/>
              <a:gd name="connsiteY8490" fmla="*/ 952881 h 6859062"/>
              <a:gd name="connsiteX8491" fmla="*/ 10699598 w 12192185"/>
              <a:gd name="connsiteY8491" fmla="*/ 952975 h 6859062"/>
              <a:gd name="connsiteX8492" fmla="*/ 10709843 w 12192185"/>
              <a:gd name="connsiteY8492" fmla="*/ 956949 h 6859062"/>
              <a:gd name="connsiteX8493" fmla="*/ 10712266 w 12192185"/>
              <a:gd name="connsiteY8493" fmla="*/ 957481 h 6859062"/>
              <a:gd name="connsiteX8494" fmla="*/ 10726302 w 12192185"/>
              <a:gd name="connsiteY8494" fmla="*/ 982437 h 6859062"/>
              <a:gd name="connsiteX8495" fmla="*/ 10726285 w 12192185"/>
              <a:gd name="connsiteY8495" fmla="*/ 998277 h 6859062"/>
              <a:gd name="connsiteX8496" fmla="*/ 10725641 w 12192185"/>
              <a:gd name="connsiteY8496" fmla="*/ 1004501 h 6859062"/>
              <a:gd name="connsiteX8497" fmla="*/ 10723197 w 12192185"/>
              <a:gd name="connsiteY8497" fmla="*/ 1009757 h 6859062"/>
              <a:gd name="connsiteX8498" fmla="*/ 10720199 w 12192185"/>
              <a:gd name="connsiteY8498" fmla="*/ 1013168 h 6859062"/>
              <a:gd name="connsiteX8499" fmla="*/ 10714342 w 12192185"/>
              <a:gd name="connsiteY8499" fmla="*/ 1020449 h 6859062"/>
              <a:gd name="connsiteX8500" fmla="*/ 10712428 w 12192185"/>
              <a:gd name="connsiteY8500" fmla="*/ 1023283 h 6859062"/>
              <a:gd name="connsiteX8501" fmla="*/ 10707653 w 12192185"/>
              <a:gd name="connsiteY8501" fmla="*/ 1029989 h 6859062"/>
              <a:gd name="connsiteX8502" fmla="*/ 10686358 w 12192185"/>
              <a:gd name="connsiteY8502" fmla="*/ 1033593 h 6859062"/>
              <a:gd name="connsiteX8503" fmla="*/ 10676597 w 12192185"/>
              <a:gd name="connsiteY8503" fmla="*/ 1028722 h 6859062"/>
              <a:gd name="connsiteX8504" fmla="*/ 10659958 w 12192185"/>
              <a:gd name="connsiteY8504" fmla="*/ 1014346 h 6859062"/>
              <a:gd name="connsiteX8505" fmla="*/ 10656310 w 12192185"/>
              <a:gd name="connsiteY8505" fmla="*/ 1008903 h 6859062"/>
              <a:gd name="connsiteX8506" fmla="*/ 10653192 w 12192185"/>
              <a:gd name="connsiteY8506" fmla="*/ 1001038 h 6859062"/>
              <a:gd name="connsiteX8507" fmla="*/ 10652176 w 12192185"/>
              <a:gd name="connsiteY8507" fmla="*/ 994305 h 6859062"/>
              <a:gd name="connsiteX8508" fmla="*/ 10655078 w 12192185"/>
              <a:gd name="connsiteY8508" fmla="*/ 978859 h 6859062"/>
              <a:gd name="connsiteX8509" fmla="*/ 10656435 w 12192185"/>
              <a:gd name="connsiteY8509" fmla="*/ 969154 h 6859062"/>
              <a:gd name="connsiteX8510" fmla="*/ 10658373 w 12192185"/>
              <a:gd name="connsiteY8510" fmla="*/ 965558 h 6859062"/>
              <a:gd name="connsiteX8511" fmla="*/ 10665845 w 12192185"/>
              <a:gd name="connsiteY8511" fmla="*/ 960307 h 6859062"/>
              <a:gd name="connsiteX8512" fmla="*/ 10679756 w 12192185"/>
              <a:gd name="connsiteY8512" fmla="*/ 953884 h 6859062"/>
              <a:gd name="connsiteX8513" fmla="*/ 10684116 w 12192185"/>
              <a:gd name="connsiteY8513" fmla="*/ 950821 h 6859062"/>
              <a:gd name="connsiteX8514" fmla="*/ 2905368 w 12192185"/>
              <a:gd name="connsiteY8514" fmla="*/ 946296 h 6859062"/>
              <a:gd name="connsiteX8515" fmla="*/ 2915427 w 12192185"/>
              <a:gd name="connsiteY8515" fmla="*/ 946297 h 6859062"/>
              <a:gd name="connsiteX8516" fmla="*/ 2916937 w 12192185"/>
              <a:gd name="connsiteY8516" fmla="*/ 948299 h 6859062"/>
              <a:gd name="connsiteX8517" fmla="*/ 2931016 w 12192185"/>
              <a:gd name="connsiteY8517" fmla="*/ 959315 h 6859062"/>
              <a:gd name="connsiteX8518" fmla="*/ 2935541 w 12192185"/>
              <a:gd name="connsiteY8518" fmla="*/ 976340 h 6859062"/>
              <a:gd name="connsiteX8519" fmla="*/ 2928501 w 12192185"/>
              <a:gd name="connsiteY8519" fmla="*/ 996369 h 6859062"/>
              <a:gd name="connsiteX8520" fmla="*/ 2920961 w 12192185"/>
              <a:gd name="connsiteY8520" fmla="*/ 1000875 h 6859062"/>
              <a:gd name="connsiteX8521" fmla="*/ 2911406 w 12192185"/>
              <a:gd name="connsiteY8521" fmla="*/ 1012892 h 6859062"/>
              <a:gd name="connsiteX8522" fmla="*/ 2908388 w 12192185"/>
              <a:gd name="connsiteY8522" fmla="*/ 1018400 h 6859062"/>
              <a:gd name="connsiteX8523" fmla="*/ 2893297 w 12192185"/>
              <a:gd name="connsiteY8523" fmla="*/ 1032421 h 6859062"/>
              <a:gd name="connsiteX8524" fmla="*/ 2880217 w 12192185"/>
              <a:gd name="connsiteY8524" fmla="*/ 1030417 h 6859062"/>
              <a:gd name="connsiteX8525" fmla="*/ 2869150 w 12192185"/>
              <a:gd name="connsiteY8525" fmla="*/ 1023407 h 6859062"/>
              <a:gd name="connsiteX8526" fmla="*/ 2863113 w 12192185"/>
              <a:gd name="connsiteY8526" fmla="*/ 1016398 h 6859062"/>
              <a:gd name="connsiteX8527" fmla="*/ 2863113 w 12192185"/>
              <a:gd name="connsiteY8527" fmla="*/ 998372 h 6859062"/>
              <a:gd name="connsiteX8528" fmla="*/ 2874181 w 12192185"/>
              <a:gd name="connsiteY8528" fmla="*/ 987356 h 6859062"/>
              <a:gd name="connsiteX8529" fmla="*/ 2881223 w 12192185"/>
              <a:gd name="connsiteY8529" fmla="*/ 974337 h 6859062"/>
              <a:gd name="connsiteX8530" fmla="*/ 2886756 w 12192185"/>
              <a:gd name="connsiteY8530" fmla="*/ 960818 h 6859062"/>
              <a:gd name="connsiteX8531" fmla="*/ 2894301 w 12192185"/>
              <a:gd name="connsiteY8531" fmla="*/ 951805 h 6859062"/>
              <a:gd name="connsiteX8532" fmla="*/ 2905368 w 12192185"/>
              <a:gd name="connsiteY8532" fmla="*/ 946296 h 6859062"/>
              <a:gd name="connsiteX8533" fmla="*/ 2260447 w 12192185"/>
              <a:gd name="connsiteY8533" fmla="*/ 944656 h 6859062"/>
              <a:gd name="connsiteX8534" fmla="*/ 2270507 w 12192185"/>
              <a:gd name="connsiteY8534" fmla="*/ 944656 h 6859062"/>
              <a:gd name="connsiteX8535" fmla="*/ 2281574 w 12192185"/>
              <a:gd name="connsiteY8535" fmla="*/ 950164 h 6859062"/>
              <a:gd name="connsiteX8536" fmla="*/ 2289119 w 12192185"/>
              <a:gd name="connsiteY8536" fmla="*/ 959177 h 6859062"/>
              <a:gd name="connsiteX8537" fmla="*/ 2294651 w 12192185"/>
              <a:gd name="connsiteY8537" fmla="*/ 972696 h 6859062"/>
              <a:gd name="connsiteX8538" fmla="*/ 2301692 w 12192185"/>
              <a:gd name="connsiteY8538" fmla="*/ 985715 h 6859062"/>
              <a:gd name="connsiteX8539" fmla="*/ 2312761 w 12192185"/>
              <a:gd name="connsiteY8539" fmla="*/ 996731 h 6859062"/>
              <a:gd name="connsiteX8540" fmla="*/ 2312760 w 12192185"/>
              <a:gd name="connsiteY8540" fmla="*/ 1014757 h 6859062"/>
              <a:gd name="connsiteX8541" fmla="*/ 2306725 w 12192185"/>
              <a:gd name="connsiteY8541" fmla="*/ 1021767 h 6859062"/>
              <a:gd name="connsiteX8542" fmla="*/ 2295658 w 12192185"/>
              <a:gd name="connsiteY8542" fmla="*/ 1028777 h 6859062"/>
              <a:gd name="connsiteX8543" fmla="*/ 2282579 w 12192185"/>
              <a:gd name="connsiteY8543" fmla="*/ 1030780 h 6859062"/>
              <a:gd name="connsiteX8544" fmla="*/ 2267489 w 12192185"/>
              <a:gd name="connsiteY8544" fmla="*/ 1016759 h 6859062"/>
              <a:gd name="connsiteX8545" fmla="*/ 2264473 w 12192185"/>
              <a:gd name="connsiteY8545" fmla="*/ 1011252 h 6859062"/>
              <a:gd name="connsiteX8546" fmla="*/ 2254917 w 12192185"/>
              <a:gd name="connsiteY8546" fmla="*/ 999234 h 6859062"/>
              <a:gd name="connsiteX8547" fmla="*/ 2247372 w 12192185"/>
              <a:gd name="connsiteY8547" fmla="*/ 994728 h 6859062"/>
              <a:gd name="connsiteX8548" fmla="*/ 2240329 w 12192185"/>
              <a:gd name="connsiteY8548" fmla="*/ 974699 h 6859062"/>
              <a:gd name="connsiteX8549" fmla="*/ 2244855 w 12192185"/>
              <a:gd name="connsiteY8549" fmla="*/ 957675 h 6859062"/>
              <a:gd name="connsiteX8550" fmla="*/ 2258937 w 12192185"/>
              <a:gd name="connsiteY8550" fmla="*/ 946659 h 6859062"/>
              <a:gd name="connsiteX8551" fmla="*/ 2260447 w 12192185"/>
              <a:gd name="connsiteY8551" fmla="*/ 944656 h 6859062"/>
              <a:gd name="connsiteX8552" fmla="*/ 8445790 w 12192185"/>
              <a:gd name="connsiteY8552" fmla="*/ 941572 h 6859062"/>
              <a:gd name="connsiteX8553" fmla="*/ 8448263 w 12192185"/>
              <a:gd name="connsiteY8553" fmla="*/ 942277 h 6859062"/>
              <a:gd name="connsiteX8554" fmla="*/ 8459574 w 12192185"/>
              <a:gd name="connsiteY8554" fmla="*/ 943689 h 6859062"/>
              <a:gd name="connsiteX8555" fmla="*/ 8462400 w 12192185"/>
              <a:gd name="connsiteY8555" fmla="*/ 945101 h 6859062"/>
              <a:gd name="connsiteX8556" fmla="*/ 8470529 w 12192185"/>
              <a:gd name="connsiteY8556" fmla="*/ 947572 h 6859062"/>
              <a:gd name="connsiteX8557" fmla="*/ 8474771 w 12192185"/>
              <a:gd name="connsiteY8557" fmla="*/ 949336 h 6859062"/>
              <a:gd name="connsiteX8558" fmla="*/ 8477244 w 12192185"/>
              <a:gd name="connsiteY8558" fmla="*/ 954278 h 6859062"/>
              <a:gd name="connsiteX8559" fmla="*/ 8486786 w 12192185"/>
              <a:gd name="connsiteY8559" fmla="*/ 966985 h 6859062"/>
              <a:gd name="connsiteX8560" fmla="*/ 8491028 w 12192185"/>
              <a:gd name="connsiteY8560" fmla="*/ 975456 h 6859062"/>
              <a:gd name="connsiteX8561" fmla="*/ 8491027 w 12192185"/>
              <a:gd name="connsiteY8561" fmla="*/ 979691 h 6859062"/>
              <a:gd name="connsiteX8562" fmla="*/ 8487493 w 12192185"/>
              <a:gd name="connsiteY8562" fmla="*/ 989222 h 6859062"/>
              <a:gd name="connsiteX8563" fmla="*/ 8482546 w 12192185"/>
              <a:gd name="connsiteY8563" fmla="*/ 1004753 h 6859062"/>
              <a:gd name="connsiteX8564" fmla="*/ 8478304 w 12192185"/>
              <a:gd name="connsiteY8564" fmla="*/ 1010400 h 6859062"/>
              <a:gd name="connsiteX8565" fmla="*/ 8471589 w 12192185"/>
              <a:gd name="connsiteY8565" fmla="*/ 1016047 h 6859062"/>
              <a:gd name="connsiteX8566" fmla="*/ 8465582 w 12192185"/>
              <a:gd name="connsiteY8566" fmla="*/ 1019223 h 6859062"/>
              <a:gd name="connsiteX8567" fmla="*/ 8443316 w 12192185"/>
              <a:gd name="connsiteY8567" fmla="*/ 1024165 h 6859062"/>
              <a:gd name="connsiteX8568" fmla="*/ 8432006 w 12192185"/>
              <a:gd name="connsiteY8568" fmla="*/ 1023812 h 6859062"/>
              <a:gd name="connsiteX8569" fmla="*/ 8414336 w 12192185"/>
              <a:gd name="connsiteY8569" fmla="*/ 1010047 h 6859062"/>
              <a:gd name="connsiteX8570" fmla="*/ 8413276 w 12192185"/>
              <a:gd name="connsiteY8570" fmla="*/ 1001575 h 6859062"/>
              <a:gd name="connsiteX8571" fmla="*/ 8412923 w 12192185"/>
              <a:gd name="connsiteY8571" fmla="*/ 998045 h 6859062"/>
              <a:gd name="connsiteX8572" fmla="*/ 8411155 w 12192185"/>
              <a:gd name="connsiteY8572" fmla="*/ 988516 h 6859062"/>
              <a:gd name="connsiteX8573" fmla="*/ 8410095 w 12192185"/>
              <a:gd name="connsiteY8573" fmla="*/ 983928 h 6859062"/>
              <a:gd name="connsiteX8574" fmla="*/ 8410449 w 12192185"/>
              <a:gd name="connsiteY8574" fmla="*/ 977927 h 6859062"/>
              <a:gd name="connsiteX8575" fmla="*/ 8412922 w 12192185"/>
              <a:gd name="connsiteY8575" fmla="*/ 971927 h 6859062"/>
              <a:gd name="connsiteX8576" fmla="*/ 8420697 w 12192185"/>
              <a:gd name="connsiteY8576" fmla="*/ 957455 h 6859062"/>
              <a:gd name="connsiteX8577" fmla="*/ 8445790 w 12192185"/>
              <a:gd name="connsiteY8577" fmla="*/ 941572 h 6859062"/>
              <a:gd name="connsiteX8578" fmla="*/ 8552998 w 12192185"/>
              <a:gd name="connsiteY8578" fmla="*/ 925507 h 6859062"/>
              <a:gd name="connsiteX8579" fmla="*/ 8553196 w 12192185"/>
              <a:gd name="connsiteY8579" fmla="*/ 925838 h 6859062"/>
              <a:gd name="connsiteX8580" fmla="*/ 8552768 w 12192185"/>
              <a:gd name="connsiteY8580" fmla="*/ 925736 h 6859062"/>
              <a:gd name="connsiteX8581" fmla="*/ 2546234 w 12192185"/>
              <a:gd name="connsiteY8581" fmla="*/ 923434 h 6859062"/>
              <a:gd name="connsiteX8582" fmla="*/ 2564962 w 12192185"/>
              <a:gd name="connsiteY8582" fmla="*/ 935290 h 6859062"/>
              <a:gd name="connsiteX8583" fmla="*/ 2570765 w 12192185"/>
              <a:gd name="connsiteY8583" fmla="*/ 946091 h 6859062"/>
              <a:gd name="connsiteX8584" fmla="*/ 2572614 w 12192185"/>
              <a:gd name="connsiteY8584" fmla="*/ 950569 h 6859062"/>
              <a:gd name="connsiteX8585" fmla="*/ 2572874 w 12192185"/>
              <a:gd name="connsiteY8585" fmla="*/ 955049 h 6859062"/>
              <a:gd name="connsiteX8586" fmla="*/ 2572085 w 12192185"/>
              <a:gd name="connsiteY8586" fmla="*/ 958474 h 6859062"/>
              <a:gd name="connsiteX8587" fmla="*/ 2570765 w 12192185"/>
              <a:gd name="connsiteY8587" fmla="*/ 965587 h 6859062"/>
              <a:gd name="connsiteX8588" fmla="*/ 2570502 w 12192185"/>
              <a:gd name="connsiteY8588" fmla="*/ 968222 h 6859062"/>
              <a:gd name="connsiteX8589" fmla="*/ 2569710 w 12192185"/>
              <a:gd name="connsiteY8589" fmla="*/ 974544 h 6859062"/>
              <a:gd name="connsiteX8590" fmla="*/ 2556523 w 12192185"/>
              <a:gd name="connsiteY8590" fmla="*/ 984820 h 6859062"/>
              <a:gd name="connsiteX8591" fmla="*/ 2548083 w 12192185"/>
              <a:gd name="connsiteY8591" fmla="*/ 985083 h 6859062"/>
              <a:gd name="connsiteX8592" fmla="*/ 2531463 w 12192185"/>
              <a:gd name="connsiteY8592" fmla="*/ 981394 h 6859062"/>
              <a:gd name="connsiteX8593" fmla="*/ 2526978 w 12192185"/>
              <a:gd name="connsiteY8593" fmla="*/ 979024 h 6859062"/>
              <a:gd name="connsiteX8594" fmla="*/ 2521965 w 12192185"/>
              <a:gd name="connsiteY8594" fmla="*/ 974808 h 6859062"/>
              <a:gd name="connsiteX8595" fmla="*/ 2518800 w 12192185"/>
              <a:gd name="connsiteY8595" fmla="*/ 970593 h 6859062"/>
              <a:gd name="connsiteX8596" fmla="*/ 2515106 w 12192185"/>
              <a:gd name="connsiteY8596" fmla="*/ 959001 h 6859062"/>
              <a:gd name="connsiteX8597" fmla="*/ 2512468 w 12192185"/>
              <a:gd name="connsiteY8597" fmla="*/ 951887 h 6859062"/>
              <a:gd name="connsiteX8598" fmla="*/ 2512468 w 12192185"/>
              <a:gd name="connsiteY8598" fmla="*/ 948726 h 6859062"/>
              <a:gd name="connsiteX8599" fmla="*/ 2515635 w 12192185"/>
              <a:gd name="connsiteY8599" fmla="*/ 942403 h 6859062"/>
              <a:gd name="connsiteX8600" fmla="*/ 2522757 w 12192185"/>
              <a:gd name="connsiteY8600" fmla="*/ 932918 h 6859062"/>
              <a:gd name="connsiteX8601" fmla="*/ 2524603 w 12192185"/>
              <a:gd name="connsiteY8601" fmla="*/ 929230 h 6859062"/>
              <a:gd name="connsiteX8602" fmla="*/ 2527770 w 12192185"/>
              <a:gd name="connsiteY8602" fmla="*/ 927913 h 6859062"/>
              <a:gd name="connsiteX8603" fmla="*/ 2533838 w 12192185"/>
              <a:gd name="connsiteY8603" fmla="*/ 926068 h 6859062"/>
              <a:gd name="connsiteX8604" fmla="*/ 2535946 w 12192185"/>
              <a:gd name="connsiteY8604" fmla="*/ 925015 h 6859062"/>
              <a:gd name="connsiteX8605" fmla="*/ 2544388 w 12192185"/>
              <a:gd name="connsiteY8605" fmla="*/ 923961 h 6859062"/>
              <a:gd name="connsiteX8606" fmla="*/ 2546234 w 12192185"/>
              <a:gd name="connsiteY8606" fmla="*/ 923434 h 6859062"/>
              <a:gd name="connsiteX8607" fmla="*/ 5379329 w 12192185"/>
              <a:gd name="connsiteY8607" fmla="*/ 915503 h 6859062"/>
              <a:gd name="connsiteX8608" fmla="*/ 5374936 w 12192185"/>
              <a:gd name="connsiteY8608" fmla="*/ 917306 h 6859062"/>
              <a:gd name="connsiteX8609" fmla="*/ 5374848 w 12192185"/>
              <a:gd name="connsiteY8609" fmla="*/ 917099 h 6859062"/>
              <a:gd name="connsiteX8610" fmla="*/ 4021382 w 12192185"/>
              <a:gd name="connsiteY8610" fmla="*/ 913322 h 6859062"/>
              <a:gd name="connsiteX8611" fmla="*/ 4025584 w 12192185"/>
              <a:gd name="connsiteY8611" fmla="*/ 913339 h 6859062"/>
              <a:gd name="connsiteX8612" fmla="*/ 4030884 w 12192185"/>
              <a:gd name="connsiteY8612" fmla="*/ 914505 h 6859062"/>
              <a:gd name="connsiteX8613" fmla="*/ 4034829 w 12192185"/>
              <a:gd name="connsiteY8613" fmla="*/ 916382 h 6859062"/>
              <a:gd name="connsiteX8614" fmla="*/ 4041997 w 12192185"/>
              <a:gd name="connsiteY8614" fmla="*/ 923470 h 6859062"/>
              <a:gd name="connsiteX8615" fmla="*/ 4046668 w 12192185"/>
              <a:gd name="connsiteY8615" fmla="*/ 927677 h 6859062"/>
              <a:gd name="connsiteX8616" fmla="*/ 4047884 w 12192185"/>
              <a:gd name="connsiteY8616" fmla="*/ 929997 h 6859062"/>
              <a:gd name="connsiteX8617" fmla="*/ 4047992 w 12192185"/>
              <a:gd name="connsiteY8617" fmla="*/ 935855 h 6859062"/>
              <a:gd name="connsiteX8618" fmla="*/ 4046411 w 12192185"/>
              <a:gd name="connsiteY8618" fmla="*/ 945556 h 6859062"/>
              <a:gd name="connsiteX8619" fmla="*/ 4046474 w 12192185"/>
              <a:gd name="connsiteY8619" fmla="*/ 948973 h 6859062"/>
              <a:gd name="connsiteX8620" fmla="*/ 4044658 w 12192185"/>
              <a:gd name="connsiteY8620" fmla="*/ 951157 h 6859062"/>
              <a:gd name="connsiteX8621" fmla="*/ 4040915 w 12192185"/>
              <a:gd name="connsiteY8621" fmla="*/ 954844 h 6859062"/>
              <a:gd name="connsiteX8622" fmla="*/ 4039770 w 12192185"/>
              <a:gd name="connsiteY8622" fmla="*/ 956428 h 6859062"/>
              <a:gd name="connsiteX8623" fmla="*/ 4033979 w 12192185"/>
              <a:gd name="connsiteY8623" fmla="*/ 960448 h 6859062"/>
              <a:gd name="connsiteX8624" fmla="*/ 4032827 w 12192185"/>
              <a:gd name="connsiteY8624" fmla="*/ 961546 h 6859062"/>
              <a:gd name="connsiteX8625" fmla="*/ 4014522 w 12192185"/>
              <a:gd name="connsiteY8625" fmla="*/ 960045 h 6859062"/>
              <a:gd name="connsiteX8626" fmla="*/ 4006109 w 12192185"/>
              <a:gd name="connsiteY8626" fmla="*/ 954349 h 6859062"/>
              <a:gd name="connsiteX8627" fmla="*/ 4003029 w 12192185"/>
              <a:gd name="connsiteY8627" fmla="*/ 951772 h 6859062"/>
              <a:gd name="connsiteX8628" fmla="*/ 4001114 w 12192185"/>
              <a:gd name="connsiteY8628" fmla="*/ 948586 h 6859062"/>
              <a:gd name="connsiteX8629" fmla="*/ 4000379 w 12192185"/>
              <a:gd name="connsiteY8629" fmla="*/ 945767 h 6859062"/>
              <a:gd name="connsiteX8630" fmla="*/ 3998611 w 12192185"/>
              <a:gd name="connsiteY8630" fmla="*/ 940039 h 6859062"/>
              <a:gd name="connsiteX8631" fmla="*/ 3997792 w 12192185"/>
              <a:gd name="connsiteY8631" fmla="*/ 938005 h 6859062"/>
              <a:gd name="connsiteX8632" fmla="*/ 3995940 w 12192185"/>
              <a:gd name="connsiteY8632" fmla="*/ 933059 h 6859062"/>
              <a:gd name="connsiteX8633" fmla="*/ 4001671 w 12192185"/>
              <a:gd name="connsiteY8633" fmla="*/ 920446 h 6859062"/>
              <a:gd name="connsiteX8634" fmla="*/ 4007765 w 12192185"/>
              <a:gd name="connsiteY8634" fmla="*/ 917006 h 6859062"/>
              <a:gd name="connsiteX8635" fmla="*/ 4021382 w 12192185"/>
              <a:gd name="connsiteY8635" fmla="*/ 913322 h 6859062"/>
              <a:gd name="connsiteX8636" fmla="*/ 5373132 w 12192185"/>
              <a:gd name="connsiteY8636" fmla="*/ 912918 h 6859062"/>
              <a:gd name="connsiteX8637" fmla="*/ 5374848 w 12192185"/>
              <a:gd name="connsiteY8637" fmla="*/ 917099 h 6859062"/>
              <a:gd name="connsiteX8638" fmla="*/ 5367518 w 12192185"/>
              <a:gd name="connsiteY8638" fmla="*/ 919716 h 6859062"/>
              <a:gd name="connsiteX8639" fmla="*/ 5350421 w 12192185"/>
              <a:gd name="connsiteY8639" fmla="*/ 932509 h 6859062"/>
              <a:gd name="connsiteX8640" fmla="*/ 5344230 w 12192185"/>
              <a:gd name="connsiteY8640" fmla="*/ 929926 h 6859062"/>
              <a:gd name="connsiteX8641" fmla="*/ 5339843 w 12192185"/>
              <a:gd name="connsiteY8641" fmla="*/ 931729 h 6859062"/>
              <a:gd name="connsiteX8642" fmla="*/ 5333651 w 12192185"/>
              <a:gd name="connsiteY8642" fmla="*/ 929144 h 6859062"/>
              <a:gd name="connsiteX8643" fmla="*/ 5329260 w 12192185"/>
              <a:gd name="connsiteY8643" fmla="*/ 930947 h 6859062"/>
              <a:gd name="connsiteX8644" fmla="*/ 5331067 w 12192185"/>
              <a:gd name="connsiteY8644" fmla="*/ 935334 h 6859062"/>
              <a:gd name="connsiteX8645" fmla="*/ 5297772 w 12192185"/>
              <a:gd name="connsiteY8645" fmla="*/ 954144 h 6859062"/>
              <a:gd name="connsiteX8646" fmla="*/ 5295974 w 12192185"/>
              <a:gd name="connsiteY8646" fmla="*/ 949758 h 6859062"/>
              <a:gd name="connsiteX8647" fmla="*/ 5287202 w 12192185"/>
              <a:gd name="connsiteY8647" fmla="*/ 953363 h 6859062"/>
              <a:gd name="connsiteX8648" fmla="*/ 5282808 w 12192185"/>
              <a:gd name="connsiteY8648" fmla="*/ 955166 h 6859062"/>
              <a:gd name="connsiteX8649" fmla="*/ 5237137 w 12192185"/>
              <a:gd name="connsiteY8649" fmla="*/ 968808 h 6859062"/>
              <a:gd name="connsiteX8650" fmla="*/ 5238944 w 12192185"/>
              <a:gd name="connsiteY8650" fmla="*/ 973196 h 6859062"/>
              <a:gd name="connsiteX8651" fmla="*/ 5232751 w 12192185"/>
              <a:gd name="connsiteY8651" fmla="*/ 970610 h 6859062"/>
              <a:gd name="connsiteX8652" fmla="*/ 5230159 w 12192185"/>
              <a:gd name="connsiteY8652" fmla="*/ 976802 h 6859062"/>
              <a:gd name="connsiteX8653" fmla="*/ 5203836 w 12192185"/>
              <a:gd name="connsiteY8653" fmla="*/ 987618 h 6859062"/>
              <a:gd name="connsiteX8654" fmla="*/ 5192483 w 12192185"/>
              <a:gd name="connsiteY8654" fmla="*/ 997413 h 6859062"/>
              <a:gd name="connsiteX8655" fmla="*/ 5186302 w 12192185"/>
              <a:gd name="connsiteY8655" fmla="*/ 994830 h 6859062"/>
              <a:gd name="connsiteX8656" fmla="*/ 5185522 w 12192185"/>
              <a:gd name="connsiteY8656" fmla="*/ 1005407 h 6859062"/>
              <a:gd name="connsiteX8657" fmla="*/ 5183724 w 12192185"/>
              <a:gd name="connsiteY8657" fmla="*/ 1001019 h 6859062"/>
              <a:gd name="connsiteX8658" fmla="*/ 5179328 w 12192185"/>
              <a:gd name="connsiteY8658" fmla="*/ 1002822 h 6859062"/>
              <a:gd name="connsiteX8659" fmla="*/ 5174944 w 12192185"/>
              <a:gd name="connsiteY8659" fmla="*/ 1004625 h 6859062"/>
              <a:gd name="connsiteX8660" fmla="*/ 5170560 w 12192185"/>
              <a:gd name="connsiteY8660" fmla="*/ 1006429 h 6859062"/>
              <a:gd name="connsiteX8661" fmla="*/ 5166160 w 12192185"/>
              <a:gd name="connsiteY8661" fmla="*/ 1008231 h 6859062"/>
              <a:gd name="connsiteX8662" fmla="*/ 5155589 w 12192185"/>
              <a:gd name="connsiteY8662" fmla="*/ 1007450 h 6859062"/>
              <a:gd name="connsiteX8663" fmla="*/ 5148611 w 12192185"/>
              <a:gd name="connsiteY8663" fmla="*/ 1015443 h 6859062"/>
              <a:gd name="connsiteX8664" fmla="*/ 5120488 w 12192185"/>
              <a:gd name="connsiteY8664" fmla="*/ 1021873 h 6859062"/>
              <a:gd name="connsiteX8665" fmla="*/ 5197657 w 12192185"/>
              <a:gd name="connsiteY8665" fmla="*/ 985034 h 6859062"/>
              <a:gd name="connsiteX8666" fmla="*/ 5227340 w 12192185"/>
              <a:gd name="connsiteY8666" fmla="*/ 957450 h 6859062"/>
              <a:gd name="connsiteX8667" fmla="*/ 5269411 w 12192185"/>
              <a:gd name="connsiteY8667" fmla="*/ 935033 h 6859062"/>
              <a:gd name="connsiteX8668" fmla="*/ 5347599 w 12192185"/>
              <a:gd name="connsiteY8668" fmla="*/ 913159 h 6859062"/>
              <a:gd name="connsiteX8669" fmla="*/ 5345009 w 12192185"/>
              <a:gd name="connsiteY8669" fmla="*/ 919350 h 6859062"/>
              <a:gd name="connsiteX8670" fmla="*/ 5349397 w 12192185"/>
              <a:gd name="connsiteY8670" fmla="*/ 917545 h 6859062"/>
              <a:gd name="connsiteX8671" fmla="*/ 5368747 w 12192185"/>
              <a:gd name="connsiteY8671" fmla="*/ 914721 h 6859062"/>
              <a:gd name="connsiteX8672" fmla="*/ 5373132 w 12192185"/>
              <a:gd name="connsiteY8672" fmla="*/ 912918 h 6859062"/>
              <a:gd name="connsiteX8673" fmla="*/ 5381913 w 12192185"/>
              <a:gd name="connsiteY8673" fmla="*/ 909312 h 6859062"/>
              <a:gd name="connsiteX8674" fmla="*/ 5381752 w 12192185"/>
              <a:gd name="connsiteY8674" fmla="*/ 909689 h 6859062"/>
              <a:gd name="connsiteX8675" fmla="*/ 5377518 w 12192185"/>
              <a:gd name="connsiteY8675" fmla="*/ 911116 h 6859062"/>
              <a:gd name="connsiteX8676" fmla="*/ 5381913 w 12192185"/>
              <a:gd name="connsiteY8676" fmla="*/ 909312 h 6859062"/>
              <a:gd name="connsiteX8677" fmla="*/ 6290812 w 12192185"/>
              <a:gd name="connsiteY8677" fmla="*/ 898549 h 6859062"/>
              <a:gd name="connsiteX8678" fmla="*/ 6301289 w 12192185"/>
              <a:gd name="connsiteY8678" fmla="*/ 900653 h 6859062"/>
              <a:gd name="connsiteX8679" fmla="*/ 6290539 w 12192185"/>
              <a:gd name="connsiteY8679" fmla="*/ 898739 h 6859062"/>
              <a:gd name="connsiteX8680" fmla="*/ 2129505 w 12192185"/>
              <a:gd name="connsiteY8680" fmla="*/ 892138 h 6859062"/>
              <a:gd name="connsiteX8681" fmla="*/ 2131448 w 12192185"/>
              <a:gd name="connsiteY8681" fmla="*/ 895024 h 6859062"/>
              <a:gd name="connsiteX8682" fmla="*/ 2132095 w 12192185"/>
              <a:gd name="connsiteY8682" fmla="*/ 897612 h 6859062"/>
              <a:gd name="connsiteX8683" fmla="*/ 2134038 w 12192185"/>
              <a:gd name="connsiteY8683" fmla="*/ 900632 h 6859062"/>
              <a:gd name="connsiteX8684" fmla="*/ 2136844 w 12192185"/>
              <a:gd name="connsiteY8684" fmla="*/ 898691 h 6859062"/>
              <a:gd name="connsiteX8685" fmla="*/ 2143319 w 12192185"/>
              <a:gd name="connsiteY8685" fmla="*/ 899769 h 6859062"/>
              <a:gd name="connsiteX8686" fmla="*/ 2144615 w 12192185"/>
              <a:gd name="connsiteY8686" fmla="*/ 902573 h 6859062"/>
              <a:gd name="connsiteX8687" fmla="*/ 2148500 w 12192185"/>
              <a:gd name="connsiteY8687" fmla="*/ 904084 h 6859062"/>
              <a:gd name="connsiteX8688" fmla="*/ 2150011 w 12192185"/>
              <a:gd name="connsiteY8688" fmla="*/ 900416 h 6859062"/>
              <a:gd name="connsiteX8689" fmla="*/ 2149647 w 12192185"/>
              <a:gd name="connsiteY8689" fmla="*/ 897153 h 6859062"/>
              <a:gd name="connsiteX8690" fmla="*/ 2166515 w 12192185"/>
              <a:gd name="connsiteY8690" fmla="*/ 913930 h 6859062"/>
              <a:gd name="connsiteX8691" fmla="*/ 2165550 w 12192185"/>
              <a:gd name="connsiteY8691" fmla="*/ 915300 h 6859062"/>
              <a:gd name="connsiteX8692" fmla="*/ 2167491 w 12192185"/>
              <a:gd name="connsiteY8692" fmla="*/ 919399 h 6859062"/>
              <a:gd name="connsiteX8693" fmla="*/ 2171376 w 12192185"/>
              <a:gd name="connsiteY8693" fmla="*/ 921125 h 6859062"/>
              <a:gd name="connsiteX8694" fmla="*/ 2173967 w 12192185"/>
              <a:gd name="connsiteY8694" fmla="*/ 926303 h 6859062"/>
              <a:gd name="connsiteX8695" fmla="*/ 2182384 w 12192185"/>
              <a:gd name="connsiteY8695" fmla="*/ 942912 h 6859062"/>
              <a:gd name="connsiteX8696" fmla="*/ 2185407 w 12192185"/>
              <a:gd name="connsiteY8696" fmla="*/ 945285 h 6859062"/>
              <a:gd name="connsiteX8697" fmla="*/ 2181304 w 12192185"/>
              <a:gd name="connsiteY8697" fmla="*/ 947874 h 6859062"/>
              <a:gd name="connsiteX8698" fmla="*/ 2180658 w 12192185"/>
              <a:gd name="connsiteY8698" fmla="*/ 947874 h 6859062"/>
              <a:gd name="connsiteX8699" fmla="*/ 2176557 w 12192185"/>
              <a:gd name="connsiteY8699" fmla="*/ 955208 h 6859062"/>
              <a:gd name="connsiteX8700" fmla="*/ 2176126 w 12192185"/>
              <a:gd name="connsiteY8700" fmla="*/ 965347 h 6859062"/>
              <a:gd name="connsiteX8701" fmla="*/ 2172457 w 12192185"/>
              <a:gd name="connsiteY8701" fmla="*/ 979584 h 6859062"/>
              <a:gd name="connsiteX8702" fmla="*/ 2169218 w 12192185"/>
              <a:gd name="connsiteY8702" fmla="*/ 983467 h 6859062"/>
              <a:gd name="connsiteX8703" fmla="*/ 2160370 w 12192185"/>
              <a:gd name="connsiteY8703" fmla="*/ 994684 h 6859062"/>
              <a:gd name="connsiteX8704" fmla="*/ 2155192 w 12192185"/>
              <a:gd name="connsiteY8704" fmla="*/ 996626 h 6859062"/>
              <a:gd name="connsiteX8705" fmla="*/ 2133823 w 12192185"/>
              <a:gd name="connsiteY8705" fmla="*/ 1002881 h 6859062"/>
              <a:gd name="connsiteX8706" fmla="*/ 2133823 w 12192185"/>
              <a:gd name="connsiteY8706" fmla="*/ 1007627 h 6859062"/>
              <a:gd name="connsiteX8707" fmla="*/ 2139433 w 12192185"/>
              <a:gd name="connsiteY8707" fmla="*/ 1008274 h 6859062"/>
              <a:gd name="connsiteX8708" fmla="*/ 2143319 w 12192185"/>
              <a:gd name="connsiteY8708" fmla="*/ 1005685 h 6859062"/>
              <a:gd name="connsiteX8709" fmla="*/ 2146990 w 12192185"/>
              <a:gd name="connsiteY8709" fmla="*/ 1005254 h 6859062"/>
              <a:gd name="connsiteX8710" fmla="*/ 2146342 w 12192185"/>
              <a:gd name="connsiteY8710" fmla="*/ 1009137 h 6859062"/>
              <a:gd name="connsiteX8711" fmla="*/ 2143319 w 12192185"/>
              <a:gd name="connsiteY8711" fmla="*/ 1011941 h 6859062"/>
              <a:gd name="connsiteX8712" fmla="*/ 2142241 w 12192185"/>
              <a:gd name="connsiteY8712" fmla="*/ 1018629 h 6859062"/>
              <a:gd name="connsiteX8713" fmla="*/ 2148068 w 12192185"/>
              <a:gd name="connsiteY8713" fmla="*/ 1017335 h 6859062"/>
              <a:gd name="connsiteX8714" fmla="*/ 2152602 w 12192185"/>
              <a:gd name="connsiteY8714" fmla="*/ 1013667 h 6859062"/>
              <a:gd name="connsiteX8715" fmla="*/ 2156918 w 12192185"/>
              <a:gd name="connsiteY8715" fmla="*/ 1016472 h 6859062"/>
              <a:gd name="connsiteX8716" fmla="*/ 2152169 w 12192185"/>
              <a:gd name="connsiteY8716" fmla="*/ 1028768 h 6859062"/>
              <a:gd name="connsiteX8717" fmla="*/ 2152169 w 12192185"/>
              <a:gd name="connsiteY8717" fmla="*/ 1040631 h 6859062"/>
              <a:gd name="connsiteX8718" fmla="*/ 2156487 w 12192185"/>
              <a:gd name="connsiteY8718" fmla="*/ 1045377 h 6859062"/>
              <a:gd name="connsiteX8719" fmla="*/ 2157780 w 12192185"/>
              <a:gd name="connsiteY8719" fmla="*/ 1047750 h 6859062"/>
              <a:gd name="connsiteX8720" fmla="*/ 2155406 w 12192185"/>
              <a:gd name="connsiteY8720" fmla="*/ 1049044 h 6859062"/>
              <a:gd name="connsiteX8721" fmla="*/ 2150876 w 12192185"/>
              <a:gd name="connsiteY8721" fmla="*/ 1053367 h 6859062"/>
              <a:gd name="connsiteX8722" fmla="*/ 2145262 w 12192185"/>
              <a:gd name="connsiteY8722" fmla="*/ 1063074 h 6859062"/>
              <a:gd name="connsiteX8723" fmla="*/ 2145046 w 12192185"/>
              <a:gd name="connsiteY8723" fmla="*/ 1068252 h 6859062"/>
              <a:gd name="connsiteX8724" fmla="*/ 2146773 w 12192185"/>
              <a:gd name="connsiteY8724" fmla="*/ 1071703 h 6859062"/>
              <a:gd name="connsiteX8725" fmla="*/ 2143104 w 12192185"/>
              <a:gd name="connsiteY8725" fmla="*/ 1074075 h 6859062"/>
              <a:gd name="connsiteX8726" fmla="*/ 2140082 w 12192185"/>
              <a:gd name="connsiteY8726" fmla="*/ 1074507 h 6859062"/>
              <a:gd name="connsiteX8727" fmla="*/ 2136414 w 12192185"/>
              <a:gd name="connsiteY8727" fmla="*/ 1083351 h 6859062"/>
              <a:gd name="connsiteX8728" fmla="*/ 2137491 w 12192185"/>
              <a:gd name="connsiteY8728" fmla="*/ 1085076 h 6859062"/>
              <a:gd name="connsiteX8729" fmla="*/ 2137276 w 12192185"/>
              <a:gd name="connsiteY8729" fmla="*/ 1088959 h 6859062"/>
              <a:gd name="connsiteX8730" fmla="*/ 2133824 w 12192185"/>
              <a:gd name="connsiteY8730" fmla="*/ 1088096 h 6859062"/>
              <a:gd name="connsiteX8731" fmla="*/ 2131664 w 12192185"/>
              <a:gd name="connsiteY8731" fmla="*/ 1085291 h 6859062"/>
              <a:gd name="connsiteX8732" fmla="*/ 2127347 w 12192185"/>
              <a:gd name="connsiteY8732" fmla="*/ 1084645 h 6859062"/>
              <a:gd name="connsiteX8733" fmla="*/ 2114180 w 12192185"/>
              <a:gd name="connsiteY8733" fmla="*/ 1088096 h 6859062"/>
              <a:gd name="connsiteX8734" fmla="*/ 2097778 w 12192185"/>
              <a:gd name="connsiteY8734" fmla="*/ 1089174 h 6859062"/>
              <a:gd name="connsiteX8735" fmla="*/ 2093878 w 12192185"/>
              <a:gd name="connsiteY8735" fmla="*/ 1087233 h 6859062"/>
              <a:gd name="connsiteX8736" fmla="*/ 2082656 w 12192185"/>
              <a:gd name="connsiteY8736" fmla="*/ 1082056 h 6859062"/>
              <a:gd name="connsiteX8737" fmla="*/ 2080496 w 12192185"/>
              <a:gd name="connsiteY8737" fmla="*/ 1080547 h 6859062"/>
              <a:gd name="connsiteX8738" fmla="*/ 2071000 w 12192185"/>
              <a:gd name="connsiteY8738" fmla="*/ 1069114 h 6859062"/>
              <a:gd name="connsiteX8739" fmla="*/ 2065173 w 12192185"/>
              <a:gd name="connsiteY8739" fmla="*/ 1049700 h 6859062"/>
              <a:gd name="connsiteX8740" fmla="*/ 2062368 w 12192185"/>
              <a:gd name="connsiteY8740" fmla="*/ 1043005 h 6859062"/>
              <a:gd name="connsiteX8741" fmla="*/ 2063015 w 12192185"/>
              <a:gd name="connsiteY8741" fmla="*/ 1033513 h 6859062"/>
              <a:gd name="connsiteX8742" fmla="*/ 2063878 w 12192185"/>
              <a:gd name="connsiteY8742" fmla="*/ 1025532 h 6859062"/>
              <a:gd name="connsiteX8743" fmla="*/ 2063661 w 12192185"/>
              <a:gd name="connsiteY8743" fmla="*/ 1022296 h 6859062"/>
              <a:gd name="connsiteX8744" fmla="*/ 2076397 w 12192185"/>
              <a:gd name="connsiteY8744" fmla="*/ 1007627 h 6859062"/>
              <a:gd name="connsiteX8745" fmla="*/ 2088483 w 12192185"/>
              <a:gd name="connsiteY8745" fmla="*/ 1000508 h 6859062"/>
              <a:gd name="connsiteX8746" fmla="*/ 2097564 w 12192185"/>
              <a:gd name="connsiteY8746" fmla="*/ 988645 h 6859062"/>
              <a:gd name="connsiteX8747" fmla="*/ 2096252 w 12192185"/>
              <a:gd name="connsiteY8747" fmla="*/ 986271 h 6859062"/>
              <a:gd name="connsiteX8748" fmla="*/ 2083519 w 12192185"/>
              <a:gd name="connsiteY8748" fmla="*/ 971171 h 6859062"/>
              <a:gd name="connsiteX8749" fmla="*/ 2081793 w 12192185"/>
              <a:gd name="connsiteY8749" fmla="*/ 967720 h 6859062"/>
              <a:gd name="connsiteX8750" fmla="*/ 2080066 w 12192185"/>
              <a:gd name="connsiteY8750" fmla="*/ 956934 h 6859062"/>
              <a:gd name="connsiteX8751" fmla="*/ 2077044 w 12192185"/>
              <a:gd name="connsiteY8751" fmla="*/ 944422 h 6859062"/>
              <a:gd name="connsiteX8752" fmla="*/ 2077260 w 12192185"/>
              <a:gd name="connsiteY8752" fmla="*/ 939245 h 6859062"/>
              <a:gd name="connsiteX8753" fmla="*/ 2088699 w 12192185"/>
              <a:gd name="connsiteY8753" fmla="*/ 911418 h 6859062"/>
              <a:gd name="connsiteX8754" fmla="*/ 2090856 w 12192185"/>
              <a:gd name="connsiteY8754" fmla="*/ 909692 h 6859062"/>
              <a:gd name="connsiteX8755" fmla="*/ 2104037 w 12192185"/>
              <a:gd name="connsiteY8755" fmla="*/ 903436 h 6859062"/>
              <a:gd name="connsiteX8756" fmla="*/ 2109649 w 12192185"/>
              <a:gd name="connsiteY8756" fmla="*/ 901711 h 6859062"/>
              <a:gd name="connsiteX8757" fmla="*/ 2119145 w 12192185"/>
              <a:gd name="connsiteY8757" fmla="*/ 899553 h 6859062"/>
              <a:gd name="connsiteX8758" fmla="*/ 2126268 w 12192185"/>
              <a:gd name="connsiteY8758" fmla="*/ 893297 h 6859062"/>
              <a:gd name="connsiteX8759" fmla="*/ 2129505 w 12192185"/>
              <a:gd name="connsiteY8759" fmla="*/ 892138 h 6859062"/>
              <a:gd name="connsiteX8760" fmla="*/ 9480411 w 12192185"/>
              <a:gd name="connsiteY8760" fmla="*/ 883157 h 6859062"/>
              <a:gd name="connsiteX8761" fmla="*/ 9489852 w 12192185"/>
              <a:gd name="connsiteY8761" fmla="*/ 887833 h 6859062"/>
              <a:gd name="connsiteX8762" fmla="*/ 9495202 w 12192185"/>
              <a:gd name="connsiteY8762" fmla="*/ 890661 h 6859062"/>
              <a:gd name="connsiteX8763" fmla="*/ 9501182 w 12192185"/>
              <a:gd name="connsiteY8763" fmla="*/ 895690 h 6859062"/>
              <a:gd name="connsiteX8764" fmla="*/ 9504957 w 12192185"/>
              <a:gd name="connsiteY8764" fmla="*/ 900718 h 6859062"/>
              <a:gd name="connsiteX8765" fmla="*/ 9509363 w 12192185"/>
              <a:gd name="connsiteY8765" fmla="*/ 914547 h 6859062"/>
              <a:gd name="connsiteX8766" fmla="*/ 9512510 w 12192185"/>
              <a:gd name="connsiteY8766" fmla="*/ 923033 h 6859062"/>
              <a:gd name="connsiteX8767" fmla="*/ 9512511 w 12192185"/>
              <a:gd name="connsiteY8767" fmla="*/ 926804 h 6859062"/>
              <a:gd name="connsiteX8768" fmla="*/ 9508735 w 12192185"/>
              <a:gd name="connsiteY8768" fmla="*/ 934348 h 6859062"/>
              <a:gd name="connsiteX8769" fmla="*/ 9500237 w 12192185"/>
              <a:gd name="connsiteY8769" fmla="*/ 945662 h 6859062"/>
              <a:gd name="connsiteX8770" fmla="*/ 9498035 w 12192185"/>
              <a:gd name="connsiteY8770" fmla="*/ 950062 h 6859062"/>
              <a:gd name="connsiteX8771" fmla="*/ 9494258 w 12192185"/>
              <a:gd name="connsiteY8771" fmla="*/ 951634 h 6859062"/>
              <a:gd name="connsiteX8772" fmla="*/ 9487021 w 12192185"/>
              <a:gd name="connsiteY8772" fmla="*/ 953834 h 6859062"/>
              <a:gd name="connsiteX8773" fmla="*/ 9484503 w 12192185"/>
              <a:gd name="connsiteY8773" fmla="*/ 955091 h 6859062"/>
              <a:gd name="connsiteX8774" fmla="*/ 9474432 w 12192185"/>
              <a:gd name="connsiteY8774" fmla="*/ 956348 h 6859062"/>
              <a:gd name="connsiteX8775" fmla="*/ 9472229 w 12192185"/>
              <a:gd name="connsiteY8775" fmla="*/ 956977 h 6859062"/>
              <a:gd name="connsiteX8776" fmla="*/ 9449887 w 12192185"/>
              <a:gd name="connsiteY8776" fmla="*/ 942833 h 6859062"/>
              <a:gd name="connsiteX8777" fmla="*/ 9442963 w 12192185"/>
              <a:gd name="connsiteY8777" fmla="*/ 929948 h 6859062"/>
              <a:gd name="connsiteX8778" fmla="*/ 9440760 w 12192185"/>
              <a:gd name="connsiteY8778" fmla="*/ 924605 h 6859062"/>
              <a:gd name="connsiteX8779" fmla="*/ 9440446 w 12192185"/>
              <a:gd name="connsiteY8779" fmla="*/ 919262 h 6859062"/>
              <a:gd name="connsiteX8780" fmla="*/ 9441390 w 12192185"/>
              <a:gd name="connsiteY8780" fmla="*/ 915176 h 6859062"/>
              <a:gd name="connsiteX8781" fmla="*/ 9442964 w 12192185"/>
              <a:gd name="connsiteY8781" fmla="*/ 906690 h 6859062"/>
              <a:gd name="connsiteX8782" fmla="*/ 9443279 w 12192185"/>
              <a:gd name="connsiteY8782" fmla="*/ 903547 h 6859062"/>
              <a:gd name="connsiteX8783" fmla="*/ 9444223 w 12192185"/>
              <a:gd name="connsiteY8783" fmla="*/ 896004 h 6859062"/>
              <a:gd name="connsiteX8784" fmla="*/ 9459956 w 12192185"/>
              <a:gd name="connsiteY8784" fmla="*/ 883747 h 6859062"/>
              <a:gd name="connsiteX8785" fmla="*/ 9470028 w 12192185"/>
              <a:gd name="connsiteY8785" fmla="*/ 883433 h 6859062"/>
              <a:gd name="connsiteX8786" fmla="*/ 9480411 w 12192185"/>
              <a:gd name="connsiteY8786" fmla="*/ 883157 h 6859062"/>
              <a:gd name="connsiteX8787" fmla="*/ 1571998 w 12192185"/>
              <a:gd name="connsiteY8787" fmla="*/ 883072 h 6859062"/>
              <a:gd name="connsiteX8788" fmla="*/ 1581080 w 12192185"/>
              <a:gd name="connsiteY8788" fmla="*/ 884102 h 6859062"/>
              <a:gd name="connsiteX8789" fmla="*/ 1586280 w 12192185"/>
              <a:gd name="connsiteY8789" fmla="*/ 884833 h 6859062"/>
              <a:gd name="connsiteX8790" fmla="*/ 1592642 w 12192185"/>
              <a:gd name="connsiteY8790" fmla="*/ 887172 h 6859062"/>
              <a:gd name="connsiteX8791" fmla="*/ 1597207 w 12192185"/>
              <a:gd name="connsiteY8791" fmla="*/ 890161 h 6859062"/>
              <a:gd name="connsiteX8792" fmla="*/ 1604881 w 12192185"/>
              <a:gd name="connsiteY8792" fmla="*/ 900146 h 6859062"/>
              <a:gd name="connsiteX8793" fmla="*/ 1609952 w 12192185"/>
              <a:gd name="connsiteY8793" fmla="*/ 906142 h 6859062"/>
              <a:gd name="connsiteX8794" fmla="*/ 1611065 w 12192185"/>
              <a:gd name="connsiteY8794" fmla="*/ 909220 h 6859062"/>
              <a:gd name="connsiteX8795" fmla="*/ 1610208 w 12192185"/>
              <a:gd name="connsiteY8795" fmla="*/ 916489 h 6859062"/>
              <a:gd name="connsiteX8796" fmla="*/ 1606612 w 12192185"/>
              <a:gd name="connsiteY8796" fmla="*/ 928228 h 6859062"/>
              <a:gd name="connsiteX8797" fmla="*/ 1606112 w 12192185"/>
              <a:gd name="connsiteY8797" fmla="*/ 932468 h 6859062"/>
              <a:gd name="connsiteX8798" fmla="*/ 1603495 w 12192185"/>
              <a:gd name="connsiteY8798" fmla="*/ 934864 h 6859062"/>
              <a:gd name="connsiteX8799" fmla="*/ 1598237 w 12192185"/>
              <a:gd name="connsiteY8799" fmla="*/ 938794 h 6859062"/>
              <a:gd name="connsiteX8800" fmla="*/ 1596554 w 12192185"/>
              <a:gd name="connsiteY8800" fmla="*/ 940563 h 6859062"/>
              <a:gd name="connsiteX8801" fmla="*/ 1588707 w 12192185"/>
              <a:gd name="connsiteY8801" fmla="*/ 944559 h 6859062"/>
              <a:gd name="connsiteX8802" fmla="*/ 1587095 w 12192185"/>
              <a:gd name="connsiteY8802" fmla="*/ 945721 h 6859062"/>
              <a:gd name="connsiteX8803" fmla="*/ 1564692 w 12192185"/>
              <a:gd name="connsiteY8803" fmla="*/ 940771 h 6859062"/>
              <a:gd name="connsiteX8804" fmla="*/ 1555242 w 12192185"/>
              <a:gd name="connsiteY8804" fmla="*/ 932299 h 6859062"/>
              <a:gd name="connsiteX8805" fmla="*/ 1551868 w 12192185"/>
              <a:gd name="connsiteY8805" fmla="*/ 928589 h 6859062"/>
              <a:gd name="connsiteX8806" fmla="*/ 1550035 w 12192185"/>
              <a:gd name="connsiteY8806" fmla="*/ 924321 h 6859062"/>
              <a:gd name="connsiteX8807" fmla="*/ 1549600 w 12192185"/>
              <a:gd name="connsiteY8807" fmla="*/ 920709 h 6859062"/>
              <a:gd name="connsiteX8808" fmla="*/ 1548381 w 12192185"/>
              <a:gd name="connsiteY8808" fmla="*/ 913320 h 6859062"/>
              <a:gd name="connsiteX8809" fmla="*/ 1547711 w 12192185"/>
              <a:gd name="connsiteY8809" fmla="*/ 910663 h 6859062"/>
              <a:gd name="connsiteX8810" fmla="*/ 1546256 w 12192185"/>
              <a:gd name="connsiteY8810" fmla="*/ 904229 h 6859062"/>
              <a:gd name="connsiteX8811" fmla="*/ 1555480 w 12192185"/>
              <a:gd name="connsiteY8811" fmla="*/ 889586 h 6859062"/>
              <a:gd name="connsiteX8812" fmla="*/ 1563604 w 12192185"/>
              <a:gd name="connsiteY8812" fmla="*/ 886359 h 6859062"/>
              <a:gd name="connsiteX8813" fmla="*/ 1571998 w 12192185"/>
              <a:gd name="connsiteY8813" fmla="*/ 883072 h 6859062"/>
              <a:gd name="connsiteX8814" fmla="*/ 6662223 w 12192185"/>
              <a:gd name="connsiteY8814" fmla="*/ 880517 h 6859062"/>
              <a:gd name="connsiteX8815" fmla="*/ 6649063 w 12192185"/>
              <a:gd name="connsiteY8815" fmla="*/ 885926 h 6859062"/>
              <a:gd name="connsiteX8816" fmla="*/ 6669436 w 12192185"/>
              <a:gd name="connsiteY8816" fmla="*/ 898065 h 6859062"/>
              <a:gd name="connsiteX8817" fmla="*/ 6676406 w 12192185"/>
              <a:gd name="connsiteY8817" fmla="*/ 890073 h 6859062"/>
              <a:gd name="connsiteX8818" fmla="*/ 6713545 w 12192185"/>
              <a:gd name="connsiteY8818" fmla="*/ 905578 h 6859062"/>
              <a:gd name="connsiteX8819" fmla="*/ 6696778 w 12192185"/>
              <a:gd name="connsiteY8819" fmla="*/ 902212 h 6859062"/>
              <a:gd name="connsiteX8820" fmla="*/ 6800984 w 12192185"/>
              <a:gd name="connsiteY8820" fmla="*/ 931176 h 6859062"/>
              <a:gd name="connsiteX8821" fmla="*/ 6913965 w 12192185"/>
              <a:gd name="connsiteY8821" fmla="*/ 956536 h 6859062"/>
              <a:gd name="connsiteX8822" fmla="*/ 6917571 w 12192185"/>
              <a:gd name="connsiteY8822" fmla="*/ 965311 h 6859062"/>
              <a:gd name="connsiteX8823" fmla="*/ 7014806 w 12192185"/>
              <a:gd name="connsiteY8823" fmla="*/ 1002269 h 6859062"/>
              <a:gd name="connsiteX8824" fmla="*/ 7051944 w 12192185"/>
              <a:gd name="connsiteY8824" fmla="*/ 1017773 h 6859062"/>
              <a:gd name="connsiteX8825" fmla="*/ 7068712 w 12192185"/>
              <a:gd name="connsiteY8825" fmla="*/ 1021140 h 6859062"/>
              <a:gd name="connsiteX8826" fmla="*/ 7095273 w 12192185"/>
              <a:gd name="connsiteY8826" fmla="*/ 1035861 h 6859062"/>
              <a:gd name="connsiteX8827" fmla="*/ 7155370 w 12192185"/>
              <a:gd name="connsiteY8827" fmla="*/ 1057325 h 6859062"/>
              <a:gd name="connsiteX8828" fmla="*/ 7211078 w 12192185"/>
              <a:gd name="connsiteY8828" fmla="*/ 1080578 h 6859062"/>
              <a:gd name="connsiteX8829" fmla="*/ 7365045 w 12192185"/>
              <a:gd name="connsiteY8829" fmla="*/ 1155761 h 6859062"/>
              <a:gd name="connsiteX8830" fmla="*/ 7410176 w 12192185"/>
              <a:gd name="connsiteY8830" fmla="*/ 1178235 h 6859062"/>
              <a:gd name="connsiteX8831" fmla="*/ 7407592 w 12192185"/>
              <a:gd name="connsiteY8831" fmla="*/ 1184425 h 6859062"/>
              <a:gd name="connsiteX8832" fmla="*/ 7547617 w 12192185"/>
              <a:gd name="connsiteY8832" fmla="*/ 1275588 h 6859062"/>
              <a:gd name="connsiteX8833" fmla="*/ 7582170 w 12192185"/>
              <a:gd name="connsiteY8833" fmla="*/ 1297282 h 6859062"/>
              <a:gd name="connsiteX8834" fmla="*/ 7632711 w 12192185"/>
              <a:gd name="connsiteY8834" fmla="*/ 1332920 h 6859062"/>
              <a:gd name="connsiteX8835" fmla="*/ 7796955 w 12192185"/>
              <a:gd name="connsiteY8835" fmla="*/ 1470542 h 6859062"/>
              <a:gd name="connsiteX8836" fmla="*/ 7849298 w 12192185"/>
              <a:gd name="connsiteY8836" fmla="*/ 1510564 h 6859062"/>
              <a:gd name="connsiteX8837" fmla="*/ 7852904 w 12192185"/>
              <a:gd name="connsiteY8837" fmla="*/ 1519337 h 6859062"/>
              <a:gd name="connsiteX8838" fmla="*/ 7882292 w 12192185"/>
              <a:gd name="connsiteY8838" fmla="*/ 1553410 h 6859062"/>
              <a:gd name="connsiteX8839" fmla="*/ 7910865 w 12192185"/>
              <a:gd name="connsiteY8839" fmla="*/ 1575666 h 6859062"/>
              <a:gd name="connsiteX8840" fmla="*/ 7979585 w 12192185"/>
              <a:gd name="connsiteY8840" fmla="*/ 1515824 h 6859062"/>
              <a:gd name="connsiteX8841" fmla="*/ 8005155 w 12192185"/>
              <a:gd name="connsiteY8841" fmla="*/ 1497189 h 6859062"/>
              <a:gd name="connsiteX8842" fmla="*/ 7965942 w 12192185"/>
              <a:gd name="connsiteY8842" fmla="*/ 1457499 h 6859062"/>
              <a:gd name="connsiteX8843" fmla="*/ 7970330 w 12192185"/>
              <a:gd name="connsiteY8843" fmla="*/ 1455695 h 6859062"/>
              <a:gd name="connsiteX8844" fmla="*/ 7972132 w 12192185"/>
              <a:gd name="connsiteY8844" fmla="*/ 1460082 h 6859062"/>
              <a:gd name="connsiteX8845" fmla="*/ 7982709 w 12192185"/>
              <a:gd name="connsiteY8845" fmla="*/ 1460864 h 6859062"/>
              <a:gd name="connsiteX8846" fmla="*/ 7974717 w 12192185"/>
              <a:gd name="connsiteY8846" fmla="*/ 1453892 h 6859062"/>
              <a:gd name="connsiteX8847" fmla="*/ 7966724 w 12192185"/>
              <a:gd name="connsiteY8847" fmla="*/ 1446921 h 6859062"/>
              <a:gd name="connsiteX8848" fmla="*/ 7965703 w 12192185"/>
              <a:gd name="connsiteY8848" fmla="*/ 1431959 h 6859062"/>
              <a:gd name="connsiteX8849" fmla="*/ 7960668 w 12192185"/>
              <a:gd name="connsiteY8849" fmla="*/ 1435308 h 6859062"/>
              <a:gd name="connsiteX8850" fmla="*/ 7962086 w 12192185"/>
              <a:gd name="connsiteY8850" fmla="*/ 1437716 h 6859062"/>
              <a:gd name="connsiteX8851" fmla="*/ 7950738 w 12192185"/>
              <a:gd name="connsiteY8851" fmla="*/ 1432981 h 6859062"/>
              <a:gd name="connsiteX8852" fmla="*/ 7956147 w 12192185"/>
              <a:gd name="connsiteY8852" fmla="*/ 1446140 h 6859062"/>
              <a:gd name="connsiteX8853" fmla="*/ 7907410 w 12192185"/>
              <a:gd name="connsiteY8853" fmla="*/ 1414890 h 6859062"/>
              <a:gd name="connsiteX8854" fmla="*/ 7909993 w 12192185"/>
              <a:gd name="connsiteY8854" fmla="*/ 1408698 h 6859062"/>
              <a:gd name="connsiteX8855" fmla="*/ 7851460 w 12192185"/>
              <a:gd name="connsiteY8855" fmla="*/ 1366091 h 6859062"/>
              <a:gd name="connsiteX8856" fmla="*/ 7857650 w 12192185"/>
              <a:gd name="connsiteY8856" fmla="*/ 1368675 h 6859062"/>
              <a:gd name="connsiteX8857" fmla="*/ 7799898 w 12192185"/>
              <a:gd name="connsiteY8857" fmla="*/ 1315490 h 6859062"/>
              <a:gd name="connsiteX8858" fmla="*/ 7793707 w 12192185"/>
              <a:gd name="connsiteY8858" fmla="*/ 1312907 h 6859062"/>
              <a:gd name="connsiteX8859" fmla="*/ 7800919 w 12192185"/>
              <a:gd name="connsiteY8859" fmla="*/ 1330455 h 6859062"/>
              <a:gd name="connsiteX8860" fmla="*/ 7756568 w 12192185"/>
              <a:gd name="connsiteY8860" fmla="*/ 1297402 h 6859062"/>
              <a:gd name="connsiteX8861" fmla="*/ 7757350 w 12192185"/>
              <a:gd name="connsiteY8861" fmla="*/ 1286824 h 6859062"/>
              <a:gd name="connsiteX8862" fmla="*/ 7740583 w 12192185"/>
              <a:gd name="connsiteY8862" fmla="*/ 1283460 h 6859062"/>
              <a:gd name="connsiteX8863" fmla="*/ 7734393 w 12192185"/>
              <a:gd name="connsiteY8863" fmla="*/ 1280875 h 6859062"/>
              <a:gd name="connsiteX8864" fmla="*/ 7722013 w 12192185"/>
              <a:gd name="connsiteY8864" fmla="*/ 1275708 h 6859062"/>
              <a:gd name="connsiteX8865" fmla="*/ 7725618 w 12192185"/>
              <a:gd name="connsiteY8865" fmla="*/ 1284482 h 6859062"/>
              <a:gd name="connsiteX8866" fmla="*/ 7727422 w 12192185"/>
              <a:gd name="connsiteY8866" fmla="*/ 1288868 h 6859062"/>
              <a:gd name="connsiteX8867" fmla="*/ 7621953 w 12192185"/>
              <a:gd name="connsiteY8867" fmla="*/ 1219401 h 6859062"/>
              <a:gd name="connsiteX8868" fmla="*/ 7598756 w 12192185"/>
              <a:gd name="connsiteY8868" fmla="*/ 1187909 h 6859062"/>
              <a:gd name="connsiteX8869" fmla="*/ 7603143 w 12192185"/>
              <a:gd name="connsiteY8869" fmla="*/ 1186108 h 6859062"/>
              <a:gd name="connsiteX8870" fmla="*/ 7601339 w 12192185"/>
              <a:gd name="connsiteY8870" fmla="*/ 1181719 h 6859062"/>
              <a:gd name="connsiteX8871" fmla="*/ 7588960 w 12192185"/>
              <a:gd name="connsiteY8871" fmla="*/ 1176552 h 6859062"/>
              <a:gd name="connsiteX8872" fmla="*/ 7582770 w 12192185"/>
              <a:gd name="connsiteY8872" fmla="*/ 1173968 h 6859062"/>
              <a:gd name="connsiteX8873" fmla="*/ 7576269 w 12192185"/>
              <a:gd name="connsiteY8873" fmla="*/ 1170943 h 6859062"/>
              <a:gd name="connsiteX8874" fmla="*/ 7571739 w 12192185"/>
              <a:gd name="connsiteY8874" fmla="*/ 1171064 h 6859062"/>
              <a:gd name="connsiteX8875" fmla="*/ 7567806 w 12192185"/>
              <a:gd name="connsiteY8875" fmla="*/ 1174990 h 6859062"/>
              <a:gd name="connsiteX8876" fmla="*/ 7547434 w 12192185"/>
              <a:gd name="connsiteY8876" fmla="*/ 1162850 h 6859062"/>
              <a:gd name="connsiteX8877" fmla="*/ 7571413 w 12192185"/>
              <a:gd name="connsiteY8877" fmla="*/ 1183764 h 6859062"/>
              <a:gd name="connsiteX8878" fmla="*/ 7580187 w 12192185"/>
              <a:gd name="connsiteY8878" fmla="*/ 1180157 h 6859062"/>
              <a:gd name="connsiteX8879" fmla="*/ 7586376 w 12192185"/>
              <a:gd name="connsiteY8879" fmla="*/ 1182742 h 6859062"/>
              <a:gd name="connsiteX8880" fmla="*/ 7588179 w 12192185"/>
              <a:gd name="connsiteY8880" fmla="*/ 1187130 h 6859062"/>
              <a:gd name="connsiteX8881" fmla="*/ 7598756 w 12192185"/>
              <a:gd name="connsiteY8881" fmla="*/ 1187909 h 6859062"/>
              <a:gd name="connsiteX8882" fmla="*/ 7657530 w 12192185"/>
              <a:gd name="connsiteY8882" fmla="*/ 1256057 h 6859062"/>
              <a:gd name="connsiteX8883" fmla="*/ 7661136 w 12192185"/>
              <a:gd name="connsiteY8883" fmla="*/ 1264831 h 6859062"/>
              <a:gd name="connsiteX8884" fmla="*/ 7656749 w 12192185"/>
              <a:gd name="connsiteY8884" fmla="*/ 1266634 h 6859062"/>
              <a:gd name="connsiteX8885" fmla="*/ 7662940 w 12192185"/>
              <a:gd name="connsiteY8885" fmla="*/ 1269218 h 6859062"/>
              <a:gd name="connsiteX8886" fmla="*/ 7664743 w 12192185"/>
              <a:gd name="connsiteY8886" fmla="*/ 1273606 h 6859062"/>
              <a:gd name="connsiteX8887" fmla="*/ 7619060 w 12192185"/>
              <a:gd name="connsiteY8887" fmla="*/ 1251355 h 6859062"/>
              <a:gd name="connsiteX8888" fmla="*/ 7581590 w 12192185"/>
              <a:gd name="connsiteY8888" fmla="*/ 1215476 h 6859062"/>
              <a:gd name="connsiteX8889" fmla="*/ 7584032 w 12192185"/>
              <a:gd name="connsiteY8889" fmla="*/ 1214473 h 6859062"/>
              <a:gd name="connsiteX8890" fmla="*/ 7577843 w 12192185"/>
              <a:gd name="connsiteY8890" fmla="*/ 1211888 h 6859062"/>
              <a:gd name="connsiteX8891" fmla="*/ 7561858 w 12192185"/>
              <a:gd name="connsiteY8891" fmla="*/ 1197947 h 6859062"/>
              <a:gd name="connsiteX8892" fmla="*/ 7568047 w 12192185"/>
              <a:gd name="connsiteY8892" fmla="*/ 1200530 h 6859062"/>
              <a:gd name="connsiteX8893" fmla="*/ 7566244 w 12192185"/>
              <a:gd name="connsiteY8893" fmla="*/ 1196142 h 6859062"/>
              <a:gd name="connsiteX8894" fmla="*/ 7560054 w 12192185"/>
              <a:gd name="connsiteY8894" fmla="*/ 1193559 h 6859062"/>
              <a:gd name="connsiteX8895" fmla="*/ 7496113 w 12192185"/>
              <a:gd name="connsiteY8895" fmla="*/ 1137791 h 6859062"/>
              <a:gd name="connsiteX8896" fmla="*/ 7496894 w 12192185"/>
              <a:gd name="connsiteY8896" fmla="*/ 1127213 h 6859062"/>
              <a:gd name="connsiteX8897" fmla="*/ 7527842 w 12192185"/>
              <a:gd name="connsiteY8897" fmla="*/ 1140133 h 6859062"/>
              <a:gd name="connsiteX8898" fmla="*/ 7436557 w 12192185"/>
              <a:gd name="connsiteY8898" fmla="*/ 1080217 h 6859062"/>
              <a:gd name="connsiteX8899" fmla="*/ 7432951 w 12192185"/>
              <a:gd name="connsiteY8899" fmla="*/ 1071444 h 6859062"/>
              <a:gd name="connsiteX8900" fmla="*/ 7422375 w 12192185"/>
              <a:gd name="connsiteY8900" fmla="*/ 1070663 h 6859062"/>
              <a:gd name="connsiteX8901" fmla="*/ 7387038 w 12192185"/>
              <a:gd name="connsiteY8901" fmla="*/ 1059544 h 6859062"/>
              <a:gd name="connsiteX8902" fmla="*/ 7394009 w 12192185"/>
              <a:gd name="connsiteY8902" fmla="*/ 1051551 h 6859062"/>
              <a:gd name="connsiteX8903" fmla="*/ 7377242 w 12192185"/>
              <a:gd name="connsiteY8903" fmla="*/ 1048179 h 6859062"/>
              <a:gd name="connsiteX8904" fmla="*/ 7371053 w 12192185"/>
              <a:gd name="connsiteY8904" fmla="*/ 1045594 h 6859062"/>
              <a:gd name="connsiteX8905" fmla="*/ 7369249 w 12192185"/>
              <a:gd name="connsiteY8905" fmla="*/ 1041208 h 6859062"/>
              <a:gd name="connsiteX8906" fmla="*/ 7364862 w 12192185"/>
              <a:gd name="connsiteY8906" fmla="*/ 1043010 h 6859062"/>
              <a:gd name="connsiteX8907" fmla="*/ 7371053 w 12192185"/>
              <a:gd name="connsiteY8907" fmla="*/ 1045594 h 6859062"/>
              <a:gd name="connsiteX8908" fmla="*/ 7372855 w 12192185"/>
              <a:gd name="connsiteY8908" fmla="*/ 1049991 h 6859062"/>
              <a:gd name="connsiteX8909" fmla="*/ 7352483 w 12192185"/>
              <a:gd name="connsiteY8909" fmla="*/ 1037842 h 6859062"/>
              <a:gd name="connsiteX8910" fmla="*/ 7356869 w 12192185"/>
              <a:gd name="connsiteY8910" fmla="*/ 1036040 h 6859062"/>
              <a:gd name="connsiteX8911" fmla="*/ 7186378 w 12192185"/>
              <a:gd name="connsiteY8911" fmla="*/ 983036 h 6859062"/>
              <a:gd name="connsiteX8912" fmla="*/ 7012522 w 12192185"/>
              <a:gd name="connsiteY8912" fmla="*/ 946801 h 6859062"/>
              <a:gd name="connsiteX8913" fmla="*/ 7022076 w 12192185"/>
              <a:gd name="connsiteY8913" fmla="*/ 932618 h 6859062"/>
              <a:gd name="connsiteX8914" fmla="*/ 6903929 w 12192185"/>
              <a:gd name="connsiteY8914" fmla="*/ 919639 h 6859062"/>
              <a:gd name="connsiteX8915" fmla="*/ 6779590 w 12192185"/>
              <a:gd name="connsiteY8915" fmla="*/ 904074 h 6859062"/>
              <a:gd name="connsiteX8916" fmla="*/ 6783976 w 12192185"/>
              <a:gd name="connsiteY8916" fmla="*/ 902272 h 6859062"/>
              <a:gd name="connsiteX8917" fmla="*/ 6775984 w 12192185"/>
              <a:gd name="connsiteY8917" fmla="*/ 895301 h 6859062"/>
              <a:gd name="connsiteX8918" fmla="*/ 6774181 w 12192185"/>
              <a:gd name="connsiteY8918" fmla="*/ 890913 h 6859062"/>
              <a:gd name="connsiteX8919" fmla="*/ 6748641 w 12192185"/>
              <a:gd name="connsiteY8919" fmla="*/ 891154 h 6859062"/>
              <a:gd name="connsiteX8920" fmla="*/ 6736261 w 12192185"/>
              <a:gd name="connsiteY8920" fmla="*/ 885985 h 6859062"/>
              <a:gd name="connsiteX8921" fmla="*/ 6731873 w 12192185"/>
              <a:gd name="connsiteY8921" fmla="*/ 887789 h 6859062"/>
              <a:gd name="connsiteX8922" fmla="*/ 6733678 w 12192185"/>
              <a:gd name="connsiteY8922" fmla="*/ 892176 h 6859062"/>
              <a:gd name="connsiteX8923" fmla="*/ 6662223 w 12192185"/>
              <a:gd name="connsiteY8923" fmla="*/ 880517 h 6859062"/>
              <a:gd name="connsiteX8924" fmla="*/ 8622589 w 12192185"/>
              <a:gd name="connsiteY8924" fmla="*/ 869310 h 6859062"/>
              <a:gd name="connsiteX8925" fmla="*/ 8625394 w 12192185"/>
              <a:gd name="connsiteY8925" fmla="*/ 870315 h 6859062"/>
              <a:gd name="connsiteX8926" fmla="*/ 8631567 w 12192185"/>
              <a:gd name="connsiteY8926" fmla="*/ 875736 h 6859062"/>
              <a:gd name="connsiteX8927" fmla="*/ 8639798 w 12192185"/>
              <a:gd name="connsiteY8927" fmla="*/ 877605 h 6859062"/>
              <a:gd name="connsiteX8928" fmla="*/ 8644661 w 12192185"/>
              <a:gd name="connsiteY8928" fmla="*/ 879101 h 6859062"/>
              <a:gd name="connsiteX8929" fmla="*/ 8656069 w 12192185"/>
              <a:gd name="connsiteY8929" fmla="*/ 884523 h 6859062"/>
              <a:gd name="connsiteX8930" fmla="*/ 8657941 w 12192185"/>
              <a:gd name="connsiteY8930" fmla="*/ 886018 h 6859062"/>
              <a:gd name="connsiteX8931" fmla="*/ 8667853 w 12192185"/>
              <a:gd name="connsiteY8931" fmla="*/ 910134 h 6859062"/>
              <a:gd name="connsiteX8932" fmla="*/ 8668041 w 12192185"/>
              <a:gd name="connsiteY8932" fmla="*/ 914621 h 6859062"/>
              <a:gd name="connsiteX8933" fmla="*/ 8665421 w 12192185"/>
              <a:gd name="connsiteY8933" fmla="*/ 925464 h 6859062"/>
              <a:gd name="connsiteX8934" fmla="*/ 8663925 w 12192185"/>
              <a:gd name="connsiteY8934" fmla="*/ 934811 h 6859062"/>
              <a:gd name="connsiteX8935" fmla="*/ 8662429 w 12192185"/>
              <a:gd name="connsiteY8935" fmla="*/ 937802 h 6859062"/>
              <a:gd name="connsiteX8936" fmla="*/ 8651394 w 12192185"/>
              <a:gd name="connsiteY8936" fmla="*/ 950889 h 6859062"/>
              <a:gd name="connsiteX8937" fmla="*/ 8650272 w 12192185"/>
              <a:gd name="connsiteY8937" fmla="*/ 952945 h 6859062"/>
              <a:gd name="connsiteX8938" fmla="*/ 8658127 w 12192185"/>
              <a:gd name="connsiteY8938" fmla="*/ 963226 h 6859062"/>
              <a:gd name="connsiteX8939" fmla="*/ 8668601 w 12192185"/>
              <a:gd name="connsiteY8939" fmla="*/ 969396 h 6859062"/>
              <a:gd name="connsiteX8940" fmla="*/ 8679637 w 12192185"/>
              <a:gd name="connsiteY8940" fmla="*/ 982109 h 6859062"/>
              <a:gd name="connsiteX8941" fmla="*/ 8679450 w 12192185"/>
              <a:gd name="connsiteY8941" fmla="*/ 984913 h 6859062"/>
              <a:gd name="connsiteX8942" fmla="*/ 8680198 w 12192185"/>
              <a:gd name="connsiteY8942" fmla="*/ 991830 h 6859062"/>
              <a:gd name="connsiteX8943" fmla="*/ 8680759 w 12192185"/>
              <a:gd name="connsiteY8943" fmla="*/ 1000056 h 6859062"/>
              <a:gd name="connsiteX8944" fmla="*/ 8678328 w 12192185"/>
              <a:gd name="connsiteY8944" fmla="*/ 1005851 h 6859062"/>
              <a:gd name="connsiteX8945" fmla="*/ 8673278 w 12192185"/>
              <a:gd name="connsiteY8945" fmla="*/ 1022676 h 6859062"/>
              <a:gd name="connsiteX8946" fmla="*/ 8665047 w 12192185"/>
              <a:gd name="connsiteY8946" fmla="*/ 1032584 h 6859062"/>
              <a:gd name="connsiteX8947" fmla="*/ 8663177 w 12192185"/>
              <a:gd name="connsiteY8947" fmla="*/ 1033893 h 6859062"/>
              <a:gd name="connsiteX8948" fmla="*/ 8653452 w 12192185"/>
              <a:gd name="connsiteY8948" fmla="*/ 1038380 h 6859062"/>
              <a:gd name="connsiteX8949" fmla="*/ 8650084 w 12192185"/>
              <a:gd name="connsiteY8949" fmla="*/ 1040062 h 6859062"/>
              <a:gd name="connsiteX8950" fmla="*/ 8635870 w 12192185"/>
              <a:gd name="connsiteY8950" fmla="*/ 1039127 h 6859062"/>
              <a:gd name="connsiteX8951" fmla="*/ 8624460 w 12192185"/>
              <a:gd name="connsiteY8951" fmla="*/ 1036136 h 6859062"/>
              <a:gd name="connsiteX8952" fmla="*/ 8620719 w 12192185"/>
              <a:gd name="connsiteY8952" fmla="*/ 1036697 h 6859062"/>
              <a:gd name="connsiteX8953" fmla="*/ 8618848 w 12192185"/>
              <a:gd name="connsiteY8953" fmla="*/ 1039127 h 6859062"/>
              <a:gd name="connsiteX8954" fmla="*/ 8615855 w 12192185"/>
              <a:gd name="connsiteY8954" fmla="*/ 1039875 h 6859062"/>
              <a:gd name="connsiteX8955" fmla="*/ 8615669 w 12192185"/>
              <a:gd name="connsiteY8955" fmla="*/ 1036510 h 6859062"/>
              <a:gd name="connsiteX8956" fmla="*/ 8616603 w 12192185"/>
              <a:gd name="connsiteY8956" fmla="*/ 1035014 h 6859062"/>
              <a:gd name="connsiteX8957" fmla="*/ 8613424 w 12192185"/>
              <a:gd name="connsiteY8957" fmla="*/ 1027349 h 6859062"/>
              <a:gd name="connsiteX8958" fmla="*/ 8610805 w 12192185"/>
              <a:gd name="connsiteY8958" fmla="*/ 1026976 h 6859062"/>
              <a:gd name="connsiteX8959" fmla="*/ 8607625 w 12192185"/>
              <a:gd name="connsiteY8959" fmla="*/ 1024919 h 6859062"/>
              <a:gd name="connsiteX8960" fmla="*/ 8609122 w 12192185"/>
              <a:gd name="connsiteY8960" fmla="*/ 1021928 h 6859062"/>
              <a:gd name="connsiteX8961" fmla="*/ 8608935 w 12192185"/>
              <a:gd name="connsiteY8961" fmla="*/ 1017442 h 6859062"/>
              <a:gd name="connsiteX8962" fmla="*/ 8604072 w 12192185"/>
              <a:gd name="connsiteY8962" fmla="*/ 1009029 h 6859062"/>
              <a:gd name="connsiteX8963" fmla="*/ 8600145 w 12192185"/>
              <a:gd name="connsiteY8963" fmla="*/ 1005290 h 6859062"/>
              <a:gd name="connsiteX8964" fmla="*/ 8598086 w 12192185"/>
              <a:gd name="connsiteY8964" fmla="*/ 1004168 h 6859062"/>
              <a:gd name="connsiteX8965" fmla="*/ 8599208 w 12192185"/>
              <a:gd name="connsiteY8965" fmla="*/ 1002112 h 6859062"/>
              <a:gd name="connsiteX8966" fmla="*/ 8602949 w 12192185"/>
              <a:gd name="connsiteY8966" fmla="*/ 997999 h 6859062"/>
              <a:gd name="connsiteX8967" fmla="*/ 8602949 w 12192185"/>
              <a:gd name="connsiteY8967" fmla="*/ 987717 h 6859062"/>
              <a:gd name="connsiteX8968" fmla="*/ 8598834 w 12192185"/>
              <a:gd name="connsiteY8968" fmla="*/ 977060 h 6859062"/>
              <a:gd name="connsiteX8969" fmla="*/ 8602576 w 12192185"/>
              <a:gd name="connsiteY8969" fmla="*/ 974631 h 6859062"/>
              <a:gd name="connsiteX8970" fmla="*/ 8606504 w 12192185"/>
              <a:gd name="connsiteY8970" fmla="*/ 977809 h 6859062"/>
              <a:gd name="connsiteX8971" fmla="*/ 8611553 w 12192185"/>
              <a:gd name="connsiteY8971" fmla="*/ 978931 h 6859062"/>
              <a:gd name="connsiteX8972" fmla="*/ 8610618 w 12192185"/>
              <a:gd name="connsiteY8972" fmla="*/ 973135 h 6859062"/>
              <a:gd name="connsiteX8973" fmla="*/ 8607999 w 12192185"/>
              <a:gd name="connsiteY8973" fmla="*/ 970705 h 6859062"/>
              <a:gd name="connsiteX8974" fmla="*/ 8607439 w 12192185"/>
              <a:gd name="connsiteY8974" fmla="*/ 967340 h 6859062"/>
              <a:gd name="connsiteX8975" fmla="*/ 8610618 w 12192185"/>
              <a:gd name="connsiteY8975" fmla="*/ 967713 h 6859062"/>
              <a:gd name="connsiteX8976" fmla="*/ 8613986 w 12192185"/>
              <a:gd name="connsiteY8976" fmla="*/ 969957 h 6859062"/>
              <a:gd name="connsiteX8977" fmla="*/ 8618849 w 12192185"/>
              <a:gd name="connsiteY8977" fmla="*/ 969396 h 6859062"/>
              <a:gd name="connsiteX8978" fmla="*/ 8618849 w 12192185"/>
              <a:gd name="connsiteY8978" fmla="*/ 965283 h 6859062"/>
              <a:gd name="connsiteX8979" fmla="*/ 8600331 w 12192185"/>
              <a:gd name="connsiteY8979" fmla="*/ 959861 h 6859062"/>
              <a:gd name="connsiteX8980" fmla="*/ 8595842 w 12192185"/>
              <a:gd name="connsiteY8980" fmla="*/ 958179 h 6859062"/>
              <a:gd name="connsiteX8981" fmla="*/ 8588173 w 12192185"/>
              <a:gd name="connsiteY8981" fmla="*/ 948458 h 6859062"/>
              <a:gd name="connsiteX8982" fmla="*/ 8585367 w 12192185"/>
              <a:gd name="connsiteY8982" fmla="*/ 945093 h 6859062"/>
              <a:gd name="connsiteX8983" fmla="*/ 8582187 w 12192185"/>
              <a:gd name="connsiteY8983" fmla="*/ 932755 h 6859062"/>
              <a:gd name="connsiteX8984" fmla="*/ 8581814 w 12192185"/>
              <a:gd name="connsiteY8984" fmla="*/ 923969 h 6859062"/>
              <a:gd name="connsiteX8985" fmla="*/ 8578261 w 12192185"/>
              <a:gd name="connsiteY8985" fmla="*/ 917612 h 6859062"/>
              <a:gd name="connsiteX8986" fmla="*/ 8577699 w 12192185"/>
              <a:gd name="connsiteY8986" fmla="*/ 917612 h 6859062"/>
              <a:gd name="connsiteX8987" fmla="*/ 8574145 w 12192185"/>
              <a:gd name="connsiteY8987" fmla="*/ 915369 h 6859062"/>
              <a:gd name="connsiteX8988" fmla="*/ 8576763 w 12192185"/>
              <a:gd name="connsiteY8988" fmla="*/ 913312 h 6859062"/>
              <a:gd name="connsiteX8989" fmla="*/ 8584059 w 12192185"/>
              <a:gd name="connsiteY8989" fmla="*/ 898918 h 6859062"/>
              <a:gd name="connsiteX8990" fmla="*/ 8586302 w 12192185"/>
              <a:gd name="connsiteY8990" fmla="*/ 894431 h 6859062"/>
              <a:gd name="connsiteX8991" fmla="*/ 8589670 w 12192185"/>
              <a:gd name="connsiteY8991" fmla="*/ 892935 h 6859062"/>
              <a:gd name="connsiteX8992" fmla="*/ 8591353 w 12192185"/>
              <a:gd name="connsiteY8992" fmla="*/ 889383 h 6859062"/>
              <a:gd name="connsiteX8993" fmla="*/ 8590516 w 12192185"/>
              <a:gd name="connsiteY8993" fmla="*/ 888195 h 6859062"/>
              <a:gd name="connsiteX8994" fmla="*/ 8605136 w 12192185"/>
              <a:gd name="connsiteY8994" fmla="*/ 873656 h 6859062"/>
              <a:gd name="connsiteX8995" fmla="*/ 8604820 w 12192185"/>
              <a:gd name="connsiteY8995" fmla="*/ 876484 h 6859062"/>
              <a:gd name="connsiteX8996" fmla="*/ 8606130 w 12192185"/>
              <a:gd name="connsiteY8996" fmla="*/ 879662 h 6859062"/>
              <a:gd name="connsiteX8997" fmla="*/ 8609496 w 12192185"/>
              <a:gd name="connsiteY8997" fmla="*/ 878353 h 6859062"/>
              <a:gd name="connsiteX8998" fmla="*/ 8610618 w 12192185"/>
              <a:gd name="connsiteY8998" fmla="*/ 875923 h 6859062"/>
              <a:gd name="connsiteX8999" fmla="*/ 8616229 w 12192185"/>
              <a:gd name="connsiteY8999" fmla="*/ 874989 h 6859062"/>
              <a:gd name="connsiteX9000" fmla="*/ 8618661 w 12192185"/>
              <a:gd name="connsiteY9000" fmla="*/ 876671 h 6859062"/>
              <a:gd name="connsiteX9001" fmla="*/ 8620345 w 12192185"/>
              <a:gd name="connsiteY9001" fmla="*/ 874054 h 6859062"/>
              <a:gd name="connsiteX9002" fmla="*/ 8620905 w 12192185"/>
              <a:gd name="connsiteY9002" fmla="*/ 871811 h 6859062"/>
              <a:gd name="connsiteX9003" fmla="*/ 8622589 w 12192185"/>
              <a:gd name="connsiteY9003" fmla="*/ 869310 h 6859062"/>
              <a:gd name="connsiteX9004" fmla="*/ 6180318 w 12192185"/>
              <a:gd name="connsiteY9004" fmla="*/ 868322 h 6859062"/>
              <a:gd name="connsiteX9005" fmla="*/ 6186508 w 12192185"/>
              <a:gd name="connsiteY9005" fmla="*/ 870906 h 6859062"/>
              <a:gd name="connsiteX9006" fmla="*/ 6177734 w 12192185"/>
              <a:gd name="connsiteY9006" fmla="*/ 874512 h 6859062"/>
              <a:gd name="connsiteX9007" fmla="*/ 6172085 w 12192185"/>
              <a:gd name="connsiteY9007" fmla="*/ 869839 h 6859062"/>
              <a:gd name="connsiteX9008" fmla="*/ 6175932 w 12192185"/>
              <a:gd name="connsiteY9008" fmla="*/ 870124 h 6859062"/>
              <a:gd name="connsiteX9009" fmla="*/ 6180318 w 12192185"/>
              <a:gd name="connsiteY9009" fmla="*/ 868322 h 6859062"/>
              <a:gd name="connsiteX9010" fmla="*/ 11609853 w 12192185"/>
              <a:gd name="connsiteY9010" fmla="*/ 868216 h 6859062"/>
              <a:gd name="connsiteX9011" fmla="*/ 11613954 w 12192185"/>
              <a:gd name="connsiteY9011" fmla="*/ 868627 h 6859062"/>
              <a:gd name="connsiteX9012" fmla="*/ 11621427 w 12192185"/>
              <a:gd name="connsiteY9012" fmla="*/ 870134 h 6859062"/>
              <a:gd name="connsiteX9013" fmla="*/ 11624261 w 12192185"/>
              <a:gd name="connsiteY9013" fmla="*/ 870222 h 6859062"/>
              <a:gd name="connsiteX9014" fmla="*/ 11633795 w 12192185"/>
              <a:gd name="connsiteY9014" fmla="*/ 873920 h 6859062"/>
              <a:gd name="connsiteX9015" fmla="*/ 11636051 w 12192185"/>
              <a:gd name="connsiteY9015" fmla="*/ 874414 h 6859062"/>
              <a:gd name="connsiteX9016" fmla="*/ 11649113 w 12192185"/>
              <a:gd name="connsiteY9016" fmla="*/ 897639 h 6859062"/>
              <a:gd name="connsiteX9017" fmla="*/ 11649097 w 12192185"/>
              <a:gd name="connsiteY9017" fmla="*/ 912379 h 6859062"/>
              <a:gd name="connsiteX9018" fmla="*/ 11648496 w 12192185"/>
              <a:gd name="connsiteY9018" fmla="*/ 918172 h 6859062"/>
              <a:gd name="connsiteX9019" fmla="*/ 11646222 w 12192185"/>
              <a:gd name="connsiteY9019" fmla="*/ 923061 h 6859062"/>
              <a:gd name="connsiteX9020" fmla="*/ 11643432 w 12192185"/>
              <a:gd name="connsiteY9020" fmla="*/ 926235 h 6859062"/>
              <a:gd name="connsiteX9021" fmla="*/ 11637981 w 12192185"/>
              <a:gd name="connsiteY9021" fmla="*/ 933011 h 6859062"/>
              <a:gd name="connsiteX9022" fmla="*/ 11636200 w 12192185"/>
              <a:gd name="connsiteY9022" fmla="*/ 935648 h 6859062"/>
              <a:gd name="connsiteX9023" fmla="*/ 11631759 w 12192185"/>
              <a:gd name="connsiteY9023" fmla="*/ 941889 h 6859062"/>
              <a:gd name="connsiteX9024" fmla="*/ 11611942 w 12192185"/>
              <a:gd name="connsiteY9024" fmla="*/ 945244 h 6859062"/>
              <a:gd name="connsiteX9025" fmla="*/ 11602858 w 12192185"/>
              <a:gd name="connsiteY9025" fmla="*/ 940710 h 6859062"/>
              <a:gd name="connsiteX9026" fmla="*/ 11587374 w 12192185"/>
              <a:gd name="connsiteY9026" fmla="*/ 927332 h 6859062"/>
              <a:gd name="connsiteX9027" fmla="*/ 11583980 w 12192185"/>
              <a:gd name="connsiteY9027" fmla="*/ 922265 h 6859062"/>
              <a:gd name="connsiteX9028" fmla="*/ 11581078 w 12192185"/>
              <a:gd name="connsiteY9028" fmla="*/ 914947 h 6859062"/>
              <a:gd name="connsiteX9029" fmla="*/ 11580131 w 12192185"/>
              <a:gd name="connsiteY9029" fmla="*/ 908682 h 6859062"/>
              <a:gd name="connsiteX9030" fmla="*/ 11582831 w 12192185"/>
              <a:gd name="connsiteY9030" fmla="*/ 894308 h 6859062"/>
              <a:gd name="connsiteX9031" fmla="*/ 11584095 w 12192185"/>
              <a:gd name="connsiteY9031" fmla="*/ 885277 h 6859062"/>
              <a:gd name="connsiteX9032" fmla="*/ 11585897 w 12192185"/>
              <a:gd name="connsiteY9032" fmla="*/ 881931 h 6859062"/>
              <a:gd name="connsiteX9033" fmla="*/ 11592852 w 12192185"/>
              <a:gd name="connsiteY9033" fmla="*/ 877044 h 6859062"/>
              <a:gd name="connsiteX9034" fmla="*/ 11605797 w 12192185"/>
              <a:gd name="connsiteY9034" fmla="*/ 871067 h 6859062"/>
              <a:gd name="connsiteX9035" fmla="*/ 11609853 w 12192185"/>
              <a:gd name="connsiteY9035" fmla="*/ 868216 h 6859062"/>
              <a:gd name="connsiteX9036" fmla="*/ 6161671 w 12192185"/>
              <a:gd name="connsiteY9036" fmla="*/ 867805 h 6859062"/>
              <a:gd name="connsiteX9037" fmla="*/ 6170937 w 12192185"/>
              <a:gd name="connsiteY9037" fmla="*/ 868892 h 6859062"/>
              <a:gd name="connsiteX9038" fmla="*/ 6172085 w 12192185"/>
              <a:gd name="connsiteY9038" fmla="*/ 869839 h 6859062"/>
              <a:gd name="connsiteX9039" fmla="*/ 6165354 w 12192185"/>
              <a:gd name="connsiteY9039" fmla="*/ 869343 h 6859062"/>
              <a:gd name="connsiteX9040" fmla="*/ 6143887 w 12192185"/>
              <a:gd name="connsiteY9040" fmla="*/ 867020 h 6859062"/>
              <a:gd name="connsiteX9041" fmla="*/ 6144201 w 12192185"/>
              <a:gd name="connsiteY9041" fmla="*/ 867781 h 6859062"/>
              <a:gd name="connsiteX9042" fmla="*/ 6135789 w 12192185"/>
              <a:gd name="connsiteY9042" fmla="*/ 867103 h 6859062"/>
              <a:gd name="connsiteX9043" fmla="*/ 10072362 w 12192185"/>
              <a:gd name="connsiteY9043" fmla="*/ 865574 h 6859062"/>
              <a:gd name="connsiteX9044" fmla="*/ 10084509 w 12192185"/>
              <a:gd name="connsiteY9044" fmla="*/ 867343 h 6859062"/>
              <a:gd name="connsiteX9045" fmla="*/ 10087452 w 12192185"/>
              <a:gd name="connsiteY9045" fmla="*/ 865990 h 6859062"/>
              <a:gd name="connsiteX9046" fmla="*/ 10098892 w 12192185"/>
              <a:gd name="connsiteY9046" fmla="*/ 872153 h 6859062"/>
              <a:gd name="connsiteX9047" fmla="*/ 10108102 w 12192185"/>
              <a:gd name="connsiteY9047" fmla="*/ 885195 h 6859062"/>
              <a:gd name="connsiteX9048" fmla="*/ 10111160 w 12192185"/>
              <a:gd name="connsiteY9048" fmla="*/ 900067 h 6859062"/>
              <a:gd name="connsiteX9049" fmla="*/ 10109171 w 12192185"/>
              <a:gd name="connsiteY9049" fmla="*/ 918832 h 6859062"/>
              <a:gd name="connsiteX9050" fmla="*/ 10109202 w 12192185"/>
              <a:gd name="connsiteY9050" fmla="*/ 937951 h 6859062"/>
              <a:gd name="connsiteX9051" fmla="*/ 10115038 w 12192185"/>
              <a:gd name="connsiteY9051" fmla="*/ 957258 h 6859062"/>
              <a:gd name="connsiteX9052" fmla="*/ 10103996 w 12192185"/>
              <a:gd name="connsiteY9052" fmla="*/ 977757 h 6859062"/>
              <a:gd name="connsiteX9053" fmla="*/ 10092836 w 12192185"/>
              <a:gd name="connsiteY9053" fmla="*/ 982032 h 6859062"/>
              <a:gd name="connsiteX9054" fmla="*/ 10075957 w 12192185"/>
              <a:gd name="connsiteY9054" fmla="*/ 983225 h 6859062"/>
              <a:gd name="connsiteX9055" fmla="*/ 10059858 w 12192185"/>
              <a:gd name="connsiteY9055" fmla="*/ 977492 h 6859062"/>
              <a:gd name="connsiteX9056" fmla="*/ 10051287 w 12192185"/>
              <a:gd name="connsiteY9056" fmla="*/ 952302 h 6859062"/>
              <a:gd name="connsiteX9057" fmla="*/ 10051229 w 12192185"/>
              <a:gd name="connsiteY9057" fmla="*/ 944190 h 6859062"/>
              <a:gd name="connsiteX9058" fmla="*/ 10047723 w 12192185"/>
              <a:gd name="connsiteY9058" fmla="*/ 924668 h 6859062"/>
              <a:gd name="connsiteX9059" fmla="*/ 10041904 w 12192185"/>
              <a:gd name="connsiteY9059" fmla="*/ 914922 h 6859062"/>
              <a:gd name="connsiteX9060" fmla="*/ 10046166 w 12192185"/>
              <a:gd name="connsiteY9060" fmla="*/ 887830 h 6859062"/>
              <a:gd name="connsiteX9061" fmla="*/ 10061744 w 12192185"/>
              <a:gd name="connsiteY9061" fmla="*/ 871243 h 6859062"/>
              <a:gd name="connsiteX9062" fmla="*/ 10072362 w 12192185"/>
              <a:gd name="connsiteY9062" fmla="*/ 865574 h 6859062"/>
              <a:gd name="connsiteX9063" fmla="*/ 6142398 w 12192185"/>
              <a:gd name="connsiteY9063" fmla="*/ 863394 h 6859062"/>
              <a:gd name="connsiteX9064" fmla="*/ 6159165 w 12192185"/>
              <a:gd name="connsiteY9064" fmla="*/ 866759 h 6859062"/>
              <a:gd name="connsiteX9065" fmla="*/ 6161671 w 12192185"/>
              <a:gd name="connsiteY9065" fmla="*/ 867805 h 6859062"/>
              <a:gd name="connsiteX9066" fmla="*/ 6154099 w 12192185"/>
              <a:gd name="connsiteY9066" fmla="*/ 866918 h 6859062"/>
              <a:gd name="connsiteX9067" fmla="*/ 6143887 w 12192185"/>
              <a:gd name="connsiteY9067" fmla="*/ 867020 h 6859062"/>
              <a:gd name="connsiteX9068" fmla="*/ 10022309 w 12192185"/>
              <a:gd name="connsiteY9068" fmla="*/ 848986 h 6859062"/>
              <a:gd name="connsiteX9069" fmla="*/ 10022449 w 12192185"/>
              <a:gd name="connsiteY9069" fmla="*/ 849450 h 6859062"/>
              <a:gd name="connsiteX9070" fmla="*/ 10021816 w 12192185"/>
              <a:gd name="connsiteY9070" fmla="*/ 849280 h 6859062"/>
              <a:gd name="connsiteX9071" fmla="*/ 1317955 w 12192185"/>
              <a:gd name="connsiteY9071" fmla="*/ 842634 h 6859062"/>
              <a:gd name="connsiteX9072" fmla="*/ 1327716 w 12192185"/>
              <a:gd name="connsiteY9072" fmla="*/ 843741 h 6859062"/>
              <a:gd name="connsiteX9073" fmla="*/ 1333304 w 12192185"/>
              <a:gd name="connsiteY9073" fmla="*/ 844526 h 6859062"/>
              <a:gd name="connsiteX9074" fmla="*/ 1340140 w 12192185"/>
              <a:gd name="connsiteY9074" fmla="*/ 847040 h 6859062"/>
              <a:gd name="connsiteX9075" fmla="*/ 1345046 w 12192185"/>
              <a:gd name="connsiteY9075" fmla="*/ 850253 h 6859062"/>
              <a:gd name="connsiteX9076" fmla="*/ 1353292 w 12192185"/>
              <a:gd name="connsiteY9076" fmla="*/ 860982 h 6859062"/>
              <a:gd name="connsiteX9077" fmla="*/ 1358741 w 12192185"/>
              <a:gd name="connsiteY9077" fmla="*/ 867426 h 6859062"/>
              <a:gd name="connsiteX9078" fmla="*/ 1359937 w 12192185"/>
              <a:gd name="connsiteY9078" fmla="*/ 870733 h 6859062"/>
              <a:gd name="connsiteX9079" fmla="*/ 1359016 w 12192185"/>
              <a:gd name="connsiteY9079" fmla="*/ 878544 h 6859062"/>
              <a:gd name="connsiteX9080" fmla="*/ 1355152 w 12192185"/>
              <a:gd name="connsiteY9080" fmla="*/ 891159 h 6859062"/>
              <a:gd name="connsiteX9081" fmla="*/ 1354615 w 12192185"/>
              <a:gd name="connsiteY9081" fmla="*/ 895715 h 6859062"/>
              <a:gd name="connsiteX9082" fmla="*/ 1351802 w 12192185"/>
              <a:gd name="connsiteY9082" fmla="*/ 898290 h 6859062"/>
              <a:gd name="connsiteX9083" fmla="*/ 1346153 w 12192185"/>
              <a:gd name="connsiteY9083" fmla="*/ 902513 h 6859062"/>
              <a:gd name="connsiteX9084" fmla="*/ 1344344 w 12192185"/>
              <a:gd name="connsiteY9084" fmla="*/ 904414 h 6859062"/>
              <a:gd name="connsiteX9085" fmla="*/ 1335912 w 12192185"/>
              <a:gd name="connsiteY9085" fmla="*/ 908708 h 6859062"/>
              <a:gd name="connsiteX9086" fmla="*/ 1334179 w 12192185"/>
              <a:gd name="connsiteY9086" fmla="*/ 909958 h 6859062"/>
              <a:gd name="connsiteX9087" fmla="*/ 1310104 w 12192185"/>
              <a:gd name="connsiteY9087" fmla="*/ 904638 h 6859062"/>
              <a:gd name="connsiteX9088" fmla="*/ 1299949 w 12192185"/>
              <a:gd name="connsiteY9088" fmla="*/ 895533 h 6859062"/>
              <a:gd name="connsiteX9089" fmla="*/ 1296324 w 12192185"/>
              <a:gd name="connsiteY9089" fmla="*/ 891547 h 6859062"/>
              <a:gd name="connsiteX9090" fmla="*/ 1294355 w 12192185"/>
              <a:gd name="connsiteY9090" fmla="*/ 886961 h 6859062"/>
              <a:gd name="connsiteX9091" fmla="*/ 1293887 w 12192185"/>
              <a:gd name="connsiteY9091" fmla="*/ 883079 h 6859062"/>
              <a:gd name="connsiteX9092" fmla="*/ 1292577 w 12192185"/>
              <a:gd name="connsiteY9092" fmla="*/ 875139 h 6859062"/>
              <a:gd name="connsiteX9093" fmla="*/ 1291857 w 12192185"/>
              <a:gd name="connsiteY9093" fmla="*/ 872284 h 6859062"/>
              <a:gd name="connsiteX9094" fmla="*/ 1290294 w 12192185"/>
              <a:gd name="connsiteY9094" fmla="*/ 865370 h 6859062"/>
              <a:gd name="connsiteX9095" fmla="*/ 1300206 w 12192185"/>
              <a:gd name="connsiteY9095" fmla="*/ 849635 h 6859062"/>
              <a:gd name="connsiteX9096" fmla="*/ 1308937 w 12192185"/>
              <a:gd name="connsiteY9096" fmla="*/ 846167 h 6859062"/>
              <a:gd name="connsiteX9097" fmla="*/ 1317955 w 12192185"/>
              <a:gd name="connsiteY9097" fmla="*/ 842634 h 6859062"/>
              <a:gd name="connsiteX9098" fmla="*/ 9068586 w 12192185"/>
              <a:gd name="connsiteY9098" fmla="*/ 829016 h 6859062"/>
              <a:gd name="connsiteX9099" fmla="*/ 9075142 w 12192185"/>
              <a:gd name="connsiteY9099" fmla="*/ 832263 h 6859062"/>
              <a:gd name="connsiteX9100" fmla="*/ 9078859 w 12192185"/>
              <a:gd name="connsiteY9100" fmla="*/ 834227 h 6859062"/>
              <a:gd name="connsiteX9101" fmla="*/ 9083011 w 12192185"/>
              <a:gd name="connsiteY9101" fmla="*/ 837720 h 6859062"/>
              <a:gd name="connsiteX9102" fmla="*/ 9085634 w 12192185"/>
              <a:gd name="connsiteY9102" fmla="*/ 841213 h 6859062"/>
              <a:gd name="connsiteX9103" fmla="*/ 9088694 w 12192185"/>
              <a:gd name="connsiteY9103" fmla="*/ 850818 h 6859062"/>
              <a:gd name="connsiteX9104" fmla="*/ 9090880 w 12192185"/>
              <a:gd name="connsiteY9104" fmla="*/ 856713 h 6859062"/>
              <a:gd name="connsiteX9105" fmla="*/ 9090880 w 12192185"/>
              <a:gd name="connsiteY9105" fmla="*/ 859332 h 6859062"/>
              <a:gd name="connsiteX9106" fmla="*/ 9088258 w 12192185"/>
              <a:gd name="connsiteY9106" fmla="*/ 864572 h 6859062"/>
              <a:gd name="connsiteX9107" fmla="*/ 9082355 w 12192185"/>
              <a:gd name="connsiteY9107" fmla="*/ 872431 h 6859062"/>
              <a:gd name="connsiteX9108" fmla="*/ 9080826 w 12192185"/>
              <a:gd name="connsiteY9108" fmla="*/ 875486 h 6859062"/>
              <a:gd name="connsiteX9109" fmla="*/ 9078202 w 12192185"/>
              <a:gd name="connsiteY9109" fmla="*/ 876578 h 6859062"/>
              <a:gd name="connsiteX9110" fmla="*/ 9073176 w 12192185"/>
              <a:gd name="connsiteY9110" fmla="*/ 878106 h 6859062"/>
              <a:gd name="connsiteX9111" fmla="*/ 9071426 w 12192185"/>
              <a:gd name="connsiteY9111" fmla="*/ 878980 h 6859062"/>
              <a:gd name="connsiteX9112" fmla="*/ 9064432 w 12192185"/>
              <a:gd name="connsiteY9112" fmla="*/ 879853 h 6859062"/>
              <a:gd name="connsiteX9113" fmla="*/ 9062901 w 12192185"/>
              <a:gd name="connsiteY9113" fmla="*/ 880289 h 6859062"/>
              <a:gd name="connsiteX9114" fmla="*/ 9047382 w 12192185"/>
              <a:gd name="connsiteY9114" fmla="*/ 870465 h 6859062"/>
              <a:gd name="connsiteX9115" fmla="*/ 9042573 w 12192185"/>
              <a:gd name="connsiteY9115" fmla="*/ 861515 h 6859062"/>
              <a:gd name="connsiteX9116" fmla="*/ 9041043 w 12192185"/>
              <a:gd name="connsiteY9116" fmla="*/ 857804 h 6859062"/>
              <a:gd name="connsiteX9117" fmla="*/ 9040826 w 12192185"/>
              <a:gd name="connsiteY9117" fmla="*/ 854093 h 6859062"/>
              <a:gd name="connsiteX9118" fmla="*/ 9041480 w 12192185"/>
              <a:gd name="connsiteY9118" fmla="*/ 851255 h 6859062"/>
              <a:gd name="connsiteX9119" fmla="*/ 9042573 w 12192185"/>
              <a:gd name="connsiteY9119" fmla="*/ 845360 h 6859062"/>
              <a:gd name="connsiteX9120" fmla="*/ 9042793 w 12192185"/>
              <a:gd name="connsiteY9120" fmla="*/ 843178 h 6859062"/>
              <a:gd name="connsiteX9121" fmla="*/ 9043448 w 12192185"/>
              <a:gd name="connsiteY9121" fmla="*/ 837938 h 6859062"/>
              <a:gd name="connsiteX9122" fmla="*/ 9054378 w 12192185"/>
              <a:gd name="connsiteY9122" fmla="*/ 829425 h 6859062"/>
              <a:gd name="connsiteX9123" fmla="*/ 9061371 w 12192185"/>
              <a:gd name="connsiteY9123" fmla="*/ 829206 h 6859062"/>
              <a:gd name="connsiteX9124" fmla="*/ 9068586 w 12192185"/>
              <a:gd name="connsiteY9124" fmla="*/ 829016 h 6859062"/>
              <a:gd name="connsiteX9125" fmla="*/ 5928837 w 12192185"/>
              <a:gd name="connsiteY9125" fmla="*/ 817844 h 6859062"/>
              <a:gd name="connsiteX9126" fmla="*/ 5924450 w 12192185"/>
              <a:gd name="connsiteY9126" fmla="*/ 819646 h 6859062"/>
              <a:gd name="connsiteX9127" fmla="*/ 5920063 w 12192185"/>
              <a:gd name="connsiteY9127" fmla="*/ 821450 h 6859062"/>
              <a:gd name="connsiteX9128" fmla="*/ 5918605 w 12192185"/>
              <a:gd name="connsiteY9128" fmla="*/ 821341 h 6859062"/>
              <a:gd name="connsiteX9129" fmla="*/ 9250954 w 12192185"/>
              <a:gd name="connsiteY9129" fmla="*/ 817680 h 6859062"/>
              <a:gd name="connsiteX9130" fmla="*/ 9260496 w 12192185"/>
              <a:gd name="connsiteY9130" fmla="*/ 826545 h 6859062"/>
              <a:gd name="connsiteX9131" fmla="*/ 9262403 w 12192185"/>
              <a:gd name="connsiteY9131" fmla="*/ 830028 h 6859062"/>
              <a:gd name="connsiteX9132" fmla="*/ 9268447 w 12192185"/>
              <a:gd name="connsiteY9132" fmla="*/ 837626 h 6859062"/>
              <a:gd name="connsiteX9133" fmla="*/ 9273216 w 12192185"/>
              <a:gd name="connsiteY9133" fmla="*/ 840476 h 6859062"/>
              <a:gd name="connsiteX9134" fmla="*/ 9277669 w 12192185"/>
              <a:gd name="connsiteY9134" fmla="*/ 853140 h 6859062"/>
              <a:gd name="connsiteX9135" fmla="*/ 9274807 w 12192185"/>
              <a:gd name="connsiteY9135" fmla="*/ 863905 h 6859062"/>
              <a:gd name="connsiteX9136" fmla="*/ 9265902 w 12192185"/>
              <a:gd name="connsiteY9136" fmla="*/ 870870 h 6859062"/>
              <a:gd name="connsiteX9137" fmla="*/ 9264948 w 12192185"/>
              <a:gd name="connsiteY9137" fmla="*/ 872136 h 6859062"/>
              <a:gd name="connsiteX9138" fmla="*/ 9258588 w 12192185"/>
              <a:gd name="connsiteY9138" fmla="*/ 872136 h 6859062"/>
              <a:gd name="connsiteX9139" fmla="*/ 9251590 w 12192185"/>
              <a:gd name="connsiteY9139" fmla="*/ 868654 h 6859062"/>
              <a:gd name="connsiteX9140" fmla="*/ 9246820 w 12192185"/>
              <a:gd name="connsiteY9140" fmla="*/ 862955 h 6859062"/>
              <a:gd name="connsiteX9141" fmla="*/ 9243321 w 12192185"/>
              <a:gd name="connsiteY9141" fmla="*/ 854406 h 6859062"/>
              <a:gd name="connsiteX9142" fmla="*/ 9238869 w 12192185"/>
              <a:gd name="connsiteY9142" fmla="*/ 846175 h 6859062"/>
              <a:gd name="connsiteX9143" fmla="*/ 9231872 w 12192185"/>
              <a:gd name="connsiteY9143" fmla="*/ 839209 h 6859062"/>
              <a:gd name="connsiteX9144" fmla="*/ 9231873 w 12192185"/>
              <a:gd name="connsiteY9144" fmla="*/ 827812 h 6859062"/>
              <a:gd name="connsiteX9145" fmla="*/ 9235689 w 12192185"/>
              <a:gd name="connsiteY9145" fmla="*/ 823379 h 6859062"/>
              <a:gd name="connsiteX9146" fmla="*/ 9242685 w 12192185"/>
              <a:gd name="connsiteY9146" fmla="*/ 818946 h 6859062"/>
              <a:gd name="connsiteX9147" fmla="*/ 9250954 w 12192185"/>
              <a:gd name="connsiteY9147" fmla="*/ 817680 h 6859062"/>
              <a:gd name="connsiteX9148" fmla="*/ 8102504 w 12192185"/>
              <a:gd name="connsiteY9148" fmla="*/ 812227 h 6859062"/>
              <a:gd name="connsiteX9149" fmla="*/ 8121234 w 12192185"/>
              <a:gd name="connsiteY9149" fmla="*/ 824083 h 6859062"/>
              <a:gd name="connsiteX9150" fmla="*/ 8127037 w 12192185"/>
              <a:gd name="connsiteY9150" fmla="*/ 834885 h 6859062"/>
              <a:gd name="connsiteX9151" fmla="*/ 8128883 w 12192185"/>
              <a:gd name="connsiteY9151" fmla="*/ 839364 h 6859062"/>
              <a:gd name="connsiteX9152" fmla="*/ 8129147 w 12192185"/>
              <a:gd name="connsiteY9152" fmla="*/ 843842 h 6859062"/>
              <a:gd name="connsiteX9153" fmla="*/ 8128356 w 12192185"/>
              <a:gd name="connsiteY9153" fmla="*/ 847268 h 6859062"/>
              <a:gd name="connsiteX9154" fmla="*/ 8127037 w 12192185"/>
              <a:gd name="connsiteY9154" fmla="*/ 854380 h 6859062"/>
              <a:gd name="connsiteX9155" fmla="*/ 8126773 w 12192185"/>
              <a:gd name="connsiteY9155" fmla="*/ 857015 h 6859062"/>
              <a:gd name="connsiteX9156" fmla="*/ 8125982 w 12192185"/>
              <a:gd name="connsiteY9156" fmla="*/ 863338 h 6859062"/>
              <a:gd name="connsiteX9157" fmla="*/ 8112792 w 12192185"/>
              <a:gd name="connsiteY9157" fmla="*/ 873613 h 6859062"/>
              <a:gd name="connsiteX9158" fmla="*/ 8104350 w 12192185"/>
              <a:gd name="connsiteY9158" fmla="*/ 873877 h 6859062"/>
              <a:gd name="connsiteX9159" fmla="*/ 8087732 w 12192185"/>
              <a:gd name="connsiteY9159" fmla="*/ 870188 h 6859062"/>
              <a:gd name="connsiteX9160" fmla="*/ 8083247 w 12192185"/>
              <a:gd name="connsiteY9160" fmla="*/ 867817 h 6859062"/>
              <a:gd name="connsiteX9161" fmla="*/ 8078235 w 12192185"/>
              <a:gd name="connsiteY9161" fmla="*/ 863602 h 6859062"/>
              <a:gd name="connsiteX9162" fmla="*/ 8075070 w 12192185"/>
              <a:gd name="connsiteY9162" fmla="*/ 859386 h 6859062"/>
              <a:gd name="connsiteX9163" fmla="*/ 8071377 w 12192185"/>
              <a:gd name="connsiteY9163" fmla="*/ 847795 h 6859062"/>
              <a:gd name="connsiteX9164" fmla="*/ 8068738 w 12192185"/>
              <a:gd name="connsiteY9164" fmla="*/ 840681 h 6859062"/>
              <a:gd name="connsiteX9165" fmla="*/ 8068739 w 12192185"/>
              <a:gd name="connsiteY9165" fmla="*/ 837520 h 6859062"/>
              <a:gd name="connsiteX9166" fmla="*/ 8071904 w 12192185"/>
              <a:gd name="connsiteY9166" fmla="*/ 831196 h 6859062"/>
              <a:gd name="connsiteX9167" fmla="*/ 8079027 w 12192185"/>
              <a:gd name="connsiteY9167" fmla="*/ 821712 h 6859062"/>
              <a:gd name="connsiteX9168" fmla="*/ 8080873 w 12192185"/>
              <a:gd name="connsiteY9168" fmla="*/ 818024 h 6859062"/>
              <a:gd name="connsiteX9169" fmla="*/ 8084038 w 12192185"/>
              <a:gd name="connsiteY9169" fmla="*/ 816707 h 6859062"/>
              <a:gd name="connsiteX9170" fmla="*/ 8090106 w 12192185"/>
              <a:gd name="connsiteY9170" fmla="*/ 814862 h 6859062"/>
              <a:gd name="connsiteX9171" fmla="*/ 8092216 w 12192185"/>
              <a:gd name="connsiteY9171" fmla="*/ 813809 h 6859062"/>
              <a:gd name="connsiteX9172" fmla="*/ 8100657 w 12192185"/>
              <a:gd name="connsiteY9172" fmla="*/ 812755 h 6859062"/>
              <a:gd name="connsiteX9173" fmla="*/ 8102504 w 12192185"/>
              <a:gd name="connsiteY9173" fmla="*/ 812227 h 6859062"/>
              <a:gd name="connsiteX9174" fmla="*/ 1836633 w 12192185"/>
              <a:gd name="connsiteY9174" fmla="*/ 811775 h 6859062"/>
              <a:gd name="connsiteX9175" fmla="*/ 1860322 w 12192185"/>
              <a:gd name="connsiteY9175" fmla="*/ 819494 h 6859062"/>
              <a:gd name="connsiteX9176" fmla="*/ 1864636 w 12192185"/>
              <a:gd name="connsiteY9176" fmla="*/ 827954 h 6859062"/>
              <a:gd name="connsiteX9177" fmla="*/ 1866340 w 12192185"/>
              <a:gd name="connsiteY9177" fmla="*/ 831512 h 6859062"/>
              <a:gd name="connsiteX9178" fmla="*/ 1871792 w 12192185"/>
              <a:gd name="connsiteY9178" fmla="*/ 840814 h 6859062"/>
              <a:gd name="connsiteX9179" fmla="*/ 1874635 w 12192185"/>
              <a:gd name="connsiteY9179" fmla="*/ 845212 h 6859062"/>
              <a:gd name="connsiteX9180" fmla="*/ 1876536 w 12192185"/>
              <a:gd name="connsiteY9180" fmla="*/ 851624 h 6859062"/>
              <a:gd name="connsiteX9181" fmla="*/ 1876216 w 12192185"/>
              <a:gd name="connsiteY9181" fmla="*/ 858835 h 6859062"/>
              <a:gd name="connsiteX9182" fmla="*/ 1873555 w 12192185"/>
              <a:gd name="connsiteY9182" fmla="*/ 876914 h 6859062"/>
              <a:gd name="connsiteX9183" fmla="*/ 1853312 w 12192185"/>
              <a:gd name="connsiteY9183" fmla="*/ 903017 h 6859062"/>
              <a:gd name="connsiteX9184" fmla="*/ 1850458 w 12192185"/>
              <a:gd name="connsiteY9184" fmla="*/ 903214 h 6859062"/>
              <a:gd name="connsiteX9185" fmla="*/ 1838094 w 12192185"/>
              <a:gd name="connsiteY9185" fmla="*/ 906014 h 6859062"/>
              <a:gd name="connsiteX9186" fmla="*/ 1834602 w 12192185"/>
              <a:gd name="connsiteY9186" fmla="*/ 905605 h 6859062"/>
              <a:gd name="connsiteX9187" fmla="*/ 1825165 w 12192185"/>
              <a:gd name="connsiteY9187" fmla="*/ 906095 h 6859062"/>
              <a:gd name="connsiteX9188" fmla="*/ 1820062 w 12192185"/>
              <a:gd name="connsiteY9188" fmla="*/ 905852 h 6859062"/>
              <a:gd name="connsiteX9189" fmla="*/ 1815605 w 12192185"/>
              <a:gd name="connsiteY9189" fmla="*/ 901618 h 6859062"/>
              <a:gd name="connsiteX9190" fmla="*/ 1800818 w 12192185"/>
              <a:gd name="connsiteY9190" fmla="*/ 891934 h 6859062"/>
              <a:gd name="connsiteX9191" fmla="*/ 1793179 w 12192185"/>
              <a:gd name="connsiteY9191" fmla="*/ 884677 h 6859062"/>
              <a:gd name="connsiteX9192" fmla="*/ 1791578 w 12192185"/>
              <a:gd name="connsiteY9192" fmla="*/ 880247 h 6859062"/>
              <a:gd name="connsiteX9193" fmla="*/ 1791671 w 12192185"/>
              <a:gd name="connsiteY9193" fmla="*/ 868941 h 6859062"/>
              <a:gd name="connsiteX9194" fmla="*/ 1790974 w 12192185"/>
              <a:gd name="connsiteY9194" fmla="*/ 850824 h 6859062"/>
              <a:gd name="connsiteX9195" fmla="*/ 1793274 w 12192185"/>
              <a:gd name="connsiteY9195" fmla="*/ 843312 h 6859062"/>
              <a:gd name="connsiteX9196" fmla="*/ 1798163 w 12192185"/>
              <a:gd name="connsiteY9196" fmla="*/ 834866 h 6859062"/>
              <a:gd name="connsiteX9197" fmla="*/ 1803247 w 12192185"/>
              <a:gd name="connsiteY9197" fmla="*/ 829271 h 6859062"/>
              <a:gd name="connsiteX9198" fmla="*/ 1824669 w 12192185"/>
              <a:gd name="connsiteY9198" fmla="*/ 815683 h 6859062"/>
              <a:gd name="connsiteX9199" fmla="*/ 1836633 w 12192185"/>
              <a:gd name="connsiteY9199" fmla="*/ 811775 h 6859062"/>
              <a:gd name="connsiteX9200" fmla="*/ 6219183 w 12192185"/>
              <a:gd name="connsiteY9200" fmla="*/ 810045 h 6859062"/>
              <a:gd name="connsiteX9201" fmla="*/ 6220340 w 12192185"/>
              <a:gd name="connsiteY9201" fmla="*/ 815978 h 6859062"/>
              <a:gd name="connsiteX9202" fmla="*/ 6214150 w 12192185"/>
              <a:gd name="connsiteY9202" fmla="*/ 813394 h 6859062"/>
              <a:gd name="connsiteX9203" fmla="*/ 6219183 w 12192185"/>
              <a:gd name="connsiteY9203" fmla="*/ 810045 h 6859062"/>
              <a:gd name="connsiteX9204" fmla="*/ 3158128 w 12192185"/>
              <a:gd name="connsiteY9204" fmla="*/ 801511 h 6859062"/>
              <a:gd name="connsiteX9205" fmla="*/ 3158128 w 12192185"/>
              <a:gd name="connsiteY9205" fmla="*/ 801512 h 6859062"/>
              <a:gd name="connsiteX9206" fmla="*/ 3175559 w 12192185"/>
              <a:gd name="connsiteY9206" fmla="*/ 812545 h 6859062"/>
              <a:gd name="connsiteX9207" fmla="*/ 3180960 w 12192185"/>
              <a:gd name="connsiteY9207" fmla="*/ 822597 h 6859062"/>
              <a:gd name="connsiteX9208" fmla="*/ 3182677 w 12192185"/>
              <a:gd name="connsiteY9208" fmla="*/ 826764 h 6859062"/>
              <a:gd name="connsiteX9209" fmla="*/ 3182922 w 12192185"/>
              <a:gd name="connsiteY9209" fmla="*/ 830932 h 6859062"/>
              <a:gd name="connsiteX9210" fmla="*/ 3182187 w 12192185"/>
              <a:gd name="connsiteY9210" fmla="*/ 834119 h 6859062"/>
              <a:gd name="connsiteX9211" fmla="*/ 3180959 w 12192185"/>
              <a:gd name="connsiteY9211" fmla="*/ 840738 h 6859062"/>
              <a:gd name="connsiteX9212" fmla="*/ 3180713 w 12192185"/>
              <a:gd name="connsiteY9212" fmla="*/ 843190 h 6859062"/>
              <a:gd name="connsiteX9213" fmla="*/ 3179976 w 12192185"/>
              <a:gd name="connsiteY9213" fmla="*/ 849074 h 6859062"/>
              <a:gd name="connsiteX9214" fmla="*/ 3167705 w 12192185"/>
              <a:gd name="connsiteY9214" fmla="*/ 858635 h 6859062"/>
              <a:gd name="connsiteX9215" fmla="*/ 3159847 w 12192185"/>
              <a:gd name="connsiteY9215" fmla="*/ 858881 h 6859062"/>
              <a:gd name="connsiteX9216" fmla="*/ 3151747 w 12192185"/>
              <a:gd name="connsiteY9216" fmla="*/ 859095 h 6859062"/>
              <a:gd name="connsiteX9217" fmla="*/ 3151746 w 12192185"/>
              <a:gd name="connsiteY9217" fmla="*/ 859094 h 6859062"/>
              <a:gd name="connsiteX9218" fmla="*/ 3144383 w 12192185"/>
              <a:gd name="connsiteY9218" fmla="*/ 855448 h 6859062"/>
              <a:gd name="connsiteX9219" fmla="*/ 3140208 w 12192185"/>
              <a:gd name="connsiteY9219" fmla="*/ 853241 h 6859062"/>
              <a:gd name="connsiteX9220" fmla="*/ 3135545 w 12192185"/>
              <a:gd name="connsiteY9220" fmla="*/ 849319 h 6859062"/>
              <a:gd name="connsiteX9221" fmla="*/ 3132598 w 12192185"/>
              <a:gd name="connsiteY9221" fmla="*/ 845396 h 6859062"/>
              <a:gd name="connsiteX9222" fmla="*/ 3129161 w 12192185"/>
              <a:gd name="connsiteY9222" fmla="*/ 834609 h 6859062"/>
              <a:gd name="connsiteX9223" fmla="*/ 3126708 w 12192185"/>
              <a:gd name="connsiteY9223" fmla="*/ 827989 h 6859062"/>
              <a:gd name="connsiteX9224" fmla="*/ 3126708 w 12192185"/>
              <a:gd name="connsiteY9224" fmla="*/ 825047 h 6859062"/>
              <a:gd name="connsiteX9225" fmla="*/ 3129652 w 12192185"/>
              <a:gd name="connsiteY9225" fmla="*/ 819163 h 6859062"/>
              <a:gd name="connsiteX9226" fmla="*/ 3136279 w 12192185"/>
              <a:gd name="connsiteY9226" fmla="*/ 810337 h 6859062"/>
              <a:gd name="connsiteX9227" fmla="*/ 3137999 w 12192185"/>
              <a:gd name="connsiteY9227" fmla="*/ 806904 h 6859062"/>
              <a:gd name="connsiteX9228" fmla="*/ 3140943 w 12192185"/>
              <a:gd name="connsiteY9228" fmla="*/ 805679 h 6859062"/>
              <a:gd name="connsiteX9229" fmla="*/ 3146590 w 12192185"/>
              <a:gd name="connsiteY9229" fmla="*/ 803963 h 6859062"/>
              <a:gd name="connsiteX9230" fmla="*/ 3148556 w 12192185"/>
              <a:gd name="connsiteY9230" fmla="*/ 802983 h 6859062"/>
              <a:gd name="connsiteX9231" fmla="*/ 3156407 w 12192185"/>
              <a:gd name="connsiteY9231" fmla="*/ 802001 h 6859062"/>
              <a:gd name="connsiteX9232" fmla="*/ 3158128 w 12192185"/>
              <a:gd name="connsiteY9232" fmla="*/ 801511 h 6859062"/>
              <a:gd name="connsiteX9233" fmla="*/ 10975865 w 12192185"/>
              <a:gd name="connsiteY9233" fmla="*/ 789481 h 6859062"/>
              <a:gd name="connsiteX9234" fmla="*/ 10980273 w 12192185"/>
              <a:gd name="connsiteY9234" fmla="*/ 789922 h 6859062"/>
              <a:gd name="connsiteX9235" fmla="*/ 10988303 w 12192185"/>
              <a:gd name="connsiteY9235" fmla="*/ 791541 h 6859062"/>
              <a:gd name="connsiteX9236" fmla="*/ 10991347 w 12192185"/>
              <a:gd name="connsiteY9236" fmla="*/ 791636 h 6859062"/>
              <a:gd name="connsiteX9237" fmla="*/ 11001593 w 12192185"/>
              <a:gd name="connsiteY9237" fmla="*/ 795609 h 6859062"/>
              <a:gd name="connsiteX9238" fmla="*/ 11004016 w 12192185"/>
              <a:gd name="connsiteY9238" fmla="*/ 796141 h 6859062"/>
              <a:gd name="connsiteX9239" fmla="*/ 11018053 w 12192185"/>
              <a:gd name="connsiteY9239" fmla="*/ 821097 h 6859062"/>
              <a:gd name="connsiteX9240" fmla="*/ 11018036 w 12192185"/>
              <a:gd name="connsiteY9240" fmla="*/ 836937 h 6859062"/>
              <a:gd name="connsiteX9241" fmla="*/ 11017392 w 12192185"/>
              <a:gd name="connsiteY9241" fmla="*/ 843162 h 6859062"/>
              <a:gd name="connsiteX9242" fmla="*/ 11014948 w 12192185"/>
              <a:gd name="connsiteY9242" fmla="*/ 848417 h 6859062"/>
              <a:gd name="connsiteX9243" fmla="*/ 11011950 w 12192185"/>
              <a:gd name="connsiteY9243" fmla="*/ 851827 h 6859062"/>
              <a:gd name="connsiteX9244" fmla="*/ 11006091 w 12192185"/>
              <a:gd name="connsiteY9244" fmla="*/ 859109 h 6859062"/>
              <a:gd name="connsiteX9245" fmla="*/ 11004177 w 12192185"/>
              <a:gd name="connsiteY9245" fmla="*/ 861943 h 6859062"/>
              <a:gd name="connsiteX9246" fmla="*/ 10999404 w 12192185"/>
              <a:gd name="connsiteY9246" fmla="*/ 868649 h 6859062"/>
              <a:gd name="connsiteX9247" fmla="*/ 10978109 w 12192185"/>
              <a:gd name="connsiteY9247" fmla="*/ 872253 h 6859062"/>
              <a:gd name="connsiteX9248" fmla="*/ 10968347 w 12192185"/>
              <a:gd name="connsiteY9248" fmla="*/ 867382 h 6859062"/>
              <a:gd name="connsiteX9249" fmla="*/ 10951707 w 12192185"/>
              <a:gd name="connsiteY9249" fmla="*/ 853006 h 6859062"/>
              <a:gd name="connsiteX9250" fmla="*/ 10948061 w 12192185"/>
              <a:gd name="connsiteY9250" fmla="*/ 847563 h 6859062"/>
              <a:gd name="connsiteX9251" fmla="*/ 10944943 w 12192185"/>
              <a:gd name="connsiteY9251" fmla="*/ 839698 h 6859062"/>
              <a:gd name="connsiteX9252" fmla="*/ 10943925 w 12192185"/>
              <a:gd name="connsiteY9252" fmla="*/ 832965 h 6859062"/>
              <a:gd name="connsiteX9253" fmla="*/ 10946827 w 12192185"/>
              <a:gd name="connsiteY9253" fmla="*/ 817519 h 6859062"/>
              <a:gd name="connsiteX9254" fmla="*/ 10948185 w 12192185"/>
              <a:gd name="connsiteY9254" fmla="*/ 807814 h 6859062"/>
              <a:gd name="connsiteX9255" fmla="*/ 10950122 w 12192185"/>
              <a:gd name="connsiteY9255" fmla="*/ 804218 h 6859062"/>
              <a:gd name="connsiteX9256" fmla="*/ 10957596 w 12192185"/>
              <a:gd name="connsiteY9256" fmla="*/ 798967 h 6859062"/>
              <a:gd name="connsiteX9257" fmla="*/ 10971507 w 12192185"/>
              <a:gd name="connsiteY9257" fmla="*/ 792544 h 6859062"/>
              <a:gd name="connsiteX9258" fmla="*/ 10975865 w 12192185"/>
              <a:gd name="connsiteY9258" fmla="*/ 789481 h 6859062"/>
              <a:gd name="connsiteX9259" fmla="*/ 9626745 w 12192185"/>
              <a:gd name="connsiteY9259" fmla="*/ 786684 h 6859062"/>
              <a:gd name="connsiteX9260" fmla="*/ 9626595 w 12192185"/>
              <a:gd name="connsiteY9260" fmla="*/ 786936 h 6859062"/>
              <a:gd name="connsiteX9261" fmla="*/ 9626421 w 12192185"/>
              <a:gd name="connsiteY9261" fmla="*/ 786762 h 6859062"/>
              <a:gd name="connsiteX9262" fmla="*/ 2719876 w 12192185"/>
              <a:gd name="connsiteY9262" fmla="*/ 777613 h 6859062"/>
              <a:gd name="connsiteX9263" fmla="*/ 2738602 w 12192185"/>
              <a:gd name="connsiteY9263" fmla="*/ 789469 h 6859062"/>
              <a:gd name="connsiteX9264" fmla="*/ 2744405 w 12192185"/>
              <a:gd name="connsiteY9264" fmla="*/ 800270 h 6859062"/>
              <a:gd name="connsiteX9265" fmla="*/ 2746252 w 12192185"/>
              <a:gd name="connsiteY9265" fmla="*/ 804749 h 6859062"/>
              <a:gd name="connsiteX9266" fmla="*/ 2746517 w 12192185"/>
              <a:gd name="connsiteY9266" fmla="*/ 809228 h 6859062"/>
              <a:gd name="connsiteX9267" fmla="*/ 2745725 w 12192185"/>
              <a:gd name="connsiteY9267" fmla="*/ 812653 h 6859062"/>
              <a:gd name="connsiteX9268" fmla="*/ 2744406 w 12192185"/>
              <a:gd name="connsiteY9268" fmla="*/ 819766 h 6859062"/>
              <a:gd name="connsiteX9269" fmla="*/ 2744142 w 12192185"/>
              <a:gd name="connsiteY9269" fmla="*/ 822401 h 6859062"/>
              <a:gd name="connsiteX9270" fmla="*/ 2743352 w 12192185"/>
              <a:gd name="connsiteY9270" fmla="*/ 828724 h 6859062"/>
              <a:gd name="connsiteX9271" fmla="*/ 2730161 w 12192185"/>
              <a:gd name="connsiteY9271" fmla="*/ 838998 h 6859062"/>
              <a:gd name="connsiteX9272" fmla="*/ 2721719 w 12192185"/>
              <a:gd name="connsiteY9272" fmla="*/ 839262 h 6859062"/>
              <a:gd name="connsiteX9273" fmla="*/ 2705102 w 12192185"/>
              <a:gd name="connsiteY9273" fmla="*/ 835573 h 6859062"/>
              <a:gd name="connsiteX9274" fmla="*/ 2700617 w 12192185"/>
              <a:gd name="connsiteY9274" fmla="*/ 833203 h 6859062"/>
              <a:gd name="connsiteX9275" fmla="*/ 2695605 w 12192185"/>
              <a:gd name="connsiteY9275" fmla="*/ 828987 h 6859062"/>
              <a:gd name="connsiteX9276" fmla="*/ 2692440 w 12192185"/>
              <a:gd name="connsiteY9276" fmla="*/ 824772 h 6859062"/>
              <a:gd name="connsiteX9277" fmla="*/ 2688745 w 12192185"/>
              <a:gd name="connsiteY9277" fmla="*/ 813180 h 6859062"/>
              <a:gd name="connsiteX9278" fmla="*/ 2686108 w 12192185"/>
              <a:gd name="connsiteY9278" fmla="*/ 806066 h 6859062"/>
              <a:gd name="connsiteX9279" fmla="*/ 2686109 w 12192185"/>
              <a:gd name="connsiteY9279" fmla="*/ 802905 h 6859062"/>
              <a:gd name="connsiteX9280" fmla="*/ 2689275 w 12192185"/>
              <a:gd name="connsiteY9280" fmla="*/ 796583 h 6859062"/>
              <a:gd name="connsiteX9281" fmla="*/ 2696397 w 12192185"/>
              <a:gd name="connsiteY9281" fmla="*/ 787097 h 6859062"/>
              <a:gd name="connsiteX9282" fmla="*/ 2698243 w 12192185"/>
              <a:gd name="connsiteY9282" fmla="*/ 783410 h 6859062"/>
              <a:gd name="connsiteX9283" fmla="*/ 2701407 w 12192185"/>
              <a:gd name="connsiteY9283" fmla="*/ 782092 h 6859062"/>
              <a:gd name="connsiteX9284" fmla="*/ 2707476 w 12192185"/>
              <a:gd name="connsiteY9284" fmla="*/ 780248 h 6859062"/>
              <a:gd name="connsiteX9285" fmla="*/ 2709587 w 12192185"/>
              <a:gd name="connsiteY9285" fmla="*/ 779194 h 6859062"/>
              <a:gd name="connsiteX9286" fmla="*/ 2718030 w 12192185"/>
              <a:gd name="connsiteY9286" fmla="*/ 778140 h 6859062"/>
              <a:gd name="connsiteX9287" fmla="*/ 2719876 w 12192185"/>
              <a:gd name="connsiteY9287" fmla="*/ 777613 h 6859062"/>
              <a:gd name="connsiteX9288" fmla="*/ 8879049 w 12192185"/>
              <a:gd name="connsiteY9288" fmla="*/ 770345 h 6859062"/>
              <a:gd name="connsiteX9289" fmla="*/ 8885606 w 12192185"/>
              <a:gd name="connsiteY9289" fmla="*/ 773591 h 6859062"/>
              <a:gd name="connsiteX9290" fmla="*/ 8889322 w 12192185"/>
              <a:gd name="connsiteY9290" fmla="*/ 775556 h 6859062"/>
              <a:gd name="connsiteX9291" fmla="*/ 8893475 w 12192185"/>
              <a:gd name="connsiteY9291" fmla="*/ 779050 h 6859062"/>
              <a:gd name="connsiteX9292" fmla="*/ 8896098 w 12192185"/>
              <a:gd name="connsiteY9292" fmla="*/ 782542 h 6859062"/>
              <a:gd name="connsiteX9293" fmla="*/ 8899159 w 12192185"/>
              <a:gd name="connsiteY9293" fmla="*/ 792147 h 6859062"/>
              <a:gd name="connsiteX9294" fmla="*/ 8901344 w 12192185"/>
              <a:gd name="connsiteY9294" fmla="*/ 798041 h 6859062"/>
              <a:gd name="connsiteX9295" fmla="*/ 8901344 w 12192185"/>
              <a:gd name="connsiteY9295" fmla="*/ 800661 h 6859062"/>
              <a:gd name="connsiteX9296" fmla="*/ 8898721 w 12192185"/>
              <a:gd name="connsiteY9296" fmla="*/ 805901 h 6859062"/>
              <a:gd name="connsiteX9297" fmla="*/ 8892820 w 12192185"/>
              <a:gd name="connsiteY9297" fmla="*/ 813759 h 6859062"/>
              <a:gd name="connsiteX9298" fmla="*/ 8891290 w 12192185"/>
              <a:gd name="connsiteY9298" fmla="*/ 816815 h 6859062"/>
              <a:gd name="connsiteX9299" fmla="*/ 8888666 w 12192185"/>
              <a:gd name="connsiteY9299" fmla="*/ 817908 h 6859062"/>
              <a:gd name="connsiteX9300" fmla="*/ 8883639 w 12192185"/>
              <a:gd name="connsiteY9300" fmla="*/ 819435 h 6859062"/>
              <a:gd name="connsiteX9301" fmla="*/ 8881891 w 12192185"/>
              <a:gd name="connsiteY9301" fmla="*/ 820308 h 6859062"/>
              <a:gd name="connsiteX9302" fmla="*/ 8874896 w 12192185"/>
              <a:gd name="connsiteY9302" fmla="*/ 821181 h 6859062"/>
              <a:gd name="connsiteX9303" fmla="*/ 8873365 w 12192185"/>
              <a:gd name="connsiteY9303" fmla="*/ 821618 h 6859062"/>
              <a:gd name="connsiteX9304" fmla="*/ 8857847 w 12192185"/>
              <a:gd name="connsiteY9304" fmla="*/ 811794 h 6859062"/>
              <a:gd name="connsiteX9305" fmla="*/ 8853037 w 12192185"/>
              <a:gd name="connsiteY9305" fmla="*/ 802845 h 6859062"/>
              <a:gd name="connsiteX9306" fmla="*/ 8851507 w 12192185"/>
              <a:gd name="connsiteY9306" fmla="*/ 799133 h 6859062"/>
              <a:gd name="connsiteX9307" fmla="*/ 8851289 w 12192185"/>
              <a:gd name="connsiteY9307" fmla="*/ 795421 h 6859062"/>
              <a:gd name="connsiteX9308" fmla="*/ 8851945 w 12192185"/>
              <a:gd name="connsiteY9308" fmla="*/ 792584 h 6859062"/>
              <a:gd name="connsiteX9309" fmla="*/ 8853038 w 12192185"/>
              <a:gd name="connsiteY9309" fmla="*/ 786690 h 6859062"/>
              <a:gd name="connsiteX9310" fmla="*/ 8853256 w 12192185"/>
              <a:gd name="connsiteY9310" fmla="*/ 784507 h 6859062"/>
              <a:gd name="connsiteX9311" fmla="*/ 8853913 w 12192185"/>
              <a:gd name="connsiteY9311" fmla="*/ 779267 h 6859062"/>
              <a:gd name="connsiteX9312" fmla="*/ 8864841 w 12192185"/>
              <a:gd name="connsiteY9312" fmla="*/ 770753 h 6859062"/>
              <a:gd name="connsiteX9313" fmla="*/ 8871836 w 12192185"/>
              <a:gd name="connsiteY9313" fmla="*/ 770535 h 6859062"/>
              <a:gd name="connsiteX9314" fmla="*/ 8879049 w 12192185"/>
              <a:gd name="connsiteY9314" fmla="*/ 770345 h 6859062"/>
              <a:gd name="connsiteX9315" fmla="*/ 8292402 w 12192185"/>
              <a:gd name="connsiteY9315" fmla="*/ 770215 h 6859062"/>
              <a:gd name="connsiteX9316" fmla="*/ 8293474 w 12192185"/>
              <a:gd name="connsiteY9316" fmla="*/ 771638 h 6859062"/>
              <a:gd name="connsiteX9317" fmla="*/ 8303475 w 12192185"/>
              <a:gd name="connsiteY9317" fmla="*/ 779460 h 6859062"/>
              <a:gd name="connsiteX9318" fmla="*/ 8306689 w 12192185"/>
              <a:gd name="connsiteY9318" fmla="*/ 791550 h 6859062"/>
              <a:gd name="connsiteX9319" fmla="*/ 8301689 w 12192185"/>
              <a:gd name="connsiteY9319" fmla="*/ 805772 h 6859062"/>
              <a:gd name="connsiteX9320" fmla="*/ 8296331 w 12192185"/>
              <a:gd name="connsiteY9320" fmla="*/ 808973 h 6859062"/>
              <a:gd name="connsiteX9321" fmla="*/ 8289545 w 12192185"/>
              <a:gd name="connsiteY9321" fmla="*/ 817506 h 6859062"/>
              <a:gd name="connsiteX9322" fmla="*/ 8287402 w 12192185"/>
              <a:gd name="connsiteY9322" fmla="*/ 821417 h 6859062"/>
              <a:gd name="connsiteX9323" fmla="*/ 8276687 w 12192185"/>
              <a:gd name="connsiteY9323" fmla="*/ 831373 h 6859062"/>
              <a:gd name="connsiteX9324" fmla="*/ 8267401 w 12192185"/>
              <a:gd name="connsiteY9324" fmla="*/ 829951 h 6859062"/>
              <a:gd name="connsiteX9325" fmla="*/ 8259543 w 12192185"/>
              <a:gd name="connsiteY9325" fmla="*/ 824973 h 6859062"/>
              <a:gd name="connsiteX9326" fmla="*/ 8255256 w 12192185"/>
              <a:gd name="connsiteY9326" fmla="*/ 819995 h 6859062"/>
              <a:gd name="connsiteX9327" fmla="*/ 8255257 w 12192185"/>
              <a:gd name="connsiteY9327" fmla="*/ 807195 h 6859062"/>
              <a:gd name="connsiteX9328" fmla="*/ 8263115 w 12192185"/>
              <a:gd name="connsiteY9328" fmla="*/ 799372 h 6859062"/>
              <a:gd name="connsiteX9329" fmla="*/ 8268115 w 12192185"/>
              <a:gd name="connsiteY9329" fmla="*/ 790127 h 6859062"/>
              <a:gd name="connsiteX9330" fmla="*/ 8272043 w 12192185"/>
              <a:gd name="connsiteY9330" fmla="*/ 780526 h 6859062"/>
              <a:gd name="connsiteX9331" fmla="*/ 8277401 w 12192185"/>
              <a:gd name="connsiteY9331" fmla="*/ 774127 h 6859062"/>
              <a:gd name="connsiteX9332" fmla="*/ 8285259 w 12192185"/>
              <a:gd name="connsiteY9332" fmla="*/ 770216 h 6859062"/>
              <a:gd name="connsiteX9333" fmla="*/ 8292402 w 12192185"/>
              <a:gd name="connsiteY9333" fmla="*/ 770215 h 6859062"/>
              <a:gd name="connsiteX9334" fmla="*/ 3415630 w 12192185"/>
              <a:gd name="connsiteY9334" fmla="*/ 755773 h 6859062"/>
              <a:gd name="connsiteX9335" fmla="*/ 3418105 w 12192185"/>
              <a:gd name="connsiteY9335" fmla="*/ 756480 h 6859062"/>
              <a:gd name="connsiteX9336" fmla="*/ 3429412 w 12192185"/>
              <a:gd name="connsiteY9336" fmla="*/ 757892 h 6859062"/>
              <a:gd name="connsiteX9337" fmla="*/ 3432240 w 12192185"/>
              <a:gd name="connsiteY9337" fmla="*/ 759303 h 6859062"/>
              <a:gd name="connsiteX9338" fmla="*/ 3440367 w 12192185"/>
              <a:gd name="connsiteY9338" fmla="*/ 761775 h 6859062"/>
              <a:gd name="connsiteX9339" fmla="*/ 3444609 w 12192185"/>
              <a:gd name="connsiteY9339" fmla="*/ 763539 h 6859062"/>
              <a:gd name="connsiteX9340" fmla="*/ 3447082 w 12192185"/>
              <a:gd name="connsiteY9340" fmla="*/ 768481 h 6859062"/>
              <a:gd name="connsiteX9341" fmla="*/ 3456623 w 12192185"/>
              <a:gd name="connsiteY9341" fmla="*/ 781187 h 6859062"/>
              <a:gd name="connsiteX9342" fmla="*/ 3460868 w 12192185"/>
              <a:gd name="connsiteY9342" fmla="*/ 789659 h 6859062"/>
              <a:gd name="connsiteX9343" fmla="*/ 3460867 w 12192185"/>
              <a:gd name="connsiteY9343" fmla="*/ 793894 h 6859062"/>
              <a:gd name="connsiteX9344" fmla="*/ 3457331 w 12192185"/>
              <a:gd name="connsiteY9344" fmla="*/ 803424 h 6859062"/>
              <a:gd name="connsiteX9345" fmla="*/ 3452382 w 12192185"/>
              <a:gd name="connsiteY9345" fmla="*/ 818955 h 6859062"/>
              <a:gd name="connsiteX9346" fmla="*/ 3448142 w 12192185"/>
              <a:gd name="connsiteY9346" fmla="*/ 824602 h 6859062"/>
              <a:gd name="connsiteX9347" fmla="*/ 3441429 w 12192185"/>
              <a:gd name="connsiteY9347" fmla="*/ 830249 h 6859062"/>
              <a:gd name="connsiteX9348" fmla="*/ 3435420 w 12192185"/>
              <a:gd name="connsiteY9348" fmla="*/ 833426 h 6859062"/>
              <a:gd name="connsiteX9349" fmla="*/ 3413157 w 12192185"/>
              <a:gd name="connsiteY9349" fmla="*/ 838368 h 6859062"/>
              <a:gd name="connsiteX9350" fmla="*/ 3401849 w 12192185"/>
              <a:gd name="connsiteY9350" fmla="*/ 838015 h 6859062"/>
              <a:gd name="connsiteX9351" fmla="*/ 3384176 w 12192185"/>
              <a:gd name="connsiteY9351" fmla="*/ 824249 h 6859062"/>
              <a:gd name="connsiteX9352" fmla="*/ 3383116 w 12192185"/>
              <a:gd name="connsiteY9352" fmla="*/ 815778 h 6859062"/>
              <a:gd name="connsiteX9353" fmla="*/ 3382762 w 12192185"/>
              <a:gd name="connsiteY9353" fmla="*/ 812248 h 6859062"/>
              <a:gd name="connsiteX9354" fmla="*/ 3380993 w 12192185"/>
              <a:gd name="connsiteY9354" fmla="*/ 802718 h 6859062"/>
              <a:gd name="connsiteX9355" fmla="*/ 3379934 w 12192185"/>
              <a:gd name="connsiteY9355" fmla="*/ 798129 h 6859062"/>
              <a:gd name="connsiteX9356" fmla="*/ 3380289 w 12192185"/>
              <a:gd name="connsiteY9356" fmla="*/ 792129 h 6859062"/>
              <a:gd name="connsiteX9357" fmla="*/ 3382762 w 12192185"/>
              <a:gd name="connsiteY9357" fmla="*/ 786129 h 6859062"/>
              <a:gd name="connsiteX9358" fmla="*/ 3390539 w 12192185"/>
              <a:gd name="connsiteY9358" fmla="*/ 771657 h 6859062"/>
              <a:gd name="connsiteX9359" fmla="*/ 3415630 w 12192185"/>
              <a:gd name="connsiteY9359" fmla="*/ 755773 h 6859062"/>
              <a:gd name="connsiteX9360" fmla="*/ 7889644 w 12192185"/>
              <a:gd name="connsiteY9360" fmla="*/ 746337 h 6859062"/>
              <a:gd name="connsiteX9361" fmla="*/ 7908373 w 12192185"/>
              <a:gd name="connsiteY9361" fmla="*/ 758192 h 6859062"/>
              <a:gd name="connsiteX9362" fmla="*/ 7914177 w 12192185"/>
              <a:gd name="connsiteY9362" fmla="*/ 768995 h 6859062"/>
              <a:gd name="connsiteX9363" fmla="*/ 7916024 w 12192185"/>
              <a:gd name="connsiteY9363" fmla="*/ 773474 h 6859062"/>
              <a:gd name="connsiteX9364" fmla="*/ 7916287 w 12192185"/>
              <a:gd name="connsiteY9364" fmla="*/ 777952 h 6859062"/>
              <a:gd name="connsiteX9365" fmla="*/ 7915496 w 12192185"/>
              <a:gd name="connsiteY9365" fmla="*/ 781376 h 6859062"/>
              <a:gd name="connsiteX9366" fmla="*/ 7914177 w 12192185"/>
              <a:gd name="connsiteY9366" fmla="*/ 788490 h 6859062"/>
              <a:gd name="connsiteX9367" fmla="*/ 7913913 w 12192185"/>
              <a:gd name="connsiteY9367" fmla="*/ 791125 h 6859062"/>
              <a:gd name="connsiteX9368" fmla="*/ 7913121 w 12192185"/>
              <a:gd name="connsiteY9368" fmla="*/ 797448 h 6859062"/>
              <a:gd name="connsiteX9369" fmla="*/ 7899933 w 12192185"/>
              <a:gd name="connsiteY9369" fmla="*/ 807723 h 6859062"/>
              <a:gd name="connsiteX9370" fmla="*/ 7891491 w 12192185"/>
              <a:gd name="connsiteY9370" fmla="*/ 807987 h 6859062"/>
              <a:gd name="connsiteX9371" fmla="*/ 7874871 w 12192185"/>
              <a:gd name="connsiteY9371" fmla="*/ 804297 h 6859062"/>
              <a:gd name="connsiteX9372" fmla="*/ 7870387 w 12192185"/>
              <a:gd name="connsiteY9372" fmla="*/ 801926 h 6859062"/>
              <a:gd name="connsiteX9373" fmla="*/ 7865375 w 12192185"/>
              <a:gd name="connsiteY9373" fmla="*/ 797711 h 6859062"/>
              <a:gd name="connsiteX9374" fmla="*/ 7862209 w 12192185"/>
              <a:gd name="connsiteY9374" fmla="*/ 793496 h 6859062"/>
              <a:gd name="connsiteX9375" fmla="*/ 7858517 w 12192185"/>
              <a:gd name="connsiteY9375" fmla="*/ 781904 h 6859062"/>
              <a:gd name="connsiteX9376" fmla="*/ 7855879 w 12192185"/>
              <a:gd name="connsiteY9376" fmla="*/ 774790 h 6859062"/>
              <a:gd name="connsiteX9377" fmla="*/ 7855878 w 12192185"/>
              <a:gd name="connsiteY9377" fmla="*/ 771629 h 6859062"/>
              <a:gd name="connsiteX9378" fmla="*/ 7859044 w 12192185"/>
              <a:gd name="connsiteY9378" fmla="*/ 765306 h 6859062"/>
              <a:gd name="connsiteX9379" fmla="*/ 7866166 w 12192185"/>
              <a:gd name="connsiteY9379" fmla="*/ 755821 h 6859062"/>
              <a:gd name="connsiteX9380" fmla="*/ 7868013 w 12192185"/>
              <a:gd name="connsiteY9380" fmla="*/ 752133 h 6859062"/>
              <a:gd name="connsiteX9381" fmla="*/ 7871179 w 12192185"/>
              <a:gd name="connsiteY9381" fmla="*/ 750816 h 6859062"/>
              <a:gd name="connsiteX9382" fmla="*/ 7877246 w 12192185"/>
              <a:gd name="connsiteY9382" fmla="*/ 748971 h 6859062"/>
              <a:gd name="connsiteX9383" fmla="*/ 7879356 w 12192185"/>
              <a:gd name="connsiteY9383" fmla="*/ 747918 h 6859062"/>
              <a:gd name="connsiteX9384" fmla="*/ 7887798 w 12192185"/>
              <a:gd name="connsiteY9384" fmla="*/ 746864 h 6859062"/>
              <a:gd name="connsiteX9385" fmla="*/ 7889644 w 12192185"/>
              <a:gd name="connsiteY9385" fmla="*/ 746337 h 6859062"/>
              <a:gd name="connsiteX9386" fmla="*/ 11361673 w 12192185"/>
              <a:gd name="connsiteY9386" fmla="*/ 745523 h 6859062"/>
              <a:gd name="connsiteX9387" fmla="*/ 11370298 w 12192185"/>
              <a:gd name="connsiteY9387" fmla="*/ 746778 h 6859062"/>
              <a:gd name="connsiteX9388" fmla="*/ 11372388 w 12192185"/>
              <a:gd name="connsiteY9388" fmla="*/ 745818 h 6859062"/>
              <a:gd name="connsiteX9389" fmla="*/ 11380512 w 12192185"/>
              <a:gd name="connsiteY9389" fmla="*/ 750194 h 6859062"/>
              <a:gd name="connsiteX9390" fmla="*/ 11387053 w 12192185"/>
              <a:gd name="connsiteY9390" fmla="*/ 759456 h 6859062"/>
              <a:gd name="connsiteX9391" fmla="*/ 11389224 w 12192185"/>
              <a:gd name="connsiteY9391" fmla="*/ 770017 h 6859062"/>
              <a:gd name="connsiteX9392" fmla="*/ 11387810 w 12192185"/>
              <a:gd name="connsiteY9392" fmla="*/ 783341 h 6859062"/>
              <a:gd name="connsiteX9393" fmla="*/ 11387833 w 12192185"/>
              <a:gd name="connsiteY9393" fmla="*/ 796919 h 6859062"/>
              <a:gd name="connsiteX9394" fmla="*/ 11391978 w 12192185"/>
              <a:gd name="connsiteY9394" fmla="*/ 810628 h 6859062"/>
              <a:gd name="connsiteX9395" fmla="*/ 11384136 w 12192185"/>
              <a:gd name="connsiteY9395" fmla="*/ 825185 h 6859062"/>
              <a:gd name="connsiteX9396" fmla="*/ 11376212 w 12192185"/>
              <a:gd name="connsiteY9396" fmla="*/ 828221 h 6859062"/>
              <a:gd name="connsiteX9397" fmla="*/ 11364226 w 12192185"/>
              <a:gd name="connsiteY9397" fmla="*/ 829068 h 6859062"/>
              <a:gd name="connsiteX9398" fmla="*/ 11352793 w 12192185"/>
              <a:gd name="connsiteY9398" fmla="*/ 824996 h 6859062"/>
              <a:gd name="connsiteX9399" fmla="*/ 11346707 w 12192185"/>
              <a:gd name="connsiteY9399" fmla="*/ 807109 h 6859062"/>
              <a:gd name="connsiteX9400" fmla="*/ 11346666 w 12192185"/>
              <a:gd name="connsiteY9400" fmla="*/ 801349 h 6859062"/>
              <a:gd name="connsiteX9401" fmla="*/ 11344177 w 12192185"/>
              <a:gd name="connsiteY9401" fmla="*/ 787487 h 6859062"/>
              <a:gd name="connsiteX9402" fmla="*/ 11340044 w 12192185"/>
              <a:gd name="connsiteY9402" fmla="*/ 780565 h 6859062"/>
              <a:gd name="connsiteX9403" fmla="*/ 11343071 w 12192185"/>
              <a:gd name="connsiteY9403" fmla="*/ 761327 h 6859062"/>
              <a:gd name="connsiteX9404" fmla="*/ 11354133 w 12192185"/>
              <a:gd name="connsiteY9404" fmla="*/ 749548 h 6859062"/>
              <a:gd name="connsiteX9405" fmla="*/ 11361673 w 12192185"/>
              <a:gd name="connsiteY9405" fmla="*/ 745523 h 6859062"/>
              <a:gd name="connsiteX9406" fmla="*/ 3522833 w 12192185"/>
              <a:gd name="connsiteY9406" fmla="*/ 739710 h 6859062"/>
              <a:gd name="connsiteX9407" fmla="*/ 3523031 w 12192185"/>
              <a:gd name="connsiteY9407" fmla="*/ 740040 h 6859062"/>
              <a:gd name="connsiteX9408" fmla="*/ 3522603 w 12192185"/>
              <a:gd name="connsiteY9408" fmla="*/ 739939 h 6859062"/>
              <a:gd name="connsiteX9409" fmla="*/ 3919363 w 12192185"/>
              <a:gd name="connsiteY9409" fmla="*/ 727256 h 6859062"/>
              <a:gd name="connsiteX9410" fmla="*/ 3919276 w 12192185"/>
              <a:gd name="connsiteY9410" fmla="*/ 727532 h 6859062"/>
              <a:gd name="connsiteX9411" fmla="*/ 3918982 w 12192185"/>
              <a:gd name="connsiteY9411" fmla="*/ 727353 h 6859062"/>
              <a:gd name="connsiteX9412" fmla="*/ 9916027 w 12192185"/>
              <a:gd name="connsiteY9412" fmla="*/ 722342 h 6859062"/>
              <a:gd name="connsiteX9413" fmla="*/ 9934832 w 12192185"/>
              <a:gd name="connsiteY9413" fmla="*/ 723293 h 6859062"/>
              <a:gd name="connsiteX9414" fmla="*/ 9942270 w 12192185"/>
              <a:gd name="connsiteY9414" fmla="*/ 724768 h 6859062"/>
              <a:gd name="connsiteX9415" fmla="*/ 9954392 w 12192185"/>
              <a:gd name="connsiteY9415" fmla="*/ 728133 h 6859062"/>
              <a:gd name="connsiteX9416" fmla="*/ 9966324 w 12192185"/>
              <a:gd name="connsiteY9416" fmla="*/ 725382 h 6859062"/>
              <a:gd name="connsiteX9417" fmla="*/ 9970717 w 12192185"/>
              <a:gd name="connsiteY9417" fmla="*/ 726046 h 6859062"/>
              <a:gd name="connsiteX9418" fmla="*/ 9971157 w 12192185"/>
              <a:gd name="connsiteY9418" fmla="*/ 730518 h 6859062"/>
              <a:gd name="connsiteX9419" fmla="*/ 9970308 w 12192185"/>
              <a:gd name="connsiteY9419" fmla="*/ 733858 h 6859062"/>
              <a:gd name="connsiteX9420" fmla="*/ 9970667 w 12192185"/>
              <a:gd name="connsiteY9420" fmla="*/ 738483 h 6859062"/>
              <a:gd name="connsiteX9421" fmla="*/ 9975048 w 12192185"/>
              <a:gd name="connsiteY9421" fmla="*/ 737993 h 6859062"/>
              <a:gd name="connsiteX9422" fmla="*/ 9981750 w 12192185"/>
              <a:gd name="connsiteY9422" fmla="*/ 743187 h 6859062"/>
              <a:gd name="connsiteX9423" fmla="*/ 9981505 w 12192185"/>
              <a:gd name="connsiteY9423" fmla="*/ 747170 h 6859062"/>
              <a:gd name="connsiteX9424" fmla="*/ 9984997 w 12192185"/>
              <a:gd name="connsiteY9424" fmla="*/ 751267 h 6859062"/>
              <a:gd name="connsiteX9425" fmla="*/ 9988963 w 12192185"/>
              <a:gd name="connsiteY9425" fmla="*/ 748022 h 6859062"/>
              <a:gd name="connsiteX9426" fmla="*/ 9990547 w 12192185"/>
              <a:gd name="connsiteY9426" fmla="*/ 744089 h 6859062"/>
              <a:gd name="connsiteX9427" fmla="*/ 9999453 w 12192185"/>
              <a:gd name="connsiteY9427" fmla="*/ 773502 h 6859062"/>
              <a:gd name="connsiteX9428" fmla="*/ 9997515 w 12192185"/>
              <a:gd name="connsiteY9428" fmla="*/ 774469 h 6859062"/>
              <a:gd name="connsiteX9429" fmla="*/ 9997213 w 12192185"/>
              <a:gd name="connsiteY9429" fmla="*/ 780320 h 6859062"/>
              <a:gd name="connsiteX9430" fmla="*/ 10000574 w 12192185"/>
              <a:gd name="connsiteY9430" fmla="*/ 784663 h 6859062"/>
              <a:gd name="connsiteX9431" fmla="*/ 10000349 w 12192185"/>
              <a:gd name="connsiteY9431" fmla="*/ 792137 h 6859062"/>
              <a:gd name="connsiteX9432" fmla="*/ 9999744 w 12192185"/>
              <a:gd name="connsiteY9432" fmla="*/ 816183 h 6859062"/>
              <a:gd name="connsiteX9433" fmla="*/ 10001727 w 12192185"/>
              <a:gd name="connsiteY9433" fmla="*/ 820733 h 6859062"/>
              <a:gd name="connsiteX9434" fmla="*/ 9995478 w 12192185"/>
              <a:gd name="connsiteY9434" fmla="*/ 821165 h 6859062"/>
              <a:gd name="connsiteX9435" fmla="*/ 9994741 w 12192185"/>
              <a:gd name="connsiteY9435" fmla="*/ 820768 h 6859062"/>
              <a:gd name="connsiteX9436" fmla="*/ 9985585 w 12192185"/>
              <a:gd name="connsiteY9436" fmla="*/ 826596 h 6859062"/>
              <a:gd name="connsiteX9437" fmla="*/ 9978883 w 12192185"/>
              <a:gd name="connsiteY9437" fmla="*/ 837862 h 6859062"/>
              <a:gd name="connsiteX9438" fmla="*/ 9965987 w 12192185"/>
              <a:gd name="connsiteY9438" fmla="*/ 851806 h 6859062"/>
              <a:gd name="connsiteX9439" fmla="*/ 9959927 w 12192185"/>
              <a:gd name="connsiteY9439" fmla="*/ 854238 h 6859062"/>
              <a:gd name="connsiteX9440" fmla="*/ 9942993 w 12192185"/>
              <a:gd name="connsiteY9440" fmla="*/ 861574 h 6859062"/>
              <a:gd name="connsiteX9441" fmla="*/ 9935912 w 12192185"/>
              <a:gd name="connsiteY9441" fmla="*/ 860609 h 6859062"/>
              <a:gd name="connsiteX9442" fmla="*/ 9907781 w 12192185"/>
              <a:gd name="connsiteY9442" fmla="*/ 854633 h 6859062"/>
              <a:gd name="connsiteX9443" fmla="*/ 9904872 w 12192185"/>
              <a:gd name="connsiteY9443" fmla="*/ 860029 h 6859062"/>
              <a:gd name="connsiteX9444" fmla="*/ 9910857 w 12192185"/>
              <a:gd name="connsiteY9444" fmla="*/ 864204 h 6859062"/>
              <a:gd name="connsiteX9445" fmla="*/ 9916861 w 12192185"/>
              <a:gd name="connsiteY9445" fmla="*/ 863640 h 6859062"/>
              <a:gd name="connsiteX9446" fmla="*/ 9921299 w 12192185"/>
              <a:gd name="connsiteY9446" fmla="*/ 865397 h 6859062"/>
              <a:gd name="connsiteX9447" fmla="*/ 9918184 w 12192185"/>
              <a:gd name="connsiteY9447" fmla="*/ 869416 h 6859062"/>
              <a:gd name="connsiteX9448" fmla="*/ 9913030 w 12192185"/>
              <a:gd name="connsiteY9448" fmla="*/ 870754 h 6859062"/>
              <a:gd name="connsiteX9449" fmla="*/ 9907705 w 12192185"/>
              <a:gd name="connsiteY9449" fmla="*/ 877698 h 6859062"/>
              <a:gd name="connsiteX9450" fmla="*/ 9915126 w 12192185"/>
              <a:gd name="connsiteY9450" fmla="*/ 879796 h 6859062"/>
              <a:gd name="connsiteX9451" fmla="*/ 9922526 w 12192185"/>
              <a:gd name="connsiteY9451" fmla="*/ 878402 h 6859062"/>
              <a:gd name="connsiteX9452" fmla="*/ 9925717 w 12192185"/>
              <a:gd name="connsiteY9452" fmla="*/ 884236 h 6859062"/>
              <a:gd name="connsiteX9453" fmla="*/ 9912785 w 12192185"/>
              <a:gd name="connsiteY9453" fmla="*/ 895311 h 6859062"/>
              <a:gd name="connsiteX9454" fmla="*/ 9905517 w 12192185"/>
              <a:gd name="connsiteY9454" fmla="*/ 908803 h 6859062"/>
              <a:gd name="connsiteX9455" fmla="*/ 9907517 w 12192185"/>
              <a:gd name="connsiteY9455" fmla="*/ 916845 h 6859062"/>
              <a:gd name="connsiteX9456" fmla="*/ 9907536 w 12192185"/>
              <a:gd name="connsiteY9456" fmla="*/ 920336 h 6859062"/>
              <a:gd name="connsiteX9457" fmla="*/ 9904043 w 12192185"/>
              <a:gd name="connsiteY9457" fmla="*/ 920353 h 6859062"/>
              <a:gd name="connsiteX9458" fmla="*/ 9896246 w 12192185"/>
              <a:gd name="connsiteY9458" fmla="*/ 922484 h 6859062"/>
              <a:gd name="connsiteX9459" fmla="*/ 9883917 w 12192185"/>
              <a:gd name="connsiteY9459" fmla="*/ 930085 h 6859062"/>
              <a:gd name="connsiteX9460" fmla="*/ 9880501 w 12192185"/>
              <a:gd name="connsiteY9460" fmla="*/ 935840 h 6859062"/>
              <a:gd name="connsiteX9461" fmla="*/ 9880349 w 12192185"/>
              <a:gd name="connsiteY9461" fmla="*/ 940823 h 6859062"/>
              <a:gd name="connsiteX9462" fmla="*/ 9874724 w 12192185"/>
              <a:gd name="connsiteY9462" fmla="*/ 941274 h 6859062"/>
              <a:gd name="connsiteX9463" fmla="*/ 9871023 w 12192185"/>
              <a:gd name="connsiteY9463" fmla="*/ 939914 h 6859062"/>
              <a:gd name="connsiteX9464" fmla="*/ 9861432 w 12192185"/>
              <a:gd name="connsiteY9464" fmla="*/ 947724 h 6859062"/>
              <a:gd name="connsiteX9465" fmla="*/ 9861601 w 12192185"/>
              <a:gd name="connsiteY9465" fmla="*/ 950347 h 6859062"/>
              <a:gd name="connsiteX9466" fmla="*/ 9858977 w 12192185"/>
              <a:gd name="connsiteY9466" fmla="*/ 954631 h 6859062"/>
              <a:gd name="connsiteX9467" fmla="*/ 9855578 w 12192185"/>
              <a:gd name="connsiteY9467" fmla="*/ 951535 h 6859062"/>
              <a:gd name="connsiteX9468" fmla="*/ 9854842 w 12192185"/>
              <a:gd name="connsiteY9468" fmla="*/ 947023 h 6859062"/>
              <a:gd name="connsiteX9469" fmla="*/ 9850330 w 12192185"/>
              <a:gd name="connsiteY9469" fmla="*/ 943643 h 6859062"/>
              <a:gd name="connsiteX9470" fmla="*/ 9833244 w 12192185"/>
              <a:gd name="connsiteY9470" fmla="*/ 939502 h 6859062"/>
              <a:gd name="connsiteX9471" fmla="*/ 9813928 w 12192185"/>
              <a:gd name="connsiteY9471" fmla="*/ 930680 h 6859062"/>
              <a:gd name="connsiteX9472" fmla="*/ 9810700 w 12192185"/>
              <a:gd name="connsiteY9472" fmla="*/ 926092 h 6859062"/>
              <a:gd name="connsiteX9473" fmla="*/ 9801108 w 12192185"/>
              <a:gd name="connsiteY9473" fmla="*/ 913329 h 6859062"/>
              <a:gd name="connsiteX9474" fmla="*/ 9799579 w 12192185"/>
              <a:gd name="connsiteY9474" fmla="*/ 910289 h 6859062"/>
              <a:gd name="connsiteX9475" fmla="*/ 9795783 w 12192185"/>
              <a:gd name="connsiteY9475" fmla="*/ 891470 h 6859062"/>
              <a:gd name="connsiteX9476" fmla="*/ 9801050 w 12192185"/>
              <a:gd name="connsiteY9476" fmla="*/ 865820 h 6859062"/>
              <a:gd name="connsiteX9477" fmla="*/ 9801956 w 12192185"/>
              <a:gd name="connsiteY9477" fmla="*/ 856497 h 6859062"/>
              <a:gd name="connsiteX9478" fmla="*/ 9808508 w 12192185"/>
              <a:gd name="connsiteY9478" fmla="*/ 846099 h 6859062"/>
              <a:gd name="connsiteX9479" fmla="*/ 9814379 w 12192185"/>
              <a:gd name="connsiteY9479" fmla="*/ 837551 h 6859062"/>
              <a:gd name="connsiteX9480" fmla="*/ 9816116 w 12192185"/>
              <a:gd name="connsiteY9480" fmla="*/ 833739 h 6859062"/>
              <a:gd name="connsiteX9481" fmla="*/ 9839583 w 12192185"/>
              <a:gd name="connsiteY9481" fmla="*/ 824859 h 6859062"/>
              <a:gd name="connsiteX9482" fmla="*/ 9857690 w 12192185"/>
              <a:gd name="connsiteY9482" fmla="*/ 824167 h 6859062"/>
              <a:gd name="connsiteX9483" fmla="*/ 9875267 w 12192185"/>
              <a:gd name="connsiteY9483" fmla="*/ 816229 h 6859062"/>
              <a:gd name="connsiteX9484" fmla="*/ 9875248 w 12192185"/>
              <a:gd name="connsiteY9484" fmla="*/ 812737 h 6859062"/>
              <a:gd name="connsiteX9485" fmla="*/ 9870019 w 12192185"/>
              <a:gd name="connsiteY9485" fmla="*/ 787763 h 6859062"/>
              <a:gd name="connsiteX9486" fmla="*/ 9870168 w 12192185"/>
              <a:gd name="connsiteY9486" fmla="*/ 782780 h 6859062"/>
              <a:gd name="connsiteX9487" fmla="*/ 9874814 w 12192185"/>
              <a:gd name="connsiteY9487" fmla="*/ 769456 h 6859062"/>
              <a:gd name="connsiteX9488" fmla="*/ 9879042 w 12192185"/>
              <a:gd name="connsiteY9488" fmla="*/ 753376 h 6859062"/>
              <a:gd name="connsiteX9489" fmla="*/ 9882458 w 12192185"/>
              <a:gd name="connsiteY9489" fmla="*/ 747621 h 6859062"/>
              <a:gd name="connsiteX9490" fmla="*/ 9912515 w 12192185"/>
              <a:gd name="connsiteY9490" fmla="*/ 722982 h 6859062"/>
              <a:gd name="connsiteX9491" fmla="*/ 9916027 w 12192185"/>
              <a:gd name="connsiteY9491" fmla="*/ 722342 h 6859062"/>
              <a:gd name="connsiteX9492" fmla="*/ 1070860 w 12192185"/>
              <a:gd name="connsiteY9492" fmla="*/ 706138 h 6859062"/>
              <a:gd name="connsiteX9493" fmla="*/ 1085086 w 12192185"/>
              <a:gd name="connsiteY9493" fmla="*/ 709287 h 6859062"/>
              <a:gd name="connsiteX9494" fmla="*/ 1094051 w 12192185"/>
              <a:gd name="connsiteY9494" fmla="*/ 714338 h 6859062"/>
              <a:gd name="connsiteX9495" fmla="*/ 1100866 w 12192185"/>
              <a:gd name="connsiteY9495" fmla="*/ 733194 h 6859062"/>
              <a:gd name="connsiteX9496" fmla="*/ 1093457 w 12192185"/>
              <a:gd name="connsiteY9496" fmla="*/ 748901 h 6859062"/>
              <a:gd name="connsiteX9497" fmla="*/ 1091013 w 12192185"/>
              <a:gd name="connsiteY9497" fmla="*/ 765183 h 6859062"/>
              <a:gd name="connsiteX9498" fmla="*/ 1090338 w 12192185"/>
              <a:gd name="connsiteY9498" fmla="*/ 781417 h 6859062"/>
              <a:gd name="connsiteX9499" fmla="*/ 1085854 w 12192185"/>
              <a:gd name="connsiteY9499" fmla="*/ 793698 h 6859062"/>
              <a:gd name="connsiteX9500" fmla="*/ 1076362 w 12192185"/>
              <a:gd name="connsiteY9500" fmla="*/ 803644 h 6859062"/>
              <a:gd name="connsiteX9501" fmla="*/ 1065838 w 12192185"/>
              <a:gd name="connsiteY9501" fmla="*/ 807448 h 6859062"/>
              <a:gd name="connsiteX9502" fmla="*/ 1063503 w 12192185"/>
              <a:gd name="connsiteY9502" fmla="*/ 805924 h 6859062"/>
              <a:gd name="connsiteX9503" fmla="*/ 1044605 w 12192185"/>
              <a:gd name="connsiteY9503" fmla="*/ 799725 h 6859062"/>
              <a:gd name="connsiteX9504" fmla="*/ 1033431 w 12192185"/>
              <a:gd name="connsiteY9504" fmla="*/ 783628 h 6859062"/>
              <a:gd name="connsiteX9505" fmla="*/ 1033224 w 12192185"/>
              <a:gd name="connsiteY9505" fmla="*/ 760014 h 6859062"/>
              <a:gd name="connsiteX9506" fmla="*/ 1039413 w 12192185"/>
              <a:gd name="connsiteY9506" fmla="*/ 752447 h 6859062"/>
              <a:gd name="connsiteX9507" fmla="*/ 1044865 w 12192185"/>
              <a:gd name="connsiteY9507" fmla="*/ 736263 h 6859062"/>
              <a:gd name="connsiteX9508" fmla="*/ 1045939 w 12192185"/>
              <a:gd name="connsiteY9508" fmla="*/ 729360 h 6859062"/>
              <a:gd name="connsiteX9509" fmla="*/ 1056422 w 12192185"/>
              <a:gd name="connsiteY9509" fmla="*/ 708989 h 6859062"/>
              <a:gd name="connsiteX9510" fmla="*/ 1070860 w 12192185"/>
              <a:gd name="connsiteY9510" fmla="*/ 706138 h 6859062"/>
              <a:gd name="connsiteX9511" fmla="*/ 10521196 w 12192185"/>
              <a:gd name="connsiteY9511" fmla="*/ 704686 h 6859062"/>
              <a:gd name="connsiteX9512" fmla="*/ 10525297 w 12192185"/>
              <a:gd name="connsiteY9512" fmla="*/ 705096 h 6859062"/>
              <a:gd name="connsiteX9513" fmla="*/ 10532770 w 12192185"/>
              <a:gd name="connsiteY9513" fmla="*/ 706604 h 6859062"/>
              <a:gd name="connsiteX9514" fmla="*/ 10535603 w 12192185"/>
              <a:gd name="connsiteY9514" fmla="*/ 706692 h 6859062"/>
              <a:gd name="connsiteX9515" fmla="*/ 10545137 w 12192185"/>
              <a:gd name="connsiteY9515" fmla="*/ 710388 h 6859062"/>
              <a:gd name="connsiteX9516" fmla="*/ 10547392 w 12192185"/>
              <a:gd name="connsiteY9516" fmla="*/ 710884 h 6859062"/>
              <a:gd name="connsiteX9517" fmla="*/ 10560454 w 12192185"/>
              <a:gd name="connsiteY9517" fmla="*/ 734109 h 6859062"/>
              <a:gd name="connsiteX9518" fmla="*/ 10560438 w 12192185"/>
              <a:gd name="connsiteY9518" fmla="*/ 748848 h 6859062"/>
              <a:gd name="connsiteX9519" fmla="*/ 10559839 w 12192185"/>
              <a:gd name="connsiteY9519" fmla="*/ 754641 h 6859062"/>
              <a:gd name="connsiteX9520" fmla="*/ 10557565 w 12192185"/>
              <a:gd name="connsiteY9520" fmla="*/ 759531 h 6859062"/>
              <a:gd name="connsiteX9521" fmla="*/ 10554774 w 12192185"/>
              <a:gd name="connsiteY9521" fmla="*/ 762705 h 6859062"/>
              <a:gd name="connsiteX9522" fmla="*/ 10549323 w 12192185"/>
              <a:gd name="connsiteY9522" fmla="*/ 769481 h 6859062"/>
              <a:gd name="connsiteX9523" fmla="*/ 10547543 w 12192185"/>
              <a:gd name="connsiteY9523" fmla="*/ 772118 h 6859062"/>
              <a:gd name="connsiteX9524" fmla="*/ 10543100 w 12192185"/>
              <a:gd name="connsiteY9524" fmla="*/ 778358 h 6859062"/>
              <a:gd name="connsiteX9525" fmla="*/ 10523283 w 12192185"/>
              <a:gd name="connsiteY9525" fmla="*/ 781713 h 6859062"/>
              <a:gd name="connsiteX9526" fmla="*/ 10514200 w 12192185"/>
              <a:gd name="connsiteY9526" fmla="*/ 777179 h 6859062"/>
              <a:gd name="connsiteX9527" fmla="*/ 10498715 w 12192185"/>
              <a:gd name="connsiteY9527" fmla="*/ 763802 h 6859062"/>
              <a:gd name="connsiteX9528" fmla="*/ 10495321 w 12192185"/>
              <a:gd name="connsiteY9528" fmla="*/ 758735 h 6859062"/>
              <a:gd name="connsiteX9529" fmla="*/ 10492419 w 12192185"/>
              <a:gd name="connsiteY9529" fmla="*/ 751417 h 6859062"/>
              <a:gd name="connsiteX9530" fmla="*/ 10491474 w 12192185"/>
              <a:gd name="connsiteY9530" fmla="*/ 745152 h 6859062"/>
              <a:gd name="connsiteX9531" fmla="*/ 10494173 w 12192185"/>
              <a:gd name="connsiteY9531" fmla="*/ 730778 h 6859062"/>
              <a:gd name="connsiteX9532" fmla="*/ 10495437 w 12192185"/>
              <a:gd name="connsiteY9532" fmla="*/ 721746 h 6859062"/>
              <a:gd name="connsiteX9533" fmla="*/ 10497240 w 12192185"/>
              <a:gd name="connsiteY9533" fmla="*/ 718400 h 6859062"/>
              <a:gd name="connsiteX9534" fmla="*/ 10504195 w 12192185"/>
              <a:gd name="connsiteY9534" fmla="*/ 713514 h 6859062"/>
              <a:gd name="connsiteX9535" fmla="*/ 10517138 w 12192185"/>
              <a:gd name="connsiteY9535" fmla="*/ 707537 h 6859062"/>
              <a:gd name="connsiteX9536" fmla="*/ 10521196 w 12192185"/>
              <a:gd name="connsiteY9536" fmla="*/ 704686 h 6859062"/>
              <a:gd name="connsiteX9537" fmla="*/ 9700273 w 12192185"/>
              <a:gd name="connsiteY9537" fmla="*/ 700001 h 6859062"/>
              <a:gd name="connsiteX9538" fmla="*/ 9702828 w 12192185"/>
              <a:gd name="connsiteY9538" fmla="*/ 701277 h 6859062"/>
              <a:gd name="connsiteX9539" fmla="*/ 9710209 w 12192185"/>
              <a:gd name="connsiteY9539" fmla="*/ 704682 h 6859062"/>
              <a:gd name="connsiteX9540" fmla="*/ 9711629 w 12192185"/>
              <a:gd name="connsiteY9540" fmla="*/ 705676 h 6859062"/>
              <a:gd name="connsiteX9541" fmla="*/ 9717875 w 12192185"/>
              <a:gd name="connsiteY9541" fmla="*/ 713194 h 6859062"/>
              <a:gd name="connsiteX9542" fmla="*/ 9721706 w 12192185"/>
              <a:gd name="connsiteY9542" fmla="*/ 725963 h 6859062"/>
              <a:gd name="connsiteX9543" fmla="*/ 9723553 w 12192185"/>
              <a:gd name="connsiteY9543" fmla="*/ 730361 h 6859062"/>
              <a:gd name="connsiteX9544" fmla="*/ 9723126 w 12192185"/>
              <a:gd name="connsiteY9544" fmla="*/ 736604 h 6859062"/>
              <a:gd name="connsiteX9545" fmla="*/ 9722558 w 12192185"/>
              <a:gd name="connsiteY9545" fmla="*/ 741853 h 6859062"/>
              <a:gd name="connsiteX9546" fmla="*/ 9722701 w 12192185"/>
              <a:gd name="connsiteY9546" fmla="*/ 743981 h 6859062"/>
              <a:gd name="connsiteX9547" fmla="*/ 9714325 w 12192185"/>
              <a:gd name="connsiteY9547" fmla="*/ 753628 h 6859062"/>
              <a:gd name="connsiteX9548" fmla="*/ 9706377 w 12192185"/>
              <a:gd name="connsiteY9548" fmla="*/ 758311 h 6859062"/>
              <a:gd name="connsiteX9549" fmla="*/ 9700414 w 12192185"/>
              <a:gd name="connsiteY9549" fmla="*/ 766113 h 6859062"/>
              <a:gd name="connsiteX9550" fmla="*/ 9701267 w 12192185"/>
              <a:gd name="connsiteY9550" fmla="*/ 767674 h 6859062"/>
              <a:gd name="connsiteX9551" fmla="*/ 9709641 w 12192185"/>
              <a:gd name="connsiteY9551" fmla="*/ 777604 h 6859062"/>
              <a:gd name="connsiteX9552" fmla="*/ 9710777 w 12192185"/>
              <a:gd name="connsiteY9552" fmla="*/ 779874 h 6859062"/>
              <a:gd name="connsiteX9553" fmla="*/ 9711912 w 12192185"/>
              <a:gd name="connsiteY9553" fmla="*/ 786968 h 6859062"/>
              <a:gd name="connsiteX9554" fmla="*/ 9713900 w 12192185"/>
              <a:gd name="connsiteY9554" fmla="*/ 795197 h 6859062"/>
              <a:gd name="connsiteX9555" fmla="*/ 9713757 w 12192185"/>
              <a:gd name="connsiteY9555" fmla="*/ 798602 h 6859062"/>
              <a:gd name="connsiteX9556" fmla="*/ 9706234 w 12192185"/>
              <a:gd name="connsiteY9556" fmla="*/ 816903 h 6859062"/>
              <a:gd name="connsiteX9557" fmla="*/ 9704815 w 12192185"/>
              <a:gd name="connsiteY9557" fmla="*/ 818038 h 6859062"/>
              <a:gd name="connsiteX9558" fmla="*/ 9696156 w 12192185"/>
              <a:gd name="connsiteY9558" fmla="*/ 822153 h 6859062"/>
              <a:gd name="connsiteX9559" fmla="*/ 9692466 w 12192185"/>
              <a:gd name="connsiteY9559" fmla="*/ 823288 h 6859062"/>
              <a:gd name="connsiteX9560" fmla="*/ 9686220 w 12192185"/>
              <a:gd name="connsiteY9560" fmla="*/ 824706 h 6859062"/>
              <a:gd name="connsiteX9561" fmla="*/ 9681536 w 12192185"/>
              <a:gd name="connsiteY9561" fmla="*/ 828821 h 6859062"/>
              <a:gd name="connsiteX9562" fmla="*/ 9679408 w 12192185"/>
              <a:gd name="connsiteY9562" fmla="*/ 829584 h 6859062"/>
              <a:gd name="connsiteX9563" fmla="*/ 9678129 w 12192185"/>
              <a:gd name="connsiteY9563" fmla="*/ 827686 h 6859062"/>
              <a:gd name="connsiteX9564" fmla="*/ 9677704 w 12192185"/>
              <a:gd name="connsiteY9564" fmla="*/ 825984 h 6859062"/>
              <a:gd name="connsiteX9565" fmla="*/ 9676427 w 12192185"/>
              <a:gd name="connsiteY9565" fmla="*/ 823997 h 6859062"/>
              <a:gd name="connsiteX9566" fmla="*/ 9674580 w 12192185"/>
              <a:gd name="connsiteY9566" fmla="*/ 825274 h 6859062"/>
              <a:gd name="connsiteX9567" fmla="*/ 9670323 w 12192185"/>
              <a:gd name="connsiteY9567" fmla="*/ 824564 h 6859062"/>
              <a:gd name="connsiteX9568" fmla="*/ 9669470 w 12192185"/>
              <a:gd name="connsiteY9568" fmla="*/ 822720 h 6859062"/>
              <a:gd name="connsiteX9569" fmla="*/ 9666915 w 12192185"/>
              <a:gd name="connsiteY9569" fmla="*/ 821727 h 6859062"/>
              <a:gd name="connsiteX9570" fmla="*/ 9665923 w 12192185"/>
              <a:gd name="connsiteY9570" fmla="*/ 824139 h 6859062"/>
              <a:gd name="connsiteX9571" fmla="*/ 9666161 w 12192185"/>
              <a:gd name="connsiteY9571" fmla="*/ 826285 h 6859062"/>
              <a:gd name="connsiteX9572" fmla="*/ 9655067 w 12192185"/>
              <a:gd name="connsiteY9572" fmla="*/ 815251 h 6859062"/>
              <a:gd name="connsiteX9573" fmla="*/ 9655703 w 12192185"/>
              <a:gd name="connsiteY9573" fmla="*/ 814350 h 6859062"/>
              <a:gd name="connsiteX9574" fmla="*/ 9654425 w 12192185"/>
              <a:gd name="connsiteY9574" fmla="*/ 811654 h 6859062"/>
              <a:gd name="connsiteX9575" fmla="*/ 9651870 w 12192185"/>
              <a:gd name="connsiteY9575" fmla="*/ 810520 h 6859062"/>
              <a:gd name="connsiteX9576" fmla="*/ 9650167 w 12192185"/>
              <a:gd name="connsiteY9576" fmla="*/ 807114 h 6859062"/>
              <a:gd name="connsiteX9577" fmla="*/ 9644630 w 12192185"/>
              <a:gd name="connsiteY9577" fmla="*/ 796190 h 6859062"/>
              <a:gd name="connsiteX9578" fmla="*/ 9642644 w 12192185"/>
              <a:gd name="connsiteY9578" fmla="*/ 794630 h 6859062"/>
              <a:gd name="connsiteX9579" fmla="*/ 9645340 w 12192185"/>
              <a:gd name="connsiteY9579" fmla="*/ 792927 h 6859062"/>
              <a:gd name="connsiteX9580" fmla="*/ 9645765 w 12192185"/>
              <a:gd name="connsiteY9580" fmla="*/ 792927 h 6859062"/>
              <a:gd name="connsiteX9581" fmla="*/ 9648463 w 12192185"/>
              <a:gd name="connsiteY9581" fmla="*/ 788104 h 6859062"/>
              <a:gd name="connsiteX9582" fmla="*/ 9648747 w 12192185"/>
              <a:gd name="connsiteY9582" fmla="*/ 781435 h 6859062"/>
              <a:gd name="connsiteX9583" fmla="*/ 9651159 w 12192185"/>
              <a:gd name="connsiteY9583" fmla="*/ 772071 h 6859062"/>
              <a:gd name="connsiteX9584" fmla="*/ 9653289 w 12192185"/>
              <a:gd name="connsiteY9584" fmla="*/ 769518 h 6859062"/>
              <a:gd name="connsiteX9585" fmla="*/ 9659109 w 12192185"/>
              <a:gd name="connsiteY9585" fmla="*/ 762141 h 6859062"/>
              <a:gd name="connsiteX9586" fmla="*/ 9662515 w 12192185"/>
              <a:gd name="connsiteY9586" fmla="*/ 760864 h 6859062"/>
              <a:gd name="connsiteX9587" fmla="*/ 9676568 w 12192185"/>
              <a:gd name="connsiteY9587" fmla="*/ 756750 h 6859062"/>
              <a:gd name="connsiteX9588" fmla="*/ 9676568 w 12192185"/>
              <a:gd name="connsiteY9588" fmla="*/ 753628 h 6859062"/>
              <a:gd name="connsiteX9589" fmla="*/ 9672878 w 12192185"/>
              <a:gd name="connsiteY9589" fmla="*/ 753203 h 6859062"/>
              <a:gd name="connsiteX9590" fmla="*/ 9670322 w 12192185"/>
              <a:gd name="connsiteY9590" fmla="*/ 754905 h 6859062"/>
              <a:gd name="connsiteX9591" fmla="*/ 9667909 w 12192185"/>
              <a:gd name="connsiteY9591" fmla="*/ 755189 h 6859062"/>
              <a:gd name="connsiteX9592" fmla="*/ 9668335 w 12192185"/>
              <a:gd name="connsiteY9592" fmla="*/ 752635 h 6859062"/>
              <a:gd name="connsiteX9593" fmla="*/ 9670322 w 12192185"/>
              <a:gd name="connsiteY9593" fmla="*/ 750791 h 6859062"/>
              <a:gd name="connsiteX9594" fmla="*/ 9671033 w 12192185"/>
              <a:gd name="connsiteY9594" fmla="*/ 746393 h 6859062"/>
              <a:gd name="connsiteX9595" fmla="*/ 9667199 w 12192185"/>
              <a:gd name="connsiteY9595" fmla="*/ 747244 h 6859062"/>
              <a:gd name="connsiteX9596" fmla="*/ 9664218 w 12192185"/>
              <a:gd name="connsiteY9596" fmla="*/ 749656 h 6859062"/>
              <a:gd name="connsiteX9597" fmla="*/ 9661379 w 12192185"/>
              <a:gd name="connsiteY9597" fmla="*/ 747811 h 6859062"/>
              <a:gd name="connsiteX9598" fmla="*/ 9664503 w 12192185"/>
              <a:gd name="connsiteY9598" fmla="*/ 739725 h 6859062"/>
              <a:gd name="connsiteX9599" fmla="*/ 9664502 w 12192185"/>
              <a:gd name="connsiteY9599" fmla="*/ 731922 h 6859062"/>
              <a:gd name="connsiteX9600" fmla="*/ 9661663 w 12192185"/>
              <a:gd name="connsiteY9600" fmla="*/ 728800 h 6859062"/>
              <a:gd name="connsiteX9601" fmla="*/ 9660812 w 12192185"/>
              <a:gd name="connsiteY9601" fmla="*/ 727240 h 6859062"/>
              <a:gd name="connsiteX9602" fmla="*/ 9662374 w 12192185"/>
              <a:gd name="connsiteY9602" fmla="*/ 726388 h 6859062"/>
              <a:gd name="connsiteX9603" fmla="*/ 9665354 w 12192185"/>
              <a:gd name="connsiteY9603" fmla="*/ 723552 h 6859062"/>
              <a:gd name="connsiteX9604" fmla="*/ 9669045 w 12192185"/>
              <a:gd name="connsiteY9604" fmla="*/ 717167 h 6859062"/>
              <a:gd name="connsiteX9605" fmla="*/ 9669187 w 12192185"/>
              <a:gd name="connsiteY9605" fmla="*/ 713762 h 6859062"/>
              <a:gd name="connsiteX9606" fmla="*/ 9668052 w 12192185"/>
              <a:gd name="connsiteY9606" fmla="*/ 711492 h 6859062"/>
              <a:gd name="connsiteX9607" fmla="*/ 9670465 w 12192185"/>
              <a:gd name="connsiteY9607" fmla="*/ 709931 h 6859062"/>
              <a:gd name="connsiteX9608" fmla="*/ 9672451 w 12192185"/>
              <a:gd name="connsiteY9608" fmla="*/ 709647 h 6859062"/>
              <a:gd name="connsiteX9609" fmla="*/ 9674864 w 12192185"/>
              <a:gd name="connsiteY9609" fmla="*/ 703831 h 6859062"/>
              <a:gd name="connsiteX9610" fmla="*/ 9674156 w 12192185"/>
              <a:gd name="connsiteY9610" fmla="*/ 702696 h 6859062"/>
              <a:gd name="connsiteX9611" fmla="*/ 9674298 w 12192185"/>
              <a:gd name="connsiteY9611" fmla="*/ 700143 h 6859062"/>
              <a:gd name="connsiteX9612" fmla="*/ 9676568 w 12192185"/>
              <a:gd name="connsiteY9612" fmla="*/ 700710 h 6859062"/>
              <a:gd name="connsiteX9613" fmla="*/ 9677987 w 12192185"/>
              <a:gd name="connsiteY9613" fmla="*/ 702554 h 6859062"/>
              <a:gd name="connsiteX9614" fmla="*/ 9680826 w 12192185"/>
              <a:gd name="connsiteY9614" fmla="*/ 702980 h 6859062"/>
              <a:gd name="connsiteX9615" fmla="*/ 9689486 w 12192185"/>
              <a:gd name="connsiteY9615" fmla="*/ 700710 h 6859062"/>
              <a:gd name="connsiteX9616" fmla="*/ 9700273 w 12192185"/>
              <a:gd name="connsiteY9616" fmla="*/ 700001 h 6859062"/>
              <a:gd name="connsiteX9617" fmla="*/ 4184019 w 12192185"/>
              <a:gd name="connsiteY9617" fmla="*/ 684882 h 6859062"/>
              <a:gd name="connsiteX9618" fmla="*/ 4192273 w 12192185"/>
              <a:gd name="connsiteY9618" fmla="*/ 685562 h 6859062"/>
              <a:gd name="connsiteX9619" fmla="*/ 4197707 w 12192185"/>
              <a:gd name="connsiteY9619" fmla="*/ 687717 h 6859062"/>
              <a:gd name="connsiteX9620" fmla="*/ 4202996 w 12192185"/>
              <a:gd name="connsiteY9620" fmla="*/ 697813 h 6859062"/>
              <a:gd name="connsiteX9621" fmla="*/ 4200031 w 12192185"/>
              <a:gd name="connsiteY9621" fmla="*/ 707230 h 6859062"/>
              <a:gd name="connsiteX9622" fmla="*/ 4199905 w 12192185"/>
              <a:gd name="connsiteY9622" fmla="*/ 716588 h 6859062"/>
              <a:gd name="connsiteX9623" fmla="*/ 4200775 w 12192185"/>
              <a:gd name="connsiteY9623" fmla="*/ 725784 h 6859062"/>
              <a:gd name="connsiteX9624" fmla="*/ 4199194 w 12192185"/>
              <a:gd name="connsiteY9624" fmla="*/ 733046 h 6859062"/>
              <a:gd name="connsiteX9625" fmla="*/ 4194613 w 12192185"/>
              <a:gd name="connsiteY9625" fmla="*/ 739378 h 6859062"/>
              <a:gd name="connsiteX9626" fmla="*/ 4188983 w 12192185"/>
              <a:gd name="connsiteY9626" fmla="*/ 742330 h 6859062"/>
              <a:gd name="connsiteX9627" fmla="*/ 4187551 w 12192185"/>
              <a:gd name="connsiteY9627" fmla="*/ 741651 h 6859062"/>
              <a:gd name="connsiteX9628" fmla="*/ 4176428 w 12192185"/>
              <a:gd name="connsiteY9628" fmla="*/ 739613 h 6859062"/>
              <a:gd name="connsiteX9629" fmla="*/ 4168897 w 12192185"/>
              <a:gd name="connsiteY9629" fmla="*/ 731407 h 6859062"/>
              <a:gd name="connsiteX9630" fmla="*/ 4166964 w 12192185"/>
              <a:gd name="connsiteY9630" fmla="*/ 718122 h 6859062"/>
              <a:gd name="connsiteX9631" fmla="*/ 4169867 w 12192185"/>
              <a:gd name="connsiteY9631" fmla="*/ 713385 h 6859062"/>
              <a:gd name="connsiteX9632" fmla="*/ 4171693 w 12192185"/>
              <a:gd name="connsiteY9632" fmla="*/ 703849 h 6859062"/>
              <a:gd name="connsiteX9633" fmla="*/ 4171768 w 12192185"/>
              <a:gd name="connsiteY9633" fmla="*/ 699878 h 6859062"/>
              <a:gd name="connsiteX9634" fmla="*/ 4176107 w 12192185"/>
              <a:gd name="connsiteY9634" fmla="*/ 687598 h 6859062"/>
              <a:gd name="connsiteX9635" fmla="*/ 4184019 w 12192185"/>
              <a:gd name="connsiteY9635" fmla="*/ 684882 h 6859062"/>
              <a:gd name="connsiteX9636" fmla="*/ 3592418 w 12192185"/>
              <a:gd name="connsiteY9636" fmla="*/ 683513 h 6859062"/>
              <a:gd name="connsiteX9637" fmla="*/ 3595223 w 12192185"/>
              <a:gd name="connsiteY9637" fmla="*/ 684517 h 6859062"/>
              <a:gd name="connsiteX9638" fmla="*/ 3601395 w 12192185"/>
              <a:gd name="connsiteY9638" fmla="*/ 689939 h 6859062"/>
              <a:gd name="connsiteX9639" fmla="*/ 3609626 w 12192185"/>
              <a:gd name="connsiteY9639" fmla="*/ 691808 h 6859062"/>
              <a:gd name="connsiteX9640" fmla="*/ 3614487 w 12192185"/>
              <a:gd name="connsiteY9640" fmla="*/ 693303 h 6859062"/>
              <a:gd name="connsiteX9641" fmla="*/ 3625897 w 12192185"/>
              <a:gd name="connsiteY9641" fmla="*/ 698725 h 6859062"/>
              <a:gd name="connsiteX9642" fmla="*/ 3627768 w 12192185"/>
              <a:gd name="connsiteY9642" fmla="*/ 700221 h 6859062"/>
              <a:gd name="connsiteX9643" fmla="*/ 3637679 w 12192185"/>
              <a:gd name="connsiteY9643" fmla="*/ 724336 h 6859062"/>
              <a:gd name="connsiteX9644" fmla="*/ 3637866 w 12192185"/>
              <a:gd name="connsiteY9644" fmla="*/ 728824 h 6859062"/>
              <a:gd name="connsiteX9645" fmla="*/ 3635248 w 12192185"/>
              <a:gd name="connsiteY9645" fmla="*/ 739666 h 6859062"/>
              <a:gd name="connsiteX9646" fmla="*/ 3633750 w 12192185"/>
              <a:gd name="connsiteY9646" fmla="*/ 749013 h 6859062"/>
              <a:gd name="connsiteX9647" fmla="*/ 3632256 w 12192185"/>
              <a:gd name="connsiteY9647" fmla="*/ 752005 h 6859062"/>
              <a:gd name="connsiteX9648" fmla="*/ 3621221 w 12192185"/>
              <a:gd name="connsiteY9648" fmla="*/ 765091 h 6859062"/>
              <a:gd name="connsiteX9649" fmla="*/ 3620098 w 12192185"/>
              <a:gd name="connsiteY9649" fmla="*/ 767147 h 6859062"/>
              <a:gd name="connsiteX9650" fmla="*/ 3627955 w 12192185"/>
              <a:gd name="connsiteY9650" fmla="*/ 777429 h 6859062"/>
              <a:gd name="connsiteX9651" fmla="*/ 3638428 w 12192185"/>
              <a:gd name="connsiteY9651" fmla="*/ 783599 h 6859062"/>
              <a:gd name="connsiteX9652" fmla="*/ 3649463 w 12192185"/>
              <a:gd name="connsiteY9652" fmla="*/ 796310 h 6859062"/>
              <a:gd name="connsiteX9653" fmla="*/ 3649275 w 12192185"/>
              <a:gd name="connsiteY9653" fmla="*/ 799115 h 6859062"/>
              <a:gd name="connsiteX9654" fmla="*/ 3650022 w 12192185"/>
              <a:gd name="connsiteY9654" fmla="*/ 806032 h 6859062"/>
              <a:gd name="connsiteX9655" fmla="*/ 3650586 w 12192185"/>
              <a:gd name="connsiteY9655" fmla="*/ 814258 h 6859062"/>
              <a:gd name="connsiteX9656" fmla="*/ 3648153 w 12192185"/>
              <a:gd name="connsiteY9656" fmla="*/ 820053 h 6859062"/>
              <a:gd name="connsiteX9657" fmla="*/ 3643105 w 12192185"/>
              <a:gd name="connsiteY9657" fmla="*/ 836879 h 6859062"/>
              <a:gd name="connsiteX9658" fmla="*/ 3634874 w 12192185"/>
              <a:gd name="connsiteY9658" fmla="*/ 846786 h 6859062"/>
              <a:gd name="connsiteX9659" fmla="*/ 3633005 w 12192185"/>
              <a:gd name="connsiteY9659" fmla="*/ 848095 h 6859062"/>
              <a:gd name="connsiteX9660" fmla="*/ 3623278 w 12192185"/>
              <a:gd name="connsiteY9660" fmla="*/ 852581 h 6859062"/>
              <a:gd name="connsiteX9661" fmla="*/ 3619910 w 12192185"/>
              <a:gd name="connsiteY9661" fmla="*/ 854264 h 6859062"/>
              <a:gd name="connsiteX9662" fmla="*/ 3605697 w 12192185"/>
              <a:gd name="connsiteY9662" fmla="*/ 853329 h 6859062"/>
              <a:gd name="connsiteX9663" fmla="*/ 3594288 w 12192185"/>
              <a:gd name="connsiteY9663" fmla="*/ 850339 h 6859062"/>
              <a:gd name="connsiteX9664" fmla="*/ 3590547 w 12192185"/>
              <a:gd name="connsiteY9664" fmla="*/ 850900 h 6859062"/>
              <a:gd name="connsiteX9665" fmla="*/ 3588678 w 12192185"/>
              <a:gd name="connsiteY9665" fmla="*/ 853329 h 6859062"/>
              <a:gd name="connsiteX9666" fmla="*/ 3585684 w 12192185"/>
              <a:gd name="connsiteY9666" fmla="*/ 854077 h 6859062"/>
              <a:gd name="connsiteX9667" fmla="*/ 3585498 w 12192185"/>
              <a:gd name="connsiteY9667" fmla="*/ 850713 h 6859062"/>
              <a:gd name="connsiteX9668" fmla="*/ 3586433 w 12192185"/>
              <a:gd name="connsiteY9668" fmla="*/ 849217 h 6859062"/>
              <a:gd name="connsiteX9669" fmla="*/ 3583254 w 12192185"/>
              <a:gd name="connsiteY9669" fmla="*/ 841552 h 6859062"/>
              <a:gd name="connsiteX9670" fmla="*/ 3580635 w 12192185"/>
              <a:gd name="connsiteY9670" fmla="*/ 841178 h 6859062"/>
              <a:gd name="connsiteX9671" fmla="*/ 3577457 w 12192185"/>
              <a:gd name="connsiteY9671" fmla="*/ 839121 h 6859062"/>
              <a:gd name="connsiteX9672" fmla="*/ 3578952 w 12192185"/>
              <a:gd name="connsiteY9672" fmla="*/ 836130 h 6859062"/>
              <a:gd name="connsiteX9673" fmla="*/ 3578764 w 12192185"/>
              <a:gd name="connsiteY9673" fmla="*/ 831644 h 6859062"/>
              <a:gd name="connsiteX9674" fmla="*/ 3573902 w 12192185"/>
              <a:gd name="connsiteY9674" fmla="*/ 823231 h 6859062"/>
              <a:gd name="connsiteX9675" fmla="*/ 3569974 w 12192185"/>
              <a:gd name="connsiteY9675" fmla="*/ 819493 h 6859062"/>
              <a:gd name="connsiteX9676" fmla="*/ 3567918 w 12192185"/>
              <a:gd name="connsiteY9676" fmla="*/ 818371 h 6859062"/>
              <a:gd name="connsiteX9677" fmla="*/ 3569038 w 12192185"/>
              <a:gd name="connsiteY9677" fmla="*/ 816314 h 6859062"/>
              <a:gd name="connsiteX9678" fmla="*/ 3572777 w 12192185"/>
              <a:gd name="connsiteY9678" fmla="*/ 812201 h 6859062"/>
              <a:gd name="connsiteX9679" fmla="*/ 3572777 w 12192185"/>
              <a:gd name="connsiteY9679" fmla="*/ 801920 h 6859062"/>
              <a:gd name="connsiteX9680" fmla="*/ 3568663 w 12192185"/>
              <a:gd name="connsiteY9680" fmla="*/ 791263 h 6859062"/>
              <a:gd name="connsiteX9681" fmla="*/ 3572404 w 12192185"/>
              <a:gd name="connsiteY9681" fmla="*/ 788833 h 6859062"/>
              <a:gd name="connsiteX9682" fmla="*/ 3576332 w 12192185"/>
              <a:gd name="connsiteY9682" fmla="*/ 792011 h 6859062"/>
              <a:gd name="connsiteX9683" fmla="*/ 3581384 w 12192185"/>
              <a:gd name="connsiteY9683" fmla="*/ 793133 h 6859062"/>
              <a:gd name="connsiteX9684" fmla="*/ 3580448 w 12192185"/>
              <a:gd name="connsiteY9684" fmla="*/ 787337 h 6859062"/>
              <a:gd name="connsiteX9685" fmla="*/ 3577831 w 12192185"/>
              <a:gd name="connsiteY9685" fmla="*/ 784907 h 6859062"/>
              <a:gd name="connsiteX9686" fmla="*/ 3577267 w 12192185"/>
              <a:gd name="connsiteY9686" fmla="*/ 781542 h 6859062"/>
              <a:gd name="connsiteX9687" fmla="*/ 3580447 w 12192185"/>
              <a:gd name="connsiteY9687" fmla="*/ 781916 h 6859062"/>
              <a:gd name="connsiteX9688" fmla="*/ 3583814 w 12192185"/>
              <a:gd name="connsiteY9688" fmla="*/ 784160 h 6859062"/>
              <a:gd name="connsiteX9689" fmla="*/ 3588678 w 12192185"/>
              <a:gd name="connsiteY9689" fmla="*/ 783598 h 6859062"/>
              <a:gd name="connsiteX9690" fmla="*/ 3588678 w 12192185"/>
              <a:gd name="connsiteY9690" fmla="*/ 779486 h 6859062"/>
              <a:gd name="connsiteX9691" fmla="*/ 3570159 w 12192185"/>
              <a:gd name="connsiteY9691" fmla="*/ 774064 h 6859062"/>
              <a:gd name="connsiteX9692" fmla="*/ 3565672 w 12192185"/>
              <a:gd name="connsiteY9692" fmla="*/ 772382 h 6859062"/>
              <a:gd name="connsiteX9693" fmla="*/ 3558005 w 12192185"/>
              <a:gd name="connsiteY9693" fmla="*/ 762660 h 6859062"/>
              <a:gd name="connsiteX9694" fmla="*/ 3555199 w 12192185"/>
              <a:gd name="connsiteY9694" fmla="*/ 759296 h 6859062"/>
              <a:gd name="connsiteX9695" fmla="*/ 3552019 w 12192185"/>
              <a:gd name="connsiteY9695" fmla="*/ 746957 h 6859062"/>
              <a:gd name="connsiteX9696" fmla="*/ 3551646 w 12192185"/>
              <a:gd name="connsiteY9696" fmla="*/ 738171 h 6859062"/>
              <a:gd name="connsiteX9697" fmla="*/ 3548093 w 12192185"/>
              <a:gd name="connsiteY9697" fmla="*/ 731814 h 6859062"/>
              <a:gd name="connsiteX9698" fmla="*/ 3547529 w 12192185"/>
              <a:gd name="connsiteY9698" fmla="*/ 731814 h 6859062"/>
              <a:gd name="connsiteX9699" fmla="*/ 3543976 w 12192185"/>
              <a:gd name="connsiteY9699" fmla="*/ 729571 h 6859062"/>
              <a:gd name="connsiteX9700" fmla="*/ 3546596 w 12192185"/>
              <a:gd name="connsiteY9700" fmla="*/ 727515 h 6859062"/>
              <a:gd name="connsiteX9701" fmla="*/ 3553891 w 12192185"/>
              <a:gd name="connsiteY9701" fmla="*/ 713120 h 6859062"/>
              <a:gd name="connsiteX9702" fmla="*/ 3556133 w 12192185"/>
              <a:gd name="connsiteY9702" fmla="*/ 708634 h 6859062"/>
              <a:gd name="connsiteX9703" fmla="*/ 3559502 w 12192185"/>
              <a:gd name="connsiteY9703" fmla="*/ 707137 h 6859062"/>
              <a:gd name="connsiteX9704" fmla="*/ 3561183 w 12192185"/>
              <a:gd name="connsiteY9704" fmla="*/ 703585 h 6859062"/>
              <a:gd name="connsiteX9705" fmla="*/ 3560347 w 12192185"/>
              <a:gd name="connsiteY9705" fmla="*/ 702398 h 6859062"/>
              <a:gd name="connsiteX9706" fmla="*/ 3574963 w 12192185"/>
              <a:gd name="connsiteY9706" fmla="*/ 687859 h 6859062"/>
              <a:gd name="connsiteX9707" fmla="*/ 3574649 w 12192185"/>
              <a:gd name="connsiteY9707" fmla="*/ 690686 h 6859062"/>
              <a:gd name="connsiteX9708" fmla="*/ 3575959 w 12192185"/>
              <a:gd name="connsiteY9708" fmla="*/ 693864 h 6859062"/>
              <a:gd name="connsiteX9709" fmla="*/ 3579326 w 12192185"/>
              <a:gd name="connsiteY9709" fmla="*/ 692555 h 6859062"/>
              <a:gd name="connsiteX9710" fmla="*/ 3580447 w 12192185"/>
              <a:gd name="connsiteY9710" fmla="*/ 690125 h 6859062"/>
              <a:gd name="connsiteX9711" fmla="*/ 3586059 w 12192185"/>
              <a:gd name="connsiteY9711" fmla="*/ 689191 h 6859062"/>
              <a:gd name="connsiteX9712" fmla="*/ 3588490 w 12192185"/>
              <a:gd name="connsiteY9712" fmla="*/ 690873 h 6859062"/>
              <a:gd name="connsiteX9713" fmla="*/ 3590174 w 12192185"/>
              <a:gd name="connsiteY9713" fmla="*/ 688256 h 6859062"/>
              <a:gd name="connsiteX9714" fmla="*/ 3590735 w 12192185"/>
              <a:gd name="connsiteY9714" fmla="*/ 686013 h 6859062"/>
              <a:gd name="connsiteX9715" fmla="*/ 3592418 w 12192185"/>
              <a:gd name="connsiteY9715" fmla="*/ 683513 h 6859062"/>
              <a:gd name="connsiteX9716" fmla="*/ 7716079 w 12192185"/>
              <a:gd name="connsiteY9716" fmla="*/ 672480 h 6859062"/>
              <a:gd name="connsiteX9717" fmla="*/ 7716275 w 12192185"/>
              <a:gd name="connsiteY9717" fmla="*/ 672675 h 6859062"/>
              <a:gd name="connsiteX9718" fmla="*/ 7715910 w 12192185"/>
              <a:gd name="connsiteY9718" fmla="*/ 672762 h 6859062"/>
              <a:gd name="connsiteX9719" fmla="*/ 668614 w 12192185"/>
              <a:gd name="connsiteY9719" fmla="*/ 671171 h 6859062"/>
              <a:gd name="connsiteX9720" fmla="*/ 692305 w 12192185"/>
              <a:gd name="connsiteY9720" fmla="*/ 678890 h 6859062"/>
              <a:gd name="connsiteX9721" fmla="*/ 696617 w 12192185"/>
              <a:gd name="connsiteY9721" fmla="*/ 687350 h 6859062"/>
              <a:gd name="connsiteX9722" fmla="*/ 698322 w 12192185"/>
              <a:gd name="connsiteY9722" fmla="*/ 690908 h 6859062"/>
              <a:gd name="connsiteX9723" fmla="*/ 703774 w 12192185"/>
              <a:gd name="connsiteY9723" fmla="*/ 700210 h 6859062"/>
              <a:gd name="connsiteX9724" fmla="*/ 706618 w 12192185"/>
              <a:gd name="connsiteY9724" fmla="*/ 704609 h 6859062"/>
              <a:gd name="connsiteX9725" fmla="*/ 708517 w 12192185"/>
              <a:gd name="connsiteY9725" fmla="*/ 711019 h 6859062"/>
              <a:gd name="connsiteX9726" fmla="*/ 708198 w 12192185"/>
              <a:gd name="connsiteY9726" fmla="*/ 718231 h 6859062"/>
              <a:gd name="connsiteX9727" fmla="*/ 705537 w 12192185"/>
              <a:gd name="connsiteY9727" fmla="*/ 736310 h 6859062"/>
              <a:gd name="connsiteX9728" fmla="*/ 685294 w 12192185"/>
              <a:gd name="connsiteY9728" fmla="*/ 762413 h 6859062"/>
              <a:gd name="connsiteX9729" fmla="*/ 682439 w 12192185"/>
              <a:gd name="connsiteY9729" fmla="*/ 762610 h 6859062"/>
              <a:gd name="connsiteX9730" fmla="*/ 670076 w 12192185"/>
              <a:gd name="connsiteY9730" fmla="*/ 765410 h 6859062"/>
              <a:gd name="connsiteX9731" fmla="*/ 666584 w 12192185"/>
              <a:gd name="connsiteY9731" fmla="*/ 765002 h 6859062"/>
              <a:gd name="connsiteX9732" fmla="*/ 657147 w 12192185"/>
              <a:gd name="connsiteY9732" fmla="*/ 765491 h 6859062"/>
              <a:gd name="connsiteX9733" fmla="*/ 652043 w 12192185"/>
              <a:gd name="connsiteY9733" fmla="*/ 765249 h 6859062"/>
              <a:gd name="connsiteX9734" fmla="*/ 647587 w 12192185"/>
              <a:gd name="connsiteY9734" fmla="*/ 761014 h 6859062"/>
              <a:gd name="connsiteX9735" fmla="*/ 632800 w 12192185"/>
              <a:gd name="connsiteY9735" fmla="*/ 751330 h 6859062"/>
              <a:gd name="connsiteX9736" fmla="*/ 625160 w 12192185"/>
              <a:gd name="connsiteY9736" fmla="*/ 744073 h 6859062"/>
              <a:gd name="connsiteX9737" fmla="*/ 623559 w 12192185"/>
              <a:gd name="connsiteY9737" fmla="*/ 739643 h 6859062"/>
              <a:gd name="connsiteX9738" fmla="*/ 623652 w 12192185"/>
              <a:gd name="connsiteY9738" fmla="*/ 728337 h 6859062"/>
              <a:gd name="connsiteX9739" fmla="*/ 622955 w 12192185"/>
              <a:gd name="connsiteY9739" fmla="*/ 710220 h 6859062"/>
              <a:gd name="connsiteX9740" fmla="*/ 625256 w 12192185"/>
              <a:gd name="connsiteY9740" fmla="*/ 702709 h 6859062"/>
              <a:gd name="connsiteX9741" fmla="*/ 630145 w 12192185"/>
              <a:gd name="connsiteY9741" fmla="*/ 694262 h 6859062"/>
              <a:gd name="connsiteX9742" fmla="*/ 635229 w 12192185"/>
              <a:gd name="connsiteY9742" fmla="*/ 688667 h 6859062"/>
              <a:gd name="connsiteX9743" fmla="*/ 656651 w 12192185"/>
              <a:gd name="connsiteY9743" fmla="*/ 675079 h 6859062"/>
              <a:gd name="connsiteX9744" fmla="*/ 668614 w 12192185"/>
              <a:gd name="connsiteY9744" fmla="*/ 671171 h 6859062"/>
              <a:gd name="connsiteX9745" fmla="*/ 2516971 w 12192185"/>
              <a:gd name="connsiteY9745" fmla="*/ 670081 h 6859062"/>
              <a:gd name="connsiteX9746" fmla="*/ 2534400 w 12192185"/>
              <a:gd name="connsiteY9746" fmla="*/ 681114 h 6859062"/>
              <a:gd name="connsiteX9747" fmla="*/ 2539798 w 12192185"/>
              <a:gd name="connsiteY9747" fmla="*/ 691165 h 6859062"/>
              <a:gd name="connsiteX9748" fmla="*/ 2541519 w 12192185"/>
              <a:gd name="connsiteY9748" fmla="*/ 695333 h 6859062"/>
              <a:gd name="connsiteX9749" fmla="*/ 2541765 w 12192185"/>
              <a:gd name="connsiteY9749" fmla="*/ 699501 h 6859062"/>
              <a:gd name="connsiteX9750" fmla="*/ 2541030 w 12192185"/>
              <a:gd name="connsiteY9750" fmla="*/ 702688 h 6859062"/>
              <a:gd name="connsiteX9751" fmla="*/ 2539799 w 12192185"/>
              <a:gd name="connsiteY9751" fmla="*/ 709308 h 6859062"/>
              <a:gd name="connsiteX9752" fmla="*/ 2539557 w 12192185"/>
              <a:gd name="connsiteY9752" fmla="*/ 711759 h 6859062"/>
              <a:gd name="connsiteX9753" fmla="*/ 2538817 w 12192185"/>
              <a:gd name="connsiteY9753" fmla="*/ 717643 h 6859062"/>
              <a:gd name="connsiteX9754" fmla="*/ 2526545 w 12192185"/>
              <a:gd name="connsiteY9754" fmla="*/ 727205 h 6859062"/>
              <a:gd name="connsiteX9755" fmla="*/ 2518689 w 12192185"/>
              <a:gd name="connsiteY9755" fmla="*/ 727450 h 6859062"/>
              <a:gd name="connsiteX9756" fmla="*/ 2503225 w 12192185"/>
              <a:gd name="connsiteY9756" fmla="*/ 724017 h 6859062"/>
              <a:gd name="connsiteX9757" fmla="*/ 2499049 w 12192185"/>
              <a:gd name="connsiteY9757" fmla="*/ 721811 h 6859062"/>
              <a:gd name="connsiteX9758" fmla="*/ 2494388 w 12192185"/>
              <a:gd name="connsiteY9758" fmla="*/ 717889 h 6859062"/>
              <a:gd name="connsiteX9759" fmla="*/ 2491439 w 12192185"/>
              <a:gd name="connsiteY9759" fmla="*/ 713966 h 6859062"/>
              <a:gd name="connsiteX9760" fmla="*/ 2488004 w 12192185"/>
              <a:gd name="connsiteY9760" fmla="*/ 703178 h 6859062"/>
              <a:gd name="connsiteX9761" fmla="*/ 2485550 w 12192185"/>
              <a:gd name="connsiteY9761" fmla="*/ 696559 h 6859062"/>
              <a:gd name="connsiteX9762" fmla="*/ 2485550 w 12192185"/>
              <a:gd name="connsiteY9762" fmla="*/ 693616 h 6859062"/>
              <a:gd name="connsiteX9763" fmla="*/ 2488496 w 12192185"/>
              <a:gd name="connsiteY9763" fmla="*/ 687733 h 6859062"/>
              <a:gd name="connsiteX9764" fmla="*/ 2495123 w 12192185"/>
              <a:gd name="connsiteY9764" fmla="*/ 678907 h 6859062"/>
              <a:gd name="connsiteX9765" fmla="*/ 2496840 w 12192185"/>
              <a:gd name="connsiteY9765" fmla="*/ 675475 h 6859062"/>
              <a:gd name="connsiteX9766" fmla="*/ 2499786 w 12192185"/>
              <a:gd name="connsiteY9766" fmla="*/ 674249 h 6859062"/>
              <a:gd name="connsiteX9767" fmla="*/ 2505432 w 12192185"/>
              <a:gd name="connsiteY9767" fmla="*/ 672533 h 6859062"/>
              <a:gd name="connsiteX9768" fmla="*/ 2507397 w 12192185"/>
              <a:gd name="connsiteY9768" fmla="*/ 671552 h 6859062"/>
              <a:gd name="connsiteX9769" fmla="*/ 2515253 w 12192185"/>
              <a:gd name="connsiteY9769" fmla="*/ 670571 h 6859062"/>
              <a:gd name="connsiteX9770" fmla="*/ 2516971 w 12192185"/>
              <a:gd name="connsiteY9770" fmla="*/ 670081 h 6859062"/>
              <a:gd name="connsiteX9771" fmla="*/ 9478155 w 12192185"/>
              <a:gd name="connsiteY9771" fmla="*/ 666068 h 6859062"/>
              <a:gd name="connsiteX9772" fmla="*/ 9485201 w 12192185"/>
              <a:gd name="connsiteY9772" fmla="*/ 669558 h 6859062"/>
              <a:gd name="connsiteX9773" fmla="*/ 9489195 w 12192185"/>
              <a:gd name="connsiteY9773" fmla="*/ 671669 h 6859062"/>
              <a:gd name="connsiteX9774" fmla="*/ 9493657 w 12192185"/>
              <a:gd name="connsiteY9774" fmla="*/ 675422 h 6859062"/>
              <a:gd name="connsiteX9775" fmla="*/ 9496476 w 12192185"/>
              <a:gd name="connsiteY9775" fmla="*/ 679175 h 6859062"/>
              <a:gd name="connsiteX9776" fmla="*/ 9499765 w 12192185"/>
              <a:gd name="connsiteY9776" fmla="*/ 689498 h 6859062"/>
              <a:gd name="connsiteX9777" fmla="*/ 9502113 w 12192185"/>
              <a:gd name="connsiteY9777" fmla="*/ 695831 h 6859062"/>
              <a:gd name="connsiteX9778" fmla="*/ 9502113 w 12192185"/>
              <a:gd name="connsiteY9778" fmla="*/ 698647 h 6859062"/>
              <a:gd name="connsiteX9779" fmla="*/ 9499295 w 12192185"/>
              <a:gd name="connsiteY9779" fmla="*/ 704277 h 6859062"/>
              <a:gd name="connsiteX9780" fmla="*/ 9492952 w 12192185"/>
              <a:gd name="connsiteY9780" fmla="*/ 712722 h 6859062"/>
              <a:gd name="connsiteX9781" fmla="*/ 9491309 w 12192185"/>
              <a:gd name="connsiteY9781" fmla="*/ 716006 h 6859062"/>
              <a:gd name="connsiteX9782" fmla="*/ 9488490 w 12192185"/>
              <a:gd name="connsiteY9782" fmla="*/ 717180 h 6859062"/>
              <a:gd name="connsiteX9783" fmla="*/ 9483087 w 12192185"/>
              <a:gd name="connsiteY9783" fmla="*/ 718821 h 6859062"/>
              <a:gd name="connsiteX9784" fmla="*/ 9481208 w 12192185"/>
              <a:gd name="connsiteY9784" fmla="*/ 719760 h 6859062"/>
              <a:gd name="connsiteX9785" fmla="*/ 9473691 w 12192185"/>
              <a:gd name="connsiteY9785" fmla="*/ 720698 h 6859062"/>
              <a:gd name="connsiteX9786" fmla="*/ 9472047 w 12192185"/>
              <a:gd name="connsiteY9786" fmla="*/ 721167 h 6859062"/>
              <a:gd name="connsiteX9787" fmla="*/ 9455370 w 12192185"/>
              <a:gd name="connsiteY9787" fmla="*/ 710611 h 6859062"/>
              <a:gd name="connsiteX9788" fmla="*/ 9450202 w 12192185"/>
              <a:gd name="connsiteY9788" fmla="*/ 700992 h 6859062"/>
              <a:gd name="connsiteX9789" fmla="*/ 9448558 w 12192185"/>
              <a:gd name="connsiteY9789" fmla="*/ 697005 h 6859062"/>
              <a:gd name="connsiteX9790" fmla="*/ 9448323 w 12192185"/>
              <a:gd name="connsiteY9790" fmla="*/ 693016 h 6859062"/>
              <a:gd name="connsiteX9791" fmla="*/ 9449028 w 12192185"/>
              <a:gd name="connsiteY9791" fmla="*/ 689967 h 6859062"/>
              <a:gd name="connsiteX9792" fmla="*/ 9450202 w 12192185"/>
              <a:gd name="connsiteY9792" fmla="*/ 683633 h 6859062"/>
              <a:gd name="connsiteX9793" fmla="*/ 9450437 w 12192185"/>
              <a:gd name="connsiteY9793" fmla="*/ 681287 h 6859062"/>
              <a:gd name="connsiteX9794" fmla="*/ 9451142 w 12192185"/>
              <a:gd name="connsiteY9794" fmla="*/ 675657 h 6859062"/>
              <a:gd name="connsiteX9795" fmla="*/ 9462886 w 12192185"/>
              <a:gd name="connsiteY9795" fmla="*/ 666508 h 6859062"/>
              <a:gd name="connsiteX9796" fmla="*/ 9470403 w 12192185"/>
              <a:gd name="connsiteY9796" fmla="*/ 666273 h 6859062"/>
              <a:gd name="connsiteX9797" fmla="*/ 9478155 w 12192185"/>
              <a:gd name="connsiteY9797" fmla="*/ 666068 h 6859062"/>
              <a:gd name="connsiteX9798" fmla="*/ 9127415 w 12192185"/>
              <a:gd name="connsiteY9798" fmla="*/ 645450 h 6859062"/>
              <a:gd name="connsiteX9799" fmla="*/ 9135684 w 12192185"/>
              <a:gd name="connsiteY9799" fmla="*/ 646716 h 6859062"/>
              <a:gd name="connsiteX9800" fmla="*/ 9142681 w 12192185"/>
              <a:gd name="connsiteY9800" fmla="*/ 651149 h 6859062"/>
              <a:gd name="connsiteX9801" fmla="*/ 9146497 w 12192185"/>
              <a:gd name="connsiteY9801" fmla="*/ 655582 h 6859062"/>
              <a:gd name="connsiteX9802" fmla="*/ 9146497 w 12192185"/>
              <a:gd name="connsiteY9802" fmla="*/ 666980 h 6859062"/>
              <a:gd name="connsiteX9803" fmla="*/ 9139500 w 12192185"/>
              <a:gd name="connsiteY9803" fmla="*/ 673945 h 6859062"/>
              <a:gd name="connsiteX9804" fmla="*/ 9135049 w 12192185"/>
              <a:gd name="connsiteY9804" fmla="*/ 682177 h 6859062"/>
              <a:gd name="connsiteX9805" fmla="*/ 9131549 w 12192185"/>
              <a:gd name="connsiteY9805" fmla="*/ 690726 h 6859062"/>
              <a:gd name="connsiteX9806" fmla="*/ 9126779 w 12192185"/>
              <a:gd name="connsiteY9806" fmla="*/ 696425 h 6859062"/>
              <a:gd name="connsiteX9807" fmla="*/ 9119782 w 12192185"/>
              <a:gd name="connsiteY9807" fmla="*/ 699907 h 6859062"/>
              <a:gd name="connsiteX9808" fmla="*/ 9113421 w 12192185"/>
              <a:gd name="connsiteY9808" fmla="*/ 699907 h 6859062"/>
              <a:gd name="connsiteX9809" fmla="*/ 9112468 w 12192185"/>
              <a:gd name="connsiteY9809" fmla="*/ 698640 h 6859062"/>
              <a:gd name="connsiteX9810" fmla="*/ 9103562 w 12192185"/>
              <a:gd name="connsiteY9810" fmla="*/ 691675 h 6859062"/>
              <a:gd name="connsiteX9811" fmla="*/ 9100700 w 12192185"/>
              <a:gd name="connsiteY9811" fmla="*/ 680910 h 6859062"/>
              <a:gd name="connsiteX9812" fmla="*/ 9105153 w 12192185"/>
              <a:gd name="connsiteY9812" fmla="*/ 668246 h 6859062"/>
              <a:gd name="connsiteX9813" fmla="*/ 9109923 w 12192185"/>
              <a:gd name="connsiteY9813" fmla="*/ 665396 h 6859062"/>
              <a:gd name="connsiteX9814" fmla="*/ 9115966 w 12192185"/>
              <a:gd name="connsiteY9814" fmla="*/ 657798 h 6859062"/>
              <a:gd name="connsiteX9815" fmla="*/ 9117874 w 12192185"/>
              <a:gd name="connsiteY9815" fmla="*/ 654315 h 6859062"/>
              <a:gd name="connsiteX9816" fmla="*/ 9127415 w 12192185"/>
              <a:gd name="connsiteY9816" fmla="*/ 645450 h 6859062"/>
              <a:gd name="connsiteX9817" fmla="*/ 8561999 w 12192185"/>
              <a:gd name="connsiteY9817" fmla="*/ 633526 h 6859062"/>
              <a:gd name="connsiteX9818" fmla="*/ 8579428 w 12192185"/>
              <a:gd name="connsiteY9818" fmla="*/ 644558 h 6859062"/>
              <a:gd name="connsiteX9819" fmla="*/ 8584828 w 12192185"/>
              <a:gd name="connsiteY9819" fmla="*/ 654610 h 6859062"/>
              <a:gd name="connsiteX9820" fmla="*/ 8586547 w 12192185"/>
              <a:gd name="connsiteY9820" fmla="*/ 658778 h 6859062"/>
              <a:gd name="connsiteX9821" fmla="*/ 8586792 w 12192185"/>
              <a:gd name="connsiteY9821" fmla="*/ 662945 h 6859062"/>
              <a:gd name="connsiteX9822" fmla="*/ 8586056 w 12192185"/>
              <a:gd name="connsiteY9822" fmla="*/ 666133 h 6859062"/>
              <a:gd name="connsiteX9823" fmla="*/ 8584828 w 12192185"/>
              <a:gd name="connsiteY9823" fmla="*/ 672753 h 6859062"/>
              <a:gd name="connsiteX9824" fmla="*/ 8584583 w 12192185"/>
              <a:gd name="connsiteY9824" fmla="*/ 675204 h 6859062"/>
              <a:gd name="connsiteX9825" fmla="*/ 8583846 w 12192185"/>
              <a:gd name="connsiteY9825" fmla="*/ 681088 h 6859062"/>
              <a:gd name="connsiteX9826" fmla="*/ 8571573 w 12192185"/>
              <a:gd name="connsiteY9826" fmla="*/ 690650 h 6859062"/>
              <a:gd name="connsiteX9827" fmla="*/ 8563718 w 12192185"/>
              <a:gd name="connsiteY9827" fmla="*/ 690894 h 6859062"/>
              <a:gd name="connsiteX9828" fmla="*/ 8548252 w 12192185"/>
              <a:gd name="connsiteY9828" fmla="*/ 687463 h 6859062"/>
              <a:gd name="connsiteX9829" fmla="*/ 8544078 w 12192185"/>
              <a:gd name="connsiteY9829" fmla="*/ 685256 h 6859062"/>
              <a:gd name="connsiteX9830" fmla="*/ 8539414 w 12192185"/>
              <a:gd name="connsiteY9830" fmla="*/ 681333 h 6859062"/>
              <a:gd name="connsiteX9831" fmla="*/ 8536469 w 12192185"/>
              <a:gd name="connsiteY9831" fmla="*/ 677411 h 6859062"/>
              <a:gd name="connsiteX9832" fmla="*/ 8533032 w 12192185"/>
              <a:gd name="connsiteY9832" fmla="*/ 666624 h 6859062"/>
              <a:gd name="connsiteX9833" fmla="*/ 8530577 w 12192185"/>
              <a:gd name="connsiteY9833" fmla="*/ 660003 h 6859062"/>
              <a:gd name="connsiteX9834" fmla="*/ 8530577 w 12192185"/>
              <a:gd name="connsiteY9834" fmla="*/ 657062 h 6859062"/>
              <a:gd name="connsiteX9835" fmla="*/ 8533524 w 12192185"/>
              <a:gd name="connsiteY9835" fmla="*/ 651178 h 6859062"/>
              <a:gd name="connsiteX9836" fmla="*/ 8540151 w 12192185"/>
              <a:gd name="connsiteY9836" fmla="*/ 642352 h 6859062"/>
              <a:gd name="connsiteX9837" fmla="*/ 8541869 w 12192185"/>
              <a:gd name="connsiteY9837" fmla="*/ 638920 h 6859062"/>
              <a:gd name="connsiteX9838" fmla="*/ 8544815 w 12192185"/>
              <a:gd name="connsiteY9838" fmla="*/ 637694 h 6859062"/>
              <a:gd name="connsiteX9839" fmla="*/ 8550462 w 12192185"/>
              <a:gd name="connsiteY9839" fmla="*/ 635977 h 6859062"/>
              <a:gd name="connsiteX9840" fmla="*/ 8552425 w 12192185"/>
              <a:gd name="connsiteY9840" fmla="*/ 634997 h 6859062"/>
              <a:gd name="connsiteX9841" fmla="*/ 8560280 w 12192185"/>
              <a:gd name="connsiteY9841" fmla="*/ 634016 h 6859062"/>
              <a:gd name="connsiteX9842" fmla="*/ 8561999 w 12192185"/>
              <a:gd name="connsiteY9842" fmla="*/ 633526 h 6859062"/>
              <a:gd name="connsiteX9843" fmla="*/ 3072335 w 12192185"/>
              <a:gd name="connsiteY9843" fmla="*/ 626429 h 6859062"/>
              <a:gd name="connsiteX9844" fmla="*/ 3091065 w 12192185"/>
              <a:gd name="connsiteY9844" fmla="*/ 638286 h 6859062"/>
              <a:gd name="connsiteX9845" fmla="*/ 3096869 w 12192185"/>
              <a:gd name="connsiteY9845" fmla="*/ 649087 h 6859062"/>
              <a:gd name="connsiteX9846" fmla="*/ 3098716 w 12192185"/>
              <a:gd name="connsiteY9846" fmla="*/ 653566 h 6859062"/>
              <a:gd name="connsiteX9847" fmla="*/ 3098979 w 12192185"/>
              <a:gd name="connsiteY9847" fmla="*/ 658045 h 6859062"/>
              <a:gd name="connsiteX9848" fmla="*/ 3098188 w 12192185"/>
              <a:gd name="connsiteY9848" fmla="*/ 661470 h 6859062"/>
              <a:gd name="connsiteX9849" fmla="*/ 3096869 w 12192185"/>
              <a:gd name="connsiteY9849" fmla="*/ 668583 h 6859062"/>
              <a:gd name="connsiteX9850" fmla="*/ 3096605 w 12192185"/>
              <a:gd name="connsiteY9850" fmla="*/ 671217 h 6859062"/>
              <a:gd name="connsiteX9851" fmla="*/ 3095813 w 12192185"/>
              <a:gd name="connsiteY9851" fmla="*/ 677540 h 6859062"/>
              <a:gd name="connsiteX9852" fmla="*/ 3082623 w 12192185"/>
              <a:gd name="connsiteY9852" fmla="*/ 687815 h 6859062"/>
              <a:gd name="connsiteX9853" fmla="*/ 3074182 w 12192185"/>
              <a:gd name="connsiteY9853" fmla="*/ 688079 h 6859062"/>
              <a:gd name="connsiteX9854" fmla="*/ 3057563 w 12192185"/>
              <a:gd name="connsiteY9854" fmla="*/ 684391 h 6859062"/>
              <a:gd name="connsiteX9855" fmla="*/ 3053079 w 12192185"/>
              <a:gd name="connsiteY9855" fmla="*/ 682020 h 6859062"/>
              <a:gd name="connsiteX9856" fmla="*/ 3048066 w 12192185"/>
              <a:gd name="connsiteY9856" fmla="*/ 677804 h 6859062"/>
              <a:gd name="connsiteX9857" fmla="*/ 3044901 w 12192185"/>
              <a:gd name="connsiteY9857" fmla="*/ 673589 h 6859062"/>
              <a:gd name="connsiteX9858" fmla="*/ 3041209 w 12192185"/>
              <a:gd name="connsiteY9858" fmla="*/ 661997 h 6859062"/>
              <a:gd name="connsiteX9859" fmla="*/ 3038570 w 12192185"/>
              <a:gd name="connsiteY9859" fmla="*/ 654883 h 6859062"/>
              <a:gd name="connsiteX9860" fmla="*/ 3038570 w 12192185"/>
              <a:gd name="connsiteY9860" fmla="*/ 651722 h 6859062"/>
              <a:gd name="connsiteX9861" fmla="*/ 3041736 w 12192185"/>
              <a:gd name="connsiteY9861" fmla="*/ 645399 h 6859062"/>
              <a:gd name="connsiteX9862" fmla="*/ 3048856 w 12192185"/>
              <a:gd name="connsiteY9862" fmla="*/ 635914 h 6859062"/>
              <a:gd name="connsiteX9863" fmla="*/ 3050704 w 12192185"/>
              <a:gd name="connsiteY9863" fmla="*/ 632225 h 6859062"/>
              <a:gd name="connsiteX9864" fmla="*/ 3053870 w 12192185"/>
              <a:gd name="connsiteY9864" fmla="*/ 630909 h 6859062"/>
              <a:gd name="connsiteX9865" fmla="*/ 3059937 w 12192185"/>
              <a:gd name="connsiteY9865" fmla="*/ 629065 h 6859062"/>
              <a:gd name="connsiteX9866" fmla="*/ 3062047 w 12192185"/>
              <a:gd name="connsiteY9866" fmla="*/ 628010 h 6859062"/>
              <a:gd name="connsiteX9867" fmla="*/ 3070488 w 12192185"/>
              <a:gd name="connsiteY9867" fmla="*/ 626957 h 6859062"/>
              <a:gd name="connsiteX9868" fmla="*/ 3072335 w 12192185"/>
              <a:gd name="connsiteY9868" fmla="*/ 626429 h 6859062"/>
              <a:gd name="connsiteX9869" fmla="*/ 2278833 w 12192185"/>
              <a:gd name="connsiteY9869" fmla="*/ 624824 h 6859062"/>
              <a:gd name="connsiteX9870" fmla="*/ 2281306 w 12192185"/>
              <a:gd name="connsiteY9870" fmla="*/ 625530 h 6859062"/>
              <a:gd name="connsiteX9871" fmla="*/ 2292616 w 12192185"/>
              <a:gd name="connsiteY9871" fmla="*/ 626942 h 6859062"/>
              <a:gd name="connsiteX9872" fmla="*/ 2295446 w 12192185"/>
              <a:gd name="connsiteY9872" fmla="*/ 628354 h 6859062"/>
              <a:gd name="connsiteX9873" fmla="*/ 2303573 w 12192185"/>
              <a:gd name="connsiteY9873" fmla="*/ 630824 h 6859062"/>
              <a:gd name="connsiteX9874" fmla="*/ 2307815 w 12192185"/>
              <a:gd name="connsiteY9874" fmla="*/ 632589 h 6859062"/>
              <a:gd name="connsiteX9875" fmla="*/ 2310288 w 12192185"/>
              <a:gd name="connsiteY9875" fmla="*/ 637530 h 6859062"/>
              <a:gd name="connsiteX9876" fmla="*/ 2319831 w 12192185"/>
              <a:gd name="connsiteY9876" fmla="*/ 650237 h 6859062"/>
              <a:gd name="connsiteX9877" fmla="*/ 2324073 w 12192185"/>
              <a:gd name="connsiteY9877" fmla="*/ 658709 h 6859062"/>
              <a:gd name="connsiteX9878" fmla="*/ 2324073 w 12192185"/>
              <a:gd name="connsiteY9878" fmla="*/ 662944 h 6859062"/>
              <a:gd name="connsiteX9879" fmla="*/ 2320536 w 12192185"/>
              <a:gd name="connsiteY9879" fmla="*/ 672474 h 6859062"/>
              <a:gd name="connsiteX9880" fmla="*/ 2315589 w 12192185"/>
              <a:gd name="connsiteY9880" fmla="*/ 688004 h 6859062"/>
              <a:gd name="connsiteX9881" fmla="*/ 2311348 w 12192185"/>
              <a:gd name="connsiteY9881" fmla="*/ 693653 h 6859062"/>
              <a:gd name="connsiteX9882" fmla="*/ 2304632 w 12192185"/>
              <a:gd name="connsiteY9882" fmla="*/ 699300 h 6859062"/>
              <a:gd name="connsiteX9883" fmla="*/ 2298625 w 12192185"/>
              <a:gd name="connsiteY9883" fmla="*/ 702476 h 6859062"/>
              <a:gd name="connsiteX9884" fmla="*/ 2276360 w 12192185"/>
              <a:gd name="connsiteY9884" fmla="*/ 707417 h 6859062"/>
              <a:gd name="connsiteX9885" fmla="*/ 2265051 w 12192185"/>
              <a:gd name="connsiteY9885" fmla="*/ 707065 h 6859062"/>
              <a:gd name="connsiteX9886" fmla="*/ 2247380 w 12192185"/>
              <a:gd name="connsiteY9886" fmla="*/ 693299 h 6859062"/>
              <a:gd name="connsiteX9887" fmla="*/ 2246320 w 12192185"/>
              <a:gd name="connsiteY9887" fmla="*/ 684828 h 6859062"/>
              <a:gd name="connsiteX9888" fmla="*/ 2245966 w 12192185"/>
              <a:gd name="connsiteY9888" fmla="*/ 681298 h 6859062"/>
              <a:gd name="connsiteX9889" fmla="*/ 2244198 w 12192185"/>
              <a:gd name="connsiteY9889" fmla="*/ 671768 h 6859062"/>
              <a:gd name="connsiteX9890" fmla="*/ 2243137 w 12192185"/>
              <a:gd name="connsiteY9890" fmla="*/ 667179 h 6859062"/>
              <a:gd name="connsiteX9891" fmla="*/ 2243491 w 12192185"/>
              <a:gd name="connsiteY9891" fmla="*/ 661179 h 6859062"/>
              <a:gd name="connsiteX9892" fmla="*/ 2245966 w 12192185"/>
              <a:gd name="connsiteY9892" fmla="*/ 655179 h 6859062"/>
              <a:gd name="connsiteX9893" fmla="*/ 2253742 w 12192185"/>
              <a:gd name="connsiteY9893" fmla="*/ 640708 h 6859062"/>
              <a:gd name="connsiteX9894" fmla="*/ 2278833 w 12192185"/>
              <a:gd name="connsiteY9894" fmla="*/ 624824 h 6859062"/>
              <a:gd name="connsiteX9895" fmla="*/ 7656768 w 12192185"/>
              <a:gd name="connsiteY9895" fmla="*/ 624585 h 6859062"/>
              <a:gd name="connsiteX9896" fmla="*/ 7658203 w 12192185"/>
              <a:gd name="connsiteY9896" fmla="*/ 626716 h 6859062"/>
              <a:gd name="connsiteX9897" fmla="*/ 7658680 w 12192185"/>
              <a:gd name="connsiteY9897" fmla="*/ 628628 h 6859062"/>
              <a:gd name="connsiteX9898" fmla="*/ 7660116 w 12192185"/>
              <a:gd name="connsiteY9898" fmla="*/ 630859 h 6859062"/>
              <a:gd name="connsiteX9899" fmla="*/ 7662187 w 12192185"/>
              <a:gd name="connsiteY9899" fmla="*/ 629425 h 6859062"/>
              <a:gd name="connsiteX9900" fmla="*/ 7666970 w 12192185"/>
              <a:gd name="connsiteY9900" fmla="*/ 630221 h 6859062"/>
              <a:gd name="connsiteX9901" fmla="*/ 7667926 w 12192185"/>
              <a:gd name="connsiteY9901" fmla="*/ 632292 h 6859062"/>
              <a:gd name="connsiteX9902" fmla="*/ 7670796 w 12192185"/>
              <a:gd name="connsiteY9902" fmla="*/ 633408 h 6859062"/>
              <a:gd name="connsiteX9903" fmla="*/ 7671912 w 12192185"/>
              <a:gd name="connsiteY9903" fmla="*/ 630699 h 6859062"/>
              <a:gd name="connsiteX9904" fmla="*/ 7671643 w 12192185"/>
              <a:gd name="connsiteY9904" fmla="*/ 628289 h 6859062"/>
              <a:gd name="connsiteX9905" fmla="*/ 7684103 w 12192185"/>
              <a:gd name="connsiteY9905" fmla="*/ 640680 h 6859062"/>
              <a:gd name="connsiteX9906" fmla="*/ 7683389 w 12192185"/>
              <a:gd name="connsiteY9906" fmla="*/ 641692 h 6859062"/>
              <a:gd name="connsiteX9907" fmla="*/ 7684825 w 12192185"/>
              <a:gd name="connsiteY9907" fmla="*/ 644720 h 6859062"/>
              <a:gd name="connsiteX9908" fmla="*/ 7687694 w 12192185"/>
              <a:gd name="connsiteY9908" fmla="*/ 645994 h 6859062"/>
              <a:gd name="connsiteX9909" fmla="*/ 7689606 w 12192185"/>
              <a:gd name="connsiteY9909" fmla="*/ 649819 h 6859062"/>
              <a:gd name="connsiteX9910" fmla="*/ 7695824 w 12192185"/>
              <a:gd name="connsiteY9910" fmla="*/ 662087 h 6859062"/>
              <a:gd name="connsiteX9911" fmla="*/ 7698055 w 12192185"/>
              <a:gd name="connsiteY9911" fmla="*/ 663840 h 6859062"/>
              <a:gd name="connsiteX9912" fmla="*/ 7695027 w 12192185"/>
              <a:gd name="connsiteY9912" fmla="*/ 665752 h 6859062"/>
              <a:gd name="connsiteX9913" fmla="*/ 7694549 w 12192185"/>
              <a:gd name="connsiteY9913" fmla="*/ 665752 h 6859062"/>
              <a:gd name="connsiteX9914" fmla="*/ 7691519 w 12192185"/>
              <a:gd name="connsiteY9914" fmla="*/ 671169 h 6859062"/>
              <a:gd name="connsiteX9915" fmla="*/ 7691201 w 12192185"/>
              <a:gd name="connsiteY9915" fmla="*/ 678657 h 6859062"/>
              <a:gd name="connsiteX9916" fmla="*/ 7688491 w 12192185"/>
              <a:gd name="connsiteY9916" fmla="*/ 689173 h 6859062"/>
              <a:gd name="connsiteX9917" fmla="*/ 7686099 w 12192185"/>
              <a:gd name="connsiteY9917" fmla="*/ 692041 h 6859062"/>
              <a:gd name="connsiteX9918" fmla="*/ 7679563 w 12192185"/>
              <a:gd name="connsiteY9918" fmla="*/ 700326 h 6859062"/>
              <a:gd name="connsiteX9919" fmla="*/ 7675738 w 12192185"/>
              <a:gd name="connsiteY9919" fmla="*/ 701760 h 6859062"/>
              <a:gd name="connsiteX9920" fmla="*/ 7659956 w 12192185"/>
              <a:gd name="connsiteY9920" fmla="*/ 706381 h 6859062"/>
              <a:gd name="connsiteX9921" fmla="*/ 7659956 w 12192185"/>
              <a:gd name="connsiteY9921" fmla="*/ 709886 h 6859062"/>
              <a:gd name="connsiteX9922" fmla="*/ 7664101 w 12192185"/>
              <a:gd name="connsiteY9922" fmla="*/ 710365 h 6859062"/>
              <a:gd name="connsiteX9923" fmla="*/ 7666970 w 12192185"/>
              <a:gd name="connsiteY9923" fmla="*/ 708452 h 6859062"/>
              <a:gd name="connsiteX9924" fmla="*/ 7669680 w 12192185"/>
              <a:gd name="connsiteY9924" fmla="*/ 708133 h 6859062"/>
              <a:gd name="connsiteX9925" fmla="*/ 7669202 w 12192185"/>
              <a:gd name="connsiteY9925" fmla="*/ 711001 h 6859062"/>
              <a:gd name="connsiteX9926" fmla="*/ 7666970 w 12192185"/>
              <a:gd name="connsiteY9926" fmla="*/ 713073 h 6859062"/>
              <a:gd name="connsiteX9927" fmla="*/ 7666173 w 12192185"/>
              <a:gd name="connsiteY9927" fmla="*/ 718012 h 6859062"/>
              <a:gd name="connsiteX9928" fmla="*/ 7670477 w 12192185"/>
              <a:gd name="connsiteY9928" fmla="*/ 717056 h 6859062"/>
              <a:gd name="connsiteX9929" fmla="*/ 7673826 w 12192185"/>
              <a:gd name="connsiteY9929" fmla="*/ 714347 h 6859062"/>
              <a:gd name="connsiteX9930" fmla="*/ 7677013 w 12192185"/>
              <a:gd name="connsiteY9930" fmla="*/ 716419 h 6859062"/>
              <a:gd name="connsiteX9931" fmla="*/ 7673507 w 12192185"/>
              <a:gd name="connsiteY9931" fmla="*/ 725500 h 6859062"/>
              <a:gd name="connsiteX9932" fmla="*/ 7673507 w 12192185"/>
              <a:gd name="connsiteY9932" fmla="*/ 734264 h 6859062"/>
              <a:gd name="connsiteX9933" fmla="*/ 7676695 w 12192185"/>
              <a:gd name="connsiteY9933" fmla="*/ 737769 h 6859062"/>
              <a:gd name="connsiteX9934" fmla="*/ 7677651 w 12192185"/>
              <a:gd name="connsiteY9934" fmla="*/ 739521 h 6859062"/>
              <a:gd name="connsiteX9935" fmla="*/ 7675897 w 12192185"/>
              <a:gd name="connsiteY9935" fmla="*/ 740478 h 6859062"/>
              <a:gd name="connsiteX9936" fmla="*/ 7672550 w 12192185"/>
              <a:gd name="connsiteY9936" fmla="*/ 743664 h 6859062"/>
              <a:gd name="connsiteX9937" fmla="*/ 7668405 w 12192185"/>
              <a:gd name="connsiteY9937" fmla="*/ 750834 h 6859062"/>
              <a:gd name="connsiteX9938" fmla="*/ 7668245 w 12192185"/>
              <a:gd name="connsiteY9938" fmla="*/ 754658 h 6859062"/>
              <a:gd name="connsiteX9939" fmla="*/ 7669520 w 12192185"/>
              <a:gd name="connsiteY9939" fmla="*/ 757207 h 6859062"/>
              <a:gd name="connsiteX9940" fmla="*/ 7666810 w 12192185"/>
              <a:gd name="connsiteY9940" fmla="*/ 758960 h 6859062"/>
              <a:gd name="connsiteX9941" fmla="*/ 7664579 w 12192185"/>
              <a:gd name="connsiteY9941" fmla="*/ 759279 h 6859062"/>
              <a:gd name="connsiteX9942" fmla="*/ 7661869 w 12192185"/>
              <a:gd name="connsiteY9942" fmla="*/ 765811 h 6859062"/>
              <a:gd name="connsiteX9943" fmla="*/ 7662666 w 12192185"/>
              <a:gd name="connsiteY9943" fmla="*/ 767086 h 6859062"/>
              <a:gd name="connsiteX9944" fmla="*/ 7662507 w 12192185"/>
              <a:gd name="connsiteY9944" fmla="*/ 769954 h 6859062"/>
              <a:gd name="connsiteX9945" fmla="*/ 7659956 w 12192185"/>
              <a:gd name="connsiteY9945" fmla="*/ 769316 h 6859062"/>
              <a:gd name="connsiteX9946" fmla="*/ 7658362 w 12192185"/>
              <a:gd name="connsiteY9946" fmla="*/ 767245 h 6859062"/>
              <a:gd name="connsiteX9947" fmla="*/ 7655174 w 12192185"/>
              <a:gd name="connsiteY9947" fmla="*/ 766767 h 6859062"/>
              <a:gd name="connsiteX9948" fmla="*/ 7645449 w 12192185"/>
              <a:gd name="connsiteY9948" fmla="*/ 769316 h 6859062"/>
              <a:gd name="connsiteX9949" fmla="*/ 7633334 w 12192185"/>
              <a:gd name="connsiteY9949" fmla="*/ 770113 h 6859062"/>
              <a:gd name="connsiteX9950" fmla="*/ 7630465 w 12192185"/>
              <a:gd name="connsiteY9950" fmla="*/ 768680 h 6859062"/>
              <a:gd name="connsiteX9951" fmla="*/ 7622175 w 12192185"/>
              <a:gd name="connsiteY9951" fmla="*/ 764856 h 6859062"/>
              <a:gd name="connsiteX9952" fmla="*/ 7620582 w 12192185"/>
              <a:gd name="connsiteY9952" fmla="*/ 763741 h 6859062"/>
              <a:gd name="connsiteX9953" fmla="*/ 7613567 w 12192185"/>
              <a:gd name="connsiteY9953" fmla="*/ 755295 h 6859062"/>
              <a:gd name="connsiteX9954" fmla="*/ 7609263 w 12192185"/>
              <a:gd name="connsiteY9954" fmla="*/ 740956 h 6859062"/>
              <a:gd name="connsiteX9955" fmla="*/ 7607191 w 12192185"/>
              <a:gd name="connsiteY9955" fmla="*/ 736016 h 6859062"/>
              <a:gd name="connsiteX9956" fmla="*/ 7607669 w 12192185"/>
              <a:gd name="connsiteY9956" fmla="*/ 729006 h 6859062"/>
              <a:gd name="connsiteX9957" fmla="*/ 7608306 w 12192185"/>
              <a:gd name="connsiteY9957" fmla="*/ 723110 h 6859062"/>
              <a:gd name="connsiteX9958" fmla="*/ 7608147 w 12192185"/>
              <a:gd name="connsiteY9958" fmla="*/ 720721 h 6859062"/>
              <a:gd name="connsiteX9959" fmla="*/ 7617552 w 12192185"/>
              <a:gd name="connsiteY9959" fmla="*/ 709886 h 6859062"/>
              <a:gd name="connsiteX9960" fmla="*/ 7626480 w 12192185"/>
              <a:gd name="connsiteY9960" fmla="*/ 704629 h 6859062"/>
              <a:gd name="connsiteX9961" fmla="*/ 7633175 w 12192185"/>
              <a:gd name="connsiteY9961" fmla="*/ 695865 h 6859062"/>
              <a:gd name="connsiteX9962" fmla="*/ 7632218 w 12192185"/>
              <a:gd name="connsiteY9962" fmla="*/ 694113 h 6859062"/>
              <a:gd name="connsiteX9963" fmla="*/ 7622813 w 12192185"/>
              <a:gd name="connsiteY9963" fmla="*/ 682959 h 6859062"/>
              <a:gd name="connsiteX9964" fmla="*/ 7621538 w 12192185"/>
              <a:gd name="connsiteY9964" fmla="*/ 680410 h 6859062"/>
              <a:gd name="connsiteX9965" fmla="*/ 7620262 w 12192185"/>
              <a:gd name="connsiteY9965" fmla="*/ 672444 h 6859062"/>
              <a:gd name="connsiteX9966" fmla="*/ 7618031 w 12192185"/>
              <a:gd name="connsiteY9966" fmla="*/ 663203 h 6859062"/>
              <a:gd name="connsiteX9967" fmla="*/ 7618190 w 12192185"/>
              <a:gd name="connsiteY9967" fmla="*/ 659379 h 6859062"/>
              <a:gd name="connsiteX9968" fmla="*/ 7626638 w 12192185"/>
              <a:gd name="connsiteY9968" fmla="*/ 638824 h 6859062"/>
              <a:gd name="connsiteX9969" fmla="*/ 7628233 w 12192185"/>
              <a:gd name="connsiteY9969" fmla="*/ 637550 h 6859062"/>
              <a:gd name="connsiteX9970" fmla="*/ 7637957 w 12192185"/>
              <a:gd name="connsiteY9970" fmla="*/ 632929 h 6859062"/>
              <a:gd name="connsiteX9971" fmla="*/ 7642101 w 12192185"/>
              <a:gd name="connsiteY9971" fmla="*/ 631655 h 6859062"/>
              <a:gd name="connsiteX9972" fmla="*/ 7649116 w 12192185"/>
              <a:gd name="connsiteY9972" fmla="*/ 630062 h 6859062"/>
              <a:gd name="connsiteX9973" fmla="*/ 7654377 w 12192185"/>
              <a:gd name="connsiteY9973" fmla="*/ 625441 h 6859062"/>
              <a:gd name="connsiteX9974" fmla="*/ 7656768 w 12192185"/>
              <a:gd name="connsiteY9974" fmla="*/ 624585 h 6859062"/>
              <a:gd name="connsiteX9975" fmla="*/ 1444458 w 12192185"/>
              <a:gd name="connsiteY9975" fmla="*/ 624438 h 6859062"/>
              <a:gd name="connsiteX9976" fmla="*/ 1454218 w 12192185"/>
              <a:gd name="connsiteY9976" fmla="*/ 625545 h 6859062"/>
              <a:gd name="connsiteX9977" fmla="*/ 1459806 w 12192185"/>
              <a:gd name="connsiteY9977" fmla="*/ 626330 h 6859062"/>
              <a:gd name="connsiteX9978" fmla="*/ 1466643 w 12192185"/>
              <a:gd name="connsiteY9978" fmla="*/ 628844 h 6859062"/>
              <a:gd name="connsiteX9979" fmla="*/ 1471548 w 12192185"/>
              <a:gd name="connsiteY9979" fmla="*/ 632056 h 6859062"/>
              <a:gd name="connsiteX9980" fmla="*/ 1479794 w 12192185"/>
              <a:gd name="connsiteY9980" fmla="*/ 642786 h 6859062"/>
              <a:gd name="connsiteX9981" fmla="*/ 1485244 w 12192185"/>
              <a:gd name="connsiteY9981" fmla="*/ 649230 h 6859062"/>
              <a:gd name="connsiteX9982" fmla="*/ 1486440 w 12192185"/>
              <a:gd name="connsiteY9982" fmla="*/ 652537 h 6859062"/>
              <a:gd name="connsiteX9983" fmla="*/ 1485518 w 12192185"/>
              <a:gd name="connsiteY9983" fmla="*/ 660348 h 6859062"/>
              <a:gd name="connsiteX9984" fmla="*/ 1481655 w 12192185"/>
              <a:gd name="connsiteY9984" fmla="*/ 672963 h 6859062"/>
              <a:gd name="connsiteX9985" fmla="*/ 1481118 w 12192185"/>
              <a:gd name="connsiteY9985" fmla="*/ 677519 h 6859062"/>
              <a:gd name="connsiteX9986" fmla="*/ 1478304 w 12192185"/>
              <a:gd name="connsiteY9986" fmla="*/ 680095 h 6859062"/>
              <a:gd name="connsiteX9987" fmla="*/ 1472655 w 12192185"/>
              <a:gd name="connsiteY9987" fmla="*/ 684318 h 6859062"/>
              <a:gd name="connsiteX9988" fmla="*/ 1470846 w 12192185"/>
              <a:gd name="connsiteY9988" fmla="*/ 686218 h 6859062"/>
              <a:gd name="connsiteX9989" fmla="*/ 1462414 w 12192185"/>
              <a:gd name="connsiteY9989" fmla="*/ 690512 h 6859062"/>
              <a:gd name="connsiteX9990" fmla="*/ 1460682 w 12192185"/>
              <a:gd name="connsiteY9990" fmla="*/ 691761 h 6859062"/>
              <a:gd name="connsiteX9991" fmla="*/ 1436607 w 12192185"/>
              <a:gd name="connsiteY9991" fmla="*/ 686442 h 6859062"/>
              <a:gd name="connsiteX9992" fmla="*/ 1426451 w 12192185"/>
              <a:gd name="connsiteY9992" fmla="*/ 677337 h 6859062"/>
              <a:gd name="connsiteX9993" fmla="*/ 1422826 w 12192185"/>
              <a:gd name="connsiteY9993" fmla="*/ 673350 h 6859062"/>
              <a:gd name="connsiteX9994" fmla="*/ 1420857 w 12192185"/>
              <a:gd name="connsiteY9994" fmla="*/ 668765 h 6859062"/>
              <a:gd name="connsiteX9995" fmla="*/ 1420390 w 12192185"/>
              <a:gd name="connsiteY9995" fmla="*/ 664883 h 6859062"/>
              <a:gd name="connsiteX9996" fmla="*/ 1419079 w 12192185"/>
              <a:gd name="connsiteY9996" fmla="*/ 656943 h 6859062"/>
              <a:gd name="connsiteX9997" fmla="*/ 1418360 w 12192185"/>
              <a:gd name="connsiteY9997" fmla="*/ 654087 h 6859062"/>
              <a:gd name="connsiteX9998" fmla="*/ 1416796 w 12192185"/>
              <a:gd name="connsiteY9998" fmla="*/ 647174 h 6859062"/>
              <a:gd name="connsiteX9999" fmla="*/ 1426708 w 12192185"/>
              <a:gd name="connsiteY9999" fmla="*/ 631438 h 6859062"/>
              <a:gd name="connsiteX10000" fmla="*/ 1435439 w 12192185"/>
              <a:gd name="connsiteY10000" fmla="*/ 627970 h 6859062"/>
              <a:gd name="connsiteX10001" fmla="*/ 1444458 w 12192185"/>
              <a:gd name="connsiteY10001" fmla="*/ 624438 h 6859062"/>
              <a:gd name="connsiteX10002" fmla="*/ 9288619 w 12192185"/>
              <a:gd name="connsiteY10002" fmla="*/ 607397 h 6859062"/>
              <a:gd name="connsiteX10003" fmla="*/ 9295666 w 12192185"/>
              <a:gd name="connsiteY10003" fmla="*/ 610886 h 6859062"/>
              <a:gd name="connsiteX10004" fmla="*/ 9299658 w 12192185"/>
              <a:gd name="connsiteY10004" fmla="*/ 612998 h 6859062"/>
              <a:gd name="connsiteX10005" fmla="*/ 9304122 w 12192185"/>
              <a:gd name="connsiteY10005" fmla="*/ 616751 h 6859062"/>
              <a:gd name="connsiteX10006" fmla="*/ 9306941 w 12192185"/>
              <a:gd name="connsiteY10006" fmla="*/ 620505 h 6859062"/>
              <a:gd name="connsiteX10007" fmla="*/ 9310228 w 12192185"/>
              <a:gd name="connsiteY10007" fmla="*/ 630826 h 6859062"/>
              <a:gd name="connsiteX10008" fmla="*/ 9312577 w 12192185"/>
              <a:gd name="connsiteY10008" fmla="*/ 637161 h 6859062"/>
              <a:gd name="connsiteX10009" fmla="*/ 9312578 w 12192185"/>
              <a:gd name="connsiteY10009" fmla="*/ 639976 h 6859062"/>
              <a:gd name="connsiteX10010" fmla="*/ 9309758 w 12192185"/>
              <a:gd name="connsiteY10010" fmla="*/ 645606 h 6859062"/>
              <a:gd name="connsiteX10011" fmla="*/ 9303416 w 12192185"/>
              <a:gd name="connsiteY10011" fmla="*/ 654051 h 6859062"/>
              <a:gd name="connsiteX10012" fmla="*/ 9301772 w 12192185"/>
              <a:gd name="connsiteY10012" fmla="*/ 657335 h 6859062"/>
              <a:gd name="connsiteX10013" fmla="*/ 9298953 w 12192185"/>
              <a:gd name="connsiteY10013" fmla="*/ 658508 h 6859062"/>
              <a:gd name="connsiteX10014" fmla="*/ 9293552 w 12192185"/>
              <a:gd name="connsiteY10014" fmla="*/ 660150 h 6859062"/>
              <a:gd name="connsiteX10015" fmla="*/ 9291673 w 12192185"/>
              <a:gd name="connsiteY10015" fmla="*/ 661088 h 6859062"/>
              <a:gd name="connsiteX10016" fmla="*/ 9284156 w 12192185"/>
              <a:gd name="connsiteY10016" fmla="*/ 662027 h 6859062"/>
              <a:gd name="connsiteX10017" fmla="*/ 9282512 w 12192185"/>
              <a:gd name="connsiteY10017" fmla="*/ 662496 h 6859062"/>
              <a:gd name="connsiteX10018" fmla="*/ 9265834 w 12192185"/>
              <a:gd name="connsiteY10018" fmla="*/ 651940 h 6859062"/>
              <a:gd name="connsiteX10019" fmla="*/ 9260667 w 12192185"/>
              <a:gd name="connsiteY10019" fmla="*/ 642322 h 6859062"/>
              <a:gd name="connsiteX10020" fmla="*/ 9259023 w 12192185"/>
              <a:gd name="connsiteY10020" fmla="*/ 638334 h 6859062"/>
              <a:gd name="connsiteX10021" fmla="*/ 9258787 w 12192185"/>
              <a:gd name="connsiteY10021" fmla="*/ 634346 h 6859062"/>
              <a:gd name="connsiteX10022" fmla="*/ 9259493 w 12192185"/>
              <a:gd name="connsiteY10022" fmla="*/ 631296 h 6859062"/>
              <a:gd name="connsiteX10023" fmla="*/ 9260667 w 12192185"/>
              <a:gd name="connsiteY10023" fmla="*/ 624962 h 6859062"/>
              <a:gd name="connsiteX10024" fmla="*/ 9260902 w 12192185"/>
              <a:gd name="connsiteY10024" fmla="*/ 622616 h 6859062"/>
              <a:gd name="connsiteX10025" fmla="*/ 9261606 w 12192185"/>
              <a:gd name="connsiteY10025" fmla="*/ 616986 h 6859062"/>
              <a:gd name="connsiteX10026" fmla="*/ 9273351 w 12192185"/>
              <a:gd name="connsiteY10026" fmla="*/ 607837 h 6859062"/>
              <a:gd name="connsiteX10027" fmla="*/ 9280868 w 12192185"/>
              <a:gd name="connsiteY10027" fmla="*/ 607602 h 6859062"/>
              <a:gd name="connsiteX10028" fmla="*/ 9288619 w 12192185"/>
              <a:gd name="connsiteY10028" fmla="*/ 607397 h 6859062"/>
              <a:gd name="connsiteX10029" fmla="*/ 10851878 w 12192185"/>
              <a:gd name="connsiteY10029" fmla="*/ 605816 h 6859062"/>
              <a:gd name="connsiteX10030" fmla="*/ 10851981 w 12192185"/>
              <a:gd name="connsiteY10030" fmla="*/ 606158 h 6859062"/>
              <a:gd name="connsiteX10031" fmla="*/ 10851514 w 12192185"/>
              <a:gd name="connsiteY10031" fmla="*/ 606032 h 6859062"/>
              <a:gd name="connsiteX10032" fmla="*/ 9980887 w 12192185"/>
              <a:gd name="connsiteY10032" fmla="*/ 590110 h 6859062"/>
              <a:gd name="connsiteX10033" fmla="*/ 9991271 w 12192185"/>
              <a:gd name="connsiteY10033" fmla="*/ 590384 h 6859062"/>
              <a:gd name="connsiteX10034" fmla="*/ 10001342 w 12192185"/>
              <a:gd name="connsiteY10034" fmla="*/ 590699 h 6859062"/>
              <a:gd name="connsiteX10035" fmla="*/ 10017076 w 12192185"/>
              <a:gd name="connsiteY10035" fmla="*/ 602957 h 6859062"/>
              <a:gd name="connsiteX10036" fmla="*/ 10018021 w 12192185"/>
              <a:gd name="connsiteY10036" fmla="*/ 610499 h 6859062"/>
              <a:gd name="connsiteX10037" fmla="*/ 10018336 w 12192185"/>
              <a:gd name="connsiteY10037" fmla="*/ 613642 h 6859062"/>
              <a:gd name="connsiteX10038" fmla="*/ 10019908 w 12192185"/>
              <a:gd name="connsiteY10038" fmla="*/ 622128 h 6859062"/>
              <a:gd name="connsiteX10039" fmla="*/ 10020852 w 12192185"/>
              <a:gd name="connsiteY10039" fmla="*/ 626214 h 6859062"/>
              <a:gd name="connsiteX10040" fmla="*/ 10020538 w 12192185"/>
              <a:gd name="connsiteY10040" fmla="*/ 631556 h 6859062"/>
              <a:gd name="connsiteX10041" fmla="*/ 10018335 w 12192185"/>
              <a:gd name="connsiteY10041" fmla="*/ 636900 h 6859062"/>
              <a:gd name="connsiteX10042" fmla="*/ 10011412 w 12192185"/>
              <a:gd name="connsiteY10042" fmla="*/ 649785 h 6859062"/>
              <a:gd name="connsiteX10043" fmla="*/ 9989069 w 12192185"/>
              <a:gd name="connsiteY10043" fmla="*/ 663929 h 6859062"/>
              <a:gd name="connsiteX10044" fmla="*/ 9986867 w 12192185"/>
              <a:gd name="connsiteY10044" fmla="*/ 663300 h 6859062"/>
              <a:gd name="connsiteX10045" fmla="*/ 9976797 w 12192185"/>
              <a:gd name="connsiteY10045" fmla="*/ 662042 h 6859062"/>
              <a:gd name="connsiteX10046" fmla="*/ 9974278 w 12192185"/>
              <a:gd name="connsiteY10046" fmla="*/ 660785 h 6859062"/>
              <a:gd name="connsiteX10047" fmla="*/ 9967041 w 12192185"/>
              <a:gd name="connsiteY10047" fmla="*/ 658585 h 6859062"/>
              <a:gd name="connsiteX10048" fmla="*/ 9963264 w 12192185"/>
              <a:gd name="connsiteY10048" fmla="*/ 657014 h 6859062"/>
              <a:gd name="connsiteX10049" fmla="*/ 9961061 w 12192185"/>
              <a:gd name="connsiteY10049" fmla="*/ 652614 h 6859062"/>
              <a:gd name="connsiteX10050" fmla="*/ 9952565 w 12192185"/>
              <a:gd name="connsiteY10050" fmla="*/ 641300 h 6859062"/>
              <a:gd name="connsiteX10051" fmla="*/ 9948789 w 12192185"/>
              <a:gd name="connsiteY10051" fmla="*/ 633757 h 6859062"/>
              <a:gd name="connsiteX10052" fmla="*/ 9948788 w 12192185"/>
              <a:gd name="connsiteY10052" fmla="*/ 629985 h 6859062"/>
              <a:gd name="connsiteX10053" fmla="*/ 9951936 w 12192185"/>
              <a:gd name="connsiteY10053" fmla="*/ 621499 h 6859062"/>
              <a:gd name="connsiteX10054" fmla="*/ 9956341 w 12192185"/>
              <a:gd name="connsiteY10054" fmla="*/ 607671 h 6859062"/>
              <a:gd name="connsiteX10055" fmla="*/ 9960118 w 12192185"/>
              <a:gd name="connsiteY10055" fmla="*/ 602642 h 6859062"/>
              <a:gd name="connsiteX10056" fmla="*/ 9966096 w 12192185"/>
              <a:gd name="connsiteY10056" fmla="*/ 597613 h 6859062"/>
              <a:gd name="connsiteX10057" fmla="*/ 9971447 w 12192185"/>
              <a:gd name="connsiteY10057" fmla="*/ 594784 h 6859062"/>
              <a:gd name="connsiteX10058" fmla="*/ 9980887 w 12192185"/>
              <a:gd name="connsiteY10058" fmla="*/ 590110 h 6859062"/>
              <a:gd name="connsiteX10059" fmla="*/ 3255092 w 12192185"/>
              <a:gd name="connsiteY10059" fmla="*/ 584418 h 6859062"/>
              <a:gd name="connsiteX10060" fmla="*/ 3262236 w 12192185"/>
              <a:gd name="connsiteY10060" fmla="*/ 584418 h 6859062"/>
              <a:gd name="connsiteX10061" fmla="*/ 3263307 w 12192185"/>
              <a:gd name="connsiteY10061" fmla="*/ 585840 h 6859062"/>
              <a:gd name="connsiteX10062" fmla="*/ 3273308 w 12192185"/>
              <a:gd name="connsiteY10062" fmla="*/ 593663 h 6859062"/>
              <a:gd name="connsiteX10063" fmla="*/ 3276523 w 12192185"/>
              <a:gd name="connsiteY10063" fmla="*/ 605752 h 6859062"/>
              <a:gd name="connsiteX10064" fmla="*/ 3271522 w 12192185"/>
              <a:gd name="connsiteY10064" fmla="*/ 619975 h 6859062"/>
              <a:gd name="connsiteX10065" fmla="*/ 3266166 w 12192185"/>
              <a:gd name="connsiteY10065" fmla="*/ 623175 h 6859062"/>
              <a:gd name="connsiteX10066" fmla="*/ 3259378 w 12192185"/>
              <a:gd name="connsiteY10066" fmla="*/ 631708 h 6859062"/>
              <a:gd name="connsiteX10067" fmla="*/ 3257235 w 12192185"/>
              <a:gd name="connsiteY10067" fmla="*/ 635619 h 6859062"/>
              <a:gd name="connsiteX10068" fmla="*/ 3246520 w 12192185"/>
              <a:gd name="connsiteY10068" fmla="*/ 645575 h 6859062"/>
              <a:gd name="connsiteX10069" fmla="*/ 3237233 w 12192185"/>
              <a:gd name="connsiteY10069" fmla="*/ 644153 h 6859062"/>
              <a:gd name="connsiteX10070" fmla="*/ 3229377 w 12192185"/>
              <a:gd name="connsiteY10070" fmla="*/ 639175 h 6859062"/>
              <a:gd name="connsiteX10071" fmla="*/ 3225091 w 12192185"/>
              <a:gd name="connsiteY10071" fmla="*/ 634197 h 6859062"/>
              <a:gd name="connsiteX10072" fmla="*/ 3225091 w 12192185"/>
              <a:gd name="connsiteY10072" fmla="*/ 621397 h 6859062"/>
              <a:gd name="connsiteX10073" fmla="*/ 3232947 w 12192185"/>
              <a:gd name="connsiteY10073" fmla="*/ 613574 h 6859062"/>
              <a:gd name="connsiteX10074" fmla="*/ 3237948 w 12192185"/>
              <a:gd name="connsiteY10074" fmla="*/ 604330 h 6859062"/>
              <a:gd name="connsiteX10075" fmla="*/ 3241877 w 12192185"/>
              <a:gd name="connsiteY10075" fmla="*/ 594729 h 6859062"/>
              <a:gd name="connsiteX10076" fmla="*/ 3247234 w 12192185"/>
              <a:gd name="connsiteY10076" fmla="*/ 588328 h 6859062"/>
              <a:gd name="connsiteX10077" fmla="*/ 3255092 w 12192185"/>
              <a:gd name="connsiteY10077" fmla="*/ 584418 h 6859062"/>
              <a:gd name="connsiteX10078" fmla="*/ 4683962 w 12192185"/>
              <a:gd name="connsiteY10078" fmla="*/ 580975 h 6859062"/>
              <a:gd name="connsiteX10079" fmla="*/ 4683946 w 12192185"/>
              <a:gd name="connsiteY10079" fmla="*/ 581267 h 6859062"/>
              <a:gd name="connsiteX10080" fmla="*/ 4683707 w 12192185"/>
              <a:gd name="connsiteY10080" fmla="*/ 581194 h 6859062"/>
              <a:gd name="connsiteX10081" fmla="*/ 4309100 w 12192185"/>
              <a:gd name="connsiteY10081" fmla="*/ 578900 h 6859062"/>
              <a:gd name="connsiteX10082" fmla="*/ 4313615 w 12192185"/>
              <a:gd name="connsiteY10082" fmla="*/ 578917 h 6859062"/>
              <a:gd name="connsiteX10083" fmla="*/ 4319308 w 12192185"/>
              <a:gd name="connsiteY10083" fmla="*/ 580172 h 6859062"/>
              <a:gd name="connsiteX10084" fmla="*/ 4323547 w 12192185"/>
              <a:gd name="connsiteY10084" fmla="*/ 582187 h 6859062"/>
              <a:gd name="connsiteX10085" fmla="*/ 4331250 w 12192185"/>
              <a:gd name="connsiteY10085" fmla="*/ 589805 h 6859062"/>
              <a:gd name="connsiteX10086" fmla="*/ 4336271 w 12192185"/>
              <a:gd name="connsiteY10086" fmla="*/ 594325 h 6859062"/>
              <a:gd name="connsiteX10087" fmla="*/ 4337578 w 12192185"/>
              <a:gd name="connsiteY10087" fmla="*/ 596819 h 6859062"/>
              <a:gd name="connsiteX10088" fmla="*/ 4337693 w 12192185"/>
              <a:gd name="connsiteY10088" fmla="*/ 603114 h 6859062"/>
              <a:gd name="connsiteX10089" fmla="*/ 4335993 w 12192185"/>
              <a:gd name="connsiteY10089" fmla="*/ 613538 h 6859062"/>
              <a:gd name="connsiteX10090" fmla="*/ 4336065 w 12192185"/>
              <a:gd name="connsiteY10090" fmla="*/ 617210 h 6859062"/>
              <a:gd name="connsiteX10091" fmla="*/ 4334110 w 12192185"/>
              <a:gd name="connsiteY10091" fmla="*/ 619558 h 6859062"/>
              <a:gd name="connsiteX10092" fmla="*/ 4330086 w 12192185"/>
              <a:gd name="connsiteY10092" fmla="*/ 623519 h 6859062"/>
              <a:gd name="connsiteX10093" fmla="*/ 4328859 w 12192185"/>
              <a:gd name="connsiteY10093" fmla="*/ 625223 h 6859062"/>
              <a:gd name="connsiteX10094" fmla="*/ 4322634 w 12192185"/>
              <a:gd name="connsiteY10094" fmla="*/ 629542 h 6859062"/>
              <a:gd name="connsiteX10095" fmla="*/ 4321399 w 12192185"/>
              <a:gd name="connsiteY10095" fmla="*/ 630721 h 6859062"/>
              <a:gd name="connsiteX10096" fmla="*/ 4301723 w 12192185"/>
              <a:gd name="connsiteY10096" fmla="*/ 629109 h 6859062"/>
              <a:gd name="connsiteX10097" fmla="*/ 4292684 w 12192185"/>
              <a:gd name="connsiteY10097" fmla="*/ 622988 h 6859062"/>
              <a:gd name="connsiteX10098" fmla="*/ 4289378 w 12192185"/>
              <a:gd name="connsiteY10098" fmla="*/ 620219 h 6859062"/>
              <a:gd name="connsiteX10099" fmla="*/ 4287319 w 12192185"/>
              <a:gd name="connsiteY10099" fmla="*/ 616794 h 6859062"/>
              <a:gd name="connsiteX10100" fmla="*/ 4286526 w 12192185"/>
              <a:gd name="connsiteY10100" fmla="*/ 613766 h 6859062"/>
              <a:gd name="connsiteX10101" fmla="*/ 4284627 w 12192185"/>
              <a:gd name="connsiteY10101" fmla="*/ 607611 h 6859062"/>
              <a:gd name="connsiteX10102" fmla="*/ 4283746 w 12192185"/>
              <a:gd name="connsiteY10102" fmla="*/ 605424 h 6859062"/>
              <a:gd name="connsiteX10103" fmla="*/ 4281756 w 12192185"/>
              <a:gd name="connsiteY10103" fmla="*/ 600110 h 6859062"/>
              <a:gd name="connsiteX10104" fmla="*/ 4287917 w 12192185"/>
              <a:gd name="connsiteY10104" fmla="*/ 586555 h 6859062"/>
              <a:gd name="connsiteX10105" fmla="*/ 4294465 w 12192185"/>
              <a:gd name="connsiteY10105" fmla="*/ 582859 h 6859062"/>
              <a:gd name="connsiteX10106" fmla="*/ 4309100 w 12192185"/>
              <a:gd name="connsiteY10106" fmla="*/ 578900 h 6859062"/>
              <a:gd name="connsiteX10107" fmla="*/ 11814451 w 12192185"/>
              <a:gd name="connsiteY10107" fmla="*/ 578358 h 6859062"/>
              <a:gd name="connsiteX10108" fmla="*/ 11816833 w 12192185"/>
              <a:gd name="connsiteY10108" fmla="*/ 580676 h 6859062"/>
              <a:gd name="connsiteX10109" fmla="*/ 11828829 w 12192185"/>
              <a:gd name="connsiteY10109" fmla="*/ 589211 h 6859062"/>
              <a:gd name="connsiteX10110" fmla="*/ 11831179 w 12192185"/>
              <a:gd name="connsiteY10110" fmla="*/ 592548 h 6859062"/>
              <a:gd name="connsiteX10111" fmla="*/ 11838910 w 12192185"/>
              <a:gd name="connsiteY10111" fmla="*/ 600338 h 6859062"/>
              <a:gd name="connsiteX10112" fmla="*/ 11842652 w 12192185"/>
              <a:gd name="connsiteY10112" fmla="*/ 604943 h 6859062"/>
              <a:gd name="connsiteX10113" fmla="*/ 11842439 w 12192185"/>
              <a:gd name="connsiteY10113" fmla="*/ 612079 h 6859062"/>
              <a:gd name="connsiteX10114" fmla="*/ 11845506 w 12192185"/>
              <a:gd name="connsiteY10114" fmla="*/ 632375 h 6859062"/>
              <a:gd name="connsiteX10115" fmla="*/ 11845138 w 12192185"/>
              <a:gd name="connsiteY10115" fmla="*/ 644607 h 6859062"/>
              <a:gd name="connsiteX10116" fmla="*/ 11842543 w 12192185"/>
              <a:gd name="connsiteY10116" fmla="*/ 649424 h 6859062"/>
              <a:gd name="connsiteX10117" fmla="*/ 11832686 w 12192185"/>
              <a:gd name="connsiteY10117" fmla="*/ 658097 h 6859062"/>
              <a:gd name="connsiteX10118" fmla="*/ 11817545 w 12192185"/>
              <a:gd name="connsiteY10118" fmla="*/ 672727 h 6859062"/>
              <a:gd name="connsiteX10119" fmla="*/ 11809262 w 12192185"/>
              <a:gd name="connsiteY10119" fmla="*/ 676552 h 6859062"/>
              <a:gd name="connsiteX10120" fmla="*/ 11798166 w 12192185"/>
              <a:gd name="connsiteY10120" fmla="*/ 678861 h 6859062"/>
              <a:gd name="connsiteX10121" fmla="*/ 11789387 w 12192185"/>
              <a:gd name="connsiteY10121" fmla="*/ 678792 h 6859062"/>
              <a:gd name="connsiteX10122" fmla="*/ 11761038 w 12192185"/>
              <a:gd name="connsiteY10122" fmla="*/ 670772 h 6859062"/>
              <a:gd name="connsiteX10123" fmla="*/ 11748393 w 12192185"/>
              <a:gd name="connsiteY10123" fmla="*/ 663442 h 6859062"/>
              <a:gd name="connsiteX10124" fmla="*/ 11736730 w 12192185"/>
              <a:gd name="connsiteY10124" fmla="*/ 636961 h 6859062"/>
              <a:gd name="connsiteX10125" fmla="*/ 11740714 w 12192185"/>
              <a:gd name="connsiteY10125" fmla="*/ 626678 h 6859062"/>
              <a:gd name="connsiteX10126" fmla="*/ 11742475 w 12192185"/>
              <a:gd name="connsiteY10126" fmla="*/ 622447 h 6859062"/>
              <a:gd name="connsiteX10127" fmla="*/ 11746305 w 12192185"/>
              <a:gd name="connsiteY10127" fmla="*/ 610527 h 6859062"/>
              <a:gd name="connsiteX10128" fmla="*/ 11747909 w 12192185"/>
              <a:gd name="connsiteY10128" fmla="*/ 604659 h 6859062"/>
              <a:gd name="connsiteX10129" fmla="*/ 11751987 w 12192185"/>
              <a:gd name="connsiteY10129" fmla="*/ 598051 h 6859062"/>
              <a:gd name="connsiteX10130" fmla="*/ 11758477 w 12192185"/>
              <a:gd name="connsiteY10130" fmla="*/ 592743 h 6859062"/>
              <a:gd name="connsiteX10131" fmla="*/ 11776184 w 12192185"/>
              <a:gd name="connsiteY10131" fmla="*/ 581049 h 6859062"/>
              <a:gd name="connsiteX10132" fmla="*/ 11814451 w 12192185"/>
              <a:gd name="connsiteY10132" fmla="*/ 578358 h 6859062"/>
              <a:gd name="connsiteX10133" fmla="*/ 8129373 w 12192185"/>
              <a:gd name="connsiteY10133" fmla="*/ 576794 h 6859062"/>
              <a:gd name="connsiteX10134" fmla="*/ 8137230 w 12192185"/>
              <a:gd name="connsiteY10134" fmla="*/ 580705 h 6859062"/>
              <a:gd name="connsiteX10135" fmla="*/ 8142587 w 12192185"/>
              <a:gd name="connsiteY10135" fmla="*/ 587105 h 6859062"/>
              <a:gd name="connsiteX10136" fmla="*/ 8146516 w 12192185"/>
              <a:gd name="connsiteY10136" fmla="*/ 596706 h 6859062"/>
              <a:gd name="connsiteX10137" fmla="*/ 8151516 w 12192185"/>
              <a:gd name="connsiteY10137" fmla="*/ 605950 h 6859062"/>
              <a:gd name="connsiteX10138" fmla="*/ 8159375 w 12192185"/>
              <a:gd name="connsiteY10138" fmla="*/ 613773 h 6859062"/>
              <a:gd name="connsiteX10139" fmla="*/ 8159375 w 12192185"/>
              <a:gd name="connsiteY10139" fmla="*/ 626573 h 6859062"/>
              <a:gd name="connsiteX10140" fmla="*/ 8155089 w 12192185"/>
              <a:gd name="connsiteY10140" fmla="*/ 631551 h 6859062"/>
              <a:gd name="connsiteX10141" fmla="*/ 8147231 w 12192185"/>
              <a:gd name="connsiteY10141" fmla="*/ 636529 h 6859062"/>
              <a:gd name="connsiteX10142" fmla="*/ 8137944 w 12192185"/>
              <a:gd name="connsiteY10142" fmla="*/ 637951 h 6859062"/>
              <a:gd name="connsiteX10143" fmla="*/ 8127229 w 12192185"/>
              <a:gd name="connsiteY10143" fmla="*/ 627995 h 6859062"/>
              <a:gd name="connsiteX10144" fmla="*/ 8125086 w 12192185"/>
              <a:gd name="connsiteY10144" fmla="*/ 624084 h 6859062"/>
              <a:gd name="connsiteX10145" fmla="*/ 8118300 w 12192185"/>
              <a:gd name="connsiteY10145" fmla="*/ 615551 h 6859062"/>
              <a:gd name="connsiteX10146" fmla="*/ 8112942 w 12192185"/>
              <a:gd name="connsiteY10146" fmla="*/ 612350 h 6859062"/>
              <a:gd name="connsiteX10147" fmla="*/ 8107942 w 12192185"/>
              <a:gd name="connsiteY10147" fmla="*/ 598128 h 6859062"/>
              <a:gd name="connsiteX10148" fmla="*/ 8111156 w 12192185"/>
              <a:gd name="connsiteY10148" fmla="*/ 586039 h 6859062"/>
              <a:gd name="connsiteX10149" fmla="*/ 8121157 w 12192185"/>
              <a:gd name="connsiteY10149" fmla="*/ 578216 h 6859062"/>
              <a:gd name="connsiteX10150" fmla="*/ 8122228 w 12192185"/>
              <a:gd name="connsiteY10150" fmla="*/ 576794 h 6859062"/>
              <a:gd name="connsiteX10151" fmla="*/ 8129373 w 12192185"/>
              <a:gd name="connsiteY10151" fmla="*/ 576794 h 6859062"/>
              <a:gd name="connsiteX10152" fmla="*/ 9782710 w 12192185"/>
              <a:gd name="connsiteY10152" fmla="*/ 572357 h 6859062"/>
              <a:gd name="connsiteX10153" fmla="*/ 9789268 w 12192185"/>
              <a:gd name="connsiteY10153" fmla="*/ 575605 h 6859062"/>
              <a:gd name="connsiteX10154" fmla="*/ 9792983 w 12192185"/>
              <a:gd name="connsiteY10154" fmla="*/ 577569 h 6859062"/>
              <a:gd name="connsiteX10155" fmla="*/ 9797137 w 12192185"/>
              <a:gd name="connsiteY10155" fmla="*/ 581062 h 6859062"/>
              <a:gd name="connsiteX10156" fmla="*/ 9799760 w 12192185"/>
              <a:gd name="connsiteY10156" fmla="*/ 584555 h 6859062"/>
              <a:gd name="connsiteX10157" fmla="*/ 9802819 w 12192185"/>
              <a:gd name="connsiteY10157" fmla="*/ 594160 h 6859062"/>
              <a:gd name="connsiteX10158" fmla="*/ 9805006 w 12192185"/>
              <a:gd name="connsiteY10158" fmla="*/ 600055 h 6859062"/>
              <a:gd name="connsiteX10159" fmla="*/ 9805006 w 12192185"/>
              <a:gd name="connsiteY10159" fmla="*/ 602674 h 6859062"/>
              <a:gd name="connsiteX10160" fmla="*/ 9802382 w 12192185"/>
              <a:gd name="connsiteY10160" fmla="*/ 607913 h 6859062"/>
              <a:gd name="connsiteX10161" fmla="*/ 9796480 w 12192185"/>
              <a:gd name="connsiteY10161" fmla="*/ 615772 h 6859062"/>
              <a:gd name="connsiteX10162" fmla="*/ 9794950 w 12192185"/>
              <a:gd name="connsiteY10162" fmla="*/ 618829 h 6859062"/>
              <a:gd name="connsiteX10163" fmla="*/ 9792328 w 12192185"/>
              <a:gd name="connsiteY10163" fmla="*/ 619920 h 6859062"/>
              <a:gd name="connsiteX10164" fmla="*/ 9787300 w 12192185"/>
              <a:gd name="connsiteY10164" fmla="*/ 621448 h 6859062"/>
              <a:gd name="connsiteX10165" fmla="*/ 9785551 w 12192185"/>
              <a:gd name="connsiteY10165" fmla="*/ 622322 h 6859062"/>
              <a:gd name="connsiteX10166" fmla="*/ 9778557 w 12192185"/>
              <a:gd name="connsiteY10166" fmla="*/ 623195 h 6859062"/>
              <a:gd name="connsiteX10167" fmla="*/ 9777027 w 12192185"/>
              <a:gd name="connsiteY10167" fmla="*/ 623631 h 6859062"/>
              <a:gd name="connsiteX10168" fmla="*/ 9761507 w 12192185"/>
              <a:gd name="connsiteY10168" fmla="*/ 613808 h 6859062"/>
              <a:gd name="connsiteX10169" fmla="*/ 9756699 w 12192185"/>
              <a:gd name="connsiteY10169" fmla="*/ 604857 h 6859062"/>
              <a:gd name="connsiteX10170" fmla="*/ 9755169 w 12192185"/>
              <a:gd name="connsiteY10170" fmla="*/ 601146 h 6859062"/>
              <a:gd name="connsiteX10171" fmla="*/ 9754950 w 12192185"/>
              <a:gd name="connsiteY10171" fmla="*/ 597435 h 6859062"/>
              <a:gd name="connsiteX10172" fmla="*/ 9755605 w 12192185"/>
              <a:gd name="connsiteY10172" fmla="*/ 594597 h 6859062"/>
              <a:gd name="connsiteX10173" fmla="*/ 9756698 w 12192185"/>
              <a:gd name="connsiteY10173" fmla="*/ 588702 h 6859062"/>
              <a:gd name="connsiteX10174" fmla="*/ 9756917 w 12192185"/>
              <a:gd name="connsiteY10174" fmla="*/ 586519 h 6859062"/>
              <a:gd name="connsiteX10175" fmla="*/ 9757574 w 12192185"/>
              <a:gd name="connsiteY10175" fmla="*/ 581281 h 6859062"/>
              <a:gd name="connsiteX10176" fmla="*/ 9768502 w 12192185"/>
              <a:gd name="connsiteY10176" fmla="*/ 572767 h 6859062"/>
              <a:gd name="connsiteX10177" fmla="*/ 9775496 w 12192185"/>
              <a:gd name="connsiteY10177" fmla="*/ 572548 h 6859062"/>
              <a:gd name="connsiteX10178" fmla="*/ 9782710 w 12192185"/>
              <a:gd name="connsiteY10178" fmla="*/ 572357 h 6859062"/>
              <a:gd name="connsiteX10179" fmla="*/ 8349139 w 12192185"/>
              <a:gd name="connsiteY10179" fmla="*/ 567635 h 6859062"/>
              <a:gd name="connsiteX10180" fmla="*/ 8366568 w 12192185"/>
              <a:gd name="connsiteY10180" fmla="*/ 578668 h 6859062"/>
              <a:gd name="connsiteX10181" fmla="*/ 8371969 w 12192185"/>
              <a:gd name="connsiteY10181" fmla="*/ 588720 h 6859062"/>
              <a:gd name="connsiteX10182" fmla="*/ 8373688 w 12192185"/>
              <a:gd name="connsiteY10182" fmla="*/ 592888 h 6859062"/>
              <a:gd name="connsiteX10183" fmla="*/ 8373933 w 12192185"/>
              <a:gd name="connsiteY10183" fmla="*/ 597055 h 6859062"/>
              <a:gd name="connsiteX10184" fmla="*/ 8373196 w 12192185"/>
              <a:gd name="connsiteY10184" fmla="*/ 600243 h 6859062"/>
              <a:gd name="connsiteX10185" fmla="*/ 8371969 w 12192185"/>
              <a:gd name="connsiteY10185" fmla="*/ 606862 h 6859062"/>
              <a:gd name="connsiteX10186" fmla="*/ 8371724 w 12192185"/>
              <a:gd name="connsiteY10186" fmla="*/ 609313 h 6859062"/>
              <a:gd name="connsiteX10187" fmla="*/ 8370987 w 12192185"/>
              <a:gd name="connsiteY10187" fmla="*/ 615197 h 6859062"/>
              <a:gd name="connsiteX10188" fmla="*/ 8358713 w 12192185"/>
              <a:gd name="connsiteY10188" fmla="*/ 624759 h 6859062"/>
              <a:gd name="connsiteX10189" fmla="*/ 8350857 w 12192185"/>
              <a:gd name="connsiteY10189" fmla="*/ 625005 h 6859062"/>
              <a:gd name="connsiteX10190" fmla="*/ 8335392 w 12192185"/>
              <a:gd name="connsiteY10190" fmla="*/ 621572 h 6859062"/>
              <a:gd name="connsiteX10191" fmla="*/ 8331219 w 12192185"/>
              <a:gd name="connsiteY10191" fmla="*/ 619365 h 6859062"/>
              <a:gd name="connsiteX10192" fmla="*/ 8326555 w 12192185"/>
              <a:gd name="connsiteY10192" fmla="*/ 615442 h 6859062"/>
              <a:gd name="connsiteX10193" fmla="*/ 8323610 w 12192185"/>
              <a:gd name="connsiteY10193" fmla="*/ 611520 h 6859062"/>
              <a:gd name="connsiteX10194" fmla="*/ 8320173 w 12192185"/>
              <a:gd name="connsiteY10194" fmla="*/ 600733 h 6859062"/>
              <a:gd name="connsiteX10195" fmla="*/ 8317718 w 12192185"/>
              <a:gd name="connsiteY10195" fmla="*/ 594114 h 6859062"/>
              <a:gd name="connsiteX10196" fmla="*/ 8317718 w 12192185"/>
              <a:gd name="connsiteY10196" fmla="*/ 591171 h 6859062"/>
              <a:gd name="connsiteX10197" fmla="*/ 8320663 w 12192185"/>
              <a:gd name="connsiteY10197" fmla="*/ 585287 h 6859062"/>
              <a:gd name="connsiteX10198" fmla="*/ 8327292 w 12192185"/>
              <a:gd name="connsiteY10198" fmla="*/ 576462 h 6859062"/>
              <a:gd name="connsiteX10199" fmla="*/ 8329010 w 12192185"/>
              <a:gd name="connsiteY10199" fmla="*/ 573029 h 6859062"/>
              <a:gd name="connsiteX10200" fmla="*/ 8331956 w 12192185"/>
              <a:gd name="connsiteY10200" fmla="*/ 571803 h 6859062"/>
              <a:gd name="connsiteX10201" fmla="*/ 8337601 w 12192185"/>
              <a:gd name="connsiteY10201" fmla="*/ 570088 h 6859062"/>
              <a:gd name="connsiteX10202" fmla="*/ 8339565 w 12192185"/>
              <a:gd name="connsiteY10202" fmla="*/ 569106 h 6859062"/>
              <a:gd name="connsiteX10203" fmla="*/ 8347421 w 12192185"/>
              <a:gd name="connsiteY10203" fmla="*/ 568125 h 6859062"/>
              <a:gd name="connsiteX10204" fmla="*/ 8349139 w 12192185"/>
              <a:gd name="connsiteY10204" fmla="*/ 567635 h 6859062"/>
              <a:gd name="connsiteX10205" fmla="*/ 8881204 w 12192185"/>
              <a:gd name="connsiteY10205" fmla="*/ 561337 h 6859062"/>
              <a:gd name="connsiteX10206" fmla="*/ 8881585 w 12192185"/>
              <a:gd name="connsiteY10206" fmla="*/ 561427 h 6859062"/>
              <a:gd name="connsiteX10207" fmla="*/ 8881379 w 12192185"/>
              <a:gd name="connsiteY10207" fmla="*/ 561631 h 6859062"/>
              <a:gd name="connsiteX10208" fmla="*/ 2859478 w 12192185"/>
              <a:gd name="connsiteY10208" fmla="*/ 560539 h 6859062"/>
              <a:gd name="connsiteX10209" fmla="*/ 2878206 w 12192185"/>
              <a:gd name="connsiteY10209" fmla="*/ 572395 h 6859062"/>
              <a:gd name="connsiteX10210" fmla="*/ 2884011 w 12192185"/>
              <a:gd name="connsiteY10210" fmla="*/ 583197 h 6859062"/>
              <a:gd name="connsiteX10211" fmla="*/ 2885858 w 12192185"/>
              <a:gd name="connsiteY10211" fmla="*/ 587676 h 6859062"/>
              <a:gd name="connsiteX10212" fmla="*/ 2886122 w 12192185"/>
              <a:gd name="connsiteY10212" fmla="*/ 592155 h 6859062"/>
              <a:gd name="connsiteX10213" fmla="*/ 2885330 w 12192185"/>
              <a:gd name="connsiteY10213" fmla="*/ 595579 h 6859062"/>
              <a:gd name="connsiteX10214" fmla="*/ 2884011 w 12192185"/>
              <a:gd name="connsiteY10214" fmla="*/ 602693 h 6859062"/>
              <a:gd name="connsiteX10215" fmla="*/ 2883748 w 12192185"/>
              <a:gd name="connsiteY10215" fmla="*/ 605327 h 6859062"/>
              <a:gd name="connsiteX10216" fmla="*/ 2882955 w 12192185"/>
              <a:gd name="connsiteY10216" fmla="*/ 611650 h 6859062"/>
              <a:gd name="connsiteX10217" fmla="*/ 2869766 w 12192185"/>
              <a:gd name="connsiteY10217" fmla="*/ 621925 h 6859062"/>
              <a:gd name="connsiteX10218" fmla="*/ 2861325 w 12192185"/>
              <a:gd name="connsiteY10218" fmla="*/ 622189 h 6859062"/>
              <a:gd name="connsiteX10219" fmla="*/ 2844705 w 12192185"/>
              <a:gd name="connsiteY10219" fmla="*/ 618500 h 6859062"/>
              <a:gd name="connsiteX10220" fmla="*/ 2840221 w 12192185"/>
              <a:gd name="connsiteY10220" fmla="*/ 616129 h 6859062"/>
              <a:gd name="connsiteX10221" fmla="*/ 2835209 w 12192185"/>
              <a:gd name="connsiteY10221" fmla="*/ 611913 h 6859062"/>
              <a:gd name="connsiteX10222" fmla="*/ 2832044 w 12192185"/>
              <a:gd name="connsiteY10222" fmla="*/ 607699 h 6859062"/>
              <a:gd name="connsiteX10223" fmla="*/ 2828351 w 12192185"/>
              <a:gd name="connsiteY10223" fmla="*/ 596106 h 6859062"/>
              <a:gd name="connsiteX10224" fmla="*/ 2825711 w 12192185"/>
              <a:gd name="connsiteY10224" fmla="*/ 588993 h 6859062"/>
              <a:gd name="connsiteX10225" fmla="*/ 2825711 w 12192185"/>
              <a:gd name="connsiteY10225" fmla="*/ 585831 h 6859062"/>
              <a:gd name="connsiteX10226" fmla="*/ 2828878 w 12192185"/>
              <a:gd name="connsiteY10226" fmla="*/ 579508 h 6859062"/>
              <a:gd name="connsiteX10227" fmla="*/ 2836000 w 12192185"/>
              <a:gd name="connsiteY10227" fmla="*/ 570024 h 6859062"/>
              <a:gd name="connsiteX10228" fmla="*/ 2837847 w 12192185"/>
              <a:gd name="connsiteY10228" fmla="*/ 566335 h 6859062"/>
              <a:gd name="connsiteX10229" fmla="*/ 2841013 w 12192185"/>
              <a:gd name="connsiteY10229" fmla="*/ 565018 h 6859062"/>
              <a:gd name="connsiteX10230" fmla="*/ 2847079 w 12192185"/>
              <a:gd name="connsiteY10230" fmla="*/ 563174 h 6859062"/>
              <a:gd name="connsiteX10231" fmla="*/ 2849189 w 12192185"/>
              <a:gd name="connsiteY10231" fmla="*/ 562120 h 6859062"/>
              <a:gd name="connsiteX10232" fmla="*/ 2857632 w 12192185"/>
              <a:gd name="connsiteY10232" fmla="*/ 561067 h 6859062"/>
              <a:gd name="connsiteX10233" fmla="*/ 2859478 w 12192185"/>
              <a:gd name="connsiteY10233" fmla="*/ 560539 h 6859062"/>
              <a:gd name="connsiteX10234" fmla="*/ 4504221 w 12192185"/>
              <a:gd name="connsiteY10234" fmla="*/ 542912 h 6859062"/>
              <a:gd name="connsiteX10235" fmla="*/ 4508734 w 12192185"/>
              <a:gd name="connsiteY10235" fmla="*/ 542929 h 6859062"/>
              <a:gd name="connsiteX10236" fmla="*/ 4514429 w 12192185"/>
              <a:gd name="connsiteY10236" fmla="*/ 544182 h 6859062"/>
              <a:gd name="connsiteX10237" fmla="*/ 4518669 w 12192185"/>
              <a:gd name="connsiteY10237" fmla="*/ 546199 h 6859062"/>
              <a:gd name="connsiteX10238" fmla="*/ 4526371 w 12192185"/>
              <a:gd name="connsiteY10238" fmla="*/ 553816 h 6859062"/>
              <a:gd name="connsiteX10239" fmla="*/ 4531396 w 12192185"/>
              <a:gd name="connsiteY10239" fmla="*/ 558336 h 6859062"/>
              <a:gd name="connsiteX10240" fmla="*/ 4532701 w 12192185"/>
              <a:gd name="connsiteY10240" fmla="*/ 560830 h 6859062"/>
              <a:gd name="connsiteX10241" fmla="*/ 4532815 w 12192185"/>
              <a:gd name="connsiteY10241" fmla="*/ 567126 h 6859062"/>
              <a:gd name="connsiteX10242" fmla="*/ 4531119 w 12192185"/>
              <a:gd name="connsiteY10242" fmla="*/ 577549 h 6859062"/>
              <a:gd name="connsiteX10243" fmla="*/ 4531184 w 12192185"/>
              <a:gd name="connsiteY10243" fmla="*/ 581222 h 6859062"/>
              <a:gd name="connsiteX10244" fmla="*/ 4529231 w 12192185"/>
              <a:gd name="connsiteY10244" fmla="*/ 583569 h 6859062"/>
              <a:gd name="connsiteX10245" fmla="*/ 4525207 w 12192185"/>
              <a:gd name="connsiteY10245" fmla="*/ 587531 h 6859062"/>
              <a:gd name="connsiteX10246" fmla="*/ 4523979 w 12192185"/>
              <a:gd name="connsiteY10246" fmla="*/ 589234 h 6859062"/>
              <a:gd name="connsiteX10247" fmla="*/ 4517757 w 12192185"/>
              <a:gd name="connsiteY10247" fmla="*/ 593553 h 6859062"/>
              <a:gd name="connsiteX10248" fmla="*/ 4516519 w 12192185"/>
              <a:gd name="connsiteY10248" fmla="*/ 594732 h 6859062"/>
              <a:gd name="connsiteX10249" fmla="*/ 4496845 w 12192185"/>
              <a:gd name="connsiteY10249" fmla="*/ 593120 h 6859062"/>
              <a:gd name="connsiteX10250" fmla="*/ 4487805 w 12192185"/>
              <a:gd name="connsiteY10250" fmla="*/ 586998 h 6859062"/>
              <a:gd name="connsiteX10251" fmla="*/ 4484494 w 12192185"/>
              <a:gd name="connsiteY10251" fmla="*/ 584229 h 6859062"/>
              <a:gd name="connsiteX10252" fmla="*/ 4482437 w 12192185"/>
              <a:gd name="connsiteY10252" fmla="*/ 580806 h 6859062"/>
              <a:gd name="connsiteX10253" fmla="*/ 4481645 w 12192185"/>
              <a:gd name="connsiteY10253" fmla="*/ 577778 h 6859062"/>
              <a:gd name="connsiteX10254" fmla="*/ 4479743 w 12192185"/>
              <a:gd name="connsiteY10254" fmla="*/ 571622 h 6859062"/>
              <a:gd name="connsiteX10255" fmla="*/ 4478869 w 12192185"/>
              <a:gd name="connsiteY10255" fmla="*/ 569435 h 6859062"/>
              <a:gd name="connsiteX10256" fmla="*/ 4476878 w 12192185"/>
              <a:gd name="connsiteY10256" fmla="*/ 564120 h 6859062"/>
              <a:gd name="connsiteX10257" fmla="*/ 4483033 w 12192185"/>
              <a:gd name="connsiteY10257" fmla="*/ 550566 h 6859062"/>
              <a:gd name="connsiteX10258" fmla="*/ 4489584 w 12192185"/>
              <a:gd name="connsiteY10258" fmla="*/ 546871 h 6859062"/>
              <a:gd name="connsiteX10259" fmla="*/ 4504221 w 12192185"/>
              <a:gd name="connsiteY10259" fmla="*/ 542912 h 6859062"/>
              <a:gd name="connsiteX10260" fmla="*/ 6288145 w 12192185"/>
              <a:gd name="connsiteY10260" fmla="*/ 535747 h 6859062"/>
              <a:gd name="connsiteX10261" fmla="*/ 6292938 w 12192185"/>
              <a:gd name="connsiteY10261" fmla="*/ 544469 h 6859062"/>
              <a:gd name="connsiteX10262" fmla="*/ 6296607 w 12192185"/>
              <a:gd name="connsiteY10262" fmla="*/ 565087 h 6859062"/>
              <a:gd name="connsiteX10263" fmla="*/ 6286274 w 12192185"/>
              <a:gd name="connsiteY10263" fmla="*/ 588114 h 6859062"/>
              <a:gd name="connsiteX10264" fmla="*/ 6282169 w 12192185"/>
              <a:gd name="connsiteY10264" fmla="*/ 590120 h 6859062"/>
              <a:gd name="connsiteX10265" fmla="*/ 6370681 w 12192185"/>
              <a:gd name="connsiteY10265" fmla="*/ 596347 h 6859062"/>
              <a:gd name="connsiteX10266" fmla="*/ 7211608 w 12192185"/>
              <a:gd name="connsiteY10266" fmla="*/ 826684 h 6859062"/>
              <a:gd name="connsiteX10267" fmla="*/ 7274309 w 12192185"/>
              <a:gd name="connsiteY10267" fmla="*/ 857334 h 6859062"/>
              <a:gd name="connsiteX10268" fmla="*/ 7273303 w 12192185"/>
              <a:gd name="connsiteY10268" fmla="*/ 852977 h 6859062"/>
              <a:gd name="connsiteX10269" fmla="*/ 7273657 w 12192185"/>
              <a:gd name="connsiteY10269" fmla="*/ 846977 h 6859062"/>
              <a:gd name="connsiteX10270" fmla="*/ 7276130 w 12192185"/>
              <a:gd name="connsiteY10270" fmla="*/ 840977 h 6859062"/>
              <a:gd name="connsiteX10271" fmla="*/ 7283906 w 12192185"/>
              <a:gd name="connsiteY10271" fmla="*/ 826505 h 6859062"/>
              <a:gd name="connsiteX10272" fmla="*/ 7308998 w 12192185"/>
              <a:gd name="connsiteY10272" fmla="*/ 810622 h 6859062"/>
              <a:gd name="connsiteX10273" fmla="*/ 7311472 w 12192185"/>
              <a:gd name="connsiteY10273" fmla="*/ 811327 h 6859062"/>
              <a:gd name="connsiteX10274" fmla="*/ 7322781 w 12192185"/>
              <a:gd name="connsiteY10274" fmla="*/ 812740 h 6859062"/>
              <a:gd name="connsiteX10275" fmla="*/ 7325608 w 12192185"/>
              <a:gd name="connsiteY10275" fmla="*/ 814151 h 6859062"/>
              <a:gd name="connsiteX10276" fmla="*/ 7333738 w 12192185"/>
              <a:gd name="connsiteY10276" fmla="*/ 816622 h 6859062"/>
              <a:gd name="connsiteX10277" fmla="*/ 7337978 w 12192185"/>
              <a:gd name="connsiteY10277" fmla="*/ 818387 h 6859062"/>
              <a:gd name="connsiteX10278" fmla="*/ 7340452 w 12192185"/>
              <a:gd name="connsiteY10278" fmla="*/ 823328 h 6859062"/>
              <a:gd name="connsiteX10279" fmla="*/ 7349994 w 12192185"/>
              <a:gd name="connsiteY10279" fmla="*/ 836035 h 6859062"/>
              <a:gd name="connsiteX10280" fmla="*/ 7354236 w 12192185"/>
              <a:gd name="connsiteY10280" fmla="*/ 844506 h 6859062"/>
              <a:gd name="connsiteX10281" fmla="*/ 7354235 w 12192185"/>
              <a:gd name="connsiteY10281" fmla="*/ 848742 h 6859062"/>
              <a:gd name="connsiteX10282" fmla="*/ 7350702 w 12192185"/>
              <a:gd name="connsiteY10282" fmla="*/ 858272 h 6859062"/>
              <a:gd name="connsiteX10283" fmla="*/ 7345753 w 12192185"/>
              <a:gd name="connsiteY10283" fmla="*/ 873802 h 6859062"/>
              <a:gd name="connsiteX10284" fmla="*/ 7341512 w 12192185"/>
              <a:gd name="connsiteY10284" fmla="*/ 879449 h 6859062"/>
              <a:gd name="connsiteX10285" fmla="*/ 7334797 w 12192185"/>
              <a:gd name="connsiteY10285" fmla="*/ 885097 h 6859062"/>
              <a:gd name="connsiteX10286" fmla="*/ 7333024 w 12192185"/>
              <a:gd name="connsiteY10286" fmla="*/ 886035 h 6859062"/>
              <a:gd name="connsiteX10287" fmla="*/ 7368740 w 12192185"/>
              <a:gd name="connsiteY10287" fmla="*/ 903495 h 6859062"/>
              <a:gd name="connsiteX10288" fmla="*/ 8072250 w 12192185"/>
              <a:gd name="connsiteY10288" fmla="*/ 1429192 h 6859062"/>
              <a:gd name="connsiteX10289" fmla="*/ 8074054 w 12192185"/>
              <a:gd name="connsiteY10289" fmla="*/ 1433579 h 6859062"/>
              <a:gd name="connsiteX10290" fmla="*/ 8075858 w 12192185"/>
              <a:gd name="connsiteY10290" fmla="*/ 1437968 h 6859062"/>
              <a:gd name="connsiteX10291" fmla="*/ 8073274 w 12192185"/>
              <a:gd name="connsiteY10291" fmla="*/ 1444155 h 6859062"/>
              <a:gd name="connsiteX10292" fmla="*/ 8065281 w 12192185"/>
              <a:gd name="connsiteY10292" fmla="*/ 1437185 h 6859062"/>
              <a:gd name="connsiteX10293" fmla="*/ 8056506 w 12192185"/>
              <a:gd name="connsiteY10293" fmla="*/ 1440791 h 6859062"/>
              <a:gd name="connsiteX10294" fmla="*/ 8064499 w 12192185"/>
              <a:gd name="connsiteY10294" fmla="*/ 1447761 h 6859062"/>
              <a:gd name="connsiteX10295" fmla="*/ 8070689 w 12192185"/>
              <a:gd name="connsiteY10295" fmla="*/ 1450345 h 6859062"/>
              <a:gd name="connsiteX10296" fmla="*/ 8072492 w 12192185"/>
              <a:gd name="connsiteY10296" fmla="*/ 1454733 h 6859062"/>
              <a:gd name="connsiteX10297" fmla="*/ 8066716 w 12192185"/>
              <a:gd name="connsiteY10297" fmla="*/ 1460953 h 6859062"/>
              <a:gd name="connsiteX10298" fmla="*/ 8067317 w 12192185"/>
              <a:gd name="connsiteY10298" fmla="*/ 1461727 h 6859062"/>
              <a:gd name="connsiteX10299" fmla="*/ 8082644 w 12192185"/>
              <a:gd name="connsiteY10299" fmla="*/ 1452725 h 6859062"/>
              <a:gd name="connsiteX10300" fmla="*/ 8081266 w 12192185"/>
              <a:gd name="connsiteY10300" fmla="*/ 1451127 h 6859062"/>
              <a:gd name="connsiteX10301" fmla="*/ 8075076 w 12192185"/>
              <a:gd name="connsiteY10301" fmla="*/ 1448542 h 6859062"/>
              <a:gd name="connsiteX10302" fmla="*/ 8085653 w 12192185"/>
              <a:gd name="connsiteY10302" fmla="*/ 1449324 h 6859062"/>
              <a:gd name="connsiteX10303" fmla="*/ 8086194 w 12192185"/>
              <a:gd name="connsiteY10303" fmla="*/ 1450639 h 6859062"/>
              <a:gd name="connsiteX10304" fmla="*/ 8089783 w 12192185"/>
              <a:gd name="connsiteY10304" fmla="*/ 1448530 h 6859062"/>
              <a:gd name="connsiteX10305" fmla="*/ 8124382 w 12192185"/>
              <a:gd name="connsiteY10305" fmla="*/ 1408243 h 6859062"/>
              <a:gd name="connsiteX10306" fmla="*/ 8131508 w 12192185"/>
              <a:gd name="connsiteY10306" fmla="*/ 1400879 h 6859062"/>
              <a:gd name="connsiteX10307" fmla="*/ 7957229 w 12192185"/>
              <a:gd name="connsiteY10307" fmla="*/ 1229439 h 6859062"/>
              <a:gd name="connsiteX10308" fmla="*/ 7932499 w 12192185"/>
              <a:gd name="connsiteY10308" fmla="*/ 1209829 h 6859062"/>
              <a:gd name="connsiteX10309" fmla="*/ 7923459 w 12192185"/>
              <a:gd name="connsiteY10309" fmla="*/ 1218228 h 6859062"/>
              <a:gd name="connsiteX10310" fmla="*/ 7910382 w 12192185"/>
              <a:gd name="connsiteY10310" fmla="*/ 1216226 h 6859062"/>
              <a:gd name="connsiteX10311" fmla="*/ 7899317 w 12192185"/>
              <a:gd name="connsiteY10311" fmla="*/ 1209215 h 6859062"/>
              <a:gd name="connsiteX10312" fmla="*/ 7893281 w 12192185"/>
              <a:gd name="connsiteY10312" fmla="*/ 1202205 h 6859062"/>
              <a:gd name="connsiteX10313" fmla="*/ 7893281 w 12192185"/>
              <a:gd name="connsiteY10313" fmla="*/ 1184180 h 6859062"/>
              <a:gd name="connsiteX10314" fmla="*/ 7896328 w 12192185"/>
              <a:gd name="connsiteY10314" fmla="*/ 1181145 h 6859062"/>
              <a:gd name="connsiteX10315" fmla="*/ 7732225 w 12192185"/>
              <a:gd name="connsiteY10315" fmla="*/ 1051010 h 6859062"/>
              <a:gd name="connsiteX10316" fmla="*/ 6297971 w 12192185"/>
              <a:gd name="connsiteY10316" fmla="*/ 536052 h 6859062"/>
              <a:gd name="connsiteX10317" fmla="*/ 6077440 w 12192185"/>
              <a:gd name="connsiteY10317" fmla="*/ 529202 h 6859062"/>
              <a:gd name="connsiteX10318" fmla="*/ 5277342 w 12192185"/>
              <a:gd name="connsiteY10318" fmla="*/ 654869 h 6859062"/>
              <a:gd name="connsiteX10319" fmla="*/ 5107025 w 12192185"/>
              <a:gd name="connsiteY10319" fmla="*/ 714606 h 6859062"/>
              <a:gd name="connsiteX10320" fmla="*/ 5100837 w 12192185"/>
              <a:gd name="connsiteY10320" fmla="*/ 712021 h 6859062"/>
              <a:gd name="connsiteX10321" fmla="*/ 5087671 w 12192185"/>
              <a:gd name="connsiteY10321" fmla="*/ 717431 h 6859062"/>
              <a:gd name="connsiteX10322" fmla="*/ 5085094 w 12192185"/>
              <a:gd name="connsiteY10322" fmla="*/ 723620 h 6859062"/>
              <a:gd name="connsiteX10323" fmla="*/ 4962265 w 12192185"/>
              <a:gd name="connsiteY10323" fmla="*/ 774102 h 6859062"/>
              <a:gd name="connsiteX10324" fmla="*/ 4687914 w 12192185"/>
              <a:gd name="connsiteY10324" fmla="*/ 917611 h 6859062"/>
              <a:gd name="connsiteX10325" fmla="*/ 4475346 w 12192185"/>
              <a:gd name="connsiteY10325" fmla="*/ 1054892 h 6859062"/>
              <a:gd name="connsiteX10326" fmla="*/ 4420523 w 12192185"/>
              <a:gd name="connsiteY10326" fmla="*/ 1097615 h 6859062"/>
              <a:gd name="connsiteX10327" fmla="*/ 4435473 w 12192185"/>
              <a:gd name="connsiteY10327" fmla="*/ 1101506 h 6859062"/>
              <a:gd name="connsiteX10328" fmla="*/ 4438550 w 12192185"/>
              <a:gd name="connsiteY10328" fmla="*/ 1102501 h 6859062"/>
              <a:gd name="connsiteX10329" fmla="*/ 4659977 w 12192185"/>
              <a:gd name="connsiteY10329" fmla="*/ 956656 h 6859062"/>
              <a:gd name="connsiteX10330" fmla="*/ 4951149 w 12192185"/>
              <a:gd name="connsiteY10330" fmla="*/ 809437 h 6859062"/>
              <a:gd name="connsiteX10331" fmla="*/ 4954747 w 12192185"/>
              <a:gd name="connsiteY10331" fmla="*/ 818211 h 6859062"/>
              <a:gd name="connsiteX10332" fmla="*/ 4847345 w 12192185"/>
              <a:gd name="connsiteY10332" fmla="*/ 918751 h 6859062"/>
              <a:gd name="connsiteX10333" fmla="*/ 4866690 w 12192185"/>
              <a:gd name="connsiteY10333" fmla="*/ 915927 h 6859062"/>
              <a:gd name="connsiteX10334" fmla="*/ 4791342 w 12192185"/>
              <a:gd name="connsiteY10334" fmla="*/ 957153 h 6859062"/>
              <a:gd name="connsiteX10335" fmla="*/ 4743326 w 12192185"/>
              <a:gd name="connsiteY10335" fmla="*/ 1002526 h 6859062"/>
              <a:gd name="connsiteX10336" fmla="*/ 4790806 w 12192185"/>
              <a:gd name="connsiteY10336" fmla="*/ 993271 h 6859062"/>
              <a:gd name="connsiteX10337" fmla="*/ 4788219 w 12192185"/>
              <a:gd name="connsiteY10337" fmla="*/ 999460 h 6859062"/>
              <a:gd name="connsiteX10338" fmla="*/ 4783831 w 12192185"/>
              <a:gd name="connsiteY10338" fmla="*/ 1001263 h 6859062"/>
              <a:gd name="connsiteX10339" fmla="*/ 4779447 w 12192185"/>
              <a:gd name="connsiteY10339" fmla="*/ 1003067 h 6859062"/>
              <a:gd name="connsiteX10340" fmla="*/ 4770668 w 12192185"/>
              <a:gd name="connsiteY10340" fmla="*/ 1006672 h 6859062"/>
              <a:gd name="connsiteX10341" fmla="*/ 4776864 w 12192185"/>
              <a:gd name="connsiteY10341" fmla="*/ 1009255 h 6859062"/>
              <a:gd name="connsiteX10342" fmla="*/ 4781250 w 12192185"/>
              <a:gd name="connsiteY10342" fmla="*/ 1007452 h 6859062"/>
              <a:gd name="connsiteX10343" fmla="*/ 4785640 w 12192185"/>
              <a:gd name="connsiteY10343" fmla="*/ 1005650 h 6859062"/>
              <a:gd name="connsiteX10344" fmla="*/ 4800602 w 12192185"/>
              <a:gd name="connsiteY10344" fmla="*/ 1004628 h 6859062"/>
              <a:gd name="connsiteX10345" fmla="*/ 4803185 w 12192185"/>
              <a:gd name="connsiteY10345" fmla="*/ 998438 h 6859062"/>
              <a:gd name="connsiteX10346" fmla="*/ 4798798 w 12192185"/>
              <a:gd name="connsiteY10346" fmla="*/ 1000242 h 6859062"/>
              <a:gd name="connsiteX10347" fmla="*/ 4792605 w 12192185"/>
              <a:gd name="connsiteY10347" fmla="*/ 997658 h 6859062"/>
              <a:gd name="connsiteX10348" fmla="*/ 4805764 w 12192185"/>
              <a:gd name="connsiteY10348" fmla="*/ 992249 h 6859062"/>
              <a:gd name="connsiteX10349" fmla="*/ 4810147 w 12192185"/>
              <a:gd name="connsiteY10349" fmla="*/ 990446 h 6859062"/>
              <a:gd name="connsiteX10350" fmla="*/ 4854252 w 12192185"/>
              <a:gd name="connsiteY10350" fmla="*/ 997958 h 6859062"/>
              <a:gd name="connsiteX10351" fmla="*/ 4803424 w 12192185"/>
              <a:gd name="connsiteY10351" fmla="*/ 1023979 h 6859062"/>
              <a:gd name="connsiteX10352" fmla="*/ 4828183 w 12192185"/>
              <a:gd name="connsiteY10352" fmla="*/ 1034315 h 6859062"/>
              <a:gd name="connsiteX10353" fmla="*/ 4740925 w 12192185"/>
              <a:gd name="connsiteY10353" fmla="*/ 1121464 h 6859062"/>
              <a:gd name="connsiteX10354" fmla="*/ 4736530 w 12192185"/>
              <a:gd name="connsiteY10354" fmla="*/ 1123267 h 6859062"/>
              <a:gd name="connsiteX10355" fmla="*/ 4727761 w 12192185"/>
              <a:gd name="connsiteY10355" fmla="*/ 1126872 h 6859062"/>
              <a:gd name="connsiteX10356" fmla="*/ 4725173 w 12192185"/>
              <a:gd name="connsiteY10356" fmla="*/ 1133063 h 6859062"/>
              <a:gd name="connsiteX10357" fmla="*/ 4682330 w 12192185"/>
              <a:gd name="connsiteY10357" fmla="*/ 1166056 h 6859062"/>
              <a:gd name="connsiteX10358" fmla="*/ 4666584 w 12192185"/>
              <a:gd name="connsiteY10358" fmla="*/ 1177654 h 6859062"/>
              <a:gd name="connsiteX10359" fmla="*/ 4665298 w 12192185"/>
              <a:gd name="connsiteY10359" fmla="*/ 1180749 h 6859062"/>
              <a:gd name="connsiteX10360" fmla="*/ 4664805 w 12192185"/>
              <a:gd name="connsiteY10360" fmla="*/ 1181922 h 6859062"/>
              <a:gd name="connsiteX10361" fmla="*/ 4739093 w 12192185"/>
              <a:gd name="connsiteY10361" fmla="*/ 1210984 h 6859062"/>
              <a:gd name="connsiteX10362" fmla="*/ 4746186 w 12192185"/>
              <a:gd name="connsiteY10362" fmla="*/ 1206372 h 6859062"/>
              <a:gd name="connsiteX10363" fmla="*/ 4851795 w 12192185"/>
              <a:gd name="connsiteY10363" fmla="*/ 1150918 h 6859062"/>
              <a:gd name="connsiteX10364" fmla="*/ 4873818 w 12192185"/>
              <a:gd name="connsiteY10364" fmla="*/ 1147758 h 6859062"/>
              <a:gd name="connsiteX10365" fmla="*/ 4869299 w 12192185"/>
              <a:gd name="connsiteY10365" fmla="*/ 1160192 h 6859062"/>
              <a:gd name="connsiteX10366" fmla="*/ 4766089 w 12192185"/>
              <a:gd name="connsiteY10366" fmla="*/ 1221545 h 6859062"/>
              <a:gd name="connsiteX10367" fmla="*/ 4786333 w 12192185"/>
              <a:gd name="connsiteY10367" fmla="*/ 1229463 h 6859062"/>
              <a:gd name="connsiteX10368" fmla="*/ 4788579 w 12192185"/>
              <a:gd name="connsiteY10368" fmla="*/ 1224948 h 6859062"/>
              <a:gd name="connsiteX10369" fmla="*/ 4786780 w 12192185"/>
              <a:gd name="connsiteY10369" fmla="*/ 1220561 h 6859062"/>
              <a:gd name="connsiteX10370" fmla="*/ 4808713 w 12192185"/>
              <a:gd name="connsiteY10370" fmla="*/ 1211546 h 6859062"/>
              <a:gd name="connsiteX10371" fmla="*/ 4811297 w 12192185"/>
              <a:gd name="connsiteY10371" fmla="*/ 1205358 h 6859062"/>
              <a:gd name="connsiteX10372" fmla="*/ 4806904 w 12192185"/>
              <a:gd name="connsiteY10372" fmla="*/ 1207160 h 6859062"/>
              <a:gd name="connsiteX10373" fmla="*/ 4786780 w 12192185"/>
              <a:gd name="connsiteY10373" fmla="*/ 1220561 h 6859062"/>
              <a:gd name="connsiteX10374" fmla="*/ 4784978 w 12192185"/>
              <a:gd name="connsiteY10374" fmla="*/ 1216175 h 6859062"/>
              <a:gd name="connsiteX10375" fmla="*/ 4793751 w 12192185"/>
              <a:gd name="connsiteY10375" fmla="*/ 1212569 h 6859062"/>
              <a:gd name="connsiteX10376" fmla="*/ 4798140 w 12192185"/>
              <a:gd name="connsiteY10376" fmla="*/ 1210765 h 6859062"/>
              <a:gd name="connsiteX10377" fmla="*/ 4809492 w 12192185"/>
              <a:gd name="connsiteY10377" fmla="*/ 1200970 h 6859062"/>
              <a:gd name="connsiteX10378" fmla="*/ 4827038 w 12192185"/>
              <a:gd name="connsiteY10378" fmla="*/ 1193758 h 6859062"/>
              <a:gd name="connsiteX10379" fmla="*/ 4824453 w 12192185"/>
              <a:gd name="connsiteY10379" fmla="*/ 1199949 h 6859062"/>
              <a:gd name="connsiteX10380" fmla="*/ 4833231 w 12192185"/>
              <a:gd name="connsiteY10380" fmla="*/ 1196344 h 6859062"/>
              <a:gd name="connsiteX10381" fmla="*/ 4842000 w 12192185"/>
              <a:gd name="connsiteY10381" fmla="*/ 1192737 h 6859062"/>
              <a:gd name="connsiteX10382" fmla="*/ 4853355 w 12192185"/>
              <a:gd name="connsiteY10382" fmla="*/ 1182941 h 6859062"/>
              <a:gd name="connsiteX10383" fmla="*/ 4862125 w 12192185"/>
              <a:gd name="connsiteY10383" fmla="*/ 1179336 h 6859062"/>
              <a:gd name="connsiteX10384" fmla="*/ 4864702 w 12192185"/>
              <a:gd name="connsiteY10384" fmla="*/ 1173146 h 6859062"/>
              <a:gd name="connsiteX10385" fmla="*/ 4876071 w 12192185"/>
              <a:gd name="connsiteY10385" fmla="*/ 1163350 h 6859062"/>
              <a:gd name="connsiteX10386" fmla="*/ 4884843 w 12192185"/>
              <a:gd name="connsiteY10386" fmla="*/ 1159743 h 6859062"/>
              <a:gd name="connsiteX10387" fmla="*/ 4891040 w 12192185"/>
              <a:gd name="connsiteY10387" fmla="*/ 1162327 h 6859062"/>
              <a:gd name="connsiteX10388" fmla="*/ 4893619 w 12192185"/>
              <a:gd name="connsiteY10388" fmla="*/ 1156139 h 6859062"/>
              <a:gd name="connsiteX10389" fmla="*/ 4904198 w 12192185"/>
              <a:gd name="connsiteY10389" fmla="*/ 1156921 h 6859062"/>
              <a:gd name="connsiteX10390" fmla="*/ 4911175 w 12192185"/>
              <a:gd name="connsiteY10390" fmla="*/ 1148926 h 6859062"/>
              <a:gd name="connsiteX10391" fmla="*/ 4904989 w 12192185"/>
              <a:gd name="connsiteY10391" fmla="*/ 1146344 h 6859062"/>
              <a:gd name="connsiteX10392" fmla="*/ 4918150 w 12192185"/>
              <a:gd name="connsiteY10392" fmla="*/ 1140935 h 6859062"/>
              <a:gd name="connsiteX10393" fmla="*/ 4922536 w 12192185"/>
              <a:gd name="connsiteY10393" fmla="*/ 1139132 h 6859062"/>
              <a:gd name="connsiteX10394" fmla="*/ 4938284 w 12192185"/>
              <a:gd name="connsiteY10394" fmla="*/ 1127532 h 6859062"/>
              <a:gd name="connsiteX10395" fmla="*/ 4955838 w 12192185"/>
              <a:gd name="connsiteY10395" fmla="*/ 1120320 h 6859062"/>
              <a:gd name="connsiteX10396" fmla="*/ 4969000 w 12192185"/>
              <a:gd name="connsiteY10396" fmla="*/ 1114911 h 6859062"/>
              <a:gd name="connsiteX10397" fmla="*/ 4995316 w 12192185"/>
              <a:gd name="connsiteY10397" fmla="*/ 1104093 h 6859062"/>
              <a:gd name="connsiteX10398" fmla="*/ 5010279 w 12192185"/>
              <a:gd name="connsiteY10398" fmla="*/ 1103071 h 6859062"/>
              <a:gd name="connsiteX10399" fmla="*/ 5007691 w 12192185"/>
              <a:gd name="connsiteY10399" fmla="*/ 1109261 h 6859062"/>
              <a:gd name="connsiteX10400" fmla="*/ 5005110 w 12192185"/>
              <a:gd name="connsiteY10400" fmla="*/ 1115452 h 6859062"/>
              <a:gd name="connsiteX10401" fmla="*/ 5009496 w 12192185"/>
              <a:gd name="connsiteY10401" fmla="*/ 1113649 h 6859062"/>
              <a:gd name="connsiteX10402" fmla="*/ 5013881 w 12192185"/>
              <a:gd name="connsiteY10402" fmla="*/ 1111847 h 6859062"/>
              <a:gd name="connsiteX10403" fmla="*/ 5016467 w 12192185"/>
              <a:gd name="connsiteY10403" fmla="*/ 1105654 h 6859062"/>
              <a:gd name="connsiteX10404" fmla="*/ 5019051 w 12192185"/>
              <a:gd name="connsiteY10404" fmla="*/ 1099464 h 6859062"/>
              <a:gd name="connsiteX10405" fmla="*/ 5017250 w 12192185"/>
              <a:gd name="connsiteY10405" fmla="*/ 1095076 h 6859062"/>
              <a:gd name="connsiteX10406" fmla="*/ 4993513 w 12192185"/>
              <a:gd name="connsiteY10406" fmla="*/ 1099705 h 6859062"/>
              <a:gd name="connsiteX10407" fmla="*/ 4989135 w 12192185"/>
              <a:gd name="connsiteY10407" fmla="*/ 1101508 h 6859062"/>
              <a:gd name="connsiteX10408" fmla="*/ 4971591 w 12192185"/>
              <a:gd name="connsiteY10408" fmla="*/ 1108721 h 6859062"/>
              <a:gd name="connsiteX10409" fmla="*/ 4962811 w 12192185"/>
              <a:gd name="connsiteY10409" fmla="*/ 1112326 h 6859062"/>
              <a:gd name="connsiteX10410" fmla="*/ 4982943 w 12192185"/>
              <a:gd name="connsiteY10410" fmla="*/ 1098924 h 6859062"/>
              <a:gd name="connsiteX10411" fmla="*/ 5007455 w 12192185"/>
              <a:gd name="connsiteY10411" fmla="*/ 1083719 h 6859062"/>
              <a:gd name="connsiteX10412" fmla="*/ 5018026 w 12192185"/>
              <a:gd name="connsiteY10412" fmla="*/ 1084500 h 6859062"/>
              <a:gd name="connsiteX10413" fmla="*/ 5026809 w 12192185"/>
              <a:gd name="connsiteY10413" fmla="*/ 1080895 h 6859062"/>
              <a:gd name="connsiteX10414" fmla="*/ 5048742 w 12192185"/>
              <a:gd name="connsiteY10414" fmla="*/ 1071882 h 6859062"/>
              <a:gd name="connsiteX10415" fmla="*/ 5046155 w 12192185"/>
              <a:gd name="connsiteY10415" fmla="*/ 1078070 h 6859062"/>
              <a:gd name="connsiteX10416" fmla="*/ 5047958 w 12192185"/>
              <a:gd name="connsiteY10416" fmla="*/ 1082457 h 6859062"/>
              <a:gd name="connsiteX10417" fmla="*/ 5052347 w 12192185"/>
              <a:gd name="connsiteY10417" fmla="*/ 1080654 h 6859062"/>
              <a:gd name="connsiteX10418" fmla="*/ 5056732 w 12192185"/>
              <a:gd name="connsiteY10418" fmla="*/ 1078852 h 6859062"/>
              <a:gd name="connsiteX10419" fmla="*/ 5059313 w 12192185"/>
              <a:gd name="connsiteY10419" fmla="*/ 1072662 h 6859062"/>
              <a:gd name="connsiteX10420" fmla="*/ 5063706 w 12192185"/>
              <a:gd name="connsiteY10420" fmla="*/ 1070859 h 6859062"/>
              <a:gd name="connsiteX10421" fmla="*/ 5068089 w 12192185"/>
              <a:gd name="connsiteY10421" fmla="*/ 1069055 h 6859062"/>
              <a:gd name="connsiteX10422" fmla="*/ 5083833 w 12192185"/>
              <a:gd name="connsiteY10422" fmla="*/ 1057459 h 6859062"/>
              <a:gd name="connsiteX10423" fmla="*/ 5105774 w 12192185"/>
              <a:gd name="connsiteY10423" fmla="*/ 1048435 h 6859062"/>
              <a:gd name="connsiteX10424" fmla="*/ 5111957 w 12192185"/>
              <a:gd name="connsiteY10424" fmla="*/ 1051028 h 6859062"/>
              <a:gd name="connsiteX10425" fmla="*/ 5109372 w 12192185"/>
              <a:gd name="connsiteY10425" fmla="*/ 1057218 h 6859062"/>
              <a:gd name="connsiteX10426" fmla="*/ 5058533 w 12192185"/>
              <a:gd name="connsiteY10426" fmla="*/ 1083238 h 6859062"/>
              <a:gd name="connsiteX10427" fmla="*/ 5054145 w 12192185"/>
              <a:gd name="connsiteY10427" fmla="*/ 1085042 h 6859062"/>
              <a:gd name="connsiteX10428" fmla="*/ 5060334 w 12192185"/>
              <a:gd name="connsiteY10428" fmla="*/ 1087624 h 6859062"/>
              <a:gd name="connsiteX10429" fmla="*/ 5111177 w 12192185"/>
              <a:gd name="connsiteY10429" fmla="*/ 1061604 h 6859062"/>
              <a:gd name="connsiteX10430" fmla="*/ 5125357 w 12192185"/>
              <a:gd name="connsiteY10430" fmla="*/ 1071160 h 6859062"/>
              <a:gd name="connsiteX10431" fmla="*/ 5177227 w 12192185"/>
              <a:gd name="connsiteY10431" fmla="*/ 1060101 h 6859062"/>
              <a:gd name="connsiteX10432" fmla="*/ 5367125 w 12192185"/>
              <a:gd name="connsiteY10432" fmla="*/ 1023073 h 6859062"/>
              <a:gd name="connsiteX10433" fmla="*/ 5371516 w 12192185"/>
              <a:gd name="connsiteY10433" fmla="*/ 1021270 h 6859062"/>
              <a:gd name="connsiteX10434" fmla="*/ 5375902 w 12192185"/>
              <a:gd name="connsiteY10434" fmla="*/ 1019468 h 6859062"/>
              <a:gd name="connsiteX10435" fmla="*/ 5369707 w 12192185"/>
              <a:gd name="connsiteY10435" fmla="*/ 1016883 h 6859062"/>
              <a:gd name="connsiteX10436" fmla="*/ 5184191 w 12192185"/>
              <a:gd name="connsiteY10436" fmla="*/ 1052109 h 6859062"/>
              <a:gd name="connsiteX10437" fmla="*/ 5188587 w 12192185"/>
              <a:gd name="connsiteY10437" fmla="*/ 1050307 h 6859062"/>
              <a:gd name="connsiteX10438" fmla="*/ 5176214 w 12192185"/>
              <a:gd name="connsiteY10438" fmla="*/ 1045130 h 6859062"/>
              <a:gd name="connsiteX10439" fmla="*/ 5189366 w 12192185"/>
              <a:gd name="connsiteY10439" fmla="*/ 1039721 h 6859062"/>
              <a:gd name="connsiteX10440" fmla="*/ 5191164 w 12192185"/>
              <a:gd name="connsiteY10440" fmla="*/ 1044108 h 6859062"/>
              <a:gd name="connsiteX10441" fmla="*/ 5195547 w 12192185"/>
              <a:gd name="connsiteY10441" fmla="*/ 1042305 h 6859062"/>
              <a:gd name="connsiteX10442" fmla="*/ 5199930 w 12192185"/>
              <a:gd name="connsiteY10442" fmla="*/ 1040502 h 6859062"/>
              <a:gd name="connsiteX10443" fmla="*/ 5198134 w 12192185"/>
              <a:gd name="connsiteY10443" fmla="*/ 1036115 h 6859062"/>
              <a:gd name="connsiteX10444" fmla="*/ 5221866 w 12192185"/>
              <a:gd name="connsiteY10444" fmla="*/ 1031488 h 6859062"/>
              <a:gd name="connsiteX10445" fmla="*/ 5230649 w 12192185"/>
              <a:gd name="connsiteY10445" fmla="*/ 1027882 h 6859062"/>
              <a:gd name="connsiteX10446" fmla="*/ 5243817 w 12192185"/>
              <a:gd name="connsiteY10446" fmla="*/ 1022473 h 6859062"/>
              <a:gd name="connsiteX10447" fmla="*/ 5248204 w 12192185"/>
              <a:gd name="connsiteY10447" fmla="*/ 1020671 h 6859062"/>
              <a:gd name="connsiteX10448" fmla="*/ 5254397 w 12192185"/>
              <a:gd name="connsiteY10448" fmla="*/ 1023255 h 6859062"/>
              <a:gd name="connsiteX10449" fmla="*/ 5263164 w 12192185"/>
              <a:gd name="connsiteY10449" fmla="*/ 1019649 h 6859062"/>
              <a:gd name="connsiteX10450" fmla="*/ 5265748 w 12192185"/>
              <a:gd name="connsiteY10450" fmla="*/ 1013459 h 6859062"/>
              <a:gd name="connsiteX10451" fmla="*/ 5371033 w 12192185"/>
              <a:gd name="connsiteY10451" fmla="*/ 970190 h 6859062"/>
              <a:gd name="connsiteX10452" fmla="*/ 5422891 w 12192185"/>
              <a:gd name="connsiteY10452" fmla="*/ 959131 h 6859062"/>
              <a:gd name="connsiteX10453" fmla="*/ 5416703 w 12192185"/>
              <a:gd name="connsiteY10453" fmla="*/ 956548 h 6859062"/>
              <a:gd name="connsiteX10454" fmla="*/ 5508036 w 12192185"/>
              <a:gd name="connsiteY10454" fmla="*/ 929263 h 6859062"/>
              <a:gd name="connsiteX10455" fmla="*/ 5510626 w 12192185"/>
              <a:gd name="connsiteY10455" fmla="*/ 923074 h 6859062"/>
              <a:gd name="connsiteX10456" fmla="*/ 5534361 w 12192185"/>
              <a:gd name="connsiteY10456" fmla="*/ 918446 h 6859062"/>
              <a:gd name="connsiteX10457" fmla="*/ 5540549 w 12192185"/>
              <a:gd name="connsiteY10457" fmla="*/ 921030 h 6859062"/>
              <a:gd name="connsiteX10458" fmla="*/ 5547522 w 12192185"/>
              <a:gd name="connsiteY10458" fmla="*/ 913037 h 6859062"/>
              <a:gd name="connsiteX10459" fmla="*/ 5575640 w 12192185"/>
              <a:gd name="connsiteY10459" fmla="*/ 906607 h 6859062"/>
              <a:gd name="connsiteX10460" fmla="*/ 5580029 w 12192185"/>
              <a:gd name="connsiteY10460" fmla="*/ 904805 h 6859062"/>
              <a:gd name="connsiteX10461" fmla="*/ 5594991 w 12192185"/>
              <a:gd name="connsiteY10461" fmla="*/ 903782 h 6859062"/>
              <a:gd name="connsiteX10462" fmla="*/ 5599375 w 12192185"/>
              <a:gd name="connsiteY10462" fmla="*/ 901979 h 6859062"/>
              <a:gd name="connsiteX10463" fmla="*/ 5603761 w 12192185"/>
              <a:gd name="connsiteY10463" fmla="*/ 900176 h 6859062"/>
              <a:gd name="connsiteX10464" fmla="*/ 5685524 w 12192185"/>
              <a:gd name="connsiteY10464" fmla="*/ 887075 h 6859062"/>
              <a:gd name="connsiteX10465" fmla="*/ 5698685 w 12192185"/>
              <a:gd name="connsiteY10465" fmla="*/ 881666 h 6859062"/>
              <a:gd name="connsiteX10466" fmla="*/ 5703074 w 12192185"/>
              <a:gd name="connsiteY10466" fmla="*/ 879862 h 6859062"/>
              <a:gd name="connsiteX10467" fmla="*/ 5720619 w 12192185"/>
              <a:gd name="connsiteY10467" fmla="*/ 872651 h 6859062"/>
              <a:gd name="connsiteX10468" fmla="*/ 5776086 w 12192185"/>
              <a:gd name="connsiteY10468" fmla="*/ 870367 h 6859062"/>
              <a:gd name="connsiteX10469" fmla="*/ 5983764 w 12192185"/>
              <a:gd name="connsiteY10469" fmla="*/ 851677 h 6859062"/>
              <a:gd name="connsiteX10470" fmla="*/ 5988149 w 12192185"/>
              <a:gd name="connsiteY10470" fmla="*/ 849873 h 6859062"/>
              <a:gd name="connsiteX10471" fmla="*/ 5994338 w 12192185"/>
              <a:gd name="connsiteY10471" fmla="*/ 852458 h 6859062"/>
              <a:gd name="connsiteX10472" fmla="*/ 6065982 w 12192185"/>
              <a:gd name="connsiteY10472" fmla="*/ 861472 h 6859062"/>
              <a:gd name="connsiteX10473" fmla="*/ 6135789 w 12192185"/>
              <a:gd name="connsiteY10473" fmla="*/ 867103 h 6859062"/>
              <a:gd name="connsiteX10474" fmla="*/ 6134312 w 12192185"/>
              <a:gd name="connsiteY10474" fmla="*/ 867116 h 6859062"/>
              <a:gd name="connsiteX10475" fmla="*/ 6118659 w 12192185"/>
              <a:gd name="connsiteY10475" fmla="*/ 868022 h 6859062"/>
              <a:gd name="connsiteX10476" fmla="*/ 6108085 w 12192185"/>
              <a:gd name="connsiteY10476" fmla="*/ 867240 h 6859062"/>
              <a:gd name="connsiteX10477" fmla="*/ 6071978 w 12192185"/>
              <a:gd name="connsiteY10477" fmla="*/ 866699 h 6859062"/>
              <a:gd name="connsiteX10478" fmla="*/ 6010324 w 12192185"/>
              <a:gd name="connsiteY10478" fmla="*/ 866399 h 6859062"/>
              <a:gd name="connsiteX10479" fmla="*/ 5999748 w 12192185"/>
              <a:gd name="connsiteY10479" fmla="*/ 865620 h 6859062"/>
              <a:gd name="connsiteX10480" fmla="*/ 5989173 w 12192185"/>
              <a:gd name="connsiteY10480" fmla="*/ 864837 h 6859062"/>
              <a:gd name="connsiteX10481" fmla="*/ 5986587 w 12192185"/>
              <a:gd name="connsiteY10481" fmla="*/ 871028 h 6859062"/>
              <a:gd name="connsiteX10482" fmla="*/ 6009542 w 12192185"/>
              <a:gd name="connsiteY10482" fmla="*/ 876977 h 6859062"/>
              <a:gd name="connsiteX10483" fmla="*/ 6013929 w 12192185"/>
              <a:gd name="connsiteY10483" fmla="*/ 875173 h 6859062"/>
              <a:gd name="connsiteX10484" fmla="*/ 6107302 w 12192185"/>
              <a:gd name="connsiteY10484" fmla="*/ 877819 h 6859062"/>
              <a:gd name="connsiteX10485" fmla="*/ 6111691 w 12192185"/>
              <a:gd name="connsiteY10485" fmla="*/ 876015 h 6859062"/>
              <a:gd name="connsiteX10486" fmla="*/ 6140834 w 12192185"/>
              <a:gd name="connsiteY10486" fmla="*/ 884548 h 6859062"/>
              <a:gd name="connsiteX10487" fmla="*/ 6172566 w 12192185"/>
              <a:gd name="connsiteY10487" fmla="*/ 886891 h 6859062"/>
              <a:gd name="connsiteX10488" fmla="*/ 6234899 w 12192185"/>
              <a:gd name="connsiteY10488" fmla="*/ 888836 h 6859062"/>
              <a:gd name="connsiteX10489" fmla="*/ 6290539 w 12192185"/>
              <a:gd name="connsiteY10489" fmla="*/ 898739 h 6859062"/>
              <a:gd name="connsiteX10490" fmla="*/ 6286326 w 12192185"/>
              <a:gd name="connsiteY10490" fmla="*/ 901674 h 6859062"/>
              <a:gd name="connsiteX10491" fmla="*/ 6538608 w 12192185"/>
              <a:gd name="connsiteY10491" fmla="*/ 941577 h 6859062"/>
              <a:gd name="connsiteX10492" fmla="*/ 6540410 w 12192185"/>
              <a:gd name="connsiteY10492" fmla="*/ 945962 h 6859062"/>
              <a:gd name="connsiteX10493" fmla="*/ 6544799 w 12192185"/>
              <a:gd name="connsiteY10493" fmla="*/ 944159 h 6859062"/>
              <a:gd name="connsiteX10494" fmla="*/ 6549184 w 12192185"/>
              <a:gd name="connsiteY10494" fmla="*/ 942357 h 6859062"/>
              <a:gd name="connsiteX10495" fmla="*/ 6569557 w 12192185"/>
              <a:gd name="connsiteY10495" fmla="*/ 954495 h 6859062"/>
              <a:gd name="connsiteX10496" fmla="*/ 6645396 w 12192185"/>
              <a:gd name="connsiteY10496" fmla="*/ 964352 h 6859062"/>
              <a:gd name="connsiteX10497" fmla="*/ 6632237 w 12192185"/>
              <a:gd name="connsiteY10497" fmla="*/ 969759 h 6859062"/>
              <a:gd name="connsiteX10498" fmla="*/ 6668354 w 12192185"/>
              <a:gd name="connsiteY10498" fmla="*/ 970301 h 6859062"/>
              <a:gd name="connsiteX10499" fmla="*/ 6665770 w 12192185"/>
              <a:gd name="connsiteY10499" fmla="*/ 976490 h 6859062"/>
              <a:gd name="connsiteX10500" fmla="*/ 6761984 w 12192185"/>
              <a:gd name="connsiteY10500" fmla="*/ 998485 h 6859062"/>
              <a:gd name="connsiteX10501" fmla="*/ 6763786 w 12192185"/>
              <a:gd name="connsiteY10501" fmla="*/ 1002871 h 6859062"/>
              <a:gd name="connsiteX10502" fmla="*/ 6836260 w 12192185"/>
              <a:gd name="connsiteY10502" fmla="*/ 1029494 h 6859062"/>
              <a:gd name="connsiteX10503" fmla="*/ 6925504 w 12192185"/>
              <a:gd name="connsiteY10503" fmla="*/ 1059488 h 6859062"/>
              <a:gd name="connsiteX10504" fmla="*/ 6967218 w 12192185"/>
              <a:gd name="connsiteY10504" fmla="*/ 1081444 h 6859062"/>
              <a:gd name="connsiteX10505" fmla="*/ 7013833 w 12192185"/>
              <a:gd name="connsiteY10505" fmla="*/ 1100105 h 6859062"/>
              <a:gd name="connsiteX10506" fmla="*/ 7009579 w 12192185"/>
              <a:gd name="connsiteY10506" fmla="*/ 1101853 h 6859062"/>
              <a:gd name="connsiteX10507" fmla="*/ 7015769 w 12192185"/>
              <a:gd name="connsiteY10507" fmla="*/ 1104438 h 6859062"/>
              <a:gd name="connsiteX10508" fmla="*/ 7026345 w 12192185"/>
              <a:gd name="connsiteY10508" fmla="*/ 1105220 h 6859062"/>
              <a:gd name="connsiteX10509" fmla="*/ 7021957 w 12192185"/>
              <a:gd name="connsiteY10509" fmla="*/ 1107024 h 6859062"/>
              <a:gd name="connsiteX10510" fmla="*/ 7059096 w 12192185"/>
              <a:gd name="connsiteY10510" fmla="*/ 1122529 h 6859062"/>
              <a:gd name="connsiteX10511" fmla="*/ 7063484 w 12192185"/>
              <a:gd name="connsiteY10511" fmla="*/ 1120725 h 6859062"/>
              <a:gd name="connsiteX10512" fmla="*/ 7074061 w 12192185"/>
              <a:gd name="connsiteY10512" fmla="*/ 1121508 h 6859062"/>
              <a:gd name="connsiteX10513" fmla="*/ 7065287 w 12192185"/>
              <a:gd name="connsiteY10513" fmla="*/ 1125112 h 6859062"/>
              <a:gd name="connsiteX10514" fmla="*/ 7083856 w 12192185"/>
              <a:gd name="connsiteY10514" fmla="*/ 1132866 h 6859062"/>
              <a:gd name="connsiteX10515" fmla="*/ 7079468 w 12192185"/>
              <a:gd name="connsiteY10515" fmla="*/ 1134669 h 6859062"/>
              <a:gd name="connsiteX10516" fmla="*/ 7075083 w 12192185"/>
              <a:gd name="connsiteY10516" fmla="*/ 1136472 h 6859062"/>
              <a:gd name="connsiteX10517" fmla="*/ 7076886 w 12192185"/>
              <a:gd name="connsiteY10517" fmla="*/ 1140859 h 6859062"/>
              <a:gd name="connsiteX10518" fmla="*/ 7085660 w 12192185"/>
              <a:gd name="connsiteY10518" fmla="*/ 1137253 h 6859062"/>
              <a:gd name="connsiteX10519" fmla="*/ 7090046 w 12192185"/>
              <a:gd name="connsiteY10519" fmla="*/ 1135449 h 6859062"/>
              <a:gd name="connsiteX10520" fmla="*/ 7096237 w 12192185"/>
              <a:gd name="connsiteY10520" fmla="*/ 1138034 h 6859062"/>
              <a:gd name="connsiteX10521" fmla="*/ 7098040 w 12192185"/>
              <a:gd name="connsiteY10521" fmla="*/ 1142421 h 6859062"/>
              <a:gd name="connsiteX10522" fmla="*/ 7099843 w 12192185"/>
              <a:gd name="connsiteY10522" fmla="*/ 1146809 h 6859062"/>
              <a:gd name="connsiteX10523" fmla="*/ 7104229 w 12192185"/>
              <a:gd name="connsiteY10523" fmla="*/ 1145006 h 6859062"/>
              <a:gd name="connsiteX10524" fmla="*/ 7108617 w 12192185"/>
              <a:gd name="connsiteY10524" fmla="*/ 1143202 h 6859062"/>
              <a:gd name="connsiteX10525" fmla="*/ 7110529 w 12192185"/>
              <a:gd name="connsiteY10525" fmla="*/ 1144490 h 6859062"/>
              <a:gd name="connsiteX10526" fmla="*/ 7110249 w 12192185"/>
              <a:gd name="connsiteY10526" fmla="*/ 1142742 h 6859062"/>
              <a:gd name="connsiteX10527" fmla="*/ 7107699 w 12192185"/>
              <a:gd name="connsiteY10527" fmla="*/ 1132185 h 6859062"/>
              <a:gd name="connsiteX10528" fmla="*/ 7100788 w 12192185"/>
              <a:gd name="connsiteY10528" fmla="*/ 1130395 h 6859062"/>
              <a:gd name="connsiteX10529" fmla="*/ 7090828 w 12192185"/>
              <a:gd name="connsiteY10529" fmla="*/ 1124872 h 6859062"/>
              <a:gd name="connsiteX10530" fmla="*/ 7076645 w 12192185"/>
              <a:gd name="connsiteY10530" fmla="*/ 1115318 h 6859062"/>
              <a:gd name="connsiteX10531" fmla="*/ 7059879 w 12192185"/>
              <a:gd name="connsiteY10531" fmla="*/ 1111952 h 6859062"/>
              <a:gd name="connsiteX10532" fmla="*/ 7058075 w 12192185"/>
              <a:gd name="connsiteY10532" fmla="*/ 1107564 h 6859062"/>
              <a:gd name="connsiteX10533" fmla="*/ 6889927 w 12192185"/>
              <a:gd name="connsiteY10533" fmla="*/ 1022822 h 6859062"/>
              <a:gd name="connsiteX10534" fmla="*/ 6888124 w 12192185"/>
              <a:gd name="connsiteY10534" fmla="*/ 1018435 h 6859062"/>
              <a:gd name="connsiteX10535" fmla="*/ 6886322 w 12192185"/>
              <a:gd name="connsiteY10535" fmla="*/ 1014048 h 6859062"/>
              <a:gd name="connsiteX10536" fmla="*/ 6898701 w 12192185"/>
              <a:gd name="connsiteY10536" fmla="*/ 1019216 h 6859062"/>
              <a:gd name="connsiteX10537" fmla="*/ 6911082 w 12192185"/>
              <a:gd name="connsiteY10537" fmla="*/ 1024384 h 6859062"/>
              <a:gd name="connsiteX10538" fmla="*/ 6923460 w 12192185"/>
              <a:gd name="connsiteY10538" fmla="*/ 1029553 h 6859062"/>
              <a:gd name="connsiteX10539" fmla="*/ 6927848 w 12192185"/>
              <a:gd name="connsiteY10539" fmla="*/ 1027749 h 6859062"/>
              <a:gd name="connsiteX10540" fmla="*/ 6958797 w 12192185"/>
              <a:gd name="connsiteY10540" fmla="*/ 1040670 h 6859062"/>
              <a:gd name="connsiteX10541" fmla="*/ 6963183 w 12192185"/>
              <a:gd name="connsiteY10541" fmla="*/ 1038868 h 6859062"/>
              <a:gd name="connsiteX10542" fmla="*/ 6961381 w 12192185"/>
              <a:gd name="connsiteY10542" fmla="*/ 1034479 h 6859062"/>
              <a:gd name="connsiteX10543" fmla="*/ 6955190 w 12192185"/>
              <a:gd name="connsiteY10543" fmla="*/ 1031895 h 6859062"/>
              <a:gd name="connsiteX10544" fmla="*/ 6954911 w 12192185"/>
              <a:gd name="connsiteY10544" fmla="*/ 1031515 h 6859062"/>
              <a:gd name="connsiteX10545" fmla="*/ 6967496 w 12192185"/>
              <a:gd name="connsiteY10545" fmla="*/ 1037001 h 6859062"/>
              <a:gd name="connsiteX10546" fmla="*/ 6967571 w 12192185"/>
              <a:gd name="connsiteY10546" fmla="*/ 1037065 h 6859062"/>
              <a:gd name="connsiteX10547" fmla="*/ 6967623 w 12192185"/>
              <a:gd name="connsiteY10547" fmla="*/ 1037059 h 6859062"/>
              <a:gd name="connsiteX10548" fmla="*/ 6969119 w 12192185"/>
              <a:gd name="connsiteY10548" fmla="*/ 1037709 h 6859062"/>
              <a:gd name="connsiteX10549" fmla="*/ 6966790 w 12192185"/>
              <a:gd name="connsiteY10549" fmla="*/ 1047640 h 6859062"/>
              <a:gd name="connsiteX10550" fmla="*/ 7033076 w 12192185"/>
              <a:gd name="connsiteY10550" fmla="*/ 1071687 h 6859062"/>
              <a:gd name="connsiteX10551" fmla="*/ 7031272 w 12192185"/>
              <a:gd name="connsiteY10551" fmla="*/ 1067300 h 6859062"/>
              <a:gd name="connsiteX10552" fmla="*/ 7049843 w 12192185"/>
              <a:gd name="connsiteY10552" fmla="*/ 1075051 h 6859062"/>
              <a:gd name="connsiteX10553" fmla="*/ 7051645 w 12192185"/>
              <a:gd name="connsiteY10553" fmla="*/ 1079438 h 6859062"/>
              <a:gd name="connsiteX10554" fmla="*/ 7056031 w 12192185"/>
              <a:gd name="connsiteY10554" fmla="*/ 1077636 h 6859062"/>
              <a:gd name="connsiteX10555" fmla="*/ 7057834 w 12192185"/>
              <a:gd name="connsiteY10555" fmla="*/ 1082021 h 6859062"/>
              <a:gd name="connsiteX10556" fmla="*/ 7070214 w 12192185"/>
              <a:gd name="connsiteY10556" fmla="*/ 1087190 h 6859062"/>
              <a:gd name="connsiteX10557" fmla="*/ 7080791 w 12192185"/>
              <a:gd name="connsiteY10557" fmla="*/ 1087970 h 6859062"/>
              <a:gd name="connsiteX10558" fmla="*/ 7086981 w 12192185"/>
              <a:gd name="connsiteY10558" fmla="*/ 1090554 h 6859062"/>
              <a:gd name="connsiteX10559" fmla="*/ 7105551 w 12192185"/>
              <a:gd name="connsiteY10559" fmla="*/ 1098307 h 6859062"/>
              <a:gd name="connsiteX10560" fmla="*/ 7109938 w 12192185"/>
              <a:gd name="connsiteY10560" fmla="*/ 1096503 h 6859062"/>
              <a:gd name="connsiteX10561" fmla="*/ 7116127 w 12192185"/>
              <a:gd name="connsiteY10561" fmla="*/ 1099088 h 6859062"/>
              <a:gd name="connsiteX10562" fmla="*/ 7117783 w 12192185"/>
              <a:gd name="connsiteY10562" fmla="*/ 1099896 h 6859062"/>
              <a:gd name="connsiteX10563" fmla="*/ 7118883 w 12192185"/>
              <a:gd name="connsiteY10563" fmla="*/ 1097222 h 6859062"/>
              <a:gd name="connsiteX10564" fmla="*/ 7121040 w 12192185"/>
              <a:gd name="connsiteY10564" fmla="*/ 1095496 h 6859062"/>
              <a:gd name="connsiteX10565" fmla="*/ 7132091 w 12192185"/>
              <a:gd name="connsiteY10565" fmla="*/ 1090245 h 6859062"/>
              <a:gd name="connsiteX10566" fmla="*/ 7127584 w 12192185"/>
              <a:gd name="connsiteY10566" fmla="*/ 1087971 h 6859062"/>
              <a:gd name="connsiteX10567" fmla="*/ 7076164 w 12192185"/>
              <a:gd name="connsiteY10567" fmla="*/ 1064234 h 6859062"/>
              <a:gd name="connsiteX10568" fmla="*/ 7068171 w 12192185"/>
              <a:gd name="connsiteY10568" fmla="*/ 1057264 h 6859062"/>
              <a:gd name="connsiteX10569" fmla="*/ 7066368 w 12192185"/>
              <a:gd name="connsiteY10569" fmla="*/ 1052877 h 6859062"/>
              <a:gd name="connsiteX10570" fmla="*/ 7060178 w 12192185"/>
              <a:gd name="connsiteY10570" fmla="*/ 1050293 h 6859062"/>
              <a:gd name="connsiteX10571" fmla="*/ 7055791 w 12192185"/>
              <a:gd name="connsiteY10571" fmla="*/ 1052096 h 6859062"/>
              <a:gd name="connsiteX10572" fmla="*/ 7008075 w 12192185"/>
              <a:gd name="connsiteY10572" fmla="*/ 1035801 h 6859062"/>
              <a:gd name="connsiteX10573" fmla="*/ 7001885 w 12192185"/>
              <a:gd name="connsiteY10573" fmla="*/ 1033217 h 6859062"/>
              <a:gd name="connsiteX10574" fmla="*/ 6991308 w 12192185"/>
              <a:gd name="connsiteY10574" fmla="*/ 1032436 h 6859062"/>
              <a:gd name="connsiteX10575" fmla="*/ 6994838 w 12192185"/>
              <a:gd name="connsiteY10575" fmla="*/ 1041027 h 6859062"/>
              <a:gd name="connsiteX10576" fmla="*/ 6982310 w 12192185"/>
              <a:gd name="connsiteY10576" fmla="*/ 1035494 h 6859062"/>
              <a:gd name="connsiteX10577" fmla="*/ 6967623 w 12192185"/>
              <a:gd name="connsiteY10577" fmla="*/ 1037059 h 6859062"/>
              <a:gd name="connsiteX10578" fmla="*/ 6967496 w 12192185"/>
              <a:gd name="connsiteY10578" fmla="*/ 1037001 h 6859062"/>
              <a:gd name="connsiteX10579" fmla="*/ 6953035 w 12192185"/>
              <a:gd name="connsiteY10579" fmla="*/ 1025090 h 6859062"/>
              <a:gd name="connsiteX10580" fmla="*/ 6928630 w 12192185"/>
              <a:gd name="connsiteY10580" fmla="*/ 1017172 h 6859062"/>
              <a:gd name="connsiteX10581" fmla="*/ 6926826 w 12192185"/>
              <a:gd name="connsiteY10581" fmla="*/ 1012785 h 6859062"/>
              <a:gd name="connsiteX10582" fmla="*/ 6922439 w 12192185"/>
              <a:gd name="connsiteY10582" fmla="*/ 1014588 h 6859062"/>
              <a:gd name="connsiteX10583" fmla="*/ 6918052 w 12192185"/>
              <a:gd name="connsiteY10583" fmla="*/ 1016391 h 6859062"/>
              <a:gd name="connsiteX10584" fmla="*/ 6908255 w 12192185"/>
              <a:gd name="connsiteY10584" fmla="*/ 1005034 h 6859062"/>
              <a:gd name="connsiteX10585" fmla="*/ 6914446 w 12192185"/>
              <a:gd name="connsiteY10585" fmla="*/ 1007618 h 6859062"/>
              <a:gd name="connsiteX10586" fmla="*/ 6925023 w 12192185"/>
              <a:gd name="connsiteY10586" fmla="*/ 1008398 h 6859062"/>
              <a:gd name="connsiteX10587" fmla="*/ 6917030 w 12192185"/>
              <a:gd name="connsiteY10587" fmla="*/ 1001427 h 6859062"/>
              <a:gd name="connsiteX10588" fmla="*/ 6915227 w 12192185"/>
              <a:gd name="connsiteY10588" fmla="*/ 997041 h 6859062"/>
              <a:gd name="connsiteX10589" fmla="*/ 6944373 w 12192185"/>
              <a:gd name="connsiteY10589" fmla="*/ 1005574 h 6859062"/>
              <a:gd name="connsiteX10590" fmla="*/ 6748100 w 12192185"/>
              <a:gd name="connsiteY10590" fmla="*/ 927272 h 6859062"/>
              <a:gd name="connsiteX10591" fmla="*/ 6725143 w 12192185"/>
              <a:gd name="connsiteY10591" fmla="*/ 921322 h 6859062"/>
              <a:gd name="connsiteX10592" fmla="*/ 6718954 w 12192185"/>
              <a:gd name="connsiteY10592" fmla="*/ 918737 h 6859062"/>
              <a:gd name="connsiteX10593" fmla="*/ 6524725 w 12192185"/>
              <a:gd name="connsiteY10593" fmla="*/ 870363 h 6859062"/>
              <a:gd name="connsiteX10594" fmla="*/ 6512346 w 12192185"/>
              <a:gd name="connsiteY10594" fmla="*/ 865194 h 6859062"/>
              <a:gd name="connsiteX10595" fmla="*/ 6529111 w 12192185"/>
              <a:gd name="connsiteY10595" fmla="*/ 868560 h 6859062"/>
              <a:gd name="connsiteX10596" fmla="*/ 6537886 w 12192185"/>
              <a:gd name="connsiteY10596" fmla="*/ 864954 h 6859062"/>
              <a:gd name="connsiteX10597" fmla="*/ 6559040 w 12192185"/>
              <a:gd name="connsiteY10597" fmla="*/ 866516 h 6859062"/>
              <a:gd name="connsiteX10598" fmla="*/ 6565229 w 12192185"/>
              <a:gd name="connsiteY10598" fmla="*/ 869100 h 6859062"/>
              <a:gd name="connsiteX10599" fmla="*/ 6569617 w 12192185"/>
              <a:gd name="connsiteY10599" fmla="*/ 867298 h 6859062"/>
              <a:gd name="connsiteX10600" fmla="*/ 6616310 w 12192185"/>
              <a:gd name="connsiteY10600" fmla="*/ 868619 h 6859062"/>
              <a:gd name="connsiteX10601" fmla="*/ 6605733 w 12192185"/>
              <a:gd name="connsiteY10601" fmla="*/ 867839 h 6859062"/>
              <a:gd name="connsiteX10602" fmla="*/ 6614507 w 12192185"/>
              <a:gd name="connsiteY10602" fmla="*/ 864232 h 6859062"/>
              <a:gd name="connsiteX10603" fmla="*/ 6606514 w 12192185"/>
              <a:gd name="connsiteY10603" fmla="*/ 857261 h 6859062"/>
              <a:gd name="connsiteX10604" fmla="*/ 6610902 w 12192185"/>
              <a:gd name="connsiteY10604" fmla="*/ 855458 h 6859062"/>
              <a:gd name="connsiteX10605" fmla="*/ 6617091 w 12192185"/>
              <a:gd name="connsiteY10605" fmla="*/ 858043 h 6859062"/>
              <a:gd name="connsiteX10606" fmla="*/ 6621477 w 12192185"/>
              <a:gd name="connsiteY10606" fmla="*/ 856239 h 6859062"/>
              <a:gd name="connsiteX10607" fmla="*/ 6653208 w 12192185"/>
              <a:gd name="connsiteY10607" fmla="*/ 858583 h 6859062"/>
              <a:gd name="connsiteX10608" fmla="*/ 6657596 w 12192185"/>
              <a:gd name="connsiteY10608" fmla="*/ 856780 h 6859062"/>
              <a:gd name="connsiteX10609" fmla="*/ 6651405 w 12192185"/>
              <a:gd name="connsiteY10609" fmla="*/ 854195 h 6859062"/>
              <a:gd name="connsiteX10610" fmla="*/ 6649603 w 12192185"/>
              <a:gd name="connsiteY10610" fmla="*/ 849809 h 6859062"/>
              <a:gd name="connsiteX10611" fmla="*/ 6746598 w 12192185"/>
              <a:gd name="connsiteY10611" fmla="*/ 861226 h 6859062"/>
              <a:gd name="connsiteX10612" fmla="*/ 6841007 w 12192185"/>
              <a:gd name="connsiteY10612" fmla="*/ 878834 h 6859062"/>
              <a:gd name="connsiteX10613" fmla="*/ 6845394 w 12192185"/>
              <a:gd name="connsiteY10613" fmla="*/ 877031 h 6859062"/>
              <a:gd name="connsiteX10614" fmla="*/ 6847197 w 12192185"/>
              <a:gd name="connsiteY10614" fmla="*/ 881417 h 6859062"/>
              <a:gd name="connsiteX10615" fmla="*/ 6851585 w 12192185"/>
              <a:gd name="connsiteY10615" fmla="*/ 879615 h 6859062"/>
              <a:gd name="connsiteX10616" fmla="*/ 6857775 w 12192185"/>
              <a:gd name="connsiteY10616" fmla="*/ 882199 h 6859062"/>
              <a:gd name="connsiteX10617" fmla="*/ 6874540 w 12192185"/>
              <a:gd name="connsiteY10617" fmla="*/ 885564 h 6859062"/>
              <a:gd name="connsiteX10618" fmla="*/ 6883315 w 12192185"/>
              <a:gd name="connsiteY10618" fmla="*/ 881957 h 6859062"/>
              <a:gd name="connsiteX10619" fmla="*/ 6862161 w 12192185"/>
              <a:gd name="connsiteY10619" fmla="*/ 880397 h 6859062"/>
              <a:gd name="connsiteX10620" fmla="*/ 6860358 w 12192185"/>
              <a:gd name="connsiteY10620" fmla="*/ 876008 h 6859062"/>
              <a:gd name="connsiteX10621" fmla="*/ 6864746 w 12192185"/>
              <a:gd name="connsiteY10621" fmla="*/ 874206 h 6859062"/>
              <a:gd name="connsiteX10622" fmla="*/ 6858554 w 12192185"/>
              <a:gd name="connsiteY10622" fmla="*/ 871622 h 6859062"/>
              <a:gd name="connsiteX10623" fmla="*/ 6854169 w 12192185"/>
              <a:gd name="connsiteY10623" fmla="*/ 873425 h 6859062"/>
              <a:gd name="connsiteX10624" fmla="*/ 6847978 w 12192185"/>
              <a:gd name="connsiteY10624" fmla="*/ 870841 h 6859062"/>
              <a:gd name="connsiteX10625" fmla="*/ 6831212 w 12192185"/>
              <a:gd name="connsiteY10625" fmla="*/ 867476 h 6859062"/>
              <a:gd name="connsiteX10626" fmla="*/ 6822438 w 12192185"/>
              <a:gd name="connsiteY10626" fmla="*/ 871081 h 6859062"/>
              <a:gd name="connsiteX10627" fmla="*/ 6818832 w 12192185"/>
              <a:gd name="connsiteY10627" fmla="*/ 862308 h 6859062"/>
              <a:gd name="connsiteX10628" fmla="*/ 6782716 w 12192185"/>
              <a:gd name="connsiteY10628" fmla="*/ 861767 h 6859062"/>
              <a:gd name="connsiteX10629" fmla="*/ 6715648 w 12192185"/>
              <a:gd name="connsiteY10629" fmla="*/ 848306 h 6859062"/>
              <a:gd name="connsiteX10630" fmla="*/ 6717450 w 12192185"/>
              <a:gd name="connsiteY10630" fmla="*/ 852693 h 6859062"/>
              <a:gd name="connsiteX10631" fmla="*/ 6705071 w 12192185"/>
              <a:gd name="connsiteY10631" fmla="*/ 847525 h 6859062"/>
              <a:gd name="connsiteX10632" fmla="*/ 6696297 w 12192185"/>
              <a:gd name="connsiteY10632" fmla="*/ 851131 h 6859062"/>
              <a:gd name="connsiteX10633" fmla="*/ 6694494 w 12192185"/>
              <a:gd name="connsiteY10633" fmla="*/ 846743 h 6859062"/>
              <a:gd name="connsiteX10634" fmla="*/ 6682115 w 12192185"/>
              <a:gd name="connsiteY10634" fmla="*/ 841576 h 6859062"/>
              <a:gd name="connsiteX10635" fmla="*/ 6643157 w 12192185"/>
              <a:gd name="connsiteY10635" fmla="*/ 843484 h 6859062"/>
              <a:gd name="connsiteX10636" fmla="*/ 6626448 w 12192185"/>
              <a:gd name="connsiteY10636" fmla="*/ 839970 h 6859062"/>
              <a:gd name="connsiteX10637" fmla="*/ 6614112 w 12192185"/>
              <a:gd name="connsiteY10637" fmla="*/ 838605 h 6859062"/>
              <a:gd name="connsiteX10638" fmla="*/ 6612394 w 12192185"/>
              <a:gd name="connsiteY10638" fmla="*/ 838407 h 6859062"/>
              <a:gd name="connsiteX10639" fmla="*/ 6611682 w 12192185"/>
              <a:gd name="connsiteY10639" fmla="*/ 844882 h 6859062"/>
              <a:gd name="connsiteX10640" fmla="*/ 6493535 w 12192185"/>
              <a:gd name="connsiteY10640" fmla="*/ 831901 h 6859062"/>
              <a:gd name="connsiteX10641" fmla="*/ 6398343 w 12192185"/>
              <a:gd name="connsiteY10641" fmla="*/ 824871 h 6859062"/>
              <a:gd name="connsiteX10642" fmla="*/ 6396541 w 12192185"/>
              <a:gd name="connsiteY10642" fmla="*/ 820483 h 6859062"/>
              <a:gd name="connsiteX10643" fmla="*/ 6333079 w 12192185"/>
              <a:gd name="connsiteY10643" fmla="*/ 815797 h 6859062"/>
              <a:gd name="connsiteX10644" fmla="*/ 6346239 w 12192185"/>
              <a:gd name="connsiteY10644" fmla="*/ 810389 h 6859062"/>
              <a:gd name="connsiteX10645" fmla="*/ 6330497 w 12192185"/>
              <a:gd name="connsiteY10645" fmla="*/ 821987 h 6859062"/>
              <a:gd name="connsiteX10646" fmla="*/ 6259041 w 12192185"/>
              <a:gd name="connsiteY10646" fmla="*/ 810329 h 6859062"/>
              <a:gd name="connsiteX10647" fmla="*/ 6252852 w 12192185"/>
              <a:gd name="connsiteY10647" fmla="*/ 807746 h 6859062"/>
              <a:gd name="connsiteX10648" fmla="*/ 6248465 w 12192185"/>
              <a:gd name="connsiteY10648" fmla="*/ 809548 h 6859062"/>
              <a:gd name="connsiteX10649" fmla="*/ 6250267 w 12192185"/>
              <a:gd name="connsiteY10649" fmla="*/ 813934 h 6859062"/>
              <a:gd name="connsiteX10650" fmla="*/ 6239691 w 12192185"/>
              <a:gd name="connsiteY10650" fmla="*/ 813154 h 6859062"/>
              <a:gd name="connsiteX10651" fmla="*/ 6244077 w 12192185"/>
              <a:gd name="connsiteY10651" fmla="*/ 811350 h 6859062"/>
              <a:gd name="connsiteX10652" fmla="*/ 6242274 w 12192185"/>
              <a:gd name="connsiteY10652" fmla="*/ 806964 h 6859062"/>
              <a:gd name="connsiteX10653" fmla="*/ 6233501 w 12192185"/>
              <a:gd name="connsiteY10653" fmla="*/ 810569 h 6859062"/>
              <a:gd name="connsiteX10654" fmla="*/ 6227310 w 12192185"/>
              <a:gd name="connsiteY10654" fmla="*/ 807986 h 6859062"/>
              <a:gd name="connsiteX10655" fmla="*/ 6214150 w 12192185"/>
              <a:gd name="connsiteY10655" fmla="*/ 813394 h 6859062"/>
              <a:gd name="connsiteX10656" fmla="*/ 6203575 w 12192185"/>
              <a:gd name="connsiteY10656" fmla="*/ 812612 h 6859062"/>
              <a:gd name="connsiteX10657" fmla="*/ 6209764 w 12192185"/>
              <a:gd name="connsiteY10657" fmla="*/ 815197 h 6859062"/>
              <a:gd name="connsiteX10658" fmla="*/ 6215952 w 12192185"/>
              <a:gd name="connsiteY10658" fmla="*/ 817781 h 6859062"/>
              <a:gd name="connsiteX10659" fmla="*/ 6207181 w 12192185"/>
              <a:gd name="connsiteY10659" fmla="*/ 821386 h 6859062"/>
              <a:gd name="connsiteX10660" fmla="*/ 6175452 w 12192185"/>
              <a:gd name="connsiteY10660" fmla="*/ 819043 h 6859062"/>
              <a:gd name="connsiteX10661" fmla="*/ 6118178 w 12192185"/>
              <a:gd name="connsiteY10661" fmla="*/ 816941 h 6859062"/>
              <a:gd name="connsiteX10662" fmla="*/ 6111988 w 12192185"/>
              <a:gd name="connsiteY10662" fmla="*/ 814356 h 6859062"/>
              <a:gd name="connsiteX10663" fmla="*/ 6107602 w 12192185"/>
              <a:gd name="connsiteY10663" fmla="*/ 816160 h 6859062"/>
              <a:gd name="connsiteX10664" fmla="*/ 6082074 w 12192185"/>
              <a:gd name="connsiteY10664" fmla="*/ 816400 h 6859062"/>
              <a:gd name="connsiteX10665" fmla="*/ 6062724 w 12192185"/>
              <a:gd name="connsiteY10665" fmla="*/ 819225 h 6859062"/>
              <a:gd name="connsiteX10666" fmla="*/ 6024807 w 12192185"/>
              <a:gd name="connsiteY10666" fmla="*/ 814297 h 6859062"/>
              <a:gd name="connsiteX10667" fmla="*/ 6023000 w 12192185"/>
              <a:gd name="connsiteY10667" fmla="*/ 809909 h 6859062"/>
              <a:gd name="connsiteX10668" fmla="*/ 6014230 w 12192185"/>
              <a:gd name="connsiteY10668" fmla="*/ 813516 h 6859062"/>
              <a:gd name="connsiteX10669" fmla="*/ 6009844 w 12192185"/>
              <a:gd name="connsiteY10669" fmla="*/ 815319 h 6859062"/>
              <a:gd name="connsiteX10670" fmla="*/ 6016034 w 12192185"/>
              <a:gd name="connsiteY10670" fmla="*/ 817902 h 6859062"/>
              <a:gd name="connsiteX10671" fmla="*/ 5979915 w 12192185"/>
              <a:gd name="connsiteY10671" fmla="*/ 817363 h 6859062"/>
              <a:gd name="connsiteX10672" fmla="*/ 5973725 w 12192185"/>
              <a:gd name="connsiteY10672" fmla="*/ 814779 h 6859062"/>
              <a:gd name="connsiteX10673" fmla="*/ 5969341 w 12192185"/>
              <a:gd name="connsiteY10673" fmla="*/ 816580 h 6859062"/>
              <a:gd name="connsiteX10674" fmla="*/ 5935029 w 12192185"/>
              <a:gd name="connsiteY10674" fmla="*/ 820427 h 6859062"/>
              <a:gd name="connsiteX10675" fmla="*/ 5939415 w 12192185"/>
              <a:gd name="connsiteY10675" fmla="*/ 818624 h 6859062"/>
              <a:gd name="connsiteX10676" fmla="*/ 5952573 w 12192185"/>
              <a:gd name="connsiteY10676" fmla="*/ 813215 h 6859062"/>
              <a:gd name="connsiteX10677" fmla="*/ 5941997 w 12192185"/>
              <a:gd name="connsiteY10677" fmla="*/ 812435 h 6859062"/>
              <a:gd name="connsiteX10678" fmla="*/ 5935805 w 12192185"/>
              <a:gd name="connsiteY10678" fmla="*/ 809851 h 6859062"/>
              <a:gd name="connsiteX10679" fmla="*/ 5955158 w 12192185"/>
              <a:gd name="connsiteY10679" fmla="*/ 807026 h 6859062"/>
              <a:gd name="connsiteX10680" fmla="*/ 5955938 w 12192185"/>
              <a:gd name="connsiteY10680" fmla="*/ 796449 h 6859062"/>
              <a:gd name="connsiteX10681" fmla="*/ 5919821 w 12192185"/>
              <a:gd name="connsiteY10681" fmla="*/ 795909 h 6859062"/>
              <a:gd name="connsiteX10682" fmla="*/ 5913634 w 12192185"/>
              <a:gd name="connsiteY10682" fmla="*/ 793324 h 6859062"/>
              <a:gd name="connsiteX10683" fmla="*/ 5909245 w 12192185"/>
              <a:gd name="connsiteY10683" fmla="*/ 795127 h 6859062"/>
              <a:gd name="connsiteX10684" fmla="*/ 5904857 w 12192185"/>
              <a:gd name="connsiteY10684" fmla="*/ 796931 h 6859062"/>
              <a:gd name="connsiteX10685" fmla="*/ 5911046 w 12192185"/>
              <a:gd name="connsiteY10685" fmla="*/ 799515 h 6859062"/>
              <a:gd name="connsiteX10686" fmla="*/ 5897888 w 12192185"/>
              <a:gd name="connsiteY10686" fmla="*/ 804923 h 6859062"/>
              <a:gd name="connsiteX10687" fmla="*/ 5895305 w 12192185"/>
              <a:gd name="connsiteY10687" fmla="*/ 811113 h 6859062"/>
              <a:gd name="connsiteX10688" fmla="*/ 5920843 w 12192185"/>
              <a:gd name="connsiteY10688" fmla="*/ 810873 h 6859062"/>
              <a:gd name="connsiteX10689" fmla="*/ 5916457 w 12192185"/>
              <a:gd name="connsiteY10689" fmla="*/ 812675 h 6859062"/>
              <a:gd name="connsiteX10690" fmla="*/ 5909486 w 12192185"/>
              <a:gd name="connsiteY10690" fmla="*/ 820668 h 6859062"/>
              <a:gd name="connsiteX10691" fmla="*/ 5918605 w 12192185"/>
              <a:gd name="connsiteY10691" fmla="*/ 821341 h 6859062"/>
              <a:gd name="connsiteX10692" fmla="*/ 5910291 w 12192185"/>
              <a:gd name="connsiteY10692" fmla="*/ 824183 h 6859062"/>
              <a:gd name="connsiteX10693" fmla="*/ 5885751 w 12192185"/>
              <a:gd name="connsiteY10693" fmla="*/ 825295 h 6859062"/>
              <a:gd name="connsiteX10694" fmla="*/ 5877998 w 12192185"/>
              <a:gd name="connsiteY10694" fmla="*/ 843866 h 6859062"/>
              <a:gd name="connsiteX10695" fmla="*/ 5880583 w 12192185"/>
              <a:gd name="connsiteY10695" fmla="*/ 837675 h 6859062"/>
              <a:gd name="connsiteX10696" fmla="*/ 5878777 w 12192185"/>
              <a:gd name="connsiteY10696" fmla="*/ 833289 h 6859062"/>
              <a:gd name="connsiteX10697" fmla="*/ 5876979 w 12192185"/>
              <a:gd name="connsiteY10697" fmla="*/ 828901 h 6859062"/>
              <a:gd name="connsiteX10698" fmla="*/ 5868207 w 12192185"/>
              <a:gd name="connsiteY10698" fmla="*/ 832506 h 6859062"/>
              <a:gd name="connsiteX10699" fmla="*/ 5863818 w 12192185"/>
              <a:gd name="connsiteY10699" fmla="*/ 834309 h 6859062"/>
              <a:gd name="connsiteX10700" fmla="*/ 5851437 w 12192185"/>
              <a:gd name="connsiteY10700" fmla="*/ 829142 h 6859062"/>
              <a:gd name="connsiteX10701" fmla="*/ 5860213 w 12192185"/>
              <a:gd name="connsiteY10701" fmla="*/ 825537 h 6859062"/>
              <a:gd name="connsiteX10702" fmla="*/ 5858409 w 12192185"/>
              <a:gd name="connsiteY10702" fmla="*/ 821147 h 6859062"/>
              <a:gd name="connsiteX10703" fmla="*/ 5847831 w 12192185"/>
              <a:gd name="connsiteY10703" fmla="*/ 820368 h 6859062"/>
              <a:gd name="connsiteX10704" fmla="*/ 5839061 w 12192185"/>
              <a:gd name="connsiteY10704" fmla="*/ 823974 h 6859062"/>
              <a:gd name="connsiteX10705" fmla="*/ 5833889 w 12192185"/>
              <a:gd name="connsiteY10705" fmla="*/ 836353 h 6859062"/>
              <a:gd name="connsiteX10706" fmla="*/ 5831308 w 12192185"/>
              <a:gd name="connsiteY10706" fmla="*/ 842544 h 6859062"/>
              <a:gd name="connsiteX10707" fmla="*/ 5837498 w 12192185"/>
              <a:gd name="connsiteY10707" fmla="*/ 845127 h 6859062"/>
              <a:gd name="connsiteX10708" fmla="*/ 5813759 w 12192185"/>
              <a:gd name="connsiteY10708" fmla="*/ 849755 h 6859062"/>
              <a:gd name="connsiteX10709" fmla="*/ 5826921 w 12192185"/>
              <a:gd name="connsiteY10709" fmla="*/ 844346 h 6859062"/>
              <a:gd name="connsiteX10710" fmla="*/ 5805765 w 12192185"/>
              <a:gd name="connsiteY10710" fmla="*/ 842784 h 6859062"/>
              <a:gd name="connsiteX10711" fmla="*/ 5803962 w 12192185"/>
              <a:gd name="connsiteY10711" fmla="*/ 838396 h 6859062"/>
              <a:gd name="connsiteX10712" fmla="*/ 5799579 w 12192185"/>
              <a:gd name="connsiteY10712" fmla="*/ 840200 h 6859062"/>
              <a:gd name="connsiteX10713" fmla="*/ 5795194 w 12192185"/>
              <a:gd name="connsiteY10713" fmla="*/ 842002 h 6859062"/>
              <a:gd name="connsiteX10714" fmla="*/ 5796994 w 12192185"/>
              <a:gd name="connsiteY10714" fmla="*/ 846389 h 6859062"/>
              <a:gd name="connsiteX10715" fmla="*/ 5784616 w 12192185"/>
              <a:gd name="connsiteY10715" fmla="*/ 841221 h 6859062"/>
              <a:gd name="connsiteX10716" fmla="*/ 5758298 w 12192185"/>
              <a:gd name="connsiteY10716" fmla="*/ 852039 h 6859062"/>
              <a:gd name="connsiteX10717" fmla="*/ 5767068 w 12192185"/>
              <a:gd name="connsiteY10717" fmla="*/ 848434 h 6859062"/>
              <a:gd name="connsiteX10718" fmla="*/ 5737144 w 12192185"/>
              <a:gd name="connsiteY10718" fmla="*/ 850476 h 6859062"/>
              <a:gd name="connsiteX10719" fmla="*/ 5739727 w 12192185"/>
              <a:gd name="connsiteY10719" fmla="*/ 844286 h 6859062"/>
              <a:gd name="connsiteX10720" fmla="*/ 5735340 w 12192185"/>
              <a:gd name="connsiteY10720" fmla="*/ 846089 h 6859062"/>
              <a:gd name="connsiteX10721" fmla="*/ 5733537 w 12192185"/>
              <a:gd name="connsiteY10721" fmla="*/ 841703 h 6859062"/>
              <a:gd name="connsiteX10722" fmla="*/ 5736120 w 12192185"/>
              <a:gd name="connsiteY10722" fmla="*/ 835513 h 6859062"/>
              <a:gd name="connsiteX10723" fmla="*/ 5779210 w 12192185"/>
              <a:gd name="connsiteY10723" fmla="*/ 828060 h 6859062"/>
              <a:gd name="connsiteX10724" fmla="*/ 5781011 w 12192185"/>
              <a:gd name="connsiteY10724" fmla="*/ 832447 h 6859062"/>
              <a:gd name="connsiteX10725" fmla="*/ 5800359 w 12192185"/>
              <a:gd name="connsiteY10725" fmla="*/ 829624 h 6859062"/>
              <a:gd name="connsiteX10726" fmla="*/ 5783591 w 12192185"/>
              <a:gd name="connsiteY10726" fmla="*/ 826257 h 6859062"/>
              <a:gd name="connsiteX10727" fmla="*/ 5807328 w 12192185"/>
              <a:gd name="connsiteY10727" fmla="*/ 821631 h 6859062"/>
              <a:gd name="connsiteX10728" fmla="*/ 5813521 w 12192185"/>
              <a:gd name="connsiteY10728" fmla="*/ 824215 h 6859062"/>
              <a:gd name="connsiteX10729" fmla="*/ 5817905 w 12192185"/>
              <a:gd name="connsiteY10729" fmla="*/ 822412 h 6859062"/>
              <a:gd name="connsiteX10730" fmla="*/ 5820490 w 12192185"/>
              <a:gd name="connsiteY10730" fmla="*/ 816222 h 6859062"/>
              <a:gd name="connsiteX10731" fmla="*/ 5814302 w 12192185"/>
              <a:gd name="connsiteY10731" fmla="*/ 813637 h 6859062"/>
              <a:gd name="connsiteX10732" fmla="*/ 5803724 w 12192185"/>
              <a:gd name="connsiteY10732" fmla="*/ 812856 h 6859062"/>
              <a:gd name="connsiteX10733" fmla="*/ 5799340 w 12192185"/>
              <a:gd name="connsiteY10733" fmla="*/ 814660 h 6859062"/>
              <a:gd name="connsiteX10734" fmla="*/ 5801140 w 12192185"/>
              <a:gd name="connsiteY10734" fmla="*/ 819046 h 6859062"/>
              <a:gd name="connsiteX10735" fmla="*/ 5734318 w 12192185"/>
              <a:gd name="connsiteY10735" fmla="*/ 831126 h 6859062"/>
              <a:gd name="connsiteX10736" fmla="*/ 5728128 w 12192185"/>
              <a:gd name="connsiteY10736" fmla="*/ 828542 h 6859062"/>
              <a:gd name="connsiteX10737" fmla="*/ 5723742 w 12192185"/>
              <a:gd name="connsiteY10737" fmla="*/ 830346 h 6859062"/>
              <a:gd name="connsiteX10738" fmla="*/ 5719356 w 12192185"/>
              <a:gd name="connsiteY10738" fmla="*/ 832148 h 6859062"/>
              <a:gd name="connsiteX10739" fmla="*/ 5689427 w 12192185"/>
              <a:gd name="connsiteY10739" fmla="*/ 834191 h 6859062"/>
              <a:gd name="connsiteX10740" fmla="*/ 5691228 w 12192185"/>
              <a:gd name="connsiteY10740" fmla="*/ 838579 h 6859062"/>
              <a:gd name="connsiteX10741" fmla="*/ 5685044 w 12192185"/>
              <a:gd name="connsiteY10741" fmla="*/ 835993 h 6859062"/>
              <a:gd name="connsiteX10742" fmla="*/ 5674468 w 12192185"/>
              <a:gd name="connsiteY10742" fmla="*/ 835212 h 6859062"/>
              <a:gd name="connsiteX10743" fmla="*/ 5671886 w 12192185"/>
              <a:gd name="connsiteY10743" fmla="*/ 841403 h 6859062"/>
              <a:gd name="connsiteX10744" fmla="*/ 5569992 w 12192185"/>
              <a:gd name="connsiteY10744" fmla="*/ 867905 h 6859062"/>
              <a:gd name="connsiteX10745" fmla="*/ 5559414 w 12192185"/>
              <a:gd name="connsiteY10745" fmla="*/ 867124 h 6859062"/>
              <a:gd name="connsiteX10746" fmla="*/ 5555030 w 12192185"/>
              <a:gd name="connsiteY10746" fmla="*/ 868928 h 6859062"/>
              <a:gd name="connsiteX10747" fmla="*/ 5556828 w 12192185"/>
              <a:gd name="connsiteY10747" fmla="*/ 873314 h 6859062"/>
              <a:gd name="connsiteX10748" fmla="*/ 5526903 w 12192185"/>
              <a:gd name="connsiteY10748" fmla="*/ 875358 h 6859062"/>
              <a:gd name="connsiteX10749" fmla="*/ 5522521 w 12192185"/>
              <a:gd name="connsiteY10749" fmla="*/ 877161 h 6859062"/>
              <a:gd name="connsiteX10750" fmla="*/ 5513748 w 12192185"/>
              <a:gd name="connsiteY10750" fmla="*/ 880767 h 6859062"/>
              <a:gd name="connsiteX10751" fmla="*/ 5509363 w 12192185"/>
              <a:gd name="connsiteY10751" fmla="*/ 882570 h 6859062"/>
              <a:gd name="connsiteX10752" fmla="*/ 5503170 w 12192185"/>
              <a:gd name="connsiteY10752" fmla="*/ 879985 h 6859062"/>
              <a:gd name="connsiteX10753" fmla="*/ 5498786 w 12192185"/>
              <a:gd name="connsiteY10753" fmla="*/ 881790 h 6859062"/>
              <a:gd name="connsiteX10754" fmla="*/ 5472459 w 12192185"/>
              <a:gd name="connsiteY10754" fmla="*/ 892605 h 6859062"/>
              <a:gd name="connsiteX10755" fmla="*/ 5468076 w 12192185"/>
              <a:gd name="connsiteY10755" fmla="*/ 894409 h 6859062"/>
              <a:gd name="connsiteX10756" fmla="*/ 5459303 w 12192185"/>
              <a:gd name="connsiteY10756" fmla="*/ 898014 h 6859062"/>
              <a:gd name="connsiteX10757" fmla="*/ 5454917 w 12192185"/>
              <a:gd name="connsiteY10757" fmla="*/ 899817 h 6859062"/>
              <a:gd name="connsiteX10758" fmla="*/ 5424211 w 12192185"/>
              <a:gd name="connsiteY10758" fmla="*/ 912437 h 6859062"/>
              <a:gd name="connsiteX10759" fmla="*/ 5403054 w 12192185"/>
              <a:gd name="connsiteY10759" fmla="*/ 910876 h 6859062"/>
              <a:gd name="connsiteX10760" fmla="*/ 5396869 w 12192185"/>
              <a:gd name="connsiteY10760" fmla="*/ 908291 h 6859062"/>
              <a:gd name="connsiteX10761" fmla="*/ 5392491 w 12192185"/>
              <a:gd name="connsiteY10761" fmla="*/ 910094 h 6859062"/>
              <a:gd name="connsiteX10762" fmla="*/ 5394287 w 12192185"/>
              <a:gd name="connsiteY10762" fmla="*/ 914480 h 6859062"/>
              <a:gd name="connsiteX10763" fmla="*/ 5398679 w 12192185"/>
              <a:gd name="connsiteY10763" fmla="*/ 912677 h 6859062"/>
              <a:gd name="connsiteX10764" fmla="*/ 5382929 w 12192185"/>
              <a:gd name="connsiteY10764" fmla="*/ 924276 h 6859062"/>
              <a:gd name="connsiteX10765" fmla="*/ 5379329 w 12192185"/>
              <a:gd name="connsiteY10765" fmla="*/ 915503 h 6859062"/>
              <a:gd name="connsiteX10766" fmla="*/ 5381752 w 12192185"/>
              <a:gd name="connsiteY10766" fmla="*/ 909689 h 6859062"/>
              <a:gd name="connsiteX10767" fmla="*/ 5406865 w 12192185"/>
              <a:gd name="connsiteY10767" fmla="*/ 901219 h 6859062"/>
              <a:gd name="connsiteX10768" fmla="*/ 5469641 w 12192185"/>
              <a:gd name="connsiteY10768" fmla="*/ 873256 h 6859062"/>
              <a:gd name="connsiteX10769" fmla="*/ 5475829 w 12192185"/>
              <a:gd name="connsiteY10769" fmla="*/ 875841 h 6859062"/>
              <a:gd name="connsiteX10770" fmla="*/ 5480219 w 12192185"/>
              <a:gd name="connsiteY10770" fmla="*/ 874036 h 6859062"/>
              <a:gd name="connsiteX10771" fmla="*/ 5500348 w 12192185"/>
              <a:gd name="connsiteY10771" fmla="*/ 860635 h 6859062"/>
              <a:gd name="connsiteX10772" fmla="*/ 5482805 w 12192185"/>
              <a:gd name="connsiteY10772" fmla="*/ 867846 h 6859062"/>
              <a:gd name="connsiteX10773" fmla="*/ 5485386 w 12192185"/>
              <a:gd name="connsiteY10773" fmla="*/ 861656 h 6859062"/>
              <a:gd name="connsiteX10774" fmla="*/ 5480991 w 12192185"/>
              <a:gd name="connsiteY10774" fmla="*/ 863459 h 6859062"/>
              <a:gd name="connsiteX10775" fmla="*/ 5476611 w 12192185"/>
              <a:gd name="connsiteY10775" fmla="*/ 865262 h 6859062"/>
              <a:gd name="connsiteX10776" fmla="*/ 5472220 w 12192185"/>
              <a:gd name="connsiteY10776" fmla="*/ 867065 h 6859062"/>
              <a:gd name="connsiteX10777" fmla="*/ 5419349 w 12192185"/>
              <a:gd name="connsiteY10777" fmla="*/ 863159 h 6859062"/>
              <a:gd name="connsiteX10778" fmla="*/ 5306614 w 12192185"/>
              <a:gd name="connsiteY10778" fmla="*/ 863341 h 6859062"/>
              <a:gd name="connsiteX10779" fmla="*/ 5300421 w 12192185"/>
              <a:gd name="connsiteY10779" fmla="*/ 860757 h 6859062"/>
              <a:gd name="connsiteX10780" fmla="*/ 5294224 w 12192185"/>
              <a:gd name="connsiteY10780" fmla="*/ 858172 h 6859062"/>
              <a:gd name="connsiteX10781" fmla="*/ 5296812 w 12192185"/>
              <a:gd name="connsiteY10781" fmla="*/ 851982 h 6859062"/>
              <a:gd name="connsiteX10782" fmla="*/ 5283648 w 12192185"/>
              <a:gd name="connsiteY10782" fmla="*/ 857391 h 6859062"/>
              <a:gd name="connsiteX10783" fmla="*/ 5193084 w 12192185"/>
              <a:gd name="connsiteY10783" fmla="*/ 874098 h 6859062"/>
              <a:gd name="connsiteX10784" fmla="*/ 5200056 w 12192185"/>
              <a:gd name="connsiteY10784" fmla="*/ 866105 h 6859062"/>
              <a:gd name="connsiteX10785" fmla="*/ 5136595 w 12192185"/>
              <a:gd name="connsiteY10785" fmla="*/ 861418 h 6859062"/>
              <a:gd name="connsiteX10786" fmla="*/ 5145370 w 12192185"/>
              <a:gd name="connsiteY10786" fmla="*/ 857812 h 6859062"/>
              <a:gd name="connsiteX10787" fmla="*/ 5149766 w 12192185"/>
              <a:gd name="connsiteY10787" fmla="*/ 856010 h 6859062"/>
              <a:gd name="connsiteX10788" fmla="*/ 5143563 w 12192185"/>
              <a:gd name="connsiteY10788" fmla="*/ 853427 h 6859062"/>
              <a:gd name="connsiteX10789" fmla="*/ 5134790 w 12192185"/>
              <a:gd name="connsiteY10789" fmla="*/ 857032 h 6859062"/>
              <a:gd name="connsiteX10790" fmla="*/ 5204980 w 12192185"/>
              <a:gd name="connsiteY10790" fmla="*/ 828185 h 6859062"/>
              <a:gd name="connsiteX10791" fmla="*/ 5072894 w 12192185"/>
              <a:gd name="connsiteY10791" fmla="*/ 831191 h 6859062"/>
              <a:gd name="connsiteX10792" fmla="*/ 5052526 w 12192185"/>
              <a:gd name="connsiteY10792" fmla="*/ 819053 h 6859062"/>
              <a:gd name="connsiteX10793" fmla="*/ 5063877 w 12192185"/>
              <a:gd name="connsiteY10793" fmla="*/ 809258 h 6859062"/>
              <a:gd name="connsiteX10794" fmla="*/ 5170974 w 12192185"/>
              <a:gd name="connsiteY10794" fmla="*/ 770374 h 6859062"/>
              <a:gd name="connsiteX10795" fmla="*/ 5181313 w 12192185"/>
              <a:gd name="connsiteY10795" fmla="*/ 745613 h 6859062"/>
              <a:gd name="connsiteX10796" fmla="*/ 5240148 w 12192185"/>
              <a:gd name="connsiteY10796" fmla="*/ 726563 h 6859062"/>
              <a:gd name="connsiteX10797" fmla="*/ 5210193 w 12192185"/>
              <a:gd name="connsiteY10797" fmla="*/ 728607 h 6859062"/>
              <a:gd name="connsiteX10798" fmla="*/ 5245317 w 12192185"/>
              <a:gd name="connsiteY10798" fmla="*/ 714184 h 6859062"/>
              <a:gd name="connsiteX10799" fmla="*/ 5222343 w 12192185"/>
              <a:gd name="connsiteY10799" fmla="*/ 708236 h 6859062"/>
              <a:gd name="connsiteX10800" fmla="*/ 5458700 w 12192185"/>
              <a:gd name="connsiteY10800" fmla="*/ 646997 h 6859062"/>
              <a:gd name="connsiteX10801" fmla="*/ 5482438 w 12192185"/>
              <a:gd name="connsiteY10801" fmla="*/ 642369 h 6859062"/>
              <a:gd name="connsiteX10802" fmla="*/ 6150670 w 12192185"/>
              <a:gd name="connsiteY10802" fmla="*/ 580870 h 6859062"/>
              <a:gd name="connsiteX10803" fmla="*/ 6208535 w 12192185"/>
              <a:gd name="connsiteY10803" fmla="*/ 584941 h 6859062"/>
              <a:gd name="connsiteX10804" fmla="*/ 6208615 w 12192185"/>
              <a:gd name="connsiteY10804" fmla="*/ 583984 h 6859062"/>
              <a:gd name="connsiteX10805" fmla="*/ 6222819 w 12192185"/>
              <a:gd name="connsiteY10805" fmla="*/ 572035 h 6859062"/>
              <a:gd name="connsiteX10806" fmla="*/ 6232456 w 12192185"/>
              <a:gd name="connsiteY10806" fmla="*/ 557313 h 6859062"/>
              <a:gd name="connsiteX10807" fmla="*/ 6240354 w 12192185"/>
              <a:gd name="connsiteY10807" fmla="*/ 541847 h 6859062"/>
              <a:gd name="connsiteX10808" fmla="*/ 6247643 w 12192185"/>
              <a:gd name="connsiteY10808" fmla="*/ 534489 h 6859062"/>
              <a:gd name="connsiteX10809" fmla="*/ 1800011 w 12192185"/>
              <a:gd name="connsiteY10809" fmla="*/ 528967 h 6859062"/>
              <a:gd name="connsiteX10810" fmla="*/ 1799916 w 12192185"/>
              <a:gd name="connsiteY10810" fmla="*/ 529453 h 6859062"/>
              <a:gd name="connsiteX10811" fmla="*/ 1799538 w 12192185"/>
              <a:gd name="connsiteY10811" fmla="*/ 529276 h 6859062"/>
              <a:gd name="connsiteX10812" fmla="*/ 3846383 w 12192185"/>
              <a:gd name="connsiteY10812" fmla="*/ 524445 h 6859062"/>
              <a:gd name="connsiteX10813" fmla="*/ 3854638 w 12192185"/>
              <a:gd name="connsiteY10813" fmla="*/ 525124 h 6859062"/>
              <a:gd name="connsiteX10814" fmla="*/ 3860076 w 12192185"/>
              <a:gd name="connsiteY10814" fmla="*/ 527279 h 6859062"/>
              <a:gd name="connsiteX10815" fmla="*/ 3865366 w 12192185"/>
              <a:gd name="connsiteY10815" fmla="*/ 537375 h 6859062"/>
              <a:gd name="connsiteX10816" fmla="*/ 3862400 w 12192185"/>
              <a:gd name="connsiteY10816" fmla="*/ 546792 h 6859062"/>
              <a:gd name="connsiteX10817" fmla="*/ 3862276 w 12192185"/>
              <a:gd name="connsiteY10817" fmla="*/ 556150 h 6859062"/>
              <a:gd name="connsiteX10818" fmla="*/ 3863146 w 12192185"/>
              <a:gd name="connsiteY10818" fmla="*/ 565346 h 6859062"/>
              <a:gd name="connsiteX10819" fmla="*/ 3861564 w 12192185"/>
              <a:gd name="connsiteY10819" fmla="*/ 572608 h 6859062"/>
              <a:gd name="connsiteX10820" fmla="*/ 3856982 w 12192185"/>
              <a:gd name="connsiteY10820" fmla="*/ 578940 h 6859062"/>
              <a:gd name="connsiteX10821" fmla="*/ 3851349 w 12192185"/>
              <a:gd name="connsiteY10821" fmla="*/ 581891 h 6859062"/>
              <a:gd name="connsiteX10822" fmla="*/ 3849916 w 12192185"/>
              <a:gd name="connsiteY10822" fmla="*/ 581212 h 6859062"/>
              <a:gd name="connsiteX10823" fmla="*/ 3838795 w 12192185"/>
              <a:gd name="connsiteY10823" fmla="*/ 579175 h 6859062"/>
              <a:gd name="connsiteX10824" fmla="*/ 3831263 w 12192185"/>
              <a:gd name="connsiteY10824" fmla="*/ 570968 h 6859062"/>
              <a:gd name="connsiteX10825" fmla="*/ 3829331 w 12192185"/>
              <a:gd name="connsiteY10825" fmla="*/ 557684 h 6859062"/>
              <a:gd name="connsiteX10826" fmla="*/ 3832233 w 12192185"/>
              <a:gd name="connsiteY10826" fmla="*/ 552946 h 6859062"/>
              <a:gd name="connsiteX10827" fmla="*/ 3834060 w 12192185"/>
              <a:gd name="connsiteY10827" fmla="*/ 543411 h 6859062"/>
              <a:gd name="connsiteX10828" fmla="*/ 3834134 w 12192185"/>
              <a:gd name="connsiteY10828" fmla="*/ 539441 h 6859062"/>
              <a:gd name="connsiteX10829" fmla="*/ 3838471 w 12192185"/>
              <a:gd name="connsiteY10829" fmla="*/ 527161 h 6859062"/>
              <a:gd name="connsiteX10830" fmla="*/ 3846383 w 12192185"/>
              <a:gd name="connsiteY10830" fmla="*/ 524445 h 6859062"/>
              <a:gd name="connsiteX10831" fmla="*/ 10304300 w 12192185"/>
              <a:gd name="connsiteY10831" fmla="*/ 513527 h 6859062"/>
              <a:gd name="connsiteX10832" fmla="*/ 10306681 w 12192185"/>
              <a:gd name="connsiteY10832" fmla="*/ 515845 h 6859062"/>
              <a:gd name="connsiteX10833" fmla="*/ 10318679 w 12192185"/>
              <a:gd name="connsiteY10833" fmla="*/ 524379 h 6859062"/>
              <a:gd name="connsiteX10834" fmla="*/ 10321029 w 12192185"/>
              <a:gd name="connsiteY10834" fmla="*/ 527717 h 6859062"/>
              <a:gd name="connsiteX10835" fmla="*/ 10328759 w 12192185"/>
              <a:gd name="connsiteY10835" fmla="*/ 535506 h 6859062"/>
              <a:gd name="connsiteX10836" fmla="*/ 10332501 w 12192185"/>
              <a:gd name="connsiteY10836" fmla="*/ 540112 h 6859062"/>
              <a:gd name="connsiteX10837" fmla="*/ 10332287 w 12192185"/>
              <a:gd name="connsiteY10837" fmla="*/ 547247 h 6859062"/>
              <a:gd name="connsiteX10838" fmla="*/ 10335355 w 12192185"/>
              <a:gd name="connsiteY10838" fmla="*/ 567544 h 6859062"/>
              <a:gd name="connsiteX10839" fmla="*/ 10334987 w 12192185"/>
              <a:gd name="connsiteY10839" fmla="*/ 579775 h 6859062"/>
              <a:gd name="connsiteX10840" fmla="*/ 10332392 w 12192185"/>
              <a:gd name="connsiteY10840" fmla="*/ 584593 h 6859062"/>
              <a:gd name="connsiteX10841" fmla="*/ 10322535 w 12192185"/>
              <a:gd name="connsiteY10841" fmla="*/ 593265 h 6859062"/>
              <a:gd name="connsiteX10842" fmla="*/ 10307393 w 12192185"/>
              <a:gd name="connsiteY10842" fmla="*/ 607895 h 6859062"/>
              <a:gd name="connsiteX10843" fmla="*/ 10299110 w 12192185"/>
              <a:gd name="connsiteY10843" fmla="*/ 611720 h 6859062"/>
              <a:gd name="connsiteX10844" fmla="*/ 10288014 w 12192185"/>
              <a:gd name="connsiteY10844" fmla="*/ 614029 h 6859062"/>
              <a:gd name="connsiteX10845" fmla="*/ 10279235 w 12192185"/>
              <a:gd name="connsiteY10845" fmla="*/ 613960 h 6859062"/>
              <a:gd name="connsiteX10846" fmla="*/ 10250887 w 12192185"/>
              <a:gd name="connsiteY10846" fmla="*/ 605940 h 6859062"/>
              <a:gd name="connsiteX10847" fmla="*/ 10238243 w 12192185"/>
              <a:gd name="connsiteY10847" fmla="*/ 598610 h 6859062"/>
              <a:gd name="connsiteX10848" fmla="*/ 10226580 w 12192185"/>
              <a:gd name="connsiteY10848" fmla="*/ 572129 h 6859062"/>
              <a:gd name="connsiteX10849" fmla="*/ 10230563 w 12192185"/>
              <a:gd name="connsiteY10849" fmla="*/ 561847 h 6859062"/>
              <a:gd name="connsiteX10850" fmla="*/ 10232324 w 12192185"/>
              <a:gd name="connsiteY10850" fmla="*/ 557616 h 6859062"/>
              <a:gd name="connsiteX10851" fmla="*/ 10236153 w 12192185"/>
              <a:gd name="connsiteY10851" fmla="*/ 545696 h 6859062"/>
              <a:gd name="connsiteX10852" fmla="*/ 10237759 w 12192185"/>
              <a:gd name="connsiteY10852" fmla="*/ 539827 h 6859062"/>
              <a:gd name="connsiteX10853" fmla="*/ 10241837 w 12192185"/>
              <a:gd name="connsiteY10853" fmla="*/ 533220 h 6859062"/>
              <a:gd name="connsiteX10854" fmla="*/ 10248326 w 12192185"/>
              <a:gd name="connsiteY10854" fmla="*/ 527911 h 6859062"/>
              <a:gd name="connsiteX10855" fmla="*/ 10266034 w 12192185"/>
              <a:gd name="connsiteY10855" fmla="*/ 516218 h 6859062"/>
              <a:gd name="connsiteX10856" fmla="*/ 10304300 w 12192185"/>
              <a:gd name="connsiteY10856" fmla="*/ 513527 h 6859062"/>
              <a:gd name="connsiteX10857" fmla="*/ 10773377 w 12192185"/>
              <a:gd name="connsiteY10857" fmla="*/ 512275 h 6859062"/>
              <a:gd name="connsiteX10858" fmla="*/ 10787266 w 12192185"/>
              <a:gd name="connsiteY10858" fmla="*/ 512978 h 6859062"/>
              <a:gd name="connsiteX10859" fmla="*/ 10792760 w 12192185"/>
              <a:gd name="connsiteY10859" fmla="*/ 514067 h 6859062"/>
              <a:gd name="connsiteX10860" fmla="*/ 10801713 w 12192185"/>
              <a:gd name="connsiteY10860" fmla="*/ 516552 h 6859062"/>
              <a:gd name="connsiteX10861" fmla="*/ 10810528 w 12192185"/>
              <a:gd name="connsiteY10861" fmla="*/ 514521 h 6859062"/>
              <a:gd name="connsiteX10862" fmla="*/ 10813771 w 12192185"/>
              <a:gd name="connsiteY10862" fmla="*/ 515012 h 6859062"/>
              <a:gd name="connsiteX10863" fmla="*/ 10814097 w 12192185"/>
              <a:gd name="connsiteY10863" fmla="*/ 518313 h 6859062"/>
              <a:gd name="connsiteX10864" fmla="*/ 10813469 w 12192185"/>
              <a:gd name="connsiteY10864" fmla="*/ 520781 h 6859062"/>
              <a:gd name="connsiteX10865" fmla="*/ 10813735 w 12192185"/>
              <a:gd name="connsiteY10865" fmla="*/ 524197 h 6859062"/>
              <a:gd name="connsiteX10866" fmla="*/ 10816969 w 12192185"/>
              <a:gd name="connsiteY10866" fmla="*/ 523836 h 6859062"/>
              <a:gd name="connsiteX10867" fmla="*/ 10821921 w 12192185"/>
              <a:gd name="connsiteY10867" fmla="*/ 527672 h 6859062"/>
              <a:gd name="connsiteX10868" fmla="*/ 10821739 w 12192185"/>
              <a:gd name="connsiteY10868" fmla="*/ 530613 h 6859062"/>
              <a:gd name="connsiteX10869" fmla="*/ 10824319 w 12192185"/>
              <a:gd name="connsiteY10869" fmla="*/ 533639 h 6859062"/>
              <a:gd name="connsiteX10870" fmla="*/ 10827248 w 12192185"/>
              <a:gd name="connsiteY10870" fmla="*/ 531243 h 6859062"/>
              <a:gd name="connsiteX10871" fmla="*/ 10828419 w 12192185"/>
              <a:gd name="connsiteY10871" fmla="*/ 528338 h 6859062"/>
              <a:gd name="connsiteX10872" fmla="*/ 10834997 w 12192185"/>
              <a:gd name="connsiteY10872" fmla="*/ 550063 h 6859062"/>
              <a:gd name="connsiteX10873" fmla="*/ 10833565 w 12192185"/>
              <a:gd name="connsiteY10873" fmla="*/ 550777 h 6859062"/>
              <a:gd name="connsiteX10874" fmla="*/ 10833343 w 12192185"/>
              <a:gd name="connsiteY10874" fmla="*/ 555098 h 6859062"/>
              <a:gd name="connsiteX10875" fmla="*/ 10835824 w 12192185"/>
              <a:gd name="connsiteY10875" fmla="*/ 558306 h 6859062"/>
              <a:gd name="connsiteX10876" fmla="*/ 10835658 w 12192185"/>
              <a:gd name="connsiteY10876" fmla="*/ 563826 h 6859062"/>
              <a:gd name="connsiteX10877" fmla="*/ 10835212 w 12192185"/>
              <a:gd name="connsiteY10877" fmla="*/ 581587 h 6859062"/>
              <a:gd name="connsiteX10878" fmla="*/ 10836677 w 12192185"/>
              <a:gd name="connsiteY10878" fmla="*/ 584948 h 6859062"/>
              <a:gd name="connsiteX10879" fmla="*/ 10832061 w 12192185"/>
              <a:gd name="connsiteY10879" fmla="*/ 585267 h 6859062"/>
              <a:gd name="connsiteX10880" fmla="*/ 10831516 w 12192185"/>
              <a:gd name="connsiteY10880" fmla="*/ 584974 h 6859062"/>
              <a:gd name="connsiteX10881" fmla="*/ 10824754 w 12192185"/>
              <a:gd name="connsiteY10881" fmla="*/ 589278 h 6859062"/>
              <a:gd name="connsiteX10882" fmla="*/ 10819802 w 12192185"/>
              <a:gd name="connsiteY10882" fmla="*/ 597599 h 6859062"/>
              <a:gd name="connsiteX10883" fmla="*/ 10810278 w 12192185"/>
              <a:gd name="connsiteY10883" fmla="*/ 607899 h 6859062"/>
              <a:gd name="connsiteX10884" fmla="*/ 10805802 w 12192185"/>
              <a:gd name="connsiteY10884" fmla="*/ 609696 h 6859062"/>
              <a:gd name="connsiteX10885" fmla="*/ 10793293 w 12192185"/>
              <a:gd name="connsiteY10885" fmla="*/ 615113 h 6859062"/>
              <a:gd name="connsiteX10886" fmla="*/ 10788064 w 12192185"/>
              <a:gd name="connsiteY10886" fmla="*/ 614401 h 6859062"/>
              <a:gd name="connsiteX10887" fmla="*/ 10767285 w 12192185"/>
              <a:gd name="connsiteY10887" fmla="*/ 609986 h 6859062"/>
              <a:gd name="connsiteX10888" fmla="*/ 10765138 w 12192185"/>
              <a:gd name="connsiteY10888" fmla="*/ 613973 h 6859062"/>
              <a:gd name="connsiteX10889" fmla="*/ 10769559 w 12192185"/>
              <a:gd name="connsiteY10889" fmla="*/ 617056 h 6859062"/>
              <a:gd name="connsiteX10890" fmla="*/ 10773993 w 12192185"/>
              <a:gd name="connsiteY10890" fmla="*/ 616639 h 6859062"/>
              <a:gd name="connsiteX10891" fmla="*/ 10777270 w 12192185"/>
              <a:gd name="connsiteY10891" fmla="*/ 617937 h 6859062"/>
              <a:gd name="connsiteX10892" fmla="*/ 10774970 w 12192185"/>
              <a:gd name="connsiteY10892" fmla="*/ 620906 h 6859062"/>
              <a:gd name="connsiteX10893" fmla="*/ 10771163 w 12192185"/>
              <a:gd name="connsiteY10893" fmla="*/ 621894 h 6859062"/>
              <a:gd name="connsiteX10894" fmla="*/ 10767230 w 12192185"/>
              <a:gd name="connsiteY10894" fmla="*/ 627023 h 6859062"/>
              <a:gd name="connsiteX10895" fmla="*/ 10772710 w 12192185"/>
              <a:gd name="connsiteY10895" fmla="*/ 628573 h 6859062"/>
              <a:gd name="connsiteX10896" fmla="*/ 10778178 w 12192185"/>
              <a:gd name="connsiteY10896" fmla="*/ 627543 h 6859062"/>
              <a:gd name="connsiteX10897" fmla="*/ 10780535 w 12192185"/>
              <a:gd name="connsiteY10897" fmla="*/ 631852 h 6859062"/>
              <a:gd name="connsiteX10898" fmla="*/ 10770981 w 12192185"/>
              <a:gd name="connsiteY10898" fmla="*/ 640032 h 6859062"/>
              <a:gd name="connsiteX10899" fmla="*/ 10765613 w 12192185"/>
              <a:gd name="connsiteY10899" fmla="*/ 649998 h 6859062"/>
              <a:gd name="connsiteX10900" fmla="*/ 10767091 w 12192185"/>
              <a:gd name="connsiteY10900" fmla="*/ 655937 h 6859062"/>
              <a:gd name="connsiteX10901" fmla="*/ 10767105 w 12192185"/>
              <a:gd name="connsiteY10901" fmla="*/ 658516 h 6859062"/>
              <a:gd name="connsiteX10902" fmla="*/ 10764525 w 12192185"/>
              <a:gd name="connsiteY10902" fmla="*/ 658529 h 6859062"/>
              <a:gd name="connsiteX10903" fmla="*/ 10758766 w 12192185"/>
              <a:gd name="connsiteY10903" fmla="*/ 660102 h 6859062"/>
              <a:gd name="connsiteX10904" fmla="*/ 10749661 w 12192185"/>
              <a:gd name="connsiteY10904" fmla="*/ 665717 h 6859062"/>
              <a:gd name="connsiteX10905" fmla="*/ 10747136 w 12192185"/>
              <a:gd name="connsiteY10905" fmla="*/ 669968 h 6859062"/>
              <a:gd name="connsiteX10906" fmla="*/ 10747024 w 12192185"/>
              <a:gd name="connsiteY10906" fmla="*/ 673649 h 6859062"/>
              <a:gd name="connsiteX10907" fmla="*/ 10742870 w 12192185"/>
              <a:gd name="connsiteY10907" fmla="*/ 673981 h 6859062"/>
              <a:gd name="connsiteX10908" fmla="*/ 10740135 w 12192185"/>
              <a:gd name="connsiteY10908" fmla="*/ 672976 h 6859062"/>
              <a:gd name="connsiteX10909" fmla="*/ 10733052 w 12192185"/>
              <a:gd name="connsiteY10909" fmla="*/ 678746 h 6859062"/>
              <a:gd name="connsiteX10910" fmla="*/ 10733177 w 12192185"/>
              <a:gd name="connsiteY10910" fmla="*/ 680683 h 6859062"/>
              <a:gd name="connsiteX10911" fmla="*/ 10731240 w 12192185"/>
              <a:gd name="connsiteY10911" fmla="*/ 683847 h 6859062"/>
              <a:gd name="connsiteX10912" fmla="*/ 10728728 w 12192185"/>
              <a:gd name="connsiteY10912" fmla="*/ 681560 h 6859062"/>
              <a:gd name="connsiteX10913" fmla="*/ 10728184 w 12192185"/>
              <a:gd name="connsiteY10913" fmla="*/ 678228 h 6859062"/>
              <a:gd name="connsiteX10914" fmla="*/ 10724852 w 12192185"/>
              <a:gd name="connsiteY10914" fmla="*/ 675730 h 6859062"/>
              <a:gd name="connsiteX10915" fmla="*/ 10712232 w 12192185"/>
              <a:gd name="connsiteY10915" fmla="*/ 672673 h 6859062"/>
              <a:gd name="connsiteX10916" fmla="*/ 10697966 w 12192185"/>
              <a:gd name="connsiteY10916" fmla="*/ 666157 h 6859062"/>
              <a:gd name="connsiteX10917" fmla="*/ 10695580 w 12192185"/>
              <a:gd name="connsiteY10917" fmla="*/ 662767 h 6859062"/>
              <a:gd name="connsiteX10918" fmla="*/ 10688497 w 12192185"/>
              <a:gd name="connsiteY10918" fmla="*/ 653341 h 6859062"/>
              <a:gd name="connsiteX10919" fmla="*/ 10687366 w 12192185"/>
              <a:gd name="connsiteY10919" fmla="*/ 651095 h 6859062"/>
              <a:gd name="connsiteX10920" fmla="*/ 10684563 w 12192185"/>
              <a:gd name="connsiteY10920" fmla="*/ 637195 h 6859062"/>
              <a:gd name="connsiteX10921" fmla="*/ 10688454 w 12192185"/>
              <a:gd name="connsiteY10921" fmla="*/ 618250 h 6859062"/>
              <a:gd name="connsiteX10922" fmla="*/ 10689122 w 12192185"/>
              <a:gd name="connsiteY10922" fmla="*/ 611364 h 6859062"/>
              <a:gd name="connsiteX10923" fmla="*/ 10693961 w 12192185"/>
              <a:gd name="connsiteY10923" fmla="*/ 603684 h 6859062"/>
              <a:gd name="connsiteX10924" fmla="*/ 10698299 w 12192185"/>
              <a:gd name="connsiteY10924" fmla="*/ 597371 h 6859062"/>
              <a:gd name="connsiteX10925" fmla="*/ 10699582 w 12192185"/>
              <a:gd name="connsiteY10925" fmla="*/ 594555 h 6859062"/>
              <a:gd name="connsiteX10926" fmla="*/ 10716915 w 12192185"/>
              <a:gd name="connsiteY10926" fmla="*/ 587995 h 6859062"/>
              <a:gd name="connsiteX10927" fmla="*/ 10730289 w 12192185"/>
              <a:gd name="connsiteY10927" fmla="*/ 587485 h 6859062"/>
              <a:gd name="connsiteX10928" fmla="*/ 10743272 w 12192185"/>
              <a:gd name="connsiteY10928" fmla="*/ 581621 h 6859062"/>
              <a:gd name="connsiteX10929" fmla="*/ 10743257 w 12192185"/>
              <a:gd name="connsiteY10929" fmla="*/ 579042 h 6859062"/>
              <a:gd name="connsiteX10930" fmla="*/ 10739395 w 12192185"/>
              <a:gd name="connsiteY10930" fmla="*/ 560596 h 6859062"/>
              <a:gd name="connsiteX10931" fmla="*/ 10739506 w 12192185"/>
              <a:gd name="connsiteY10931" fmla="*/ 556916 h 6859062"/>
              <a:gd name="connsiteX10932" fmla="*/ 10742935 w 12192185"/>
              <a:gd name="connsiteY10932" fmla="*/ 547074 h 6859062"/>
              <a:gd name="connsiteX10933" fmla="*/ 10746059 w 12192185"/>
              <a:gd name="connsiteY10933" fmla="*/ 535198 h 6859062"/>
              <a:gd name="connsiteX10934" fmla="*/ 10748584 w 12192185"/>
              <a:gd name="connsiteY10934" fmla="*/ 530947 h 6859062"/>
              <a:gd name="connsiteX10935" fmla="*/ 10770784 w 12192185"/>
              <a:gd name="connsiteY10935" fmla="*/ 512748 h 6859062"/>
              <a:gd name="connsiteX10936" fmla="*/ 10773377 w 12192185"/>
              <a:gd name="connsiteY10936" fmla="*/ 512275 h 6859062"/>
              <a:gd name="connsiteX10937" fmla="*/ 2685915 w 12192185"/>
              <a:gd name="connsiteY10937" fmla="*/ 486683 h 6859062"/>
              <a:gd name="connsiteX10938" fmla="*/ 2686114 w 12192185"/>
              <a:gd name="connsiteY10938" fmla="*/ 486878 h 6859062"/>
              <a:gd name="connsiteX10939" fmla="*/ 2685748 w 12192185"/>
              <a:gd name="connsiteY10939" fmla="*/ 486965 h 6859062"/>
              <a:gd name="connsiteX10940" fmla="*/ 11128309 w 12192185"/>
              <a:gd name="connsiteY10940" fmla="*/ 485923 h 6859062"/>
              <a:gd name="connsiteX10941" fmla="*/ 11134215 w 12192185"/>
              <a:gd name="connsiteY10941" fmla="*/ 486514 h 6859062"/>
              <a:gd name="connsiteX10942" fmla="*/ 11144971 w 12192185"/>
              <a:gd name="connsiteY10942" fmla="*/ 488683 h 6859062"/>
              <a:gd name="connsiteX10943" fmla="*/ 11149053 w 12192185"/>
              <a:gd name="connsiteY10943" fmla="*/ 488810 h 6859062"/>
              <a:gd name="connsiteX10944" fmla="*/ 11162779 w 12192185"/>
              <a:gd name="connsiteY10944" fmla="*/ 494133 h 6859062"/>
              <a:gd name="connsiteX10945" fmla="*/ 11166024 w 12192185"/>
              <a:gd name="connsiteY10945" fmla="*/ 494846 h 6859062"/>
              <a:gd name="connsiteX10946" fmla="*/ 11184829 w 12192185"/>
              <a:gd name="connsiteY10946" fmla="*/ 528282 h 6859062"/>
              <a:gd name="connsiteX10947" fmla="*/ 11184806 w 12192185"/>
              <a:gd name="connsiteY10947" fmla="*/ 549502 h 6859062"/>
              <a:gd name="connsiteX10948" fmla="*/ 11183944 w 12192185"/>
              <a:gd name="connsiteY10948" fmla="*/ 557843 h 6859062"/>
              <a:gd name="connsiteX10949" fmla="*/ 11180669 w 12192185"/>
              <a:gd name="connsiteY10949" fmla="*/ 564882 h 6859062"/>
              <a:gd name="connsiteX10950" fmla="*/ 11176652 w 12192185"/>
              <a:gd name="connsiteY10950" fmla="*/ 569451 h 6859062"/>
              <a:gd name="connsiteX10951" fmla="*/ 11168805 w 12192185"/>
              <a:gd name="connsiteY10951" fmla="*/ 579207 h 6859062"/>
              <a:gd name="connsiteX10952" fmla="*/ 11166240 w 12192185"/>
              <a:gd name="connsiteY10952" fmla="*/ 583004 h 6859062"/>
              <a:gd name="connsiteX10953" fmla="*/ 11159844 w 12192185"/>
              <a:gd name="connsiteY10953" fmla="*/ 591988 h 6859062"/>
              <a:gd name="connsiteX10954" fmla="*/ 11131315 w 12192185"/>
              <a:gd name="connsiteY10954" fmla="*/ 596818 h 6859062"/>
              <a:gd name="connsiteX10955" fmla="*/ 11118237 w 12192185"/>
              <a:gd name="connsiteY10955" fmla="*/ 590290 h 6859062"/>
              <a:gd name="connsiteX10956" fmla="*/ 11095944 w 12192185"/>
              <a:gd name="connsiteY10956" fmla="*/ 571030 h 6859062"/>
              <a:gd name="connsiteX10957" fmla="*/ 11091057 w 12192185"/>
              <a:gd name="connsiteY10957" fmla="*/ 563737 h 6859062"/>
              <a:gd name="connsiteX10958" fmla="*/ 11086882 w 12192185"/>
              <a:gd name="connsiteY10958" fmla="*/ 553201 h 6859062"/>
              <a:gd name="connsiteX10959" fmla="*/ 11085519 w 12192185"/>
              <a:gd name="connsiteY10959" fmla="*/ 544180 h 6859062"/>
              <a:gd name="connsiteX10960" fmla="*/ 11089405 w 12192185"/>
              <a:gd name="connsiteY10960" fmla="*/ 523488 h 6859062"/>
              <a:gd name="connsiteX10961" fmla="*/ 11091224 w 12192185"/>
              <a:gd name="connsiteY10961" fmla="*/ 510484 h 6859062"/>
              <a:gd name="connsiteX10962" fmla="*/ 11093819 w 12192185"/>
              <a:gd name="connsiteY10962" fmla="*/ 505667 h 6859062"/>
              <a:gd name="connsiteX10963" fmla="*/ 11103833 w 12192185"/>
              <a:gd name="connsiteY10963" fmla="*/ 498631 h 6859062"/>
              <a:gd name="connsiteX10964" fmla="*/ 11122470 w 12192185"/>
              <a:gd name="connsiteY10964" fmla="*/ 490027 h 6859062"/>
              <a:gd name="connsiteX10965" fmla="*/ 11128309 w 12192185"/>
              <a:gd name="connsiteY10965" fmla="*/ 485923 h 6859062"/>
              <a:gd name="connsiteX10966" fmla="*/ 7889440 w 12192185"/>
              <a:gd name="connsiteY10966" fmla="*/ 481512 h 6859062"/>
              <a:gd name="connsiteX10967" fmla="*/ 7914532 w 12192185"/>
              <a:gd name="connsiteY10967" fmla="*/ 497395 h 6859062"/>
              <a:gd name="connsiteX10968" fmla="*/ 7922307 w 12192185"/>
              <a:gd name="connsiteY10968" fmla="*/ 511867 h 6859062"/>
              <a:gd name="connsiteX10969" fmla="*/ 7924780 w 12192185"/>
              <a:gd name="connsiteY10969" fmla="*/ 517867 h 6859062"/>
              <a:gd name="connsiteX10970" fmla="*/ 7925134 w 12192185"/>
              <a:gd name="connsiteY10970" fmla="*/ 523868 h 6859062"/>
              <a:gd name="connsiteX10971" fmla="*/ 7924074 w 12192185"/>
              <a:gd name="connsiteY10971" fmla="*/ 528456 h 6859062"/>
              <a:gd name="connsiteX10972" fmla="*/ 7922307 w 12192185"/>
              <a:gd name="connsiteY10972" fmla="*/ 537987 h 6859062"/>
              <a:gd name="connsiteX10973" fmla="*/ 7921953 w 12192185"/>
              <a:gd name="connsiteY10973" fmla="*/ 541517 h 6859062"/>
              <a:gd name="connsiteX10974" fmla="*/ 7920893 w 12192185"/>
              <a:gd name="connsiteY10974" fmla="*/ 549988 h 6859062"/>
              <a:gd name="connsiteX10975" fmla="*/ 7903223 w 12192185"/>
              <a:gd name="connsiteY10975" fmla="*/ 563753 h 6859062"/>
              <a:gd name="connsiteX10976" fmla="*/ 7891913 w 12192185"/>
              <a:gd name="connsiteY10976" fmla="*/ 564106 h 6859062"/>
              <a:gd name="connsiteX10977" fmla="*/ 7869648 w 12192185"/>
              <a:gd name="connsiteY10977" fmla="*/ 559165 h 6859062"/>
              <a:gd name="connsiteX10978" fmla="*/ 7863640 w 12192185"/>
              <a:gd name="connsiteY10978" fmla="*/ 555988 h 6859062"/>
              <a:gd name="connsiteX10979" fmla="*/ 7856924 w 12192185"/>
              <a:gd name="connsiteY10979" fmla="*/ 550340 h 6859062"/>
              <a:gd name="connsiteX10980" fmla="*/ 7852684 w 12192185"/>
              <a:gd name="connsiteY10980" fmla="*/ 544693 h 6859062"/>
              <a:gd name="connsiteX10981" fmla="*/ 7847736 w 12192185"/>
              <a:gd name="connsiteY10981" fmla="*/ 529163 h 6859062"/>
              <a:gd name="connsiteX10982" fmla="*/ 7844201 w 12192185"/>
              <a:gd name="connsiteY10982" fmla="*/ 519633 h 6859062"/>
              <a:gd name="connsiteX10983" fmla="*/ 7844202 w 12192185"/>
              <a:gd name="connsiteY10983" fmla="*/ 515397 h 6859062"/>
              <a:gd name="connsiteX10984" fmla="*/ 7848442 w 12192185"/>
              <a:gd name="connsiteY10984" fmla="*/ 506926 h 6859062"/>
              <a:gd name="connsiteX10985" fmla="*/ 7857985 w 12192185"/>
              <a:gd name="connsiteY10985" fmla="*/ 494219 h 6859062"/>
              <a:gd name="connsiteX10986" fmla="*/ 7860458 w 12192185"/>
              <a:gd name="connsiteY10986" fmla="*/ 489278 h 6859062"/>
              <a:gd name="connsiteX10987" fmla="*/ 7864700 w 12192185"/>
              <a:gd name="connsiteY10987" fmla="*/ 487513 h 6859062"/>
              <a:gd name="connsiteX10988" fmla="*/ 7872829 w 12192185"/>
              <a:gd name="connsiteY10988" fmla="*/ 485042 h 6859062"/>
              <a:gd name="connsiteX10989" fmla="*/ 7875656 w 12192185"/>
              <a:gd name="connsiteY10989" fmla="*/ 483630 h 6859062"/>
              <a:gd name="connsiteX10990" fmla="*/ 7886965 w 12192185"/>
              <a:gd name="connsiteY10990" fmla="*/ 482218 h 6859062"/>
              <a:gd name="connsiteX10991" fmla="*/ 7889440 w 12192185"/>
              <a:gd name="connsiteY10991" fmla="*/ 481512 h 6859062"/>
              <a:gd name="connsiteX10992" fmla="*/ 4169942 w 12192185"/>
              <a:gd name="connsiteY10992" fmla="*/ 479857 h 6859062"/>
              <a:gd name="connsiteX10993" fmla="*/ 4174143 w 12192185"/>
              <a:gd name="connsiteY10993" fmla="*/ 479873 h 6859062"/>
              <a:gd name="connsiteX10994" fmla="*/ 4179444 w 12192185"/>
              <a:gd name="connsiteY10994" fmla="*/ 481039 h 6859062"/>
              <a:gd name="connsiteX10995" fmla="*/ 4183389 w 12192185"/>
              <a:gd name="connsiteY10995" fmla="*/ 482916 h 6859062"/>
              <a:gd name="connsiteX10996" fmla="*/ 4183391 w 12192185"/>
              <a:gd name="connsiteY10996" fmla="*/ 482917 h 6859062"/>
              <a:gd name="connsiteX10997" fmla="*/ 4190560 w 12192185"/>
              <a:gd name="connsiteY10997" fmla="*/ 490006 h 6859062"/>
              <a:gd name="connsiteX10998" fmla="*/ 4195226 w 12192185"/>
              <a:gd name="connsiteY10998" fmla="*/ 494212 h 6859062"/>
              <a:gd name="connsiteX10999" fmla="*/ 4196440 w 12192185"/>
              <a:gd name="connsiteY10999" fmla="*/ 496532 h 6859062"/>
              <a:gd name="connsiteX11000" fmla="*/ 4196549 w 12192185"/>
              <a:gd name="connsiteY11000" fmla="*/ 502391 h 6859062"/>
              <a:gd name="connsiteX11001" fmla="*/ 4194969 w 12192185"/>
              <a:gd name="connsiteY11001" fmla="*/ 512091 h 6859062"/>
              <a:gd name="connsiteX11002" fmla="*/ 4195026 w 12192185"/>
              <a:gd name="connsiteY11002" fmla="*/ 515451 h 6859062"/>
              <a:gd name="connsiteX11003" fmla="*/ 4195030 w 12192185"/>
              <a:gd name="connsiteY11003" fmla="*/ 515507 h 6859062"/>
              <a:gd name="connsiteX11004" fmla="*/ 4195029 w 12192185"/>
              <a:gd name="connsiteY11004" fmla="*/ 515508 h 6859062"/>
              <a:gd name="connsiteX11005" fmla="*/ 4193221 w 12192185"/>
              <a:gd name="connsiteY11005" fmla="*/ 517692 h 6859062"/>
              <a:gd name="connsiteX11006" fmla="*/ 4189475 w 12192185"/>
              <a:gd name="connsiteY11006" fmla="*/ 521379 h 6859062"/>
              <a:gd name="connsiteX11007" fmla="*/ 4188333 w 12192185"/>
              <a:gd name="connsiteY11007" fmla="*/ 522964 h 6859062"/>
              <a:gd name="connsiteX11008" fmla="*/ 4182542 w 12192185"/>
              <a:gd name="connsiteY11008" fmla="*/ 526984 h 6859062"/>
              <a:gd name="connsiteX11009" fmla="*/ 4181389 w 12192185"/>
              <a:gd name="connsiteY11009" fmla="*/ 528080 h 6859062"/>
              <a:gd name="connsiteX11010" fmla="*/ 4163081 w 12192185"/>
              <a:gd name="connsiteY11010" fmla="*/ 526580 h 6859062"/>
              <a:gd name="connsiteX11011" fmla="*/ 4161460 w 12192185"/>
              <a:gd name="connsiteY11011" fmla="*/ 525482 h 6859062"/>
              <a:gd name="connsiteX11012" fmla="*/ 4154668 w 12192185"/>
              <a:gd name="connsiteY11012" fmla="*/ 520884 h 6859062"/>
              <a:gd name="connsiteX11013" fmla="*/ 4151589 w 12192185"/>
              <a:gd name="connsiteY11013" fmla="*/ 518306 h 6859062"/>
              <a:gd name="connsiteX11014" fmla="*/ 4149674 w 12192185"/>
              <a:gd name="connsiteY11014" fmla="*/ 515120 h 6859062"/>
              <a:gd name="connsiteX11015" fmla="*/ 4148939 w 12192185"/>
              <a:gd name="connsiteY11015" fmla="*/ 512302 h 6859062"/>
              <a:gd name="connsiteX11016" fmla="*/ 4147170 w 12192185"/>
              <a:gd name="connsiteY11016" fmla="*/ 506573 h 6859062"/>
              <a:gd name="connsiteX11017" fmla="*/ 4146351 w 12192185"/>
              <a:gd name="connsiteY11017" fmla="*/ 504539 h 6859062"/>
              <a:gd name="connsiteX11018" fmla="*/ 4144502 w 12192185"/>
              <a:gd name="connsiteY11018" fmla="*/ 499594 h 6859062"/>
              <a:gd name="connsiteX11019" fmla="*/ 4150231 w 12192185"/>
              <a:gd name="connsiteY11019" fmla="*/ 486980 h 6859062"/>
              <a:gd name="connsiteX11020" fmla="*/ 4156325 w 12192185"/>
              <a:gd name="connsiteY11020" fmla="*/ 483540 h 6859062"/>
              <a:gd name="connsiteX11021" fmla="*/ 4169942 w 12192185"/>
              <a:gd name="connsiteY11021" fmla="*/ 479857 h 6859062"/>
              <a:gd name="connsiteX11022" fmla="*/ 1695890 w 12192185"/>
              <a:gd name="connsiteY11022" fmla="*/ 479776 h 6859062"/>
              <a:gd name="connsiteX11023" fmla="*/ 1716977 w 12192185"/>
              <a:gd name="connsiteY11023" fmla="*/ 488737 h 6859062"/>
              <a:gd name="connsiteX11024" fmla="*/ 1722217 w 12192185"/>
              <a:gd name="connsiteY11024" fmla="*/ 493357 h 6859062"/>
              <a:gd name="connsiteX11025" fmla="*/ 1736757 w 12192185"/>
              <a:gd name="connsiteY11025" fmla="*/ 502314 h 6859062"/>
              <a:gd name="connsiteX11026" fmla="*/ 1746353 w 12192185"/>
              <a:gd name="connsiteY11026" fmla="*/ 504175 h 6859062"/>
              <a:gd name="connsiteX11027" fmla="*/ 1761293 w 12192185"/>
              <a:gd name="connsiteY11027" fmla="*/ 522465 h 6859062"/>
              <a:gd name="connsiteX11028" fmla="*/ 1762995 w 12192185"/>
              <a:gd name="connsiteY11028" fmla="*/ 541984 h 6859062"/>
              <a:gd name="connsiteX11029" fmla="*/ 1752429 w 12192185"/>
              <a:gd name="connsiteY11029" fmla="*/ 558834 h 6859062"/>
              <a:gd name="connsiteX11030" fmla="*/ 1751607 w 12192185"/>
              <a:gd name="connsiteY11030" fmla="*/ 561498 h 6859062"/>
              <a:gd name="connsiteX11031" fmla="*/ 1741084 w 12192185"/>
              <a:gd name="connsiteY11031" fmla="*/ 565302 h 6859062"/>
              <a:gd name="connsiteX11032" fmla="*/ 1727426 w 12192185"/>
              <a:gd name="connsiteY11032" fmla="*/ 563725 h 6859062"/>
              <a:gd name="connsiteX11033" fmla="*/ 1716126 w 12192185"/>
              <a:gd name="connsiteY11033" fmla="*/ 557150 h 6859062"/>
              <a:gd name="connsiteX11034" fmla="*/ 1705226 w 12192185"/>
              <a:gd name="connsiteY11034" fmla="*/ 545100 h 6859062"/>
              <a:gd name="connsiteX11035" fmla="*/ 1692937 w 12192185"/>
              <a:gd name="connsiteY11035" fmla="*/ 534144 h 6859062"/>
              <a:gd name="connsiteX11036" fmla="*/ 1677196 w 12192185"/>
              <a:gd name="connsiteY11036" fmla="*/ 526806 h 6859062"/>
              <a:gd name="connsiteX11037" fmla="*/ 1670381 w 12192185"/>
              <a:gd name="connsiteY11037" fmla="*/ 507948 h 6859062"/>
              <a:gd name="connsiteX11038" fmla="*/ 1674044 w 12192185"/>
              <a:gd name="connsiteY11038" fmla="*/ 498334 h 6859062"/>
              <a:gd name="connsiteX11039" fmla="*/ 1682968 w 12192185"/>
              <a:gd name="connsiteY11039" fmla="*/ 486816 h 6859062"/>
              <a:gd name="connsiteX11040" fmla="*/ 1695890 w 12192185"/>
              <a:gd name="connsiteY11040" fmla="*/ 479776 h 6859062"/>
              <a:gd name="connsiteX11041" fmla="*/ 8968660 w 12192185"/>
              <a:gd name="connsiteY11041" fmla="*/ 473508 h 6859062"/>
              <a:gd name="connsiteX11042" fmla="*/ 8979043 w 12192185"/>
              <a:gd name="connsiteY11042" fmla="*/ 473782 h 6859062"/>
              <a:gd name="connsiteX11043" fmla="*/ 8989114 w 12192185"/>
              <a:gd name="connsiteY11043" fmla="*/ 474097 h 6859062"/>
              <a:gd name="connsiteX11044" fmla="*/ 9004848 w 12192185"/>
              <a:gd name="connsiteY11044" fmla="*/ 486354 h 6859062"/>
              <a:gd name="connsiteX11045" fmla="*/ 9005792 w 12192185"/>
              <a:gd name="connsiteY11045" fmla="*/ 493897 h 6859062"/>
              <a:gd name="connsiteX11046" fmla="*/ 9006108 w 12192185"/>
              <a:gd name="connsiteY11046" fmla="*/ 497040 h 6859062"/>
              <a:gd name="connsiteX11047" fmla="*/ 9007680 w 12192185"/>
              <a:gd name="connsiteY11047" fmla="*/ 505526 h 6859062"/>
              <a:gd name="connsiteX11048" fmla="*/ 9008624 w 12192185"/>
              <a:gd name="connsiteY11048" fmla="*/ 509611 h 6859062"/>
              <a:gd name="connsiteX11049" fmla="*/ 9008310 w 12192185"/>
              <a:gd name="connsiteY11049" fmla="*/ 514954 h 6859062"/>
              <a:gd name="connsiteX11050" fmla="*/ 9006107 w 12192185"/>
              <a:gd name="connsiteY11050" fmla="*/ 520297 h 6859062"/>
              <a:gd name="connsiteX11051" fmla="*/ 8999184 w 12192185"/>
              <a:gd name="connsiteY11051" fmla="*/ 533183 h 6859062"/>
              <a:gd name="connsiteX11052" fmla="*/ 8976841 w 12192185"/>
              <a:gd name="connsiteY11052" fmla="*/ 547327 h 6859062"/>
              <a:gd name="connsiteX11053" fmla="*/ 8974639 w 12192185"/>
              <a:gd name="connsiteY11053" fmla="*/ 546698 h 6859062"/>
              <a:gd name="connsiteX11054" fmla="*/ 8964569 w 12192185"/>
              <a:gd name="connsiteY11054" fmla="*/ 545441 h 6859062"/>
              <a:gd name="connsiteX11055" fmla="*/ 8962050 w 12192185"/>
              <a:gd name="connsiteY11055" fmla="*/ 544184 h 6859062"/>
              <a:gd name="connsiteX11056" fmla="*/ 8954813 w 12192185"/>
              <a:gd name="connsiteY11056" fmla="*/ 541983 h 6859062"/>
              <a:gd name="connsiteX11057" fmla="*/ 8951037 w 12192185"/>
              <a:gd name="connsiteY11057" fmla="*/ 540412 h 6859062"/>
              <a:gd name="connsiteX11058" fmla="*/ 8948833 w 12192185"/>
              <a:gd name="connsiteY11058" fmla="*/ 536012 h 6859062"/>
              <a:gd name="connsiteX11059" fmla="*/ 8940337 w 12192185"/>
              <a:gd name="connsiteY11059" fmla="*/ 524697 h 6859062"/>
              <a:gd name="connsiteX11060" fmla="*/ 8936560 w 12192185"/>
              <a:gd name="connsiteY11060" fmla="*/ 517155 h 6859062"/>
              <a:gd name="connsiteX11061" fmla="*/ 8936560 w 12192185"/>
              <a:gd name="connsiteY11061" fmla="*/ 513383 h 6859062"/>
              <a:gd name="connsiteX11062" fmla="*/ 8939708 w 12192185"/>
              <a:gd name="connsiteY11062" fmla="*/ 504897 h 6859062"/>
              <a:gd name="connsiteX11063" fmla="*/ 8944113 w 12192185"/>
              <a:gd name="connsiteY11063" fmla="*/ 491068 h 6859062"/>
              <a:gd name="connsiteX11064" fmla="*/ 8947890 w 12192185"/>
              <a:gd name="connsiteY11064" fmla="*/ 486039 h 6859062"/>
              <a:gd name="connsiteX11065" fmla="*/ 8953868 w 12192185"/>
              <a:gd name="connsiteY11065" fmla="*/ 481011 h 6859062"/>
              <a:gd name="connsiteX11066" fmla="*/ 8959219 w 12192185"/>
              <a:gd name="connsiteY11066" fmla="*/ 478182 h 6859062"/>
              <a:gd name="connsiteX11067" fmla="*/ 8968660 w 12192185"/>
              <a:gd name="connsiteY11067" fmla="*/ 473508 h 6859062"/>
              <a:gd name="connsiteX11068" fmla="*/ 9602462 w 12192185"/>
              <a:gd name="connsiteY11068" fmla="*/ 472780 h 6859062"/>
              <a:gd name="connsiteX11069" fmla="*/ 9609509 w 12192185"/>
              <a:gd name="connsiteY11069" fmla="*/ 476269 h 6859062"/>
              <a:gd name="connsiteX11070" fmla="*/ 9613501 w 12192185"/>
              <a:gd name="connsiteY11070" fmla="*/ 478380 h 6859062"/>
              <a:gd name="connsiteX11071" fmla="*/ 9617965 w 12192185"/>
              <a:gd name="connsiteY11071" fmla="*/ 482134 h 6859062"/>
              <a:gd name="connsiteX11072" fmla="*/ 9620784 w 12192185"/>
              <a:gd name="connsiteY11072" fmla="*/ 485888 h 6859062"/>
              <a:gd name="connsiteX11073" fmla="*/ 9624072 w 12192185"/>
              <a:gd name="connsiteY11073" fmla="*/ 496210 h 6859062"/>
              <a:gd name="connsiteX11074" fmla="*/ 9626420 w 12192185"/>
              <a:gd name="connsiteY11074" fmla="*/ 502544 h 6859062"/>
              <a:gd name="connsiteX11075" fmla="*/ 9626421 w 12192185"/>
              <a:gd name="connsiteY11075" fmla="*/ 505358 h 6859062"/>
              <a:gd name="connsiteX11076" fmla="*/ 9623602 w 12192185"/>
              <a:gd name="connsiteY11076" fmla="*/ 510988 h 6859062"/>
              <a:gd name="connsiteX11077" fmla="*/ 9617259 w 12192185"/>
              <a:gd name="connsiteY11077" fmla="*/ 519433 h 6859062"/>
              <a:gd name="connsiteX11078" fmla="*/ 9615616 w 12192185"/>
              <a:gd name="connsiteY11078" fmla="*/ 522718 h 6859062"/>
              <a:gd name="connsiteX11079" fmla="*/ 9612797 w 12192185"/>
              <a:gd name="connsiteY11079" fmla="*/ 523891 h 6859062"/>
              <a:gd name="connsiteX11080" fmla="*/ 9607394 w 12192185"/>
              <a:gd name="connsiteY11080" fmla="*/ 525533 h 6859062"/>
              <a:gd name="connsiteX11081" fmla="*/ 9605515 w 12192185"/>
              <a:gd name="connsiteY11081" fmla="*/ 526472 h 6859062"/>
              <a:gd name="connsiteX11082" fmla="*/ 9597999 w 12192185"/>
              <a:gd name="connsiteY11082" fmla="*/ 527410 h 6859062"/>
              <a:gd name="connsiteX11083" fmla="*/ 9596355 w 12192185"/>
              <a:gd name="connsiteY11083" fmla="*/ 527879 h 6859062"/>
              <a:gd name="connsiteX11084" fmla="*/ 9579677 w 12192185"/>
              <a:gd name="connsiteY11084" fmla="*/ 517323 h 6859062"/>
              <a:gd name="connsiteX11085" fmla="*/ 9574509 w 12192185"/>
              <a:gd name="connsiteY11085" fmla="*/ 507705 h 6859062"/>
              <a:gd name="connsiteX11086" fmla="*/ 9572865 w 12192185"/>
              <a:gd name="connsiteY11086" fmla="*/ 503716 h 6859062"/>
              <a:gd name="connsiteX11087" fmla="*/ 9572630 w 12192185"/>
              <a:gd name="connsiteY11087" fmla="*/ 499728 h 6859062"/>
              <a:gd name="connsiteX11088" fmla="*/ 9573336 w 12192185"/>
              <a:gd name="connsiteY11088" fmla="*/ 496679 h 6859062"/>
              <a:gd name="connsiteX11089" fmla="*/ 9574510 w 12192185"/>
              <a:gd name="connsiteY11089" fmla="*/ 490345 h 6859062"/>
              <a:gd name="connsiteX11090" fmla="*/ 9574745 w 12192185"/>
              <a:gd name="connsiteY11090" fmla="*/ 487999 h 6859062"/>
              <a:gd name="connsiteX11091" fmla="*/ 9575449 w 12192185"/>
              <a:gd name="connsiteY11091" fmla="*/ 482368 h 6859062"/>
              <a:gd name="connsiteX11092" fmla="*/ 9587193 w 12192185"/>
              <a:gd name="connsiteY11092" fmla="*/ 473220 h 6859062"/>
              <a:gd name="connsiteX11093" fmla="*/ 9594710 w 12192185"/>
              <a:gd name="connsiteY11093" fmla="*/ 472985 h 6859062"/>
              <a:gd name="connsiteX11094" fmla="*/ 9602462 w 12192185"/>
              <a:gd name="connsiteY11094" fmla="*/ 472780 h 6859062"/>
              <a:gd name="connsiteX11095" fmla="*/ 4719837 w 12192185"/>
              <a:gd name="connsiteY11095" fmla="*/ 469604 h 6859062"/>
              <a:gd name="connsiteX11096" fmla="*/ 4721555 w 12192185"/>
              <a:gd name="connsiteY11096" fmla="*/ 469825 h 6859062"/>
              <a:gd name="connsiteX11097" fmla="*/ 4730578 w 12192185"/>
              <a:gd name="connsiteY11097" fmla="*/ 473588 h 6859062"/>
              <a:gd name="connsiteX11098" fmla="*/ 4739899 w 12192185"/>
              <a:gd name="connsiteY11098" fmla="*/ 483119 h 6859062"/>
              <a:gd name="connsiteX11099" fmla="*/ 4743573 w 12192185"/>
              <a:gd name="connsiteY11099" fmla="*/ 486159 h 6859062"/>
              <a:gd name="connsiteX11100" fmla="*/ 4746092 w 12192185"/>
              <a:gd name="connsiteY11100" fmla="*/ 491886 h 6859062"/>
              <a:gd name="connsiteX11101" fmla="*/ 4748027 w 12192185"/>
              <a:gd name="connsiteY11101" fmla="*/ 496799 h 6859062"/>
              <a:gd name="connsiteX11102" fmla="*/ 4749141 w 12192185"/>
              <a:gd name="connsiteY11102" fmla="*/ 498618 h 6859062"/>
              <a:gd name="connsiteX11103" fmla="*/ 4746199 w 12192185"/>
              <a:gd name="connsiteY11103" fmla="*/ 511050 h 6859062"/>
              <a:gd name="connsiteX11104" fmla="*/ 4741327 w 12192185"/>
              <a:gd name="connsiteY11104" fmla="*/ 518887 h 6859062"/>
              <a:gd name="connsiteX11105" fmla="*/ 4739670 w 12192185"/>
              <a:gd name="connsiteY11105" fmla="*/ 528565 h 6859062"/>
              <a:gd name="connsiteX11106" fmla="*/ 4741150 w 12192185"/>
              <a:gd name="connsiteY11106" fmla="*/ 529551 h 6859062"/>
              <a:gd name="connsiteX11107" fmla="*/ 4753176 w 12192185"/>
              <a:gd name="connsiteY11107" fmla="*/ 534462 h 6859062"/>
              <a:gd name="connsiteX11108" fmla="*/ 4755237 w 12192185"/>
              <a:gd name="connsiteY11108" fmla="*/ 535946 h 6859062"/>
              <a:gd name="connsiteX11109" fmla="*/ 4759531 w 12192185"/>
              <a:gd name="connsiteY11109" fmla="*/ 541702 h 6859062"/>
              <a:gd name="connsiteX11110" fmla="*/ 4765112 w 12192185"/>
              <a:gd name="connsiteY11110" fmla="*/ 548069 h 6859062"/>
              <a:gd name="connsiteX11111" fmla="*/ 4766564 w 12192185"/>
              <a:gd name="connsiteY11111" fmla="*/ 551151 h 6859062"/>
              <a:gd name="connsiteX11112" fmla="*/ 4768396 w 12192185"/>
              <a:gd name="connsiteY11112" fmla="*/ 570854 h 6859062"/>
              <a:gd name="connsiteX11113" fmla="*/ 4767667 w 12192185"/>
              <a:gd name="connsiteY11113" fmla="*/ 572518 h 6859062"/>
              <a:gd name="connsiteX11114" fmla="*/ 4761905 w 12192185"/>
              <a:gd name="connsiteY11114" fmla="*/ 580181 h 6859062"/>
              <a:gd name="connsiteX11115" fmla="*/ 4759164 w 12192185"/>
              <a:gd name="connsiteY11115" fmla="*/ 582899 h 6859062"/>
              <a:gd name="connsiteX11116" fmla="*/ 4754288 w 12192185"/>
              <a:gd name="connsiteY11116" fmla="*/ 587054 h 6859062"/>
              <a:gd name="connsiteX11117" fmla="*/ 4752049 w 12192185"/>
              <a:gd name="connsiteY11117" fmla="*/ 592872 h 6859062"/>
              <a:gd name="connsiteX11118" fmla="*/ 4750514 w 12192185"/>
              <a:gd name="connsiteY11118" fmla="*/ 594535 h 6859062"/>
              <a:gd name="connsiteX11119" fmla="*/ 4748503 w 12192185"/>
              <a:gd name="connsiteY11119" fmla="*/ 593447 h 6859062"/>
              <a:gd name="connsiteX11120" fmla="*/ 4747338 w 12192185"/>
              <a:gd name="connsiteY11120" fmla="*/ 592137 h 6859062"/>
              <a:gd name="connsiteX11121" fmla="*/ 4745282 w 12192185"/>
              <a:gd name="connsiteY11121" fmla="*/ 590971 h 6859062"/>
              <a:gd name="connsiteX11122" fmla="*/ 4744242 w 12192185"/>
              <a:gd name="connsiteY11122" fmla="*/ 592958 h 6859062"/>
              <a:gd name="connsiteX11123" fmla="*/ 4740144 w 12192185"/>
              <a:gd name="connsiteY11123" fmla="*/ 594306 h 6859062"/>
              <a:gd name="connsiteX11124" fmla="*/ 4738529 w 12192185"/>
              <a:gd name="connsiteY11124" fmla="*/ 593068 h 6859062"/>
              <a:gd name="connsiteX11125" fmla="*/ 4735807 w 12192185"/>
              <a:gd name="connsiteY11125" fmla="*/ 593374 h 6859062"/>
              <a:gd name="connsiteX11126" fmla="*/ 4736047 w 12192185"/>
              <a:gd name="connsiteY11126" fmla="*/ 595971 h 6859062"/>
              <a:gd name="connsiteX11127" fmla="*/ 4737252 w 12192185"/>
              <a:gd name="connsiteY11127" fmla="*/ 597761 h 6859062"/>
              <a:gd name="connsiteX11128" fmla="*/ 4722306 w 12192185"/>
              <a:gd name="connsiteY11128" fmla="*/ 593136 h 6859062"/>
              <a:gd name="connsiteX11129" fmla="*/ 4722451 w 12192185"/>
              <a:gd name="connsiteY11129" fmla="*/ 592043 h 6859062"/>
              <a:gd name="connsiteX11130" fmla="*/ 4720067 w 12192185"/>
              <a:gd name="connsiteY11130" fmla="*/ 590247 h 6859062"/>
              <a:gd name="connsiteX11131" fmla="*/ 4717278 w 12192185"/>
              <a:gd name="connsiteY11131" fmla="*/ 590428 h 6859062"/>
              <a:gd name="connsiteX11132" fmla="*/ 4714190 w 12192185"/>
              <a:gd name="connsiteY11132" fmla="*/ 588203 h 6859062"/>
              <a:gd name="connsiteX11133" fmla="*/ 4704212 w 12192185"/>
              <a:gd name="connsiteY11133" fmla="*/ 581095 h 6859062"/>
              <a:gd name="connsiteX11134" fmla="*/ 4701730 w 12192185"/>
              <a:gd name="connsiteY11134" fmla="*/ 580635 h 6859062"/>
              <a:gd name="connsiteX11135" fmla="*/ 4703327 w 12192185"/>
              <a:gd name="connsiteY11135" fmla="*/ 577875 h 6859062"/>
              <a:gd name="connsiteX11136" fmla="*/ 4703707 w 12192185"/>
              <a:gd name="connsiteY11136" fmla="*/ 577678 h 6859062"/>
              <a:gd name="connsiteX11137" fmla="*/ 4703859 w 12192185"/>
              <a:gd name="connsiteY11137" fmla="*/ 572153 h 6859062"/>
              <a:gd name="connsiteX11138" fmla="*/ 4701014 w 12192185"/>
              <a:gd name="connsiteY11138" fmla="*/ 566115 h 6859062"/>
              <a:gd name="connsiteX11139" fmla="*/ 4698804 w 12192185"/>
              <a:gd name="connsiteY11139" fmla="*/ 556700 h 6859062"/>
              <a:gd name="connsiteX11140" fmla="*/ 4699507 w 12192185"/>
              <a:gd name="connsiteY11140" fmla="*/ 553451 h 6859062"/>
              <a:gd name="connsiteX11141" fmla="*/ 4701239 w 12192185"/>
              <a:gd name="connsiteY11141" fmla="*/ 544215 h 6859062"/>
              <a:gd name="connsiteX11142" fmla="*/ 4703664 w 12192185"/>
              <a:gd name="connsiteY11142" fmla="*/ 541503 h 6859062"/>
              <a:gd name="connsiteX11143" fmla="*/ 4714202 w 12192185"/>
              <a:gd name="connsiteY11143" fmla="*/ 531337 h 6859062"/>
              <a:gd name="connsiteX11144" fmla="*/ 4712751 w 12192185"/>
              <a:gd name="connsiteY11144" fmla="*/ 528572 h 6859062"/>
              <a:gd name="connsiteX11145" fmla="*/ 4709284 w 12192185"/>
              <a:gd name="connsiteY11145" fmla="*/ 529908 h 6859062"/>
              <a:gd name="connsiteX11146" fmla="*/ 4707812 w 12192185"/>
              <a:gd name="connsiteY11146" fmla="*/ 532601 h 6859062"/>
              <a:gd name="connsiteX11147" fmla="*/ 4705808 w 12192185"/>
              <a:gd name="connsiteY11147" fmla="*/ 533974 h 6859062"/>
              <a:gd name="connsiteX11148" fmla="*/ 4705000 w 12192185"/>
              <a:gd name="connsiteY11148" fmla="*/ 531513 h 6859062"/>
              <a:gd name="connsiteX11149" fmla="*/ 4705904 w 12192185"/>
              <a:gd name="connsiteY11149" fmla="*/ 528957 h 6859062"/>
              <a:gd name="connsiteX11150" fmla="*/ 4704492 w 12192185"/>
              <a:gd name="connsiteY11150" fmla="*/ 524732 h 6859062"/>
              <a:gd name="connsiteX11151" fmla="*/ 4701492 w 12192185"/>
              <a:gd name="connsiteY11151" fmla="*/ 527265 h 6859062"/>
              <a:gd name="connsiteX11152" fmla="*/ 4699970 w 12192185"/>
              <a:gd name="connsiteY11152" fmla="*/ 530785 h 6859062"/>
              <a:gd name="connsiteX11153" fmla="*/ 4696599 w 12192185"/>
              <a:gd name="connsiteY11153" fmla="*/ 530468 h 6859062"/>
              <a:gd name="connsiteX11154" fmla="*/ 4695615 w 12192185"/>
              <a:gd name="connsiteY11154" fmla="*/ 521856 h 6859062"/>
              <a:gd name="connsiteX11155" fmla="*/ 4691993 w 12192185"/>
              <a:gd name="connsiteY11155" fmla="*/ 514944 h 6859062"/>
              <a:gd name="connsiteX11156" fmla="*/ 4688028 w 12192185"/>
              <a:gd name="connsiteY11156" fmla="*/ 513496 h 6859062"/>
              <a:gd name="connsiteX11157" fmla="*/ 4686550 w 12192185"/>
              <a:gd name="connsiteY11157" fmla="*/ 512509 h 6859062"/>
              <a:gd name="connsiteX11158" fmla="*/ 4687539 w 12192185"/>
              <a:gd name="connsiteY11158" fmla="*/ 511031 h 6859062"/>
              <a:gd name="connsiteX11159" fmla="*/ 4688863 w 12192185"/>
              <a:gd name="connsiteY11159" fmla="*/ 507134 h 6859062"/>
              <a:gd name="connsiteX11160" fmla="*/ 4689169 w 12192185"/>
              <a:gd name="connsiteY11160" fmla="*/ 499767 h 6859062"/>
              <a:gd name="connsiteX11161" fmla="*/ 4687714 w 12192185"/>
              <a:gd name="connsiteY11161" fmla="*/ 496684 h 6859062"/>
              <a:gd name="connsiteX11162" fmla="*/ 4685654 w 12192185"/>
              <a:gd name="connsiteY11162" fmla="*/ 495201 h 6859062"/>
              <a:gd name="connsiteX11163" fmla="*/ 4687069 w 12192185"/>
              <a:gd name="connsiteY11163" fmla="*/ 492698 h 6859062"/>
              <a:gd name="connsiteX11164" fmla="*/ 4688697 w 12192185"/>
              <a:gd name="connsiteY11164" fmla="*/ 491525 h 6859062"/>
              <a:gd name="connsiteX11165" fmla="*/ 4688134 w 12192185"/>
              <a:gd name="connsiteY11165" fmla="*/ 485252 h 6859062"/>
              <a:gd name="connsiteX11166" fmla="*/ 4686980 w 12192185"/>
              <a:gd name="connsiteY11166" fmla="*/ 484576 h 6859062"/>
              <a:gd name="connsiteX11167" fmla="*/ 4685918 w 12192185"/>
              <a:gd name="connsiteY11167" fmla="*/ 482249 h 6859062"/>
              <a:gd name="connsiteX11168" fmla="*/ 4688194 w 12192185"/>
              <a:gd name="connsiteY11168" fmla="*/ 481697 h 6859062"/>
              <a:gd name="connsiteX11169" fmla="*/ 4690309 w 12192185"/>
              <a:gd name="connsiteY11169" fmla="*/ 482672 h 6859062"/>
              <a:gd name="connsiteX11170" fmla="*/ 4693021 w 12192185"/>
              <a:gd name="connsiteY11170" fmla="*/ 481732 h 6859062"/>
              <a:gd name="connsiteX11171" fmla="*/ 4699636 w 12192185"/>
              <a:gd name="connsiteY11171" fmla="*/ 475703 h 6859062"/>
              <a:gd name="connsiteX11172" fmla="*/ 4708863 w 12192185"/>
              <a:gd name="connsiteY11172" fmla="*/ 470068 h 6859062"/>
              <a:gd name="connsiteX11173" fmla="*/ 4711717 w 12192185"/>
              <a:gd name="connsiteY11173" fmla="*/ 470014 h 6859062"/>
              <a:gd name="connsiteX11174" fmla="*/ 4719837 w 12192185"/>
              <a:gd name="connsiteY11174" fmla="*/ 469604 h 6859062"/>
              <a:gd name="connsiteX11175" fmla="*/ 8794932 w 12192185"/>
              <a:gd name="connsiteY11175" fmla="*/ 459629 h 6859062"/>
              <a:gd name="connsiteX11176" fmla="*/ 8807590 w 12192185"/>
              <a:gd name="connsiteY11176" fmla="*/ 460461 h 6859062"/>
              <a:gd name="connsiteX11177" fmla="*/ 8817749 w 12192185"/>
              <a:gd name="connsiteY11177" fmla="*/ 463124 h 6859062"/>
              <a:gd name="connsiteX11178" fmla="*/ 8821080 w 12192185"/>
              <a:gd name="connsiteY11178" fmla="*/ 462625 h 6859062"/>
              <a:gd name="connsiteX11179" fmla="*/ 8822746 w 12192185"/>
              <a:gd name="connsiteY11179" fmla="*/ 460461 h 6859062"/>
              <a:gd name="connsiteX11180" fmla="*/ 8825411 w 12192185"/>
              <a:gd name="connsiteY11180" fmla="*/ 459796 h 6859062"/>
              <a:gd name="connsiteX11181" fmla="*/ 8825577 w 12192185"/>
              <a:gd name="connsiteY11181" fmla="*/ 462792 h 6859062"/>
              <a:gd name="connsiteX11182" fmla="*/ 8824744 w 12192185"/>
              <a:gd name="connsiteY11182" fmla="*/ 464123 h 6859062"/>
              <a:gd name="connsiteX11183" fmla="*/ 8827575 w 12192185"/>
              <a:gd name="connsiteY11183" fmla="*/ 470948 h 6859062"/>
              <a:gd name="connsiteX11184" fmla="*/ 8829908 w 12192185"/>
              <a:gd name="connsiteY11184" fmla="*/ 471281 h 6859062"/>
              <a:gd name="connsiteX11185" fmla="*/ 8832739 w 12192185"/>
              <a:gd name="connsiteY11185" fmla="*/ 473112 h 6859062"/>
              <a:gd name="connsiteX11186" fmla="*/ 8831405 w 12192185"/>
              <a:gd name="connsiteY11186" fmla="*/ 475775 h 6859062"/>
              <a:gd name="connsiteX11187" fmla="*/ 8831572 w 12192185"/>
              <a:gd name="connsiteY11187" fmla="*/ 479771 h 6859062"/>
              <a:gd name="connsiteX11188" fmla="*/ 8835902 w 12192185"/>
              <a:gd name="connsiteY11188" fmla="*/ 487261 h 6859062"/>
              <a:gd name="connsiteX11189" fmla="*/ 8839400 w 12192185"/>
              <a:gd name="connsiteY11189" fmla="*/ 490591 h 6859062"/>
              <a:gd name="connsiteX11190" fmla="*/ 8841233 w 12192185"/>
              <a:gd name="connsiteY11190" fmla="*/ 491590 h 6859062"/>
              <a:gd name="connsiteX11191" fmla="*/ 8840232 w 12192185"/>
              <a:gd name="connsiteY11191" fmla="*/ 493420 h 6859062"/>
              <a:gd name="connsiteX11192" fmla="*/ 8836902 w 12192185"/>
              <a:gd name="connsiteY11192" fmla="*/ 497083 h 6859062"/>
              <a:gd name="connsiteX11193" fmla="*/ 8836902 w 12192185"/>
              <a:gd name="connsiteY11193" fmla="*/ 506238 h 6859062"/>
              <a:gd name="connsiteX11194" fmla="*/ 8840567 w 12192185"/>
              <a:gd name="connsiteY11194" fmla="*/ 515726 h 6859062"/>
              <a:gd name="connsiteX11195" fmla="*/ 8837236 w 12192185"/>
              <a:gd name="connsiteY11195" fmla="*/ 517890 h 6859062"/>
              <a:gd name="connsiteX11196" fmla="*/ 8833737 w 12192185"/>
              <a:gd name="connsiteY11196" fmla="*/ 515061 h 6859062"/>
              <a:gd name="connsiteX11197" fmla="*/ 8829240 w 12192185"/>
              <a:gd name="connsiteY11197" fmla="*/ 514062 h 6859062"/>
              <a:gd name="connsiteX11198" fmla="*/ 8830073 w 12192185"/>
              <a:gd name="connsiteY11198" fmla="*/ 519222 h 6859062"/>
              <a:gd name="connsiteX11199" fmla="*/ 8832405 w 12192185"/>
              <a:gd name="connsiteY11199" fmla="*/ 521387 h 6859062"/>
              <a:gd name="connsiteX11200" fmla="*/ 8832905 w 12192185"/>
              <a:gd name="connsiteY11200" fmla="*/ 524383 h 6859062"/>
              <a:gd name="connsiteX11201" fmla="*/ 8830074 w 12192185"/>
              <a:gd name="connsiteY11201" fmla="*/ 524050 h 6859062"/>
              <a:gd name="connsiteX11202" fmla="*/ 8827075 w 12192185"/>
              <a:gd name="connsiteY11202" fmla="*/ 522052 h 6859062"/>
              <a:gd name="connsiteX11203" fmla="*/ 8822745 w 12192185"/>
              <a:gd name="connsiteY11203" fmla="*/ 522552 h 6859062"/>
              <a:gd name="connsiteX11204" fmla="*/ 8822745 w 12192185"/>
              <a:gd name="connsiteY11204" fmla="*/ 526213 h 6859062"/>
              <a:gd name="connsiteX11205" fmla="*/ 8839233 w 12192185"/>
              <a:gd name="connsiteY11205" fmla="*/ 531041 h 6859062"/>
              <a:gd name="connsiteX11206" fmla="*/ 8843231 w 12192185"/>
              <a:gd name="connsiteY11206" fmla="*/ 532539 h 6859062"/>
              <a:gd name="connsiteX11207" fmla="*/ 8850059 w 12192185"/>
              <a:gd name="connsiteY11207" fmla="*/ 541195 h 6859062"/>
              <a:gd name="connsiteX11208" fmla="*/ 8852558 w 12192185"/>
              <a:gd name="connsiteY11208" fmla="*/ 544191 h 6859062"/>
              <a:gd name="connsiteX11209" fmla="*/ 8855389 w 12192185"/>
              <a:gd name="connsiteY11209" fmla="*/ 555178 h 6859062"/>
              <a:gd name="connsiteX11210" fmla="*/ 8855721 w 12192185"/>
              <a:gd name="connsiteY11210" fmla="*/ 563002 h 6859062"/>
              <a:gd name="connsiteX11211" fmla="*/ 8858886 w 12192185"/>
              <a:gd name="connsiteY11211" fmla="*/ 568661 h 6859062"/>
              <a:gd name="connsiteX11212" fmla="*/ 8859386 w 12192185"/>
              <a:gd name="connsiteY11212" fmla="*/ 568661 h 6859062"/>
              <a:gd name="connsiteX11213" fmla="*/ 8862551 w 12192185"/>
              <a:gd name="connsiteY11213" fmla="*/ 570659 h 6859062"/>
              <a:gd name="connsiteX11214" fmla="*/ 8860218 w 12192185"/>
              <a:gd name="connsiteY11214" fmla="*/ 572490 h 6859062"/>
              <a:gd name="connsiteX11215" fmla="*/ 8853724 w 12192185"/>
              <a:gd name="connsiteY11215" fmla="*/ 585308 h 6859062"/>
              <a:gd name="connsiteX11216" fmla="*/ 8851724 w 12192185"/>
              <a:gd name="connsiteY11216" fmla="*/ 589303 h 6859062"/>
              <a:gd name="connsiteX11217" fmla="*/ 8848726 w 12192185"/>
              <a:gd name="connsiteY11217" fmla="*/ 590634 h 6859062"/>
              <a:gd name="connsiteX11218" fmla="*/ 8847228 w 12192185"/>
              <a:gd name="connsiteY11218" fmla="*/ 593797 h 6859062"/>
              <a:gd name="connsiteX11219" fmla="*/ 8847974 w 12192185"/>
              <a:gd name="connsiteY11219" fmla="*/ 594855 h 6859062"/>
              <a:gd name="connsiteX11220" fmla="*/ 8834956 w 12192185"/>
              <a:gd name="connsiteY11220" fmla="*/ 607801 h 6859062"/>
              <a:gd name="connsiteX11221" fmla="*/ 8835236 w 12192185"/>
              <a:gd name="connsiteY11221" fmla="*/ 605283 h 6859062"/>
              <a:gd name="connsiteX11222" fmla="*/ 8834071 w 12192185"/>
              <a:gd name="connsiteY11222" fmla="*/ 602453 h 6859062"/>
              <a:gd name="connsiteX11223" fmla="*/ 8831073 w 12192185"/>
              <a:gd name="connsiteY11223" fmla="*/ 603618 h 6859062"/>
              <a:gd name="connsiteX11224" fmla="*/ 8830073 w 12192185"/>
              <a:gd name="connsiteY11224" fmla="*/ 605782 h 6859062"/>
              <a:gd name="connsiteX11225" fmla="*/ 8825077 w 12192185"/>
              <a:gd name="connsiteY11225" fmla="*/ 606614 h 6859062"/>
              <a:gd name="connsiteX11226" fmla="*/ 8822913 w 12192185"/>
              <a:gd name="connsiteY11226" fmla="*/ 605117 h 6859062"/>
              <a:gd name="connsiteX11227" fmla="*/ 8821413 w 12192185"/>
              <a:gd name="connsiteY11227" fmla="*/ 607447 h 6859062"/>
              <a:gd name="connsiteX11228" fmla="*/ 8820914 w 12192185"/>
              <a:gd name="connsiteY11228" fmla="*/ 609445 h 6859062"/>
              <a:gd name="connsiteX11229" fmla="*/ 8819414 w 12192185"/>
              <a:gd name="connsiteY11229" fmla="*/ 611671 h 6859062"/>
              <a:gd name="connsiteX11230" fmla="*/ 8816916 w 12192185"/>
              <a:gd name="connsiteY11230" fmla="*/ 610776 h 6859062"/>
              <a:gd name="connsiteX11231" fmla="*/ 8811421 w 12192185"/>
              <a:gd name="connsiteY11231" fmla="*/ 605949 h 6859062"/>
              <a:gd name="connsiteX11232" fmla="*/ 8804092 w 12192185"/>
              <a:gd name="connsiteY11232" fmla="*/ 604284 h 6859062"/>
              <a:gd name="connsiteX11233" fmla="*/ 8799763 w 12192185"/>
              <a:gd name="connsiteY11233" fmla="*/ 602952 h 6859062"/>
              <a:gd name="connsiteX11234" fmla="*/ 8789603 w 12192185"/>
              <a:gd name="connsiteY11234" fmla="*/ 598125 h 6859062"/>
              <a:gd name="connsiteX11235" fmla="*/ 8787937 w 12192185"/>
              <a:gd name="connsiteY11235" fmla="*/ 596793 h 6859062"/>
              <a:gd name="connsiteX11236" fmla="*/ 8779110 w 12192185"/>
              <a:gd name="connsiteY11236" fmla="*/ 575320 h 6859062"/>
              <a:gd name="connsiteX11237" fmla="*/ 8778943 w 12192185"/>
              <a:gd name="connsiteY11237" fmla="*/ 571325 h 6859062"/>
              <a:gd name="connsiteX11238" fmla="*/ 8781276 w 12192185"/>
              <a:gd name="connsiteY11238" fmla="*/ 561670 h 6859062"/>
              <a:gd name="connsiteX11239" fmla="*/ 8782608 w 12192185"/>
              <a:gd name="connsiteY11239" fmla="*/ 553347 h 6859062"/>
              <a:gd name="connsiteX11240" fmla="*/ 8783940 w 12192185"/>
              <a:gd name="connsiteY11240" fmla="*/ 550683 h 6859062"/>
              <a:gd name="connsiteX11241" fmla="*/ 8793766 w 12192185"/>
              <a:gd name="connsiteY11241" fmla="*/ 539032 h 6859062"/>
              <a:gd name="connsiteX11242" fmla="*/ 8794765 w 12192185"/>
              <a:gd name="connsiteY11242" fmla="*/ 537200 h 6859062"/>
              <a:gd name="connsiteX11243" fmla="*/ 8787770 w 12192185"/>
              <a:gd name="connsiteY11243" fmla="*/ 528044 h 6859062"/>
              <a:gd name="connsiteX11244" fmla="*/ 8778444 w 12192185"/>
              <a:gd name="connsiteY11244" fmla="*/ 522551 h 6859062"/>
              <a:gd name="connsiteX11245" fmla="*/ 8768617 w 12192185"/>
              <a:gd name="connsiteY11245" fmla="*/ 511232 h 6859062"/>
              <a:gd name="connsiteX11246" fmla="*/ 8768785 w 12192185"/>
              <a:gd name="connsiteY11246" fmla="*/ 508735 h 6859062"/>
              <a:gd name="connsiteX11247" fmla="*/ 8768119 w 12192185"/>
              <a:gd name="connsiteY11247" fmla="*/ 502576 h 6859062"/>
              <a:gd name="connsiteX11248" fmla="*/ 8767618 w 12192185"/>
              <a:gd name="connsiteY11248" fmla="*/ 495252 h 6859062"/>
              <a:gd name="connsiteX11249" fmla="*/ 8769784 w 12192185"/>
              <a:gd name="connsiteY11249" fmla="*/ 490092 h 6859062"/>
              <a:gd name="connsiteX11250" fmla="*/ 8774281 w 12192185"/>
              <a:gd name="connsiteY11250" fmla="*/ 475110 h 6859062"/>
              <a:gd name="connsiteX11251" fmla="*/ 8781608 w 12192185"/>
              <a:gd name="connsiteY11251" fmla="*/ 466288 h 6859062"/>
              <a:gd name="connsiteX11252" fmla="*/ 8783275 w 12192185"/>
              <a:gd name="connsiteY11252" fmla="*/ 465122 h 6859062"/>
              <a:gd name="connsiteX11253" fmla="*/ 8791934 w 12192185"/>
              <a:gd name="connsiteY11253" fmla="*/ 461127 h 6859062"/>
              <a:gd name="connsiteX11254" fmla="*/ 8794932 w 12192185"/>
              <a:gd name="connsiteY11254" fmla="*/ 459629 h 6859062"/>
              <a:gd name="connsiteX11255" fmla="*/ 9211807 w 12192185"/>
              <a:gd name="connsiteY11255" fmla="*/ 455326 h 6859062"/>
              <a:gd name="connsiteX11256" fmla="*/ 9218363 w 12192185"/>
              <a:gd name="connsiteY11256" fmla="*/ 458574 h 6859062"/>
              <a:gd name="connsiteX11257" fmla="*/ 9222080 w 12192185"/>
              <a:gd name="connsiteY11257" fmla="*/ 460538 h 6859062"/>
              <a:gd name="connsiteX11258" fmla="*/ 9226232 w 12192185"/>
              <a:gd name="connsiteY11258" fmla="*/ 464031 h 6859062"/>
              <a:gd name="connsiteX11259" fmla="*/ 9228855 w 12192185"/>
              <a:gd name="connsiteY11259" fmla="*/ 467524 h 6859062"/>
              <a:gd name="connsiteX11260" fmla="*/ 9231915 w 12192185"/>
              <a:gd name="connsiteY11260" fmla="*/ 477129 h 6859062"/>
              <a:gd name="connsiteX11261" fmla="*/ 9234101 w 12192185"/>
              <a:gd name="connsiteY11261" fmla="*/ 483024 h 6859062"/>
              <a:gd name="connsiteX11262" fmla="*/ 9234101 w 12192185"/>
              <a:gd name="connsiteY11262" fmla="*/ 483025 h 6859062"/>
              <a:gd name="connsiteX11263" fmla="*/ 9234101 w 12192185"/>
              <a:gd name="connsiteY11263" fmla="*/ 485643 h 6859062"/>
              <a:gd name="connsiteX11264" fmla="*/ 9234102 w 12192185"/>
              <a:gd name="connsiteY11264" fmla="*/ 485644 h 6859062"/>
              <a:gd name="connsiteX11265" fmla="*/ 9231478 w 12192185"/>
              <a:gd name="connsiteY11265" fmla="*/ 490883 h 6859062"/>
              <a:gd name="connsiteX11266" fmla="*/ 9225576 w 12192185"/>
              <a:gd name="connsiteY11266" fmla="*/ 498742 h 6859062"/>
              <a:gd name="connsiteX11267" fmla="*/ 9224046 w 12192185"/>
              <a:gd name="connsiteY11267" fmla="*/ 501799 h 6859062"/>
              <a:gd name="connsiteX11268" fmla="*/ 9221423 w 12192185"/>
              <a:gd name="connsiteY11268" fmla="*/ 502890 h 6859062"/>
              <a:gd name="connsiteX11269" fmla="*/ 9216396 w 12192185"/>
              <a:gd name="connsiteY11269" fmla="*/ 504418 h 6859062"/>
              <a:gd name="connsiteX11270" fmla="*/ 9214647 w 12192185"/>
              <a:gd name="connsiteY11270" fmla="*/ 505292 h 6859062"/>
              <a:gd name="connsiteX11271" fmla="*/ 9207654 w 12192185"/>
              <a:gd name="connsiteY11271" fmla="*/ 506165 h 6859062"/>
              <a:gd name="connsiteX11272" fmla="*/ 9206123 w 12192185"/>
              <a:gd name="connsiteY11272" fmla="*/ 506601 h 6859062"/>
              <a:gd name="connsiteX11273" fmla="*/ 9190603 w 12192185"/>
              <a:gd name="connsiteY11273" fmla="*/ 496778 h 6859062"/>
              <a:gd name="connsiteX11274" fmla="*/ 9185794 w 12192185"/>
              <a:gd name="connsiteY11274" fmla="*/ 487827 h 6859062"/>
              <a:gd name="connsiteX11275" fmla="*/ 9184264 w 12192185"/>
              <a:gd name="connsiteY11275" fmla="*/ 484116 h 6859062"/>
              <a:gd name="connsiteX11276" fmla="*/ 9184047 w 12192185"/>
              <a:gd name="connsiteY11276" fmla="*/ 480405 h 6859062"/>
              <a:gd name="connsiteX11277" fmla="*/ 9184047 w 12192185"/>
              <a:gd name="connsiteY11277" fmla="*/ 480404 h 6859062"/>
              <a:gd name="connsiteX11278" fmla="*/ 9184701 w 12192185"/>
              <a:gd name="connsiteY11278" fmla="*/ 477566 h 6859062"/>
              <a:gd name="connsiteX11279" fmla="*/ 9185794 w 12192185"/>
              <a:gd name="connsiteY11279" fmla="*/ 471671 h 6859062"/>
              <a:gd name="connsiteX11280" fmla="*/ 9186014 w 12192185"/>
              <a:gd name="connsiteY11280" fmla="*/ 469489 h 6859062"/>
              <a:gd name="connsiteX11281" fmla="*/ 9186669 w 12192185"/>
              <a:gd name="connsiteY11281" fmla="*/ 464250 h 6859062"/>
              <a:gd name="connsiteX11282" fmla="*/ 9197599 w 12192185"/>
              <a:gd name="connsiteY11282" fmla="*/ 455736 h 6859062"/>
              <a:gd name="connsiteX11283" fmla="*/ 9204592 w 12192185"/>
              <a:gd name="connsiteY11283" fmla="*/ 455517 h 6859062"/>
              <a:gd name="connsiteX11284" fmla="*/ 9211807 w 12192185"/>
              <a:gd name="connsiteY11284" fmla="*/ 455326 h 6859062"/>
              <a:gd name="connsiteX11285" fmla="*/ 3531830 w 12192185"/>
              <a:gd name="connsiteY11285" fmla="*/ 447728 h 6859062"/>
              <a:gd name="connsiteX11286" fmla="*/ 3549259 w 12192185"/>
              <a:gd name="connsiteY11286" fmla="*/ 458760 h 6859062"/>
              <a:gd name="connsiteX11287" fmla="*/ 3554657 w 12192185"/>
              <a:gd name="connsiteY11287" fmla="*/ 468813 h 6859062"/>
              <a:gd name="connsiteX11288" fmla="*/ 3556376 w 12192185"/>
              <a:gd name="connsiteY11288" fmla="*/ 472980 h 6859062"/>
              <a:gd name="connsiteX11289" fmla="*/ 3556620 w 12192185"/>
              <a:gd name="connsiteY11289" fmla="*/ 477148 h 6859062"/>
              <a:gd name="connsiteX11290" fmla="*/ 3555887 w 12192185"/>
              <a:gd name="connsiteY11290" fmla="*/ 480335 h 6859062"/>
              <a:gd name="connsiteX11291" fmla="*/ 3554658 w 12192185"/>
              <a:gd name="connsiteY11291" fmla="*/ 486954 h 6859062"/>
              <a:gd name="connsiteX11292" fmla="*/ 3554413 w 12192185"/>
              <a:gd name="connsiteY11292" fmla="*/ 489406 h 6859062"/>
              <a:gd name="connsiteX11293" fmla="*/ 3553676 w 12192185"/>
              <a:gd name="connsiteY11293" fmla="*/ 495290 h 6859062"/>
              <a:gd name="connsiteX11294" fmla="*/ 3541403 w 12192185"/>
              <a:gd name="connsiteY11294" fmla="*/ 504852 h 6859062"/>
              <a:gd name="connsiteX11295" fmla="*/ 3533547 w 12192185"/>
              <a:gd name="connsiteY11295" fmla="*/ 505097 h 6859062"/>
              <a:gd name="connsiteX11296" fmla="*/ 3518084 w 12192185"/>
              <a:gd name="connsiteY11296" fmla="*/ 501665 h 6859062"/>
              <a:gd name="connsiteX11297" fmla="*/ 3513909 w 12192185"/>
              <a:gd name="connsiteY11297" fmla="*/ 499458 h 6859062"/>
              <a:gd name="connsiteX11298" fmla="*/ 3509247 w 12192185"/>
              <a:gd name="connsiteY11298" fmla="*/ 495535 h 6859062"/>
              <a:gd name="connsiteX11299" fmla="*/ 3506301 w 12192185"/>
              <a:gd name="connsiteY11299" fmla="*/ 491613 h 6859062"/>
              <a:gd name="connsiteX11300" fmla="*/ 3502865 w 12192185"/>
              <a:gd name="connsiteY11300" fmla="*/ 480826 h 6859062"/>
              <a:gd name="connsiteX11301" fmla="*/ 3500411 w 12192185"/>
              <a:gd name="connsiteY11301" fmla="*/ 474206 h 6859062"/>
              <a:gd name="connsiteX11302" fmla="*/ 3500411 w 12192185"/>
              <a:gd name="connsiteY11302" fmla="*/ 471264 h 6859062"/>
              <a:gd name="connsiteX11303" fmla="*/ 3503357 w 12192185"/>
              <a:gd name="connsiteY11303" fmla="*/ 465380 h 6859062"/>
              <a:gd name="connsiteX11304" fmla="*/ 3509984 w 12192185"/>
              <a:gd name="connsiteY11304" fmla="*/ 456554 h 6859062"/>
              <a:gd name="connsiteX11305" fmla="*/ 3511700 w 12192185"/>
              <a:gd name="connsiteY11305" fmla="*/ 453122 h 6859062"/>
              <a:gd name="connsiteX11306" fmla="*/ 3514647 w 12192185"/>
              <a:gd name="connsiteY11306" fmla="*/ 451896 h 6859062"/>
              <a:gd name="connsiteX11307" fmla="*/ 3520293 w 12192185"/>
              <a:gd name="connsiteY11307" fmla="*/ 450180 h 6859062"/>
              <a:gd name="connsiteX11308" fmla="*/ 3522256 w 12192185"/>
              <a:gd name="connsiteY11308" fmla="*/ 449199 h 6859062"/>
              <a:gd name="connsiteX11309" fmla="*/ 3530112 w 12192185"/>
              <a:gd name="connsiteY11309" fmla="*/ 448218 h 6859062"/>
              <a:gd name="connsiteX11310" fmla="*/ 3531830 w 12192185"/>
              <a:gd name="connsiteY11310" fmla="*/ 447728 h 6859062"/>
              <a:gd name="connsiteX11311" fmla="*/ 2626606 w 12192185"/>
              <a:gd name="connsiteY11311" fmla="*/ 438787 h 6859062"/>
              <a:gd name="connsiteX11312" fmla="*/ 2628038 w 12192185"/>
              <a:gd name="connsiteY11312" fmla="*/ 440918 h 6859062"/>
              <a:gd name="connsiteX11313" fmla="*/ 2628518 w 12192185"/>
              <a:gd name="connsiteY11313" fmla="*/ 442830 h 6859062"/>
              <a:gd name="connsiteX11314" fmla="*/ 2629954 w 12192185"/>
              <a:gd name="connsiteY11314" fmla="*/ 445060 h 6859062"/>
              <a:gd name="connsiteX11315" fmla="*/ 2632024 w 12192185"/>
              <a:gd name="connsiteY11315" fmla="*/ 443626 h 6859062"/>
              <a:gd name="connsiteX11316" fmla="*/ 2636807 w 12192185"/>
              <a:gd name="connsiteY11316" fmla="*/ 444423 h 6859062"/>
              <a:gd name="connsiteX11317" fmla="*/ 2637763 w 12192185"/>
              <a:gd name="connsiteY11317" fmla="*/ 446494 h 6859062"/>
              <a:gd name="connsiteX11318" fmla="*/ 2640635 w 12192185"/>
              <a:gd name="connsiteY11318" fmla="*/ 447609 h 6859062"/>
              <a:gd name="connsiteX11319" fmla="*/ 2641750 w 12192185"/>
              <a:gd name="connsiteY11319" fmla="*/ 444901 h 6859062"/>
              <a:gd name="connsiteX11320" fmla="*/ 2641481 w 12192185"/>
              <a:gd name="connsiteY11320" fmla="*/ 442491 h 6859062"/>
              <a:gd name="connsiteX11321" fmla="*/ 2653939 w 12192185"/>
              <a:gd name="connsiteY11321" fmla="*/ 454883 h 6859062"/>
              <a:gd name="connsiteX11322" fmla="*/ 2653226 w 12192185"/>
              <a:gd name="connsiteY11322" fmla="*/ 455895 h 6859062"/>
              <a:gd name="connsiteX11323" fmla="*/ 2654661 w 12192185"/>
              <a:gd name="connsiteY11323" fmla="*/ 458922 h 6859062"/>
              <a:gd name="connsiteX11324" fmla="*/ 2657531 w 12192185"/>
              <a:gd name="connsiteY11324" fmla="*/ 460197 h 6859062"/>
              <a:gd name="connsiteX11325" fmla="*/ 2659446 w 12192185"/>
              <a:gd name="connsiteY11325" fmla="*/ 464020 h 6859062"/>
              <a:gd name="connsiteX11326" fmla="*/ 2665661 w 12192185"/>
              <a:gd name="connsiteY11326" fmla="*/ 476289 h 6859062"/>
              <a:gd name="connsiteX11327" fmla="*/ 2667893 w 12192185"/>
              <a:gd name="connsiteY11327" fmla="*/ 478042 h 6859062"/>
              <a:gd name="connsiteX11328" fmla="*/ 2664865 w 12192185"/>
              <a:gd name="connsiteY11328" fmla="*/ 479954 h 6859062"/>
              <a:gd name="connsiteX11329" fmla="*/ 2664387 w 12192185"/>
              <a:gd name="connsiteY11329" fmla="*/ 479954 h 6859062"/>
              <a:gd name="connsiteX11330" fmla="*/ 2661357 w 12192185"/>
              <a:gd name="connsiteY11330" fmla="*/ 485371 h 6859062"/>
              <a:gd name="connsiteX11331" fmla="*/ 2661038 w 12192185"/>
              <a:gd name="connsiteY11331" fmla="*/ 492860 h 6859062"/>
              <a:gd name="connsiteX11332" fmla="*/ 2658329 w 12192185"/>
              <a:gd name="connsiteY11332" fmla="*/ 503376 h 6859062"/>
              <a:gd name="connsiteX11333" fmla="*/ 2655936 w 12192185"/>
              <a:gd name="connsiteY11333" fmla="*/ 506244 h 6859062"/>
              <a:gd name="connsiteX11334" fmla="*/ 2649401 w 12192185"/>
              <a:gd name="connsiteY11334" fmla="*/ 514528 h 6859062"/>
              <a:gd name="connsiteX11335" fmla="*/ 2645576 w 12192185"/>
              <a:gd name="connsiteY11335" fmla="*/ 515962 h 6859062"/>
              <a:gd name="connsiteX11336" fmla="*/ 2629794 w 12192185"/>
              <a:gd name="connsiteY11336" fmla="*/ 520583 h 6859062"/>
              <a:gd name="connsiteX11337" fmla="*/ 2629795 w 12192185"/>
              <a:gd name="connsiteY11337" fmla="*/ 524089 h 6859062"/>
              <a:gd name="connsiteX11338" fmla="*/ 2633938 w 12192185"/>
              <a:gd name="connsiteY11338" fmla="*/ 524567 h 6859062"/>
              <a:gd name="connsiteX11339" fmla="*/ 2636807 w 12192185"/>
              <a:gd name="connsiteY11339" fmla="*/ 522654 h 6859062"/>
              <a:gd name="connsiteX11340" fmla="*/ 2639516 w 12192185"/>
              <a:gd name="connsiteY11340" fmla="*/ 522336 h 6859062"/>
              <a:gd name="connsiteX11341" fmla="*/ 2639039 w 12192185"/>
              <a:gd name="connsiteY11341" fmla="*/ 525204 h 6859062"/>
              <a:gd name="connsiteX11342" fmla="*/ 2636807 w 12192185"/>
              <a:gd name="connsiteY11342" fmla="*/ 527275 h 6859062"/>
              <a:gd name="connsiteX11343" fmla="*/ 2636011 w 12192185"/>
              <a:gd name="connsiteY11343" fmla="*/ 532214 h 6859062"/>
              <a:gd name="connsiteX11344" fmla="*/ 2640314 w 12192185"/>
              <a:gd name="connsiteY11344" fmla="*/ 531258 h 6859062"/>
              <a:gd name="connsiteX11345" fmla="*/ 2643663 w 12192185"/>
              <a:gd name="connsiteY11345" fmla="*/ 528549 h 6859062"/>
              <a:gd name="connsiteX11346" fmla="*/ 2646850 w 12192185"/>
              <a:gd name="connsiteY11346" fmla="*/ 530621 h 6859062"/>
              <a:gd name="connsiteX11347" fmla="*/ 2643344 w 12192185"/>
              <a:gd name="connsiteY11347" fmla="*/ 539703 h 6859062"/>
              <a:gd name="connsiteX11348" fmla="*/ 2643344 w 12192185"/>
              <a:gd name="connsiteY11348" fmla="*/ 548466 h 6859062"/>
              <a:gd name="connsiteX11349" fmla="*/ 2646533 w 12192185"/>
              <a:gd name="connsiteY11349" fmla="*/ 551972 h 6859062"/>
              <a:gd name="connsiteX11350" fmla="*/ 2647489 w 12192185"/>
              <a:gd name="connsiteY11350" fmla="*/ 553724 h 6859062"/>
              <a:gd name="connsiteX11351" fmla="*/ 2645735 w 12192185"/>
              <a:gd name="connsiteY11351" fmla="*/ 554679 h 6859062"/>
              <a:gd name="connsiteX11352" fmla="*/ 2642387 w 12192185"/>
              <a:gd name="connsiteY11352" fmla="*/ 557866 h 6859062"/>
              <a:gd name="connsiteX11353" fmla="*/ 2638240 w 12192185"/>
              <a:gd name="connsiteY11353" fmla="*/ 565037 h 6859062"/>
              <a:gd name="connsiteX11354" fmla="*/ 2638082 w 12192185"/>
              <a:gd name="connsiteY11354" fmla="*/ 568861 h 6859062"/>
              <a:gd name="connsiteX11355" fmla="*/ 2639357 w 12192185"/>
              <a:gd name="connsiteY11355" fmla="*/ 571409 h 6859062"/>
              <a:gd name="connsiteX11356" fmla="*/ 2636646 w 12192185"/>
              <a:gd name="connsiteY11356" fmla="*/ 573162 h 6859062"/>
              <a:gd name="connsiteX11357" fmla="*/ 2634415 w 12192185"/>
              <a:gd name="connsiteY11357" fmla="*/ 573481 h 6859062"/>
              <a:gd name="connsiteX11358" fmla="*/ 2631706 w 12192185"/>
              <a:gd name="connsiteY11358" fmla="*/ 580014 h 6859062"/>
              <a:gd name="connsiteX11359" fmla="*/ 2632503 w 12192185"/>
              <a:gd name="connsiteY11359" fmla="*/ 581288 h 6859062"/>
              <a:gd name="connsiteX11360" fmla="*/ 2632343 w 12192185"/>
              <a:gd name="connsiteY11360" fmla="*/ 584156 h 6859062"/>
              <a:gd name="connsiteX11361" fmla="*/ 2629795 w 12192185"/>
              <a:gd name="connsiteY11361" fmla="*/ 583519 h 6859062"/>
              <a:gd name="connsiteX11362" fmla="*/ 2628198 w 12192185"/>
              <a:gd name="connsiteY11362" fmla="*/ 581447 h 6859062"/>
              <a:gd name="connsiteX11363" fmla="*/ 2625011 w 12192185"/>
              <a:gd name="connsiteY11363" fmla="*/ 580969 h 6859062"/>
              <a:gd name="connsiteX11364" fmla="*/ 2615286 w 12192185"/>
              <a:gd name="connsiteY11364" fmla="*/ 583518 h 6859062"/>
              <a:gd name="connsiteX11365" fmla="*/ 2603172 w 12192185"/>
              <a:gd name="connsiteY11365" fmla="*/ 584315 h 6859062"/>
              <a:gd name="connsiteX11366" fmla="*/ 2600301 w 12192185"/>
              <a:gd name="connsiteY11366" fmla="*/ 582882 h 6859062"/>
              <a:gd name="connsiteX11367" fmla="*/ 2592009 w 12192185"/>
              <a:gd name="connsiteY11367" fmla="*/ 579058 h 6859062"/>
              <a:gd name="connsiteX11368" fmla="*/ 2590420 w 12192185"/>
              <a:gd name="connsiteY11368" fmla="*/ 577942 h 6859062"/>
              <a:gd name="connsiteX11369" fmla="*/ 2583400 w 12192185"/>
              <a:gd name="connsiteY11369" fmla="*/ 569497 h 6859062"/>
              <a:gd name="connsiteX11370" fmla="*/ 2579097 w 12192185"/>
              <a:gd name="connsiteY11370" fmla="*/ 555158 h 6859062"/>
              <a:gd name="connsiteX11371" fmla="*/ 2577030 w 12192185"/>
              <a:gd name="connsiteY11371" fmla="*/ 550219 h 6859062"/>
              <a:gd name="connsiteX11372" fmla="*/ 2577506 w 12192185"/>
              <a:gd name="connsiteY11372" fmla="*/ 543208 h 6859062"/>
              <a:gd name="connsiteX11373" fmla="*/ 2578142 w 12192185"/>
              <a:gd name="connsiteY11373" fmla="*/ 537313 h 6859062"/>
              <a:gd name="connsiteX11374" fmla="*/ 2577983 w 12192185"/>
              <a:gd name="connsiteY11374" fmla="*/ 534923 h 6859062"/>
              <a:gd name="connsiteX11375" fmla="*/ 2587390 w 12192185"/>
              <a:gd name="connsiteY11375" fmla="*/ 524089 h 6859062"/>
              <a:gd name="connsiteX11376" fmla="*/ 2596315 w 12192185"/>
              <a:gd name="connsiteY11376" fmla="*/ 518831 h 6859062"/>
              <a:gd name="connsiteX11377" fmla="*/ 2603014 w 12192185"/>
              <a:gd name="connsiteY11377" fmla="*/ 510067 h 6859062"/>
              <a:gd name="connsiteX11378" fmla="*/ 2602055 w 12192185"/>
              <a:gd name="connsiteY11378" fmla="*/ 508315 h 6859062"/>
              <a:gd name="connsiteX11379" fmla="*/ 2592646 w 12192185"/>
              <a:gd name="connsiteY11379" fmla="*/ 497161 h 6859062"/>
              <a:gd name="connsiteX11380" fmla="*/ 2591374 w 12192185"/>
              <a:gd name="connsiteY11380" fmla="*/ 494613 h 6859062"/>
              <a:gd name="connsiteX11381" fmla="*/ 2590101 w 12192185"/>
              <a:gd name="connsiteY11381" fmla="*/ 486645 h 6859062"/>
              <a:gd name="connsiteX11382" fmla="*/ 2587864 w 12192185"/>
              <a:gd name="connsiteY11382" fmla="*/ 477405 h 6859062"/>
              <a:gd name="connsiteX11383" fmla="*/ 2588027 w 12192185"/>
              <a:gd name="connsiteY11383" fmla="*/ 473581 h 6859062"/>
              <a:gd name="connsiteX11384" fmla="*/ 2596473 w 12192185"/>
              <a:gd name="connsiteY11384" fmla="*/ 453027 h 6859062"/>
              <a:gd name="connsiteX11385" fmla="*/ 2598069 w 12192185"/>
              <a:gd name="connsiteY11385" fmla="*/ 451753 h 6859062"/>
              <a:gd name="connsiteX11386" fmla="*/ 2607795 w 12192185"/>
              <a:gd name="connsiteY11386" fmla="*/ 447132 h 6859062"/>
              <a:gd name="connsiteX11387" fmla="*/ 2611941 w 12192185"/>
              <a:gd name="connsiteY11387" fmla="*/ 445857 h 6859062"/>
              <a:gd name="connsiteX11388" fmla="*/ 2618952 w 12192185"/>
              <a:gd name="connsiteY11388" fmla="*/ 444264 h 6859062"/>
              <a:gd name="connsiteX11389" fmla="*/ 2624213 w 12192185"/>
              <a:gd name="connsiteY11389" fmla="*/ 439643 h 6859062"/>
              <a:gd name="connsiteX11390" fmla="*/ 2626606 w 12192185"/>
              <a:gd name="connsiteY11390" fmla="*/ 438787 h 6859062"/>
              <a:gd name="connsiteX11391" fmla="*/ 3092065 w 12192185"/>
              <a:gd name="connsiteY11391" fmla="*/ 390996 h 6859062"/>
              <a:gd name="connsiteX11392" fmla="*/ 3099208 w 12192185"/>
              <a:gd name="connsiteY11392" fmla="*/ 390996 h 6859062"/>
              <a:gd name="connsiteX11393" fmla="*/ 3107068 w 12192185"/>
              <a:gd name="connsiteY11393" fmla="*/ 394907 h 6859062"/>
              <a:gd name="connsiteX11394" fmla="*/ 3112425 w 12192185"/>
              <a:gd name="connsiteY11394" fmla="*/ 401307 h 6859062"/>
              <a:gd name="connsiteX11395" fmla="*/ 3116355 w 12192185"/>
              <a:gd name="connsiteY11395" fmla="*/ 410908 h 6859062"/>
              <a:gd name="connsiteX11396" fmla="*/ 3121355 w 12192185"/>
              <a:gd name="connsiteY11396" fmla="*/ 420153 h 6859062"/>
              <a:gd name="connsiteX11397" fmla="*/ 3129213 w 12192185"/>
              <a:gd name="connsiteY11397" fmla="*/ 427975 h 6859062"/>
              <a:gd name="connsiteX11398" fmla="*/ 3129214 w 12192185"/>
              <a:gd name="connsiteY11398" fmla="*/ 440775 h 6859062"/>
              <a:gd name="connsiteX11399" fmla="*/ 3124926 w 12192185"/>
              <a:gd name="connsiteY11399" fmla="*/ 445753 h 6859062"/>
              <a:gd name="connsiteX11400" fmla="*/ 3117069 w 12192185"/>
              <a:gd name="connsiteY11400" fmla="*/ 450731 h 6859062"/>
              <a:gd name="connsiteX11401" fmla="*/ 3107780 w 12192185"/>
              <a:gd name="connsiteY11401" fmla="*/ 452153 h 6859062"/>
              <a:gd name="connsiteX11402" fmla="*/ 3097066 w 12192185"/>
              <a:gd name="connsiteY11402" fmla="*/ 442197 h 6859062"/>
              <a:gd name="connsiteX11403" fmla="*/ 3094923 w 12192185"/>
              <a:gd name="connsiteY11403" fmla="*/ 438286 h 6859062"/>
              <a:gd name="connsiteX11404" fmla="*/ 3088136 w 12192185"/>
              <a:gd name="connsiteY11404" fmla="*/ 429753 h 6859062"/>
              <a:gd name="connsiteX11405" fmla="*/ 3082778 w 12192185"/>
              <a:gd name="connsiteY11405" fmla="*/ 426552 h 6859062"/>
              <a:gd name="connsiteX11406" fmla="*/ 3077777 w 12192185"/>
              <a:gd name="connsiteY11406" fmla="*/ 412330 h 6859062"/>
              <a:gd name="connsiteX11407" fmla="*/ 3080992 w 12192185"/>
              <a:gd name="connsiteY11407" fmla="*/ 400241 h 6859062"/>
              <a:gd name="connsiteX11408" fmla="*/ 3090993 w 12192185"/>
              <a:gd name="connsiteY11408" fmla="*/ 392418 h 6859062"/>
              <a:gd name="connsiteX11409" fmla="*/ 3092065 w 12192185"/>
              <a:gd name="connsiteY11409" fmla="*/ 390996 h 6859062"/>
              <a:gd name="connsiteX11410" fmla="*/ 3318977 w 12192185"/>
              <a:gd name="connsiteY11410" fmla="*/ 381838 h 6859062"/>
              <a:gd name="connsiteX11411" fmla="*/ 3336405 w 12192185"/>
              <a:gd name="connsiteY11411" fmla="*/ 392870 h 6859062"/>
              <a:gd name="connsiteX11412" fmla="*/ 3341806 w 12192185"/>
              <a:gd name="connsiteY11412" fmla="*/ 402922 h 6859062"/>
              <a:gd name="connsiteX11413" fmla="*/ 3343524 w 12192185"/>
              <a:gd name="connsiteY11413" fmla="*/ 407089 h 6859062"/>
              <a:gd name="connsiteX11414" fmla="*/ 3343769 w 12192185"/>
              <a:gd name="connsiteY11414" fmla="*/ 411257 h 6859062"/>
              <a:gd name="connsiteX11415" fmla="*/ 3343033 w 12192185"/>
              <a:gd name="connsiteY11415" fmla="*/ 414445 h 6859062"/>
              <a:gd name="connsiteX11416" fmla="*/ 3341805 w 12192185"/>
              <a:gd name="connsiteY11416" fmla="*/ 421064 h 6859062"/>
              <a:gd name="connsiteX11417" fmla="*/ 3341559 w 12192185"/>
              <a:gd name="connsiteY11417" fmla="*/ 423515 h 6859062"/>
              <a:gd name="connsiteX11418" fmla="*/ 3340824 w 12192185"/>
              <a:gd name="connsiteY11418" fmla="*/ 429400 h 6859062"/>
              <a:gd name="connsiteX11419" fmla="*/ 3328549 w 12192185"/>
              <a:gd name="connsiteY11419" fmla="*/ 438961 h 6859062"/>
              <a:gd name="connsiteX11420" fmla="*/ 3320693 w 12192185"/>
              <a:gd name="connsiteY11420" fmla="*/ 439207 h 6859062"/>
              <a:gd name="connsiteX11421" fmla="*/ 3305228 w 12192185"/>
              <a:gd name="connsiteY11421" fmla="*/ 435774 h 6859062"/>
              <a:gd name="connsiteX11422" fmla="*/ 3301055 w 12192185"/>
              <a:gd name="connsiteY11422" fmla="*/ 433568 h 6859062"/>
              <a:gd name="connsiteX11423" fmla="*/ 3296389 w 12192185"/>
              <a:gd name="connsiteY11423" fmla="*/ 429645 h 6859062"/>
              <a:gd name="connsiteX11424" fmla="*/ 3293444 w 12192185"/>
              <a:gd name="connsiteY11424" fmla="*/ 425723 h 6859062"/>
              <a:gd name="connsiteX11425" fmla="*/ 3290006 w 12192185"/>
              <a:gd name="connsiteY11425" fmla="*/ 414935 h 6859062"/>
              <a:gd name="connsiteX11426" fmla="*/ 3287550 w 12192185"/>
              <a:gd name="connsiteY11426" fmla="*/ 408316 h 6859062"/>
              <a:gd name="connsiteX11427" fmla="*/ 3287550 w 12192185"/>
              <a:gd name="connsiteY11427" fmla="*/ 405373 h 6859062"/>
              <a:gd name="connsiteX11428" fmla="*/ 3290497 w 12192185"/>
              <a:gd name="connsiteY11428" fmla="*/ 399489 h 6859062"/>
              <a:gd name="connsiteX11429" fmla="*/ 3297127 w 12192185"/>
              <a:gd name="connsiteY11429" fmla="*/ 390664 h 6859062"/>
              <a:gd name="connsiteX11430" fmla="*/ 3298845 w 12192185"/>
              <a:gd name="connsiteY11430" fmla="*/ 387231 h 6859062"/>
              <a:gd name="connsiteX11431" fmla="*/ 3301791 w 12192185"/>
              <a:gd name="connsiteY11431" fmla="*/ 386005 h 6859062"/>
              <a:gd name="connsiteX11432" fmla="*/ 3307437 w 12192185"/>
              <a:gd name="connsiteY11432" fmla="*/ 384289 h 6859062"/>
              <a:gd name="connsiteX11433" fmla="*/ 3309402 w 12192185"/>
              <a:gd name="connsiteY11433" fmla="*/ 383309 h 6859062"/>
              <a:gd name="connsiteX11434" fmla="*/ 3317257 w 12192185"/>
              <a:gd name="connsiteY11434" fmla="*/ 382328 h 6859062"/>
              <a:gd name="connsiteX11435" fmla="*/ 3318977 w 12192185"/>
              <a:gd name="connsiteY11435" fmla="*/ 381838 h 6859062"/>
              <a:gd name="connsiteX11436" fmla="*/ 10050735 w 12192185"/>
              <a:gd name="connsiteY11436" fmla="*/ 367822 h 6859062"/>
              <a:gd name="connsiteX11437" fmla="*/ 10050532 w 12192185"/>
              <a:gd name="connsiteY11437" fmla="*/ 368162 h 6859062"/>
              <a:gd name="connsiteX11438" fmla="*/ 10050294 w 12192185"/>
              <a:gd name="connsiteY11438" fmla="*/ 367927 h 6859062"/>
              <a:gd name="connsiteX11439" fmla="*/ 6887260 w 12192185"/>
              <a:gd name="connsiteY11439" fmla="*/ 351534 h 6859062"/>
              <a:gd name="connsiteX11440" fmla="*/ 6890120 w 12192185"/>
              <a:gd name="connsiteY11440" fmla="*/ 352616 h 6859062"/>
              <a:gd name="connsiteX11441" fmla="*/ 6903377 w 12192185"/>
              <a:gd name="connsiteY11441" fmla="*/ 355413 h 6859062"/>
              <a:gd name="connsiteX11442" fmla="*/ 6906585 w 12192185"/>
              <a:gd name="connsiteY11442" fmla="*/ 357366 h 6859062"/>
              <a:gd name="connsiteX11443" fmla="*/ 6915970 w 12192185"/>
              <a:gd name="connsiteY11443" fmla="*/ 361102 h 6859062"/>
              <a:gd name="connsiteX11444" fmla="*/ 6920818 w 12192185"/>
              <a:gd name="connsiteY11444" fmla="*/ 363614 h 6859062"/>
              <a:gd name="connsiteX11445" fmla="*/ 6923258 w 12192185"/>
              <a:gd name="connsiteY11445" fmla="*/ 369714 h 6859062"/>
              <a:gd name="connsiteX11446" fmla="*/ 6933298 w 12192185"/>
              <a:gd name="connsiteY11446" fmla="*/ 385716 h 6859062"/>
              <a:gd name="connsiteX11447" fmla="*/ 6937480 w 12192185"/>
              <a:gd name="connsiteY11447" fmla="*/ 396173 h 6859062"/>
              <a:gd name="connsiteX11448" fmla="*/ 6937058 w 12192185"/>
              <a:gd name="connsiteY11448" fmla="*/ 401191 h 6859062"/>
              <a:gd name="connsiteX11449" fmla="*/ 6931924 w 12192185"/>
              <a:gd name="connsiteY11449" fmla="*/ 412129 h 6859062"/>
              <a:gd name="connsiteX11450" fmla="*/ 6924519 w 12192185"/>
              <a:gd name="connsiteY11450" fmla="*/ 430035 h 6859062"/>
              <a:gd name="connsiteX11451" fmla="*/ 6918933 w 12192185"/>
              <a:gd name="connsiteY11451" fmla="*/ 436303 h 6859062"/>
              <a:gd name="connsiteX11452" fmla="*/ 6910416 w 12192185"/>
              <a:gd name="connsiteY11452" fmla="*/ 442326 h 6859062"/>
              <a:gd name="connsiteX11453" fmla="*/ 6902984 w 12192185"/>
              <a:gd name="connsiteY11453" fmla="*/ 445492 h 6859062"/>
              <a:gd name="connsiteX11454" fmla="*/ 6876116 w 12192185"/>
              <a:gd name="connsiteY11454" fmla="*/ 449132 h 6859062"/>
              <a:gd name="connsiteX11455" fmla="*/ 6862753 w 12192185"/>
              <a:gd name="connsiteY11455" fmla="*/ 447588 h 6859062"/>
              <a:gd name="connsiteX11456" fmla="*/ 6843189 w 12192185"/>
              <a:gd name="connsiteY11456" fmla="*/ 429525 h 6859062"/>
              <a:gd name="connsiteX11457" fmla="*/ 6842774 w 12192185"/>
              <a:gd name="connsiteY11457" fmla="*/ 419383 h 6859062"/>
              <a:gd name="connsiteX11458" fmla="*/ 6842707 w 12192185"/>
              <a:gd name="connsiteY11458" fmla="*/ 415167 h 6859062"/>
              <a:gd name="connsiteX11459" fmla="*/ 6841562 w 12192185"/>
              <a:gd name="connsiteY11459" fmla="*/ 403702 h 6859062"/>
              <a:gd name="connsiteX11460" fmla="*/ 6840761 w 12192185"/>
              <a:gd name="connsiteY11460" fmla="*/ 398161 h 6859062"/>
              <a:gd name="connsiteX11461" fmla="*/ 6841777 w 12192185"/>
              <a:gd name="connsiteY11461" fmla="*/ 391088 h 6859062"/>
              <a:gd name="connsiteX11462" fmla="*/ 6845304 w 12192185"/>
              <a:gd name="connsiteY11462" fmla="*/ 384225 h 6859062"/>
              <a:gd name="connsiteX11463" fmla="*/ 6855954 w 12192185"/>
              <a:gd name="connsiteY11463" fmla="*/ 367854 h 6859062"/>
              <a:gd name="connsiteX11464" fmla="*/ 6887260 w 12192185"/>
              <a:gd name="connsiteY11464" fmla="*/ 351534 h 6859062"/>
              <a:gd name="connsiteX11465" fmla="*/ 1867119 w 12192185"/>
              <a:gd name="connsiteY11465" fmla="*/ 348819 h 6859062"/>
              <a:gd name="connsiteX11466" fmla="*/ 1871917 w 12192185"/>
              <a:gd name="connsiteY11466" fmla="*/ 349381 h 6859062"/>
              <a:gd name="connsiteX11467" fmla="*/ 1885614 w 12192185"/>
              <a:gd name="connsiteY11467" fmla="*/ 350553 h 6859062"/>
              <a:gd name="connsiteX11468" fmla="*/ 1888443 w 12192185"/>
              <a:gd name="connsiteY11468" fmla="*/ 351316 h 6859062"/>
              <a:gd name="connsiteX11469" fmla="*/ 1902700 w 12192185"/>
              <a:gd name="connsiteY11469" fmla="*/ 359685 h 6859062"/>
              <a:gd name="connsiteX11470" fmla="*/ 1916138 w 12192185"/>
              <a:gd name="connsiteY11470" fmla="*/ 377791 h 6859062"/>
              <a:gd name="connsiteX11471" fmla="*/ 1921601 w 12192185"/>
              <a:gd name="connsiteY11471" fmla="*/ 383724 h 6859062"/>
              <a:gd name="connsiteX11472" fmla="*/ 1924513 w 12192185"/>
              <a:gd name="connsiteY11472" fmla="*/ 393899 h 6859062"/>
              <a:gd name="connsiteX11473" fmla="*/ 1926627 w 12192185"/>
              <a:gd name="connsiteY11473" fmla="*/ 402574 h 6859062"/>
              <a:gd name="connsiteX11474" fmla="*/ 1928078 w 12192185"/>
              <a:gd name="connsiteY11474" fmla="*/ 405877 h 6859062"/>
              <a:gd name="connsiteX11475" fmla="*/ 1920304 w 12192185"/>
              <a:gd name="connsiteY11475" fmla="*/ 426036 h 6859062"/>
              <a:gd name="connsiteX11476" fmla="*/ 1910352 w 12192185"/>
              <a:gd name="connsiteY11476" fmla="*/ 438053 h 6859062"/>
              <a:gd name="connsiteX11477" fmla="*/ 1905357 w 12192185"/>
              <a:gd name="connsiteY11477" fmla="*/ 453891 h 6859062"/>
              <a:gd name="connsiteX11478" fmla="*/ 1907609 w 12192185"/>
              <a:gd name="connsiteY11478" fmla="*/ 455885 h 6859062"/>
              <a:gd name="connsiteX11479" fmla="*/ 1926639 w 12192185"/>
              <a:gd name="connsiteY11479" fmla="*/ 466865 h 6859062"/>
              <a:gd name="connsiteX11480" fmla="*/ 1929749 w 12192185"/>
              <a:gd name="connsiteY11480" fmla="*/ 469823 h 6859062"/>
              <a:gd name="connsiteX11481" fmla="*/ 1935634 w 12192185"/>
              <a:gd name="connsiteY11481" fmla="*/ 480453 h 6859062"/>
              <a:gd name="connsiteX11482" fmla="*/ 1943526 w 12192185"/>
              <a:gd name="connsiteY11482" fmla="*/ 492398 h 6859062"/>
              <a:gd name="connsiteX11483" fmla="*/ 1945258 w 12192185"/>
              <a:gd name="connsiteY11483" fmla="*/ 497895 h 6859062"/>
              <a:gd name="connsiteX11484" fmla="*/ 1943815 w 12192185"/>
              <a:gd name="connsiteY11484" fmla="*/ 531330 h 6859062"/>
              <a:gd name="connsiteX11485" fmla="*/ 1942210 w 12192185"/>
              <a:gd name="connsiteY11485" fmla="*/ 533952 h 6859062"/>
              <a:gd name="connsiteX11486" fmla="*/ 1930802 w 12192185"/>
              <a:gd name="connsiteY11486" fmla="*/ 545474 h 6859062"/>
              <a:gd name="connsiteX11487" fmla="*/ 1925586 w 12192185"/>
              <a:gd name="connsiteY11487" fmla="*/ 549400 h 6859062"/>
              <a:gd name="connsiteX11488" fmla="*/ 1916468 w 12192185"/>
              <a:gd name="connsiteY11488" fmla="*/ 555248 h 6859062"/>
              <a:gd name="connsiteX11489" fmla="*/ 1911383 w 12192185"/>
              <a:gd name="connsiteY11489" fmla="*/ 564485 h 6859062"/>
              <a:gd name="connsiteX11490" fmla="*/ 1908435 w 12192185"/>
              <a:gd name="connsiteY11490" fmla="*/ 566922 h 6859062"/>
              <a:gd name="connsiteX11491" fmla="*/ 1905312 w 12192185"/>
              <a:gd name="connsiteY11491" fmla="*/ 564639 h 6859062"/>
              <a:gd name="connsiteX11492" fmla="*/ 1903655 w 12192185"/>
              <a:gd name="connsiteY11492" fmla="*/ 562176 h 6859062"/>
              <a:gd name="connsiteX11493" fmla="*/ 1900482 w 12192185"/>
              <a:gd name="connsiteY11493" fmla="*/ 559751 h 6859062"/>
              <a:gd name="connsiteX11494" fmla="*/ 1898281 w 12192185"/>
              <a:gd name="connsiteY11494" fmla="*/ 562842 h 6859062"/>
              <a:gd name="connsiteX11495" fmla="*/ 1891100 w 12192185"/>
              <a:gd name="connsiteY11495" fmla="*/ 564162 h 6859062"/>
              <a:gd name="connsiteX11496" fmla="*/ 1888685 w 12192185"/>
              <a:gd name="connsiteY11496" fmla="*/ 561719 h 6859062"/>
              <a:gd name="connsiteX11497" fmla="*/ 1884050 w 12192185"/>
              <a:gd name="connsiteY11497" fmla="*/ 561609 h 6859062"/>
              <a:gd name="connsiteX11498" fmla="*/ 1883857 w 12192185"/>
              <a:gd name="connsiteY11498" fmla="*/ 566016 h 6859062"/>
              <a:gd name="connsiteX11499" fmla="*/ 1885470 w 12192185"/>
              <a:gd name="connsiteY11499" fmla="*/ 569291 h 6859062"/>
              <a:gd name="connsiteX11500" fmla="*/ 1861481 w 12192185"/>
              <a:gd name="connsiteY11500" fmla="*/ 558121 h 6859062"/>
              <a:gd name="connsiteX11501" fmla="*/ 1861973 w 12192185"/>
              <a:gd name="connsiteY11501" fmla="*/ 556322 h 6859062"/>
              <a:gd name="connsiteX11502" fmla="*/ 1858391 w 12192185"/>
              <a:gd name="connsiteY11502" fmla="*/ 552769 h 6859062"/>
              <a:gd name="connsiteX11503" fmla="*/ 1853675 w 12192185"/>
              <a:gd name="connsiteY11503" fmla="*/ 552433 h 6859062"/>
              <a:gd name="connsiteX11504" fmla="*/ 1849008 w 12192185"/>
              <a:gd name="connsiteY11504" fmla="*/ 547996 h 6859062"/>
              <a:gd name="connsiteX11505" fmla="*/ 1833922 w 12192185"/>
              <a:gd name="connsiteY11505" fmla="*/ 533803 h 6859062"/>
              <a:gd name="connsiteX11506" fmla="*/ 1829864 w 12192185"/>
              <a:gd name="connsiteY11506" fmla="*/ 532463 h 6859062"/>
              <a:gd name="connsiteX11507" fmla="*/ 1833175 w 12192185"/>
              <a:gd name="connsiteY11507" fmla="*/ 528205 h 6859062"/>
              <a:gd name="connsiteX11508" fmla="*/ 1833853 w 12192185"/>
              <a:gd name="connsiteY11508" fmla="*/ 527960 h 6859062"/>
              <a:gd name="connsiteX11509" fmla="*/ 1835368 w 12192185"/>
              <a:gd name="connsiteY11509" fmla="*/ 518738 h 6859062"/>
              <a:gd name="connsiteX11510" fmla="*/ 1831986 w 12192185"/>
              <a:gd name="connsiteY11510" fmla="*/ 507969 h 6859062"/>
              <a:gd name="connsiteX11511" fmla="*/ 1830440 w 12192185"/>
              <a:gd name="connsiteY11511" fmla="*/ 491689 h 6859062"/>
              <a:gd name="connsiteX11512" fmla="*/ 1832359 w 12192185"/>
              <a:gd name="connsiteY11512" fmla="*/ 486403 h 6859062"/>
              <a:gd name="connsiteX11513" fmla="*/ 1837373 w 12192185"/>
              <a:gd name="connsiteY11513" fmla="*/ 471322 h 6859062"/>
              <a:gd name="connsiteX11514" fmla="*/ 1842058 w 12192185"/>
              <a:gd name="connsiteY11514" fmla="*/ 467333 h 6859062"/>
              <a:gd name="connsiteX11515" fmla="*/ 1862044 w 12192185"/>
              <a:gd name="connsiteY11515" fmla="*/ 452709 h 6859062"/>
              <a:gd name="connsiteX11516" fmla="*/ 1860250 w 12192185"/>
              <a:gd name="connsiteY11516" fmla="*/ 447745 h 6859062"/>
              <a:gd name="connsiteX11517" fmla="*/ 1854134 w 12192185"/>
              <a:gd name="connsiteY11517" fmla="*/ 449189 h 6859062"/>
              <a:gd name="connsiteX11518" fmla="*/ 1851050 w 12192185"/>
              <a:gd name="connsiteY11518" fmla="*/ 453366 h 6859062"/>
              <a:gd name="connsiteX11519" fmla="*/ 1847375 w 12192185"/>
              <a:gd name="connsiteY11519" fmla="*/ 455205 h 6859062"/>
              <a:gd name="connsiteX11520" fmla="*/ 1846584 w 12192185"/>
              <a:gd name="connsiteY11520" fmla="*/ 450899 h 6859062"/>
              <a:gd name="connsiteX11521" fmla="*/ 1848684 w 12192185"/>
              <a:gd name="connsiteY11521" fmla="*/ 446822 h 6859062"/>
              <a:gd name="connsiteX11522" fmla="*/ 1847285 w 12192185"/>
              <a:gd name="connsiteY11522" fmla="*/ 439419 h 6859062"/>
              <a:gd name="connsiteX11523" fmla="*/ 1841677 w 12192185"/>
              <a:gd name="connsiteY11523" fmla="*/ 442977 h 6859062"/>
              <a:gd name="connsiteX11524" fmla="*/ 1838323 w 12192185"/>
              <a:gd name="connsiteY11524" fmla="*/ 448527 h 6859062"/>
              <a:gd name="connsiteX11525" fmla="*/ 1832748 w 12192185"/>
              <a:gd name="connsiteY11525" fmla="*/ 447226 h 6859062"/>
              <a:gd name="connsiteX11526" fmla="*/ 1833065 w 12192185"/>
              <a:gd name="connsiteY11526" fmla="*/ 432568 h 6859062"/>
              <a:gd name="connsiteX11527" fmla="*/ 1828579 w 12192185"/>
              <a:gd name="connsiteY11527" fmla="*/ 420157 h 6859062"/>
              <a:gd name="connsiteX11528" fmla="*/ 1822269 w 12192185"/>
              <a:gd name="connsiteY11528" fmla="*/ 416825 h 6859062"/>
              <a:gd name="connsiteX11529" fmla="*/ 1820017 w 12192185"/>
              <a:gd name="connsiteY11529" fmla="*/ 414832 h 6859062"/>
              <a:gd name="connsiteX11530" fmla="*/ 1822011 w 12192185"/>
              <a:gd name="connsiteY11530" fmla="*/ 412580 h 6859062"/>
              <a:gd name="connsiteX11531" fmla="*/ 1825121 w 12192185"/>
              <a:gd name="connsiteY11531" fmla="*/ 406354 h 6859062"/>
              <a:gd name="connsiteX11532" fmla="*/ 1827320 w 12192185"/>
              <a:gd name="connsiteY11532" fmla="*/ 394076 h 6859062"/>
              <a:gd name="connsiteX11533" fmla="*/ 1825588 w 12192185"/>
              <a:gd name="connsiteY11533" fmla="*/ 388579 h 6859062"/>
              <a:gd name="connsiteX11534" fmla="*/ 1822477 w 12192185"/>
              <a:gd name="connsiteY11534" fmla="*/ 385622 h 6859062"/>
              <a:gd name="connsiteX11535" fmla="*/ 1825418 w 12192185"/>
              <a:gd name="connsiteY11535" fmla="*/ 381752 h 6859062"/>
              <a:gd name="connsiteX11536" fmla="*/ 1828415 w 12192185"/>
              <a:gd name="connsiteY11536" fmla="*/ 380158 h 6859062"/>
              <a:gd name="connsiteX11537" fmla="*/ 1828909 w 12192185"/>
              <a:gd name="connsiteY11537" fmla="*/ 369519 h 6859062"/>
              <a:gd name="connsiteX11538" fmla="*/ 1827127 w 12192185"/>
              <a:gd name="connsiteY11538" fmla="*/ 368122 h 6859062"/>
              <a:gd name="connsiteX11539" fmla="*/ 1825885 w 12192185"/>
              <a:gd name="connsiteY11539" fmla="*/ 363979 h 6859062"/>
              <a:gd name="connsiteX11540" fmla="*/ 1829824 w 12192185"/>
              <a:gd name="connsiteY11540" fmla="*/ 363576 h 6859062"/>
              <a:gd name="connsiteX11541" fmla="*/ 1833142 w 12192185"/>
              <a:gd name="connsiteY11541" fmla="*/ 365693 h 6859062"/>
              <a:gd name="connsiteX11542" fmla="*/ 1837902 w 12192185"/>
              <a:gd name="connsiteY11542" fmla="*/ 364738 h 6859062"/>
              <a:gd name="connsiteX11543" fmla="*/ 1850369 w 12192185"/>
              <a:gd name="connsiteY11543" fmla="*/ 356149 h 6859062"/>
              <a:gd name="connsiteX11544" fmla="*/ 1867119 w 12192185"/>
              <a:gd name="connsiteY11544" fmla="*/ 348819 h 6859062"/>
              <a:gd name="connsiteX11545" fmla="*/ 8902792 w 12192185"/>
              <a:gd name="connsiteY11545" fmla="*/ 346645 h 6859062"/>
              <a:gd name="connsiteX11546" fmla="*/ 8911061 w 12192185"/>
              <a:gd name="connsiteY11546" fmla="*/ 347911 h 6859062"/>
              <a:gd name="connsiteX11547" fmla="*/ 8918058 w 12192185"/>
              <a:gd name="connsiteY11547" fmla="*/ 352344 h 6859062"/>
              <a:gd name="connsiteX11548" fmla="*/ 8921875 w 12192185"/>
              <a:gd name="connsiteY11548" fmla="*/ 356775 h 6859062"/>
              <a:gd name="connsiteX11549" fmla="*/ 8921874 w 12192185"/>
              <a:gd name="connsiteY11549" fmla="*/ 368173 h 6859062"/>
              <a:gd name="connsiteX11550" fmla="*/ 8914877 w 12192185"/>
              <a:gd name="connsiteY11550" fmla="*/ 375139 h 6859062"/>
              <a:gd name="connsiteX11551" fmla="*/ 8910425 w 12192185"/>
              <a:gd name="connsiteY11551" fmla="*/ 383371 h 6859062"/>
              <a:gd name="connsiteX11552" fmla="*/ 8906927 w 12192185"/>
              <a:gd name="connsiteY11552" fmla="*/ 391919 h 6859062"/>
              <a:gd name="connsiteX11553" fmla="*/ 8902156 w 12192185"/>
              <a:gd name="connsiteY11553" fmla="*/ 397618 h 6859062"/>
              <a:gd name="connsiteX11554" fmla="*/ 8895160 w 12192185"/>
              <a:gd name="connsiteY11554" fmla="*/ 401101 h 6859062"/>
              <a:gd name="connsiteX11555" fmla="*/ 8888798 w 12192185"/>
              <a:gd name="connsiteY11555" fmla="*/ 401101 h 6859062"/>
              <a:gd name="connsiteX11556" fmla="*/ 8887844 w 12192185"/>
              <a:gd name="connsiteY11556" fmla="*/ 399835 h 6859062"/>
              <a:gd name="connsiteX11557" fmla="*/ 8878939 w 12192185"/>
              <a:gd name="connsiteY11557" fmla="*/ 392869 h 6859062"/>
              <a:gd name="connsiteX11558" fmla="*/ 8876078 w 12192185"/>
              <a:gd name="connsiteY11558" fmla="*/ 382104 h 6859062"/>
              <a:gd name="connsiteX11559" fmla="*/ 8880531 w 12192185"/>
              <a:gd name="connsiteY11559" fmla="*/ 369441 h 6859062"/>
              <a:gd name="connsiteX11560" fmla="*/ 8885301 w 12192185"/>
              <a:gd name="connsiteY11560" fmla="*/ 366590 h 6859062"/>
              <a:gd name="connsiteX11561" fmla="*/ 8891343 w 12192185"/>
              <a:gd name="connsiteY11561" fmla="*/ 358992 h 6859062"/>
              <a:gd name="connsiteX11562" fmla="*/ 8893251 w 12192185"/>
              <a:gd name="connsiteY11562" fmla="*/ 355510 h 6859062"/>
              <a:gd name="connsiteX11563" fmla="*/ 8902792 w 12192185"/>
              <a:gd name="connsiteY11563" fmla="*/ 346645 h 6859062"/>
              <a:gd name="connsiteX11564" fmla="*/ 7015858 w 12192185"/>
              <a:gd name="connsiteY11564" fmla="*/ 343164 h 6859062"/>
              <a:gd name="connsiteX11565" fmla="*/ 7016061 w 12192185"/>
              <a:gd name="connsiteY11565" fmla="*/ 343575 h 6859062"/>
              <a:gd name="connsiteX11566" fmla="*/ 7015563 w 12192185"/>
              <a:gd name="connsiteY11566" fmla="*/ 343413 h 6859062"/>
              <a:gd name="connsiteX11567" fmla="*/ 9757077 w 12192185"/>
              <a:gd name="connsiteY11567" fmla="*/ 342938 h 6859062"/>
              <a:gd name="connsiteX11568" fmla="*/ 9764124 w 12192185"/>
              <a:gd name="connsiteY11568" fmla="*/ 346428 h 6859062"/>
              <a:gd name="connsiteX11569" fmla="*/ 9768117 w 12192185"/>
              <a:gd name="connsiteY11569" fmla="*/ 348539 h 6859062"/>
              <a:gd name="connsiteX11570" fmla="*/ 9772580 w 12192185"/>
              <a:gd name="connsiteY11570" fmla="*/ 352291 h 6859062"/>
              <a:gd name="connsiteX11571" fmla="*/ 9775399 w 12192185"/>
              <a:gd name="connsiteY11571" fmla="*/ 356045 h 6859062"/>
              <a:gd name="connsiteX11572" fmla="*/ 9778687 w 12192185"/>
              <a:gd name="connsiteY11572" fmla="*/ 366368 h 6859062"/>
              <a:gd name="connsiteX11573" fmla="*/ 9781037 w 12192185"/>
              <a:gd name="connsiteY11573" fmla="*/ 372701 h 6859062"/>
              <a:gd name="connsiteX11574" fmla="*/ 9781036 w 12192185"/>
              <a:gd name="connsiteY11574" fmla="*/ 375516 h 6859062"/>
              <a:gd name="connsiteX11575" fmla="*/ 9778217 w 12192185"/>
              <a:gd name="connsiteY11575" fmla="*/ 381146 h 6859062"/>
              <a:gd name="connsiteX11576" fmla="*/ 9771876 w 12192185"/>
              <a:gd name="connsiteY11576" fmla="*/ 389591 h 6859062"/>
              <a:gd name="connsiteX11577" fmla="*/ 9770231 w 12192185"/>
              <a:gd name="connsiteY11577" fmla="*/ 392876 h 6859062"/>
              <a:gd name="connsiteX11578" fmla="*/ 9767412 w 12192185"/>
              <a:gd name="connsiteY11578" fmla="*/ 394049 h 6859062"/>
              <a:gd name="connsiteX11579" fmla="*/ 9762010 w 12192185"/>
              <a:gd name="connsiteY11579" fmla="*/ 395691 h 6859062"/>
              <a:gd name="connsiteX11580" fmla="*/ 9760132 w 12192185"/>
              <a:gd name="connsiteY11580" fmla="*/ 396630 h 6859062"/>
              <a:gd name="connsiteX11581" fmla="*/ 9752614 w 12192185"/>
              <a:gd name="connsiteY11581" fmla="*/ 397568 h 6859062"/>
              <a:gd name="connsiteX11582" fmla="*/ 9750970 w 12192185"/>
              <a:gd name="connsiteY11582" fmla="*/ 398037 h 6859062"/>
              <a:gd name="connsiteX11583" fmla="*/ 9734294 w 12192185"/>
              <a:gd name="connsiteY11583" fmla="*/ 387480 h 6859062"/>
              <a:gd name="connsiteX11584" fmla="*/ 9729125 w 12192185"/>
              <a:gd name="connsiteY11584" fmla="*/ 377862 h 6859062"/>
              <a:gd name="connsiteX11585" fmla="*/ 9727482 w 12192185"/>
              <a:gd name="connsiteY11585" fmla="*/ 373874 h 6859062"/>
              <a:gd name="connsiteX11586" fmla="*/ 9727246 w 12192185"/>
              <a:gd name="connsiteY11586" fmla="*/ 369886 h 6859062"/>
              <a:gd name="connsiteX11587" fmla="*/ 9727951 w 12192185"/>
              <a:gd name="connsiteY11587" fmla="*/ 366836 h 6859062"/>
              <a:gd name="connsiteX11588" fmla="*/ 9729125 w 12192185"/>
              <a:gd name="connsiteY11588" fmla="*/ 360502 h 6859062"/>
              <a:gd name="connsiteX11589" fmla="*/ 9729360 w 12192185"/>
              <a:gd name="connsiteY11589" fmla="*/ 358157 h 6859062"/>
              <a:gd name="connsiteX11590" fmla="*/ 9730065 w 12192185"/>
              <a:gd name="connsiteY11590" fmla="*/ 352526 h 6859062"/>
              <a:gd name="connsiteX11591" fmla="*/ 9741810 w 12192185"/>
              <a:gd name="connsiteY11591" fmla="*/ 343377 h 6859062"/>
              <a:gd name="connsiteX11592" fmla="*/ 9749327 w 12192185"/>
              <a:gd name="connsiteY11592" fmla="*/ 343142 h 6859062"/>
              <a:gd name="connsiteX11593" fmla="*/ 9757077 w 12192185"/>
              <a:gd name="connsiteY11593" fmla="*/ 342938 h 6859062"/>
              <a:gd name="connsiteX11594" fmla="*/ 4729966 w 12192185"/>
              <a:gd name="connsiteY11594" fmla="*/ 318578 h 6859062"/>
              <a:gd name="connsiteX11595" fmla="*/ 4734169 w 12192185"/>
              <a:gd name="connsiteY11595" fmla="*/ 318595 h 6859062"/>
              <a:gd name="connsiteX11596" fmla="*/ 4739467 w 12192185"/>
              <a:gd name="connsiteY11596" fmla="*/ 319761 h 6859062"/>
              <a:gd name="connsiteX11597" fmla="*/ 4743412 w 12192185"/>
              <a:gd name="connsiteY11597" fmla="*/ 321638 h 6859062"/>
              <a:gd name="connsiteX11598" fmla="*/ 4750578 w 12192185"/>
              <a:gd name="connsiteY11598" fmla="*/ 328726 h 6859062"/>
              <a:gd name="connsiteX11599" fmla="*/ 4755251 w 12192185"/>
              <a:gd name="connsiteY11599" fmla="*/ 332933 h 6859062"/>
              <a:gd name="connsiteX11600" fmla="*/ 4756468 w 12192185"/>
              <a:gd name="connsiteY11600" fmla="*/ 335254 h 6859062"/>
              <a:gd name="connsiteX11601" fmla="*/ 4756579 w 12192185"/>
              <a:gd name="connsiteY11601" fmla="*/ 341111 h 6859062"/>
              <a:gd name="connsiteX11602" fmla="*/ 4754998 w 12192185"/>
              <a:gd name="connsiteY11602" fmla="*/ 350811 h 6859062"/>
              <a:gd name="connsiteX11603" fmla="*/ 4755059 w 12192185"/>
              <a:gd name="connsiteY11603" fmla="*/ 354229 h 6859062"/>
              <a:gd name="connsiteX11604" fmla="*/ 4753240 w 12192185"/>
              <a:gd name="connsiteY11604" fmla="*/ 356413 h 6859062"/>
              <a:gd name="connsiteX11605" fmla="*/ 4749498 w 12192185"/>
              <a:gd name="connsiteY11605" fmla="*/ 360100 h 6859062"/>
              <a:gd name="connsiteX11606" fmla="*/ 4748356 w 12192185"/>
              <a:gd name="connsiteY11606" fmla="*/ 361684 h 6859062"/>
              <a:gd name="connsiteX11607" fmla="*/ 4742562 w 12192185"/>
              <a:gd name="connsiteY11607" fmla="*/ 365704 h 6859062"/>
              <a:gd name="connsiteX11608" fmla="*/ 4741410 w 12192185"/>
              <a:gd name="connsiteY11608" fmla="*/ 366801 h 6859062"/>
              <a:gd name="connsiteX11609" fmla="*/ 4723106 w 12192185"/>
              <a:gd name="connsiteY11609" fmla="*/ 365301 h 6859062"/>
              <a:gd name="connsiteX11610" fmla="*/ 4714692 w 12192185"/>
              <a:gd name="connsiteY11610" fmla="*/ 359604 h 6859062"/>
              <a:gd name="connsiteX11611" fmla="*/ 4711613 w 12192185"/>
              <a:gd name="connsiteY11611" fmla="*/ 357028 h 6859062"/>
              <a:gd name="connsiteX11612" fmla="*/ 4709699 w 12192185"/>
              <a:gd name="connsiteY11612" fmla="*/ 353842 h 6859062"/>
              <a:gd name="connsiteX11613" fmla="*/ 4708959 w 12192185"/>
              <a:gd name="connsiteY11613" fmla="*/ 351024 h 6859062"/>
              <a:gd name="connsiteX11614" fmla="*/ 4707196 w 12192185"/>
              <a:gd name="connsiteY11614" fmla="*/ 345295 h 6859062"/>
              <a:gd name="connsiteX11615" fmla="*/ 4706376 w 12192185"/>
              <a:gd name="connsiteY11615" fmla="*/ 343261 h 6859062"/>
              <a:gd name="connsiteX11616" fmla="*/ 4704523 w 12192185"/>
              <a:gd name="connsiteY11616" fmla="*/ 338315 h 6859062"/>
              <a:gd name="connsiteX11617" fmla="*/ 4710253 w 12192185"/>
              <a:gd name="connsiteY11617" fmla="*/ 325701 h 6859062"/>
              <a:gd name="connsiteX11618" fmla="*/ 4716348 w 12192185"/>
              <a:gd name="connsiteY11618" fmla="*/ 322262 h 6859062"/>
              <a:gd name="connsiteX11619" fmla="*/ 4729966 w 12192185"/>
              <a:gd name="connsiteY11619" fmla="*/ 318578 h 6859062"/>
              <a:gd name="connsiteX11620" fmla="*/ 4524628 w 12192185"/>
              <a:gd name="connsiteY11620" fmla="*/ 314011 h 6859062"/>
              <a:gd name="connsiteX11621" fmla="*/ 4529144 w 12192185"/>
              <a:gd name="connsiteY11621" fmla="*/ 314028 h 6859062"/>
              <a:gd name="connsiteX11622" fmla="*/ 4534840 w 12192185"/>
              <a:gd name="connsiteY11622" fmla="*/ 315282 h 6859062"/>
              <a:gd name="connsiteX11623" fmla="*/ 4539079 w 12192185"/>
              <a:gd name="connsiteY11623" fmla="*/ 317298 h 6859062"/>
              <a:gd name="connsiteX11624" fmla="*/ 4546784 w 12192185"/>
              <a:gd name="connsiteY11624" fmla="*/ 324915 h 6859062"/>
              <a:gd name="connsiteX11625" fmla="*/ 4551804 w 12192185"/>
              <a:gd name="connsiteY11625" fmla="*/ 329435 h 6859062"/>
              <a:gd name="connsiteX11626" fmla="*/ 4553106 w 12192185"/>
              <a:gd name="connsiteY11626" fmla="*/ 331929 h 6859062"/>
              <a:gd name="connsiteX11627" fmla="*/ 4553226 w 12192185"/>
              <a:gd name="connsiteY11627" fmla="*/ 338224 h 6859062"/>
              <a:gd name="connsiteX11628" fmla="*/ 4551529 w 12192185"/>
              <a:gd name="connsiteY11628" fmla="*/ 348648 h 6859062"/>
              <a:gd name="connsiteX11629" fmla="*/ 4551596 w 12192185"/>
              <a:gd name="connsiteY11629" fmla="*/ 352321 h 6859062"/>
              <a:gd name="connsiteX11630" fmla="*/ 4549642 w 12192185"/>
              <a:gd name="connsiteY11630" fmla="*/ 354668 h 6859062"/>
              <a:gd name="connsiteX11631" fmla="*/ 4545616 w 12192185"/>
              <a:gd name="connsiteY11631" fmla="*/ 358629 h 6859062"/>
              <a:gd name="connsiteX11632" fmla="*/ 4544390 w 12192185"/>
              <a:gd name="connsiteY11632" fmla="*/ 360332 h 6859062"/>
              <a:gd name="connsiteX11633" fmla="*/ 4538170 w 12192185"/>
              <a:gd name="connsiteY11633" fmla="*/ 364652 h 6859062"/>
              <a:gd name="connsiteX11634" fmla="*/ 4536929 w 12192185"/>
              <a:gd name="connsiteY11634" fmla="*/ 365830 h 6859062"/>
              <a:gd name="connsiteX11635" fmla="*/ 4517255 w 12192185"/>
              <a:gd name="connsiteY11635" fmla="*/ 364219 h 6859062"/>
              <a:gd name="connsiteX11636" fmla="*/ 4508215 w 12192185"/>
              <a:gd name="connsiteY11636" fmla="*/ 358098 h 6859062"/>
              <a:gd name="connsiteX11637" fmla="*/ 4504909 w 12192185"/>
              <a:gd name="connsiteY11637" fmla="*/ 355328 h 6859062"/>
              <a:gd name="connsiteX11638" fmla="*/ 4502848 w 12192185"/>
              <a:gd name="connsiteY11638" fmla="*/ 351905 h 6859062"/>
              <a:gd name="connsiteX11639" fmla="*/ 4502059 w 12192185"/>
              <a:gd name="connsiteY11639" fmla="*/ 348876 h 6859062"/>
              <a:gd name="connsiteX11640" fmla="*/ 4500156 w 12192185"/>
              <a:gd name="connsiteY11640" fmla="*/ 342721 h 6859062"/>
              <a:gd name="connsiteX11641" fmla="*/ 4499275 w 12192185"/>
              <a:gd name="connsiteY11641" fmla="*/ 340533 h 6859062"/>
              <a:gd name="connsiteX11642" fmla="*/ 4497287 w 12192185"/>
              <a:gd name="connsiteY11642" fmla="*/ 335219 h 6859062"/>
              <a:gd name="connsiteX11643" fmla="*/ 4503441 w 12192185"/>
              <a:gd name="connsiteY11643" fmla="*/ 321665 h 6859062"/>
              <a:gd name="connsiteX11644" fmla="*/ 4509995 w 12192185"/>
              <a:gd name="connsiteY11644" fmla="*/ 317969 h 6859062"/>
              <a:gd name="connsiteX11645" fmla="*/ 4524628 w 12192185"/>
              <a:gd name="connsiteY11645" fmla="*/ 314011 h 6859062"/>
              <a:gd name="connsiteX11646" fmla="*/ 6060879 w 12192185"/>
              <a:gd name="connsiteY11646" fmla="*/ 308223 h 6859062"/>
              <a:gd name="connsiteX11647" fmla="*/ 6081887 w 12192185"/>
              <a:gd name="connsiteY11647" fmla="*/ 324130 h 6859062"/>
              <a:gd name="connsiteX11648" fmla="*/ 6086113 w 12192185"/>
              <a:gd name="connsiteY11648" fmla="*/ 333868 h 6859062"/>
              <a:gd name="connsiteX11649" fmla="*/ 6218652 w 12192185"/>
              <a:gd name="connsiteY11649" fmla="*/ 338114 h 6859062"/>
              <a:gd name="connsiteX11650" fmla="*/ 6414834 w 12192185"/>
              <a:gd name="connsiteY11650" fmla="*/ 356272 h 6859062"/>
              <a:gd name="connsiteX11651" fmla="*/ 6573042 w 12192185"/>
              <a:gd name="connsiteY11651" fmla="*/ 381975 h 6859062"/>
              <a:gd name="connsiteX11652" fmla="*/ 6575588 w 12192185"/>
              <a:gd name="connsiteY11652" fmla="*/ 380522 h 6859062"/>
              <a:gd name="connsiteX11653" fmla="*/ 6577672 w 12192185"/>
              <a:gd name="connsiteY11653" fmla="*/ 380111 h 6859062"/>
              <a:gd name="connsiteX11654" fmla="*/ 6582070 w 12192185"/>
              <a:gd name="connsiteY11654" fmla="*/ 383441 h 6859062"/>
              <a:gd name="connsiteX11655" fmla="*/ 6609719 w 12192185"/>
              <a:gd name="connsiteY11655" fmla="*/ 387933 h 6859062"/>
              <a:gd name="connsiteX11656" fmla="*/ 6803148 w 12192185"/>
              <a:gd name="connsiteY11656" fmla="*/ 434762 h 6859062"/>
              <a:gd name="connsiteX11657" fmla="*/ 7866095 w 12192185"/>
              <a:gd name="connsiteY11657" fmla="*/ 1000776 h 6859062"/>
              <a:gd name="connsiteX11658" fmla="*/ 8188103 w 12192185"/>
              <a:gd name="connsiteY11658" fmla="*/ 1292160 h 6859062"/>
              <a:gd name="connsiteX11659" fmla="*/ 8218816 w 12192185"/>
              <a:gd name="connsiteY11659" fmla="*/ 1332902 h 6859062"/>
              <a:gd name="connsiteX11660" fmla="*/ 8217878 w 12192185"/>
              <a:gd name="connsiteY11660" fmla="*/ 1328842 h 6859062"/>
              <a:gd name="connsiteX11661" fmla="*/ 8218231 w 12192185"/>
              <a:gd name="connsiteY11661" fmla="*/ 1322841 h 6859062"/>
              <a:gd name="connsiteX11662" fmla="*/ 8220705 w 12192185"/>
              <a:gd name="connsiteY11662" fmla="*/ 1316841 h 6859062"/>
              <a:gd name="connsiteX11663" fmla="*/ 8228481 w 12192185"/>
              <a:gd name="connsiteY11663" fmla="*/ 1302368 h 6859062"/>
              <a:gd name="connsiteX11664" fmla="*/ 8253573 w 12192185"/>
              <a:gd name="connsiteY11664" fmla="*/ 1286486 h 6859062"/>
              <a:gd name="connsiteX11665" fmla="*/ 8256048 w 12192185"/>
              <a:gd name="connsiteY11665" fmla="*/ 1287191 h 6859062"/>
              <a:gd name="connsiteX11666" fmla="*/ 8267356 w 12192185"/>
              <a:gd name="connsiteY11666" fmla="*/ 1288604 h 6859062"/>
              <a:gd name="connsiteX11667" fmla="*/ 8270184 w 12192185"/>
              <a:gd name="connsiteY11667" fmla="*/ 1290015 h 6859062"/>
              <a:gd name="connsiteX11668" fmla="*/ 8278313 w 12192185"/>
              <a:gd name="connsiteY11668" fmla="*/ 1292486 h 6859062"/>
              <a:gd name="connsiteX11669" fmla="*/ 8282554 w 12192185"/>
              <a:gd name="connsiteY11669" fmla="*/ 1294251 h 6859062"/>
              <a:gd name="connsiteX11670" fmla="*/ 8285027 w 12192185"/>
              <a:gd name="connsiteY11670" fmla="*/ 1299193 h 6859062"/>
              <a:gd name="connsiteX11671" fmla="*/ 8294570 w 12192185"/>
              <a:gd name="connsiteY11671" fmla="*/ 1311899 h 6859062"/>
              <a:gd name="connsiteX11672" fmla="*/ 8297559 w 12192185"/>
              <a:gd name="connsiteY11672" fmla="*/ 1317871 h 6859062"/>
              <a:gd name="connsiteX11673" fmla="*/ 8328455 w 12192185"/>
              <a:gd name="connsiteY11673" fmla="*/ 1302330 h 6859062"/>
              <a:gd name="connsiteX11674" fmla="*/ 8520240 w 12192185"/>
              <a:gd name="connsiteY11674" fmla="*/ 1222239 h 6859062"/>
              <a:gd name="connsiteX11675" fmla="*/ 8946747 w 12192185"/>
              <a:gd name="connsiteY11675" fmla="*/ 1096021 h 6859062"/>
              <a:gd name="connsiteX11676" fmla="*/ 9011142 w 12192185"/>
              <a:gd name="connsiteY11676" fmla="*/ 1084407 h 6859062"/>
              <a:gd name="connsiteX11677" fmla="*/ 9011142 w 12192185"/>
              <a:gd name="connsiteY11677" fmla="*/ 1084338 h 6859062"/>
              <a:gd name="connsiteX11678" fmla="*/ 9014290 w 12192185"/>
              <a:gd name="connsiteY11678" fmla="*/ 1075852 h 6859062"/>
              <a:gd name="connsiteX11679" fmla="*/ 9018695 w 12192185"/>
              <a:gd name="connsiteY11679" fmla="*/ 1062023 h 6859062"/>
              <a:gd name="connsiteX11680" fmla="*/ 9022472 w 12192185"/>
              <a:gd name="connsiteY11680" fmla="*/ 1056995 h 6859062"/>
              <a:gd name="connsiteX11681" fmla="*/ 9028450 w 12192185"/>
              <a:gd name="connsiteY11681" fmla="*/ 1051966 h 6859062"/>
              <a:gd name="connsiteX11682" fmla="*/ 9033800 w 12192185"/>
              <a:gd name="connsiteY11682" fmla="*/ 1049135 h 6859062"/>
              <a:gd name="connsiteX11683" fmla="*/ 9053625 w 12192185"/>
              <a:gd name="connsiteY11683" fmla="*/ 1044735 h 6859062"/>
              <a:gd name="connsiteX11684" fmla="*/ 9063696 w 12192185"/>
              <a:gd name="connsiteY11684" fmla="*/ 1045050 h 6859062"/>
              <a:gd name="connsiteX11685" fmla="*/ 9079430 w 12192185"/>
              <a:gd name="connsiteY11685" fmla="*/ 1057309 h 6859062"/>
              <a:gd name="connsiteX11686" fmla="*/ 9080375 w 12192185"/>
              <a:gd name="connsiteY11686" fmla="*/ 1064852 h 6859062"/>
              <a:gd name="connsiteX11687" fmla="*/ 9080690 w 12192185"/>
              <a:gd name="connsiteY11687" fmla="*/ 1067995 h 6859062"/>
              <a:gd name="connsiteX11688" fmla="*/ 9081383 w 12192185"/>
              <a:gd name="connsiteY11688" fmla="*/ 1071738 h 6859062"/>
              <a:gd name="connsiteX11689" fmla="*/ 9092971 w 12192185"/>
              <a:gd name="connsiteY11689" fmla="*/ 1069648 h 6859062"/>
              <a:gd name="connsiteX11690" fmla="*/ 9465172 w 12192185"/>
              <a:gd name="connsiteY11690" fmla="*/ 1021390 h 6859062"/>
              <a:gd name="connsiteX11691" fmla="*/ 9492251 w 12192185"/>
              <a:gd name="connsiteY11691" fmla="*/ 1021239 h 6859062"/>
              <a:gd name="connsiteX11692" fmla="*/ 9514366 w 12192185"/>
              <a:gd name="connsiteY11692" fmla="*/ 1046197 h 6859062"/>
              <a:gd name="connsiteX11693" fmla="*/ 9490902 w 12192185"/>
              <a:gd name="connsiteY11693" fmla="*/ 1058325 h 6859062"/>
              <a:gd name="connsiteX11694" fmla="*/ 9294334 w 12192185"/>
              <a:gd name="connsiteY11694" fmla="*/ 1076070 h 6859062"/>
              <a:gd name="connsiteX11695" fmla="*/ 9262212 w 12192185"/>
              <a:gd name="connsiteY11695" fmla="*/ 1087792 h 6859062"/>
              <a:gd name="connsiteX11696" fmla="*/ 9257803 w 12192185"/>
              <a:gd name="connsiteY11696" fmla="*/ 1093140 h 6859062"/>
              <a:gd name="connsiteX11697" fmla="*/ 9264022 w 12192185"/>
              <a:gd name="connsiteY11697" fmla="*/ 1093773 h 6859062"/>
              <a:gd name="connsiteX11698" fmla="*/ 9630625 w 12192185"/>
              <a:gd name="connsiteY11698" fmla="*/ 1076855 h 6859062"/>
              <a:gd name="connsiteX11699" fmla="*/ 9745161 w 12192185"/>
              <a:gd name="connsiteY11699" fmla="*/ 1076880 h 6859062"/>
              <a:gd name="connsiteX11700" fmla="*/ 9775078 w 12192185"/>
              <a:gd name="connsiteY11700" fmla="*/ 1067835 h 6859062"/>
              <a:gd name="connsiteX11701" fmla="*/ 9593249 w 12192185"/>
              <a:gd name="connsiteY11701" fmla="*/ 1021341 h 6859062"/>
              <a:gd name="connsiteX11702" fmla="*/ 10371908 w 12192185"/>
              <a:gd name="connsiteY11702" fmla="*/ 1139530 h 6859062"/>
              <a:gd name="connsiteX11703" fmla="*/ 10314206 w 12192185"/>
              <a:gd name="connsiteY11703" fmla="*/ 1141407 h 6859062"/>
              <a:gd name="connsiteX11704" fmla="*/ 10254226 w 12192185"/>
              <a:gd name="connsiteY11704" fmla="*/ 1132418 h 6859062"/>
              <a:gd name="connsiteX11705" fmla="*/ 10097346 w 12192185"/>
              <a:gd name="connsiteY11705" fmla="*/ 1101995 h 6859062"/>
              <a:gd name="connsiteX11706" fmla="*/ 10094744 w 12192185"/>
              <a:gd name="connsiteY11706" fmla="*/ 1113332 h 6859062"/>
              <a:gd name="connsiteX11707" fmla="*/ 10253829 w 12192185"/>
              <a:gd name="connsiteY11707" fmla="*/ 1141078 h 6859062"/>
              <a:gd name="connsiteX11708" fmla="*/ 10686640 w 12192185"/>
              <a:gd name="connsiteY11708" fmla="*/ 1297419 h 6859062"/>
              <a:gd name="connsiteX11709" fmla="*/ 10729007 w 12192185"/>
              <a:gd name="connsiteY11709" fmla="*/ 1317382 h 6859062"/>
              <a:gd name="connsiteX11710" fmla="*/ 10728877 w 12192185"/>
              <a:gd name="connsiteY11710" fmla="*/ 1316792 h 6859062"/>
              <a:gd name="connsiteX11711" fmla="*/ 10739920 w 12192185"/>
              <a:gd name="connsiteY11711" fmla="*/ 1296292 h 6859062"/>
              <a:gd name="connsiteX11712" fmla="*/ 10759253 w 12192185"/>
              <a:gd name="connsiteY11712" fmla="*/ 1290544 h 6859062"/>
              <a:gd name="connsiteX11713" fmla="*/ 10775237 w 12192185"/>
              <a:gd name="connsiteY11713" fmla="*/ 1280052 h 6859062"/>
              <a:gd name="connsiteX11714" fmla="*/ 10789811 w 12192185"/>
              <a:gd name="connsiteY11714" fmla="*/ 1268067 h 6859062"/>
              <a:gd name="connsiteX11715" fmla="*/ 10803913 w 12192185"/>
              <a:gd name="connsiteY11715" fmla="*/ 1262439 h 6859062"/>
              <a:gd name="connsiteX11716" fmla="*/ 10819871 w 12192185"/>
              <a:gd name="connsiteY11716" fmla="*/ 1262955 h 6859062"/>
              <a:gd name="connsiteX11717" fmla="*/ 10831312 w 12192185"/>
              <a:gd name="connsiteY11717" fmla="*/ 1269117 h 6859062"/>
              <a:gd name="connsiteX11718" fmla="*/ 10831801 w 12192185"/>
              <a:gd name="connsiteY11718" fmla="*/ 1272320 h 6859062"/>
              <a:gd name="connsiteX11719" fmla="*/ 10841069 w 12192185"/>
              <a:gd name="connsiteY11719" fmla="*/ 1293475 h 6859062"/>
              <a:gd name="connsiteX11720" fmla="*/ 10835787 w 12192185"/>
              <a:gd name="connsiteY11720" fmla="*/ 1315610 h 6859062"/>
              <a:gd name="connsiteX11721" fmla="*/ 10815508 w 12192185"/>
              <a:gd name="connsiteY11721" fmla="*/ 1334073 h 6859062"/>
              <a:gd name="connsiteX11722" fmla="*/ 10804167 w 12192185"/>
              <a:gd name="connsiteY11722" fmla="*/ 1334576 h 6859062"/>
              <a:gd name="connsiteX11723" fmla="*/ 10785937 w 12192185"/>
              <a:gd name="connsiteY11723" fmla="*/ 1342388 h 6859062"/>
              <a:gd name="connsiteX11724" fmla="*/ 10784312 w 12192185"/>
              <a:gd name="connsiteY11724" fmla="*/ 1343442 h 6859062"/>
              <a:gd name="connsiteX11725" fmla="*/ 10825741 w 12192185"/>
              <a:gd name="connsiteY11725" fmla="*/ 1362963 h 6859062"/>
              <a:gd name="connsiteX11726" fmla="*/ 11562628 w 12192185"/>
              <a:gd name="connsiteY11726" fmla="*/ 1935390 h 6859062"/>
              <a:gd name="connsiteX11727" fmla="*/ 11569270 w 12192185"/>
              <a:gd name="connsiteY11727" fmla="*/ 1943702 h 6859062"/>
              <a:gd name="connsiteX11728" fmla="*/ 11572012 w 12192185"/>
              <a:gd name="connsiteY11728" fmla="*/ 1938431 h 6859062"/>
              <a:gd name="connsiteX11729" fmla="*/ 11574956 w 12192185"/>
              <a:gd name="connsiteY11729" fmla="*/ 1935054 h 6859062"/>
              <a:gd name="connsiteX11730" fmla="*/ 11585772 w 12192185"/>
              <a:gd name="connsiteY11730" fmla="*/ 1928436 h 6859062"/>
              <a:gd name="connsiteX11731" fmla="*/ 11597870 w 12192185"/>
              <a:gd name="connsiteY11731" fmla="*/ 1919667 h 6859062"/>
              <a:gd name="connsiteX11732" fmla="*/ 11603524 w 12192185"/>
              <a:gd name="connsiteY11732" fmla="*/ 1917611 h 6859062"/>
              <a:gd name="connsiteX11733" fmla="*/ 11638452 w 12192185"/>
              <a:gd name="connsiteY11733" fmla="*/ 1917603 h 6859062"/>
              <a:gd name="connsiteX11734" fmla="*/ 11641258 w 12192185"/>
              <a:gd name="connsiteY11734" fmla="*/ 1919158 h 6859062"/>
              <a:gd name="connsiteX11735" fmla="*/ 11653789 w 12192185"/>
              <a:gd name="connsiteY11735" fmla="*/ 1930529 h 6859062"/>
              <a:gd name="connsiteX11736" fmla="*/ 11658120 w 12192185"/>
              <a:gd name="connsiteY11736" fmla="*/ 1935792 h 6859062"/>
              <a:gd name="connsiteX11737" fmla="*/ 11664629 w 12192185"/>
              <a:gd name="connsiteY11737" fmla="*/ 1945035 h 6859062"/>
              <a:gd name="connsiteX11738" fmla="*/ 11674491 w 12192185"/>
              <a:gd name="connsiteY11738" fmla="*/ 1949918 h 6859062"/>
              <a:gd name="connsiteX11739" fmla="*/ 11677167 w 12192185"/>
              <a:gd name="connsiteY11739" fmla="*/ 1952882 h 6859062"/>
              <a:gd name="connsiteX11740" fmla="*/ 11674926 w 12192185"/>
              <a:gd name="connsiteY11740" fmla="*/ 1956241 h 6859062"/>
              <a:gd name="connsiteX11741" fmla="*/ 11672433 w 12192185"/>
              <a:gd name="connsiteY11741" fmla="*/ 1958079 h 6859062"/>
              <a:gd name="connsiteX11742" fmla="*/ 11670048 w 12192185"/>
              <a:gd name="connsiteY11742" fmla="*/ 1961498 h 6859062"/>
              <a:gd name="connsiteX11743" fmla="*/ 11673372 w 12192185"/>
              <a:gd name="connsiteY11743" fmla="*/ 1963654 h 6859062"/>
              <a:gd name="connsiteX11744" fmla="*/ 11675073 w 12192185"/>
              <a:gd name="connsiteY11744" fmla="*/ 1971081 h 6859062"/>
              <a:gd name="connsiteX11745" fmla="*/ 11672635 w 12192185"/>
              <a:gd name="connsiteY11745" fmla="*/ 1973710 h 6859062"/>
              <a:gd name="connsiteX11746" fmla="*/ 11672729 w 12192185"/>
              <a:gd name="connsiteY11746" fmla="*/ 1978548 h 6859062"/>
              <a:gd name="connsiteX11747" fmla="*/ 11677333 w 12192185"/>
              <a:gd name="connsiteY11747" fmla="*/ 1978551 h 6859062"/>
              <a:gd name="connsiteX11748" fmla="*/ 11680676 w 12192185"/>
              <a:gd name="connsiteY11748" fmla="*/ 1976719 h 6859062"/>
              <a:gd name="connsiteX11749" fmla="*/ 11670115 w 12192185"/>
              <a:gd name="connsiteY11749" fmla="*/ 2002238 h 6859062"/>
              <a:gd name="connsiteX11750" fmla="*/ 11668216 w 12192185"/>
              <a:gd name="connsiteY11750" fmla="*/ 2001807 h 6859062"/>
              <a:gd name="connsiteX11751" fmla="*/ 11664674 w 12192185"/>
              <a:gd name="connsiteY11751" fmla="*/ 2005702 h 6859062"/>
              <a:gd name="connsiteX11752" fmla="*/ 11664538 w 12192185"/>
              <a:gd name="connsiteY11752" fmla="*/ 2010636 h 6859062"/>
              <a:gd name="connsiteX11753" fmla="*/ 11660122 w 12192185"/>
              <a:gd name="connsiteY11753" fmla="*/ 2015702 h 6859062"/>
              <a:gd name="connsiteX11754" fmla="*/ 11646008 w 12192185"/>
              <a:gd name="connsiteY11754" fmla="*/ 2032075 h 6859062"/>
              <a:gd name="connsiteX11755" fmla="*/ 11644794 w 12192185"/>
              <a:gd name="connsiteY11755" fmla="*/ 2036368 h 6859062"/>
              <a:gd name="connsiteX11756" fmla="*/ 11641345 w 12192185"/>
              <a:gd name="connsiteY11756" fmla="*/ 2033918 h 6859062"/>
              <a:gd name="connsiteX11757" fmla="*/ 11759425 w 12192185"/>
              <a:gd name="connsiteY11757" fmla="*/ 2181713 h 6859062"/>
              <a:gd name="connsiteX11758" fmla="*/ 11893033 w 12192185"/>
              <a:gd name="connsiteY11758" fmla="*/ 2379406 h 6859062"/>
              <a:gd name="connsiteX11759" fmla="*/ 11897593 w 12192185"/>
              <a:gd name="connsiteY11759" fmla="*/ 2401132 h 6859062"/>
              <a:gd name="connsiteX11760" fmla="*/ 11884919 w 12192185"/>
              <a:gd name="connsiteY11760" fmla="*/ 2397431 h 6859062"/>
              <a:gd name="connsiteX11761" fmla="*/ 11776200 w 12192185"/>
              <a:gd name="connsiteY11761" fmla="*/ 2238705 h 6859062"/>
              <a:gd name="connsiteX11762" fmla="*/ 11679996 w 12192185"/>
              <a:gd name="connsiteY11762" fmla="*/ 2120016 h 6859062"/>
              <a:gd name="connsiteX11763" fmla="*/ 11683055 w 12192185"/>
              <a:gd name="connsiteY11763" fmla="*/ 2127452 h 6859062"/>
              <a:gd name="connsiteX11764" fmla="*/ 11682029 w 12192185"/>
              <a:gd name="connsiteY11764" fmla="*/ 2141765 h 6859062"/>
              <a:gd name="connsiteX11765" fmla="*/ 11675683 w 12192185"/>
              <a:gd name="connsiteY11765" fmla="*/ 2153846 h 6859062"/>
              <a:gd name="connsiteX11766" fmla="*/ 11671114 w 12192185"/>
              <a:gd name="connsiteY11766" fmla="*/ 2158355 h 6859062"/>
              <a:gd name="connsiteX11767" fmla="*/ 11709599 w 12192185"/>
              <a:gd name="connsiteY11767" fmla="*/ 2207766 h 6859062"/>
              <a:gd name="connsiteX11768" fmla="*/ 12044337 w 12192185"/>
              <a:gd name="connsiteY11768" fmla="*/ 2888221 h 6859062"/>
              <a:gd name="connsiteX11769" fmla="*/ 12047954 w 12192185"/>
              <a:gd name="connsiteY11769" fmla="*/ 2900188 h 6859062"/>
              <a:gd name="connsiteX11770" fmla="*/ 12042913 w 12192185"/>
              <a:gd name="connsiteY11770" fmla="*/ 2911756 h 6859062"/>
              <a:gd name="connsiteX11771" fmla="*/ 12000667 w 12192185"/>
              <a:gd name="connsiteY11771" fmla="*/ 2818540 h 6859062"/>
              <a:gd name="connsiteX11772" fmla="*/ 11836079 w 12192185"/>
              <a:gd name="connsiteY11772" fmla="*/ 2476812 h 6859062"/>
              <a:gd name="connsiteX11773" fmla="*/ 11817182 w 12192185"/>
              <a:gd name="connsiteY11773" fmla="*/ 2446720 h 6859062"/>
              <a:gd name="connsiteX11774" fmla="*/ 11814121 w 12192185"/>
              <a:gd name="connsiteY11774" fmla="*/ 2450446 h 6859062"/>
              <a:gd name="connsiteX11775" fmla="*/ 11810128 w 12192185"/>
              <a:gd name="connsiteY11775" fmla="*/ 2454406 h 6859062"/>
              <a:gd name="connsiteX11776" fmla="*/ 11805436 w 12192185"/>
              <a:gd name="connsiteY11776" fmla="*/ 2456667 h 6859062"/>
              <a:gd name="connsiteX11777" fmla="*/ 11801411 w 12192185"/>
              <a:gd name="connsiteY11777" fmla="*/ 2457331 h 6859062"/>
              <a:gd name="connsiteX11778" fmla="*/ 11793191 w 12192185"/>
              <a:gd name="connsiteY11778" fmla="*/ 2459055 h 6859062"/>
              <a:gd name="connsiteX11779" fmla="*/ 11790246 w 12192185"/>
              <a:gd name="connsiteY11779" fmla="*/ 2459936 h 6859062"/>
              <a:gd name="connsiteX11780" fmla="*/ 11783107 w 12192185"/>
              <a:gd name="connsiteY11780" fmla="*/ 2461879 h 6859062"/>
              <a:gd name="connsiteX11781" fmla="*/ 11766251 w 12192185"/>
              <a:gd name="connsiteY11781" fmla="*/ 2452256 h 6859062"/>
              <a:gd name="connsiteX11782" fmla="*/ 11762240 w 12192185"/>
              <a:gd name="connsiteY11782" fmla="*/ 2443310 h 6859062"/>
              <a:gd name="connsiteX11783" fmla="*/ 11758860 w 12192185"/>
              <a:gd name="connsiteY11783" fmla="*/ 2423838 h 6859062"/>
              <a:gd name="connsiteX11784" fmla="*/ 11759425 w 12192185"/>
              <a:gd name="connsiteY11784" fmla="*/ 2417977 h 6859062"/>
              <a:gd name="connsiteX11785" fmla="*/ 11761737 w 12192185"/>
              <a:gd name="connsiteY11785" fmla="*/ 2410734 h 6859062"/>
              <a:gd name="connsiteX11786" fmla="*/ 11764865 w 12192185"/>
              <a:gd name="connsiteY11786" fmla="*/ 2405474 h 6859062"/>
              <a:gd name="connsiteX11787" fmla="*/ 11775679 w 12192185"/>
              <a:gd name="connsiteY11787" fmla="*/ 2396390 h 6859062"/>
              <a:gd name="connsiteX11788" fmla="*/ 11781944 w 12192185"/>
              <a:gd name="connsiteY11788" fmla="*/ 2390608 h 6859062"/>
              <a:gd name="connsiteX11789" fmla="*/ 11651297 w 12192185"/>
              <a:gd name="connsiteY11789" fmla="*/ 2182563 h 6859062"/>
              <a:gd name="connsiteX11790" fmla="*/ 11645806 w 12192185"/>
              <a:gd name="connsiteY11790" fmla="*/ 2195811 h 6859062"/>
              <a:gd name="connsiteX11791" fmla="*/ 11626453 w 12192185"/>
              <a:gd name="connsiteY11791" fmla="*/ 2203772 h 6859062"/>
              <a:gd name="connsiteX11792" fmla="*/ 11616262 w 12192185"/>
              <a:gd name="connsiteY11792" fmla="*/ 2200389 h 6859062"/>
              <a:gd name="connsiteX11793" fmla="*/ 11603848 w 12192185"/>
              <a:gd name="connsiteY11793" fmla="*/ 2191605 h 6859062"/>
              <a:gd name="connsiteX11794" fmla="*/ 11595923 w 12192185"/>
              <a:gd name="connsiteY11794" fmla="*/ 2178449 h 6859062"/>
              <a:gd name="connsiteX11795" fmla="*/ 11604310 w 12192185"/>
              <a:gd name="connsiteY11795" fmla="*/ 2156057 h 6859062"/>
              <a:gd name="connsiteX11796" fmla="*/ 11608892 w 12192185"/>
              <a:gd name="connsiteY11796" fmla="*/ 2150384 h 6859062"/>
              <a:gd name="connsiteX11797" fmla="*/ 11616936 w 12192185"/>
              <a:gd name="connsiteY11797" fmla="*/ 2144155 h 6859062"/>
              <a:gd name="connsiteX11798" fmla="*/ 11617549 w 12192185"/>
              <a:gd name="connsiteY11798" fmla="*/ 2135149 h 6859062"/>
              <a:gd name="connsiteX11799" fmla="*/ 11605959 w 12192185"/>
              <a:gd name="connsiteY11799" fmla="*/ 2121248 h 6859062"/>
              <a:gd name="connsiteX11800" fmla="*/ 11575798 w 12192185"/>
              <a:gd name="connsiteY11800" fmla="*/ 2091064 h 6859062"/>
              <a:gd name="connsiteX11801" fmla="*/ 11556673 w 12192185"/>
              <a:gd name="connsiteY11801" fmla="*/ 2084291 h 6859062"/>
              <a:gd name="connsiteX11802" fmla="*/ 11553910 w 12192185"/>
              <a:gd name="connsiteY11802" fmla="*/ 2106722 h 6859062"/>
              <a:gd name="connsiteX11803" fmla="*/ 11561852 w 12192185"/>
              <a:gd name="connsiteY11803" fmla="*/ 2137978 h 6859062"/>
              <a:gd name="connsiteX11804" fmla="*/ 11526995 w 12192185"/>
              <a:gd name="connsiteY11804" fmla="*/ 2101679 h 6859062"/>
              <a:gd name="connsiteX11805" fmla="*/ 11572568 w 12192185"/>
              <a:gd name="connsiteY11805" fmla="*/ 2156388 h 6859062"/>
              <a:gd name="connsiteX11806" fmla="*/ 11811444 w 12192185"/>
              <a:gd name="connsiteY11806" fmla="*/ 2561214 h 6859062"/>
              <a:gd name="connsiteX11807" fmla="*/ 11827093 w 12192185"/>
              <a:gd name="connsiteY11807" fmla="*/ 2600710 h 6859062"/>
              <a:gd name="connsiteX11808" fmla="*/ 11856432 w 12192185"/>
              <a:gd name="connsiteY11808" fmla="*/ 2656661 h 6859062"/>
              <a:gd name="connsiteX11809" fmla="*/ 11913259 w 12192185"/>
              <a:gd name="connsiteY11809" fmla="*/ 2795418 h 6859062"/>
              <a:gd name="connsiteX11810" fmla="*/ 11920909 w 12192185"/>
              <a:gd name="connsiteY11810" fmla="*/ 2796228 h 6859062"/>
              <a:gd name="connsiteX11811" fmla="*/ 11937867 w 12192185"/>
              <a:gd name="connsiteY11811" fmla="*/ 2796197 h 6859062"/>
              <a:gd name="connsiteX11812" fmla="*/ 11950876 w 12192185"/>
              <a:gd name="connsiteY11812" fmla="*/ 2800317 h 6859062"/>
              <a:gd name="connsiteX11813" fmla="*/ 11961675 w 12192185"/>
              <a:gd name="connsiteY11813" fmla="*/ 2809763 h 6859062"/>
              <a:gd name="connsiteX11814" fmla="*/ 11966119 w 12192185"/>
              <a:gd name="connsiteY11814" fmla="*/ 2820564 h 6859062"/>
              <a:gd name="connsiteX11815" fmla="*/ 11964634 w 12192185"/>
              <a:gd name="connsiteY11815" fmla="*/ 2823068 h 6859062"/>
              <a:gd name="connsiteX11816" fmla="*/ 11959027 w 12192185"/>
              <a:gd name="connsiteY11816" fmla="*/ 2843054 h 6859062"/>
              <a:gd name="connsiteX11817" fmla="*/ 11942749 w 12192185"/>
              <a:gd name="connsiteY11817" fmla="*/ 2855432 h 6859062"/>
              <a:gd name="connsiteX11818" fmla="*/ 11938248 w 12192185"/>
              <a:gd name="connsiteY11818" fmla="*/ 2856435 h 6859062"/>
              <a:gd name="connsiteX11819" fmla="*/ 11944132 w 12192185"/>
              <a:gd name="connsiteY11819" fmla="*/ 2870803 h 6859062"/>
              <a:gd name="connsiteX11820" fmla="*/ 11943339 w 12192185"/>
              <a:gd name="connsiteY11820" fmla="*/ 2888120 h 6859062"/>
              <a:gd name="connsiteX11821" fmla="*/ 11929616 w 12192185"/>
              <a:gd name="connsiteY11821" fmla="*/ 2858036 h 6859062"/>
              <a:gd name="connsiteX11822" fmla="*/ 11919817 w 12192185"/>
              <a:gd name="connsiteY11822" fmla="*/ 2856910 h 6859062"/>
              <a:gd name="connsiteX11823" fmla="*/ 11962271 w 12192185"/>
              <a:gd name="connsiteY11823" fmla="*/ 3006579 h 6859062"/>
              <a:gd name="connsiteX11824" fmla="*/ 12023845 w 12192185"/>
              <a:gd name="connsiteY11824" fmla="*/ 3338182 h 6859062"/>
              <a:gd name="connsiteX11825" fmla="*/ 11953952 w 12192185"/>
              <a:gd name="connsiteY11825" fmla="*/ 4207696 h 6859062"/>
              <a:gd name="connsiteX11826" fmla="*/ 11934023 w 12192185"/>
              <a:gd name="connsiteY11826" fmla="*/ 4284231 h 6859062"/>
              <a:gd name="connsiteX11827" fmla="*/ 11933135 w 12192185"/>
              <a:gd name="connsiteY11827" fmla="*/ 4307813 h 6859062"/>
              <a:gd name="connsiteX11828" fmla="*/ 11924251 w 12192185"/>
              <a:gd name="connsiteY11828" fmla="*/ 4336996 h 6859062"/>
              <a:gd name="connsiteX11829" fmla="*/ 11830989 w 12192185"/>
              <a:gd name="connsiteY11829" fmla="*/ 4587425 h 6859062"/>
              <a:gd name="connsiteX11830" fmla="*/ 11819214 w 12192185"/>
              <a:gd name="connsiteY11830" fmla="*/ 4608817 h 6859062"/>
              <a:gd name="connsiteX11831" fmla="*/ 11805268 w 12192185"/>
              <a:gd name="connsiteY11831" fmla="*/ 4644467 h 6859062"/>
              <a:gd name="connsiteX11832" fmla="*/ 11795293 w 12192185"/>
              <a:gd name="connsiteY11832" fmla="*/ 4666396 h 6859062"/>
              <a:gd name="connsiteX11833" fmla="*/ 11799584 w 12192185"/>
              <a:gd name="connsiteY11833" fmla="*/ 4666217 h 6859062"/>
              <a:gd name="connsiteX11834" fmla="*/ 11830087 w 12192185"/>
              <a:gd name="connsiteY11834" fmla="*/ 4650282 h 6859062"/>
              <a:gd name="connsiteX11835" fmla="*/ 11781876 w 12192185"/>
              <a:gd name="connsiteY11835" fmla="*/ 4763315 h 6859062"/>
              <a:gd name="connsiteX11836" fmla="*/ 11287239 w 12192185"/>
              <a:gd name="connsiteY11836" fmla="*/ 5431777 h 6859062"/>
              <a:gd name="connsiteX11837" fmla="*/ 10813244 w 12192185"/>
              <a:gd name="connsiteY11837" fmla="*/ 5778041 h 6859062"/>
              <a:gd name="connsiteX11838" fmla="*/ 10657433 w 12192185"/>
              <a:gd name="connsiteY11838" fmla="*/ 5860819 h 6859062"/>
              <a:gd name="connsiteX11839" fmla="*/ 10642780 w 12192185"/>
              <a:gd name="connsiteY11839" fmla="*/ 5900413 h 6859062"/>
              <a:gd name="connsiteX11840" fmla="*/ 10682928 w 12192185"/>
              <a:gd name="connsiteY11840" fmla="*/ 5895305 h 6859062"/>
              <a:gd name="connsiteX11841" fmla="*/ 10740319 w 12192185"/>
              <a:gd name="connsiteY11841" fmla="*/ 5877450 h 6859062"/>
              <a:gd name="connsiteX11842" fmla="*/ 10471286 w 12192185"/>
              <a:gd name="connsiteY11842" fmla="*/ 6037664 h 6859062"/>
              <a:gd name="connsiteX11843" fmla="*/ 10296509 w 12192185"/>
              <a:gd name="connsiteY11843" fmla="*/ 6102567 h 6859062"/>
              <a:gd name="connsiteX11844" fmla="*/ 10471126 w 12192185"/>
              <a:gd name="connsiteY11844" fmla="*/ 6048764 h 6859062"/>
              <a:gd name="connsiteX11845" fmla="*/ 10590892 w 12192185"/>
              <a:gd name="connsiteY11845" fmla="*/ 6000868 h 6859062"/>
              <a:gd name="connsiteX11846" fmla="*/ 10677168 w 12192185"/>
              <a:gd name="connsiteY11846" fmla="*/ 5954092 h 6859062"/>
              <a:gd name="connsiteX11847" fmla="*/ 10677220 w 12192185"/>
              <a:gd name="connsiteY11847" fmla="*/ 5951483 h 6859062"/>
              <a:gd name="connsiteX11848" fmla="*/ 10682652 w 12192185"/>
              <a:gd name="connsiteY11848" fmla="*/ 5936148 h 6859062"/>
              <a:gd name="connsiteX11849" fmla="*/ 10692540 w 12192185"/>
              <a:gd name="connsiteY11849" fmla="*/ 5932765 h 6859062"/>
              <a:gd name="connsiteX11850" fmla="*/ 10702851 w 12192185"/>
              <a:gd name="connsiteY11850" fmla="*/ 5933625 h 6859062"/>
              <a:gd name="connsiteX11851" fmla="*/ 10709600 w 12192185"/>
              <a:gd name="connsiteY11851" fmla="*/ 5936307 h 6859062"/>
              <a:gd name="connsiteX11852" fmla="*/ 10858800 w 12192185"/>
              <a:gd name="connsiteY11852" fmla="*/ 5847941 h 6859062"/>
              <a:gd name="connsiteX11853" fmla="*/ 11289571 w 12192185"/>
              <a:gd name="connsiteY11853" fmla="*/ 5532541 h 6859062"/>
              <a:gd name="connsiteX11854" fmla="*/ 11353353 w 12192185"/>
              <a:gd name="connsiteY11854" fmla="*/ 5466036 h 6859062"/>
              <a:gd name="connsiteX11855" fmla="*/ 11323437 w 12192185"/>
              <a:gd name="connsiteY11855" fmla="*/ 5475082 h 6859062"/>
              <a:gd name="connsiteX11856" fmla="*/ 10838417 w 12192185"/>
              <a:gd name="connsiteY11856" fmla="*/ 5834725 h 6859062"/>
              <a:gd name="connsiteX11857" fmla="*/ 10807163 w 12192185"/>
              <a:gd name="connsiteY11857" fmla="*/ 5842670 h 6859062"/>
              <a:gd name="connsiteX11858" fmla="*/ 10824962 w 12192185"/>
              <a:gd name="connsiteY11858" fmla="*/ 5810163 h 6859062"/>
              <a:gd name="connsiteX11859" fmla="*/ 10991328 w 12192185"/>
              <a:gd name="connsiteY11859" fmla="*/ 5709123 h 6859062"/>
              <a:gd name="connsiteX11860" fmla="*/ 11598039 w 12192185"/>
              <a:gd name="connsiteY11860" fmla="*/ 5117280 h 6859062"/>
              <a:gd name="connsiteX11861" fmla="*/ 11907111 w 12192185"/>
              <a:gd name="connsiteY11861" fmla="*/ 4529543 h 6859062"/>
              <a:gd name="connsiteX11862" fmla="*/ 11965243 w 12192185"/>
              <a:gd name="connsiteY11862" fmla="*/ 4404469 h 6859062"/>
              <a:gd name="connsiteX11863" fmla="*/ 11478874 w 12192185"/>
              <a:gd name="connsiteY11863" fmla="*/ 5324603 h 6859062"/>
              <a:gd name="connsiteX11864" fmla="*/ 11534223 w 12192185"/>
              <a:gd name="connsiteY11864" fmla="*/ 5298323 h 6859062"/>
              <a:gd name="connsiteX11865" fmla="*/ 11423269 w 12192185"/>
              <a:gd name="connsiteY11865" fmla="*/ 5424802 h 6859062"/>
              <a:gd name="connsiteX11866" fmla="*/ 11274561 w 12192185"/>
              <a:gd name="connsiteY11866" fmla="*/ 5569510 h 6859062"/>
              <a:gd name="connsiteX11867" fmla="*/ 11281575 w 12192185"/>
              <a:gd name="connsiteY11867" fmla="*/ 5570095 h 6859062"/>
              <a:gd name="connsiteX11868" fmla="*/ 11291136 w 12192185"/>
              <a:gd name="connsiteY11868" fmla="*/ 5573895 h 6859062"/>
              <a:gd name="connsiteX11869" fmla="*/ 11293328 w 12192185"/>
              <a:gd name="connsiteY11869" fmla="*/ 5578089 h 6859062"/>
              <a:gd name="connsiteX11870" fmla="*/ 11376956 w 12192185"/>
              <a:gd name="connsiteY11870" fmla="*/ 5509633 h 6859062"/>
              <a:gd name="connsiteX11871" fmla="*/ 11476411 w 12192185"/>
              <a:gd name="connsiteY11871" fmla="*/ 5401199 h 6859062"/>
              <a:gd name="connsiteX11872" fmla="*/ 11530978 w 12192185"/>
              <a:gd name="connsiteY11872" fmla="*/ 5354057 h 6859062"/>
              <a:gd name="connsiteX11873" fmla="*/ 11711003 w 12192185"/>
              <a:gd name="connsiteY11873" fmla="*/ 5113764 h 6859062"/>
              <a:gd name="connsiteX11874" fmla="*/ 12019368 w 12192185"/>
              <a:gd name="connsiteY11874" fmla="*/ 4518706 h 6859062"/>
              <a:gd name="connsiteX11875" fmla="*/ 12025524 w 12192185"/>
              <a:gd name="connsiteY11875" fmla="*/ 4498888 h 6859062"/>
              <a:gd name="connsiteX11876" fmla="*/ 12017498 w 12192185"/>
              <a:gd name="connsiteY11876" fmla="*/ 4495324 h 6859062"/>
              <a:gd name="connsiteX11877" fmla="*/ 12009967 w 12192185"/>
              <a:gd name="connsiteY11877" fmla="*/ 4489942 h 6859062"/>
              <a:gd name="connsiteX11878" fmla="*/ 12006145 w 12192185"/>
              <a:gd name="connsiteY11878" fmla="*/ 4481417 h 6859062"/>
              <a:gd name="connsiteX11879" fmla="*/ 12002923 w 12192185"/>
              <a:gd name="connsiteY11879" fmla="*/ 4462862 h 6859062"/>
              <a:gd name="connsiteX11880" fmla="*/ 12003462 w 12192185"/>
              <a:gd name="connsiteY11880" fmla="*/ 4457276 h 6859062"/>
              <a:gd name="connsiteX11881" fmla="*/ 12005665 w 12192185"/>
              <a:gd name="connsiteY11881" fmla="*/ 4450375 h 6859062"/>
              <a:gd name="connsiteX11882" fmla="*/ 12008645 w 12192185"/>
              <a:gd name="connsiteY11882" fmla="*/ 4445362 h 6859062"/>
              <a:gd name="connsiteX11883" fmla="*/ 12018951 w 12192185"/>
              <a:gd name="connsiteY11883" fmla="*/ 4436704 h 6859062"/>
              <a:gd name="connsiteX11884" fmla="*/ 12025118 w 12192185"/>
              <a:gd name="connsiteY11884" fmla="*/ 4431012 h 6859062"/>
              <a:gd name="connsiteX11885" fmla="*/ 12028353 w 12192185"/>
              <a:gd name="connsiteY11885" fmla="*/ 4429682 h 6859062"/>
              <a:gd name="connsiteX11886" fmla="*/ 12036155 w 12192185"/>
              <a:gd name="connsiteY11886" fmla="*/ 4430259 h 6859062"/>
              <a:gd name="connsiteX11887" fmla="*/ 12046047 w 12192185"/>
              <a:gd name="connsiteY11887" fmla="*/ 4432826 h 6859062"/>
              <a:gd name="connsiteX11888" fmla="*/ 12081389 w 12192185"/>
              <a:gd name="connsiteY11888" fmla="*/ 4319055 h 6859062"/>
              <a:gd name="connsiteX11889" fmla="*/ 12131900 w 12192185"/>
              <a:gd name="connsiteY11889" fmla="*/ 4114972 h 6859062"/>
              <a:gd name="connsiteX11890" fmla="*/ 12144114 w 12192185"/>
              <a:gd name="connsiteY11890" fmla="*/ 4075615 h 6859062"/>
              <a:gd name="connsiteX11891" fmla="*/ 12157159 w 12192185"/>
              <a:gd name="connsiteY11891" fmla="*/ 4147017 h 6859062"/>
              <a:gd name="connsiteX11892" fmla="*/ 12064879 w 12192185"/>
              <a:gd name="connsiteY11892" fmla="*/ 4479827 h 6859062"/>
              <a:gd name="connsiteX11893" fmla="*/ 11515768 w 12192185"/>
              <a:gd name="connsiteY11893" fmla="*/ 5413410 h 6859062"/>
              <a:gd name="connsiteX11894" fmla="*/ 11349475 w 12192185"/>
              <a:gd name="connsiteY11894" fmla="*/ 5567860 h 6859062"/>
              <a:gd name="connsiteX11895" fmla="*/ 11295133 w 12192185"/>
              <a:gd name="connsiteY11895" fmla="*/ 5612203 h 6859062"/>
              <a:gd name="connsiteX11896" fmla="*/ 11294956 w 12192185"/>
              <a:gd name="connsiteY11896" fmla="*/ 5624687 h 6859062"/>
              <a:gd name="connsiteX11897" fmla="*/ 11296467 w 12192185"/>
              <a:gd name="connsiteY11897" fmla="*/ 5640865 h 6859062"/>
              <a:gd name="connsiteX11898" fmla="*/ 11293673 w 12192185"/>
              <a:gd name="connsiteY11898" fmla="*/ 5653637 h 6859062"/>
              <a:gd name="connsiteX11899" fmla="*/ 11285604 w 12192185"/>
              <a:gd name="connsiteY11899" fmla="*/ 5664768 h 6859062"/>
              <a:gd name="connsiteX11900" fmla="*/ 11275686 w 12192185"/>
              <a:gd name="connsiteY11900" fmla="*/ 5669952 h 6859062"/>
              <a:gd name="connsiteX11901" fmla="*/ 11273167 w 12192185"/>
              <a:gd name="connsiteY11901" fmla="*/ 5668755 h 6859062"/>
              <a:gd name="connsiteX11902" fmla="*/ 11253608 w 12192185"/>
              <a:gd name="connsiteY11902" fmla="*/ 5665151 h 6859062"/>
              <a:gd name="connsiteX11903" fmla="*/ 11243616 w 12192185"/>
              <a:gd name="connsiteY11903" fmla="*/ 5654241 h 6859062"/>
              <a:gd name="connsiteX11904" fmla="*/ 11173799 w 12192185"/>
              <a:gd name="connsiteY11904" fmla="*/ 5711211 h 6859062"/>
              <a:gd name="connsiteX11905" fmla="*/ 10688009 w 12192185"/>
              <a:gd name="connsiteY11905" fmla="*/ 6011813 h 6859062"/>
              <a:gd name="connsiteX11906" fmla="*/ 10640068 w 12192185"/>
              <a:gd name="connsiteY11906" fmla="*/ 6012747 h 6859062"/>
              <a:gd name="connsiteX11907" fmla="*/ 10621649 w 12192185"/>
              <a:gd name="connsiteY11907" fmla="*/ 6013295 h 6859062"/>
              <a:gd name="connsiteX11908" fmla="*/ 10295159 w 12192185"/>
              <a:gd name="connsiteY11908" fmla="*/ 6139645 h 6859062"/>
              <a:gd name="connsiteX11909" fmla="*/ 10287207 w 12192185"/>
              <a:gd name="connsiteY11909" fmla="*/ 6146570 h 6859062"/>
              <a:gd name="connsiteX11910" fmla="*/ 10338133 w 12192185"/>
              <a:gd name="connsiteY11910" fmla="*/ 6163823 h 6859062"/>
              <a:gd name="connsiteX11911" fmla="*/ 10845617 w 12192185"/>
              <a:gd name="connsiteY11911" fmla="*/ 5973197 h 6859062"/>
              <a:gd name="connsiteX11912" fmla="*/ 11533866 w 12192185"/>
              <a:gd name="connsiteY11912" fmla="*/ 5435061 h 6859062"/>
              <a:gd name="connsiteX11913" fmla="*/ 11835560 w 12192185"/>
              <a:gd name="connsiteY11913" fmla="*/ 5038928 h 6859062"/>
              <a:gd name="connsiteX11914" fmla="*/ 11956362 w 12192185"/>
              <a:gd name="connsiteY11914" fmla="*/ 4886869 h 6859062"/>
              <a:gd name="connsiteX11915" fmla="*/ 11599683 w 12192185"/>
              <a:gd name="connsiteY11915" fmla="*/ 5415160 h 6859062"/>
              <a:gd name="connsiteX11916" fmla="*/ 11131722 w 12192185"/>
              <a:gd name="connsiteY11916" fmla="*/ 5849513 h 6859062"/>
              <a:gd name="connsiteX11917" fmla="*/ 11593912 w 12192185"/>
              <a:gd name="connsiteY11917" fmla="*/ 5495768 h 6859062"/>
              <a:gd name="connsiteX11918" fmla="*/ 11599499 w 12192185"/>
              <a:gd name="connsiteY11918" fmla="*/ 5502619 h 6859062"/>
              <a:gd name="connsiteX11919" fmla="*/ 11482487 w 12192185"/>
              <a:gd name="connsiteY11919" fmla="*/ 5617368 h 6859062"/>
              <a:gd name="connsiteX11920" fmla="*/ 11156750 w 12192185"/>
              <a:gd name="connsiteY11920" fmla="*/ 5879815 h 6859062"/>
              <a:gd name="connsiteX11921" fmla="*/ 11129441 w 12192185"/>
              <a:gd name="connsiteY11921" fmla="*/ 5897504 h 6859062"/>
              <a:gd name="connsiteX11922" fmla="*/ 11129875 w 12192185"/>
              <a:gd name="connsiteY11922" fmla="*/ 5898335 h 6859062"/>
              <a:gd name="connsiteX11923" fmla="*/ 11130004 w 12192185"/>
              <a:gd name="connsiteY11923" fmla="*/ 5905652 h 6859062"/>
              <a:gd name="connsiteX11924" fmla="*/ 11128016 w 12192185"/>
              <a:gd name="connsiteY11924" fmla="*/ 5917769 h 6859062"/>
              <a:gd name="connsiteX11925" fmla="*/ 11128091 w 12192185"/>
              <a:gd name="connsiteY11925" fmla="*/ 5922037 h 6859062"/>
              <a:gd name="connsiteX11926" fmla="*/ 11125819 w 12192185"/>
              <a:gd name="connsiteY11926" fmla="*/ 5924763 h 6859062"/>
              <a:gd name="connsiteX11927" fmla="*/ 11121137 w 12192185"/>
              <a:gd name="connsiteY11927" fmla="*/ 5929364 h 6859062"/>
              <a:gd name="connsiteX11928" fmla="*/ 11119706 w 12192185"/>
              <a:gd name="connsiteY11928" fmla="*/ 5931343 h 6859062"/>
              <a:gd name="connsiteX11929" fmla="*/ 11112467 w 12192185"/>
              <a:gd name="connsiteY11929" fmla="*/ 5936356 h 6859062"/>
              <a:gd name="connsiteX11930" fmla="*/ 11111027 w 12192185"/>
              <a:gd name="connsiteY11930" fmla="*/ 5937726 h 6859062"/>
              <a:gd name="connsiteX11931" fmla="*/ 11088160 w 12192185"/>
              <a:gd name="connsiteY11931" fmla="*/ 5935829 h 6859062"/>
              <a:gd name="connsiteX11932" fmla="*/ 11079426 w 12192185"/>
              <a:gd name="connsiteY11932" fmla="*/ 5929902 h 6859062"/>
              <a:gd name="connsiteX11933" fmla="*/ 10982775 w 12192185"/>
              <a:gd name="connsiteY11933" fmla="*/ 5992509 h 6859062"/>
              <a:gd name="connsiteX11934" fmla="*/ 10886476 w 12192185"/>
              <a:gd name="connsiteY11934" fmla="*/ 6045961 h 6859062"/>
              <a:gd name="connsiteX11935" fmla="*/ 10890708 w 12192185"/>
              <a:gd name="connsiteY11935" fmla="*/ 6051358 h 6859062"/>
              <a:gd name="connsiteX11936" fmla="*/ 10894116 w 12192185"/>
              <a:gd name="connsiteY11936" fmla="*/ 6055335 h 6859062"/>
              <a:gd name="connsiteX11937" fmla="*/ 10896860 w 12192185"/>
              <a:gd name="connsiteY11937" fmla="*/ 6061433 h 6859062"/>
              <a:gd name="connsiteX11938" fmla="*/ 10897513 w 12192185"/>
              <a:gd name="connsiteY11938" fmla="*/ 6068622 h 6859062"/>
              <a:gd name="connsiteX11939" fmla="*/ 10897303 w 12192185"/>
              <a:gd name="connsiteY11939" fmla="*/ 6086895 h 6859062"/>
              <a:gd name="connsiteX11940" fmla="*/ 10880751 w 12192185"/>
              <a:gd name="connsiteY11940" fmla="*/ 6115480 h 6859062"/>
              <a:gd name="connsiteX11941" fmla="*/ 10877948 w 12192185"/>
              <a:gd name="connsiteY11941" fmla="*/ 6116059 h 6859062"/>
              <a:gd name="connsiteX11942" fmla="*/ 10866073 w 12192185"/>
              <a:gd name="connsiteY11942" fmla="*/ 6120494 h 6859062"/>
              <a:gd name="connsiteX11943" fmla="*/ 10862558 w 12192185"/>
              <a:gd name="connsiteY11943" fmla="*/ 6120559 h 6859062"/>
              <a:gd name="connsiteX11944" fmla="*/ 10853272 w 12192185"/>
              <a:gd name="connsiteY11944" fmla="*/ 6122312 h 6859062"/>
              <a:gd name="connsiteX11945" fmla="*/ 10848182 w 12192185"/>
              <a:gd name="connsiteY11945" fmla="*/ 6122756 h 6859062"/>
              <a:gd name="connsiteX11946" fmla="*/ 10843196 w 12192185"/>
              <a:gd name="connsiteY11946" fmla="*/ 6119160 h 6859062"/>
              <a:gd name="connsiteX11947" fmla="*/ 10827244 w 12192185"/>
              <a:gd name="connsiteY11947" fmla="*/ 6111550 h 6859062"/>
              <a:gd name="connsiteX11948" fmla="*/ 10818698 w 12192185"/>
              <a:gd name="connsiteY11948" fmla="*/ 6105383 h 6859062"/>
              <a:gd name="connsiteX11949" fmla="*/ 10816515 w 12192185"/>
              <a:gd name="connsiteY11949" fmla="*/ 6101208 h 6859062"/>
              <a:gd name="connsiteX11950" fmla="*/ 10815089 w 12192185"/>
              <a:gd name="connsiteY11950" fmla="*/ 6089993 h 6859062"/>
              <a:gd name="connsiteX11951" fmla="*/ 10814387 w 12192185"/>
              <a:gd name="connsiteY11951" fmla="*/ 6085976 h 6859062"/>
              <a:gd name="connsiteX11952" fmla="*/ 10801639 w 12192185"/>
              <a:gd name="connsiteY11952" fmla="*/ 6093051 h 6859062"/>
              <a:gd name="connsiteX11953" fmla="*/ 10697774 w 12192185"/>
              <a:gd name="connsiteY11953" fmla="*/ 6142780 h 6859062"/>
              <a:gd name="connsiteX11954" fmla="*/ 10702049 w 12192185"/>
              <a:gd name="connsiteY11954" fmla="*/ 6150961 h 6859062"/>
              <a:gd name="connsiteX11955" fmla="*/ 10711596 w 12192185"/>
              <a:gd name="connsiteY11955" fmla="*/ 6159346 h 6859062"/>
              <a:gd name="connsiteX11956" fmla="*/ 10709160 w 12192185"/>
              <a:gd name="connsiteY11956" fmla="*/ 6163668 h 6859062"/>
              <a:gd name="connsiteX11957" fmla="*/ 10703652 w 12192185"/>
              <a:gd name="connsiteY11957" fmla="*/ 6162560 h 6859062"/>
              <a:gd name="connsiteX11958" fmla="*/ 10698094 w 12192185"/>
              <a:gd name="connsiteY11958" fmla="*/ 6164056 h 6859062"/>
              <a:gd name="connsiteX11959" fmla="*/ 10702002 w 12192185"/>
              <a:gd name="connsiteY11959" fmla="*/ 6169287 h 6859062"/>
              <a:gd name="connsiteX11960" fmla="*/ 10705835 w 12192185"/>
              <a:gd name="connsiteY11960" fmla="*/ 6170334 h 6859062"/>
              <a:gd name="connsiteX11961" fmla="*/ 10708122 w 12192185"/>
              <a:gd name="connsiteY11961" fmla="*/ 6173362 h 6859062"/>
              <a:gd name="connsiteX11962" fmla="*/ 10704795 w 12192185"/>
              <a:gd name="connsiteY11962" fmla="*/ 6174632 h 6859062"/>
              <a:gd name="connsiteX11963" fmla="*/ 10700320 w 12192185"/>
              <a:gd name="connsiteY11963" fmla="*/ 6174155 h 6859062"/>
              <a:gd name="connsiteX11964" fmla="*/ 10695816 w 12192185"/>
              <a:gd name="connsiteY11964" fmla="*/ 6177214 h 6859062"/>
              <a:gd name="connsiteX11965" fmla="*/ 10697934 w 12192185"/>
              <a:gd name="connsiteY11965" fmla="*/ 6181268 h 6859062"/>
              <a:gd name="connsiteX11966" fmla="*/ 10718983 w 12192185"/>
              <a:gd name="connsiteY11966" fmla="*/ 6177072 h 6859062"/>
              <a:gd name="connsiteX11967" fmla="*/ 10724274 w 12192185"/>
              <a:gd name="connsiteY11967" fmla="*/ 6176417 h 6859062"/>
              <a:gd name="connsiteX11968" fmla="*/ 10736842 w 12192185"/>
              <a:gd name="connsiteY11968" fmla="*/ 6182049 h 6859062"/>
              <a:gd name="connsiteX11969" fmla="*/ 10741342 w 12192185"/>
              <a:gd name="connsiteY11969" fmla="*/ 6183921 h 6859062"/>
              <a:gd name="connsiteX11970" fmla="*/ 10750833 w 12192185"/>
              <a:gd name="connsiteY11970" fmla="*/ 6194446 h 6859062"/>
              <a:gd name="connsiteX11971" fmla="*/ 10755730 w 12192185"/>
              <a:gd name="connsiteY11971" fmla="*/ 6202915 h 6859062"/>
              <a:gd name="connsiteX11972" fmla="*/ 10762508 w 12192185"/>
              <a:gd name="connsiteY11972" fmla="*/ 6207351 h 6859062"/>
              <a:gd name="connsiteX11973" fmla="*/ 10763061 w 12192185"/>
              <a:gd name="connsiteY11973" fmla="*/ 6207061 h 6859062"/>
              <a:gd name="connsiteX11974" fmla="*/ 10767720 w 12192185"/>
              <a:gd name="connsiteY11974" fmla="*/ 6207442 h 6859062"/>
              <a:gd name="connsiteX11975" fmla="*/ 10766198 w 12192185"/>
              <a:gd name="connsiteY11975" fmla="*/ 6210819 h 6859062"/>
              <a:gd name="connsiteX11976" fmla="*/ 10766423 w 12192185"/>
              <a:gd name="connsiteY11976" fmla="*/ 6228767 h 6859062"/>
              <a:gd name="connsiteX11977" fmla="*/ 10766523 w 12192185"/>
              <a:gd name="connsiteY11977" fmla="*/ 6234346 h 6859062"/>
              <a:gd name="connsiteX11978" fmla="*/ 10763974 w 12192185"/>
              <a:gd name="connsiteY11978" fmla="*/ 6237555 h 6859062"/>
              <a:gd name="connsiteX11979" fmla="*/ 10764144 w 12192185"/>
              <a:gd name="connsiteY11979" fmla="*/ 6241924 h 6859062"/>
              <a:gd name="connsiteX11980" fmla="*/ 10765582 w 12192185"/>
              <a:gd name="connsiteY11980" fmla="*/ 6242665 h 6859062"/>
              <a:gd name="connsiteX11981" fmla="*/ 10758661 w 12192185"/>
              <a:gd name="connsiteY11981" fmla="*/ 6264528 h 6859062"/>
              <a:gd name="connsiteX11982" fmla="*/ 10757515 w 12192185"/>
              <a:gd name="connsiteY11982" fmla="*/ 6261579 h 6859062"/>
              <a:gd name="connsiteX11983" fmla="*/ 10754587 w 12192185"/>
              <a:gd name="connsiteY11983" fmla="*/ 6259121 h 6859062"/>
              <a:gd name="connsiteX11984" fmla="*/ 10751942 w 12192185"/>
              <a:gd name="connsiteY11984" fmla="*/ 6262145 h 6859062"/>
              <a:gd name="connsiteX11985" fmla="*/ 10752087 w 12192185"/>
              <a:gd name="connsiteY11985" fmla="*/ 6265120 h 6859062"/>
              <a:gd name="connsiteX11986" fmla="*/ 10747038 w 12192185"/>
              <a:gd name="connsiteY11986" fmla="*/ 6268932 h 6859062"/>
              <a:gd name="connsiteX11987" fmla="*/ 10743774 w 12192185"/>
              <a:gd name="connsiteY11987" fmla="*/ 6268526 h 6859062"/>
              <a:gd name="connsiteX11988" fmla="*/ 10743463 w 12192185"/>
              <a:gd name="connsiteY11988" fmla="*/ 6271973 h 6859062"/>
              <a:gd name="connsiteX11989" fmla="*/ 10744065 w 12192185"/>
              <a:gd name="connsiteY11989" fmla="*/ 6274473 h 6859062"/>
              <a:gd name="connsiteX11990" fmla="*/ 10743694 w 12192185"/>
              <a:gd name="connsiteY11990" fmla="*/ 6277806 h 6859062"/>
              <a:gd name="connsiteX11991" fmla="*/ 10740411 w 12192185"/>
              <a:gd name="connsiteY11991" fmla="*/ 6278261 h 6859062"/>
              <a:gd name="connsiteX11992" fmla="*/ 10731534 w 12192185"/>
              <a:gd name="connsiteY11992" fmla="*/ 6276097 h 6859062"/>
              <a:gd name="connsiteX11993" fmla="*/ 10722456 w 12192185"/>
              <a:gd name="connsiteY11993" fmla="*/ 6278494 h 6859062"/>
              <a:gd name="connsiteX11994" fmla="*/ 10716893 w 12192185"/>
              <a:gd name="connsiteY11994" fmla="*/ 6279525 h 6859062"/>
              <a:gd name="connsiteX11995" fmla="*/ 10702851 w 12192185"/>
              <a:gd name="connsiteY11995" fmla="*/ 6280059 h 6859062"/>
              <a:gd name="connsiteX11996" fmla="*/ 10700237 w 12192185"/>
              <a:gd name="connsiteY11996" fmla="*/ 6279548 h 6859062"/>
              <a:gd name="connsiteX11997" fmla="*/ 10678039 w 12192185"/>
              <a:gd name="connsiteY11997" fmla="*/ 6260882 h 6859062"/>
              <a:gd name="connsiteX11998" fmla="*/ 10675543 w 12192185"/>
              <a:gd name="connsiteY11998" fmla="*/ 6256555 h 6859062"/>
              <a:gd name="connsiteX11999" fmla="*/ 10672538 w 12192185"/>
              <a:gd name="connsiteY11999" fmla="*/ 6244518 h 6859062"/>
              <a:gd name="connsiteX12000" fmla="*/ 10669197 w 12192185"/>
              <a:gd name="connsiteY12000" fmla="*/ 6234532 h 6859062"/>
              <a:gd name="connsiteX12001" fmla="*/ 10669131 w 12192185"/>
              <a:gd name="connsiteY12001" fmla="*/ 6230812 h 6859062"/>
              <a:gd name="connsiteX12002" fmla="*/ 10673268 w 12192185"/>
              <a:gd name="connsiteY12002" fmla="*/ 6212225 h 6859062"/>
              <a:gd name="connsiteX12003" fmla="*/ 10673315 w 12192185"/>
              <a:gd name="connsiteY12003" fmla="*/ 6209620 h 6859062"/>
              <a:gd name="connsiteX12004" fmla="*/ 10660274 w 12192185"/>
              <a:gd name="connsiteY12004" fmla="*/ 6203532 h 6859062"/>
              <a:gd name="connsiteX12005" fmla="*/ 10646770 w 12192185"/>
              <a:gd name="connsiteY12005" fmla="*/ 6202847 h 6859062"/>
              <a:gd name="connsiteX12006" fmla="*/ 10629340 w 12192185"/>
              <a:gd name="connsiteY12006" fmla="*/ 6196000 h 6859062"/>
              <a:gd name="connsiteX12007" fmla="*/ 10628080 w 12192185"/>
              <a:gd name="connsiteY12007" fmla="*/ 6193140 h 6859062"/>
              <a:gd name="connsiteX12008" fmla="*/ 10623779 w 12192185"/>
              <a:gd name="connsiteY12008" fmla="*/ 6186706 h 6859062"/>
              <a:gd name="connsiteX12009" fmla="*/ 10618987 w 12192185"/>
              <a:gd name="connsiteY12009" fmla="*/ 6178886 h 6859062"/>
              <a:gd name="connsiteX12010" fmla="*/ 10618951 w 12192185"/>
              <a:gd name="connsiteY12010" fmla="*/ 6178460 h 6859062"/>
              <a:gd name="connsiteX12011" fmla="*/ 10497392 w 12192185"/>
              <a:gd name="connsiteY12011" fmla="*/ 6229022 h 6859062"/>
              <a:gd name="connsiteX12012" fmla="*/ 10388605 w 12192185"/>
              <a:gd name="connsiteY12012" fmla="*/ 6267890 h 6859062"/>
              <a:gd name="connsiteX12013" fmla="*/ 10398358 w 12192185"/>
              <a:gd name="connsiteY12013" fmla="*/ 6270428 h 6859062"/>
              <a:gd name="connsiteX12014" fmla="*/ 10406714 w 12192185"/>
              <a:gd name="connsiteY12014" fmla="*/ 6278068 h 6859062"/>
              <a:gd name="connsiteX12015" fmla="*/ 10411394 w 12192185"/>
              <a:gd name="connsiteY12015" fmla="*/ 6282584 h 6859062"/>
              <a:gd name="connsiteX12016" fmla="*/ 10416069 w 12192185"/>
              <a:gd name="connsiteY12016" fmla="*/ 6289558 h 6859062"/>
              <a:gd name="connsiteX12017" fmla="*/ 10418470 w 12192185"/>
              <a:gd name="connsiteY12017" fmla="*/ 6295876 h 6859062"/>
              <a:gd name="connsiteX12018" fmla="*/ 10418898 w 12192185"/>
              <a:gd name="connsiteY12018" fmla="*/ 6311467 h 6859062"/>
              <a:gd name="connsiteX12019" fmla="*/ 10419619 w 12192185"/>
              <a:gd name="connsiteY12019" fmla="*/ 6321168 h 6859062"/>
              <a:gd name="connsiteX12020" fmla="*/ 10418494 w 12192185"/>
              <a:gd name="connsiteY12020" fmla="*/ 6325062 h 6859062"/>
              <a:gd name="connsiteX12021" fmla="*/ 10412346 w 12192185"/>
              <a:gd name="connsiteY12021" fmla="*/ 6331725 h 6859062"/>
              <a:gd name="connsiteX12022" fmla="*/ 10400201 w 12192185"/>
              <a:gd name="connsiteY12022" fmla="*/ 6340877 h 6859062"/>
              <a:gd name="connsiteX12023" fmla="*/ 10396616 w 12192185"/>
              <a:gd name="connsiteY12023" fmla="*/ 6344763 h 6859062"/>
              <a:gd name="connsiteX12024" fmla="*/ 10392248 w 12192185"/>
              <a:gd name="connsiteY12024" fmla="*/ 6345260 h 6859062"/>
              <a:gd name="connsiteX12025" fmla="*/ 10384119 w 12192185"/>
              <a:gd name="connsiteY12025" fmla="*/ 6345374 h 6859062"/>
              <a:gd name="connsiteX12026" fmla="*/ 10381144 w 12192185"/>
              <a:gd name="connsiteY12026" fmla="*/ 6345922 h 6859062"/>
              <a:gd name="connsiteX12027" fmla="*/ 10370371 w 12192185"/>
              <a:gd name="connsiteY12027" fmla="*/ 6344219 h 6859062"/>
              <a:gd name="connsiteX12028" fmla="*/ 10367909 w 12192185"/>
              <a:gd name="connsiteY12028" fmla="*/ 6344212 h 6859062"/>
              <a:gd name="connsiteX12029" fmla="*/ 10349055 w 12192185"/>
              <a:gd name="connsiteY12029" fmla="*/ 6322949 h 6859062"/>
              <a:gd name="connsiteX12030" fmla="*/ 10345746 w 12192185"/>
              <a:gd name="connsiteY12030" fmla="*/ 6307580 h 6859062"/>
              <a:gd name="connsiteX12031" fmla="*/ 10345064 w 12192185"/>
              <a:gd name="connsiteY12031" fmla="*/ 6301406 h 6859062"/>
              <a:gd name="connsiteX12032" fmla="*/ 10346331 w 12192185"/>
              <a:gd name="connsiteY12032" fmla="*/ 6295796 h 6859062"/>
              <a:gd name="connsiteX12033" fmla="*/ 10348524 w 12192185"/>
              <a:gd name="connsiteY12033" fmla="*/ 6291858 h 6859062"/>
              <a:gd name="connsiteX12034" fmla="*/ 10352677 w 12192185"/>
              <a:gd name="connsiteY12034" fmla="*/ 6283565 h 6859062"/>
              <a:gd name="connsiteX12035" fmla="*/ 10353940 w 12192185"/>
              <a:gd name="connsiteY12035" fmla="*/ 6280413 h 6859062"/>
              <a:gd name="connsiteX12036" fmla="*/ 10354009 w 12192185"/>
              <a:gd name="connsiteY12036" fmla="*/ 6280250 h 6859062"/>
              <a:gd name="connsiteX12037" fmla="*/ 10338807 w 12192185"/>
              <a:gd name="connsiteY12037" fmla="*/ 6285682 h 6859062"/>
              <a:gd name="connsiteX12038" fmla="*/ 9547170 w 12192185"/>
              <a:gd name="connsiteY12038" fmla="*/ 6390436 h 6859062"/>
              <a:gd name="connsiteX12039" fmla="*/ 9235048 w 12192185"/>
              <a:gd name="connsiteY12039" fmla="*/ 6384855 h 6859062"/>
              <a:gd name="connsiteX12040" fmla="*/ 9090371 w 12192185"/>
              <a:gd name="connsiteY12040" fmla="*/ 6353255 h 6859062"/>
              <a:gd name="connsiteX12041" fmla="*/ 8817627 w 12192185"/>
              <a:gd name="connsiteY12041" fmla="*/ 6283525 h 6859062"/>
              <a:gd name="connsiteX12042" fmla="*/ 8924275 w 12192185"/>
              <a:gd name="connsiteY12042" fmla="*/ 6342196 h 6859062"/>
              <a:gd name="connsiteX12043" fmla="*/ 8530949 w 12192185"/>
              <a:gd name="connsiteY12043" fmla="*/ 6222529 h 6859062"/>
              <a:gd name="connsiteX12044" fmla="*/ 8594795 w 12192185"/>
              <a:gd name="connsiteY12044" fmla="*/ 6207745 h 6859062"/>
              <a:gd name="connsiteX12045" fmla="*/ 8483973 w 12192185"/>
              <a:gd name="connsiteY12045" fmla="*/ 6156866 h 6859062"/>
              <a:gd name="connsiteX12046" fmla="*/ 8470037 w 12192185"/>
              <a:gd name="connsiteY12046" fmla="*/ 6165601 h 6859062"/>
              <a:gd name="connsiteX12047" fmla="*/ 8426184 w 12192185"/>
              <a:gd name="connsiteY12047" fmla="*/ 6183382 h 6859062"/>
              <a:gd name="connsiteX12048" fmla="*/ 8147953 w 12192185"/>
              <a:gd name="connsiteY12048" fmla="*/ 6043983 h 6859062"/>
              <a:gd name="connsiteX12049" fmla="*/ 8035867 w 12192185"/>
              <a:gd name="connsiteY12049" fmla="*/ 5975215 h 6859062"/>
              <a:gd name="connsiteX12050" fmla="*/ 8031316 w 12192185"/>
              <a:gd name="connsiteY12050" fmla="*/ 5971612 h 6859062"/>
              <a:gd name="connsiteX12051" fmla="*/ 8018132 w 12192185"/>
              <a:gd name="connsiteY12051" fmla="*/ 5979863 h 6859062"/>
              <a:gd name="connsiteX12052" fmla="*/ 8007278 w 12192185"/>
              <a:gd name="connsiteY12052" fmla="*/ 5992241 h 6859062"/>
              <a:gd name="connsiteX12053" fmla="*/ 7997937 w 12192185"/>
              <a:gd name="connsiteY12053" fmla="*/ 6005535 h 6859062"/>
              <a:gd name="connsiteX12054" fmla="*/ 7987527 w 12192185"/>
              <a:gd name="connsiteY12054" fmla="*/ 6013446 h 6859062"/>
              <a:gd name="connsiteX12055" fmla="*/ 7974165 w 12192185"/>
              <a:gd name="connsiteY12055" fmla="*/ 6016685 h 6859062"/>
              <a:gd name="connsiteX12056" fmla="*/ 7963255 w 12192185"/>
              <a:gd name="connsiteY12056" fmla="*/ 6014199 h 6859062"/>
              <a:gd name="connsiteX12057" fmla="*/ 7962113 w 12192185"/>
              <a:gd name="connsiteY12057" fmla="*/ 6011653 h 6859062"/>
              <a:gd name="connsiteX12058" fmla="*/ 7949562 w 12192185"/>
              <a:gd name="connsiteY12058" fmla="*/ 5996226 h 6859062"/>
              <a:gd name="connsiteX12059" fmla="*/ 7948860 w 12192185"/>
              <a:gd name="connsiteY12059" fmla="*/ 5976645 h 6859062"/>
              <a:gd name="connsiteX12060" fmla="*/ 7961447 w 12192185"/>
              <a:gd name="connsiteY12060" fmla="*/ 5956663 h 6859062"/>
              <a:gd name="connsiteX12061" fmla="*/ 7970743 w 12192185"/>
              <a:gd name="connsiteY12061" fmla="*/ 5953640 h 6859062"/>
              <a:gd name="connsiteX12062" fmla="*/ 7984076 w 12192185"/>
              <a:gd name="connsiteY12062" fmla="*/ 5942969 h 6859062"/>
              <a:gd name="connsiteX12063" fmla="*/ 7988629 w 12192185"/>
              <a:gd name="connsiteY12063" fmla="*/ 5937833 h 6859062"/>
              <a:gd name="connsiteX12064" fmla="*/ 7932700 w 12192185"/>
              <a:gd name="connsiteY12064" fmla="*/ 5893576 h 6859062"/>
              <a:gd name="connsiteX12065" fmla="*/ 7917747 w 12192185"/>
              <a:gd name="connsiteY12065" fmla="*/ 5879010 h 6859062"/>
              <a:gd name="connsiteX12066" fmla="*/ 7911615 w 12192185"/>
              <a:gd name="connsiteY12066" fmla="*/ 5853740 h 6859062"/>
              <a:gd name="connsiteX12067" fmla="*/ 7938458 w 12192185"/>
              <a:gd name="connsiteY12067" fmla="*/ 5851148 h 6859062"/>
              <a:gd name="connsiteX12068" fmla="*/ 8000162 w 12192185"/>
              <a:gd name="connsiteY12068" fmla="*/ 5890758 h 6859062"/>
              <a:gd name="connsiteX12069" fmla="*/ 8026847 w 12192185"/>
              <a:gd name="connsiteY12069" fmla="*/ 5899266 h 6859062"/>
              <a:gd name="connsiteX12070" fmla="*/ 7961922 w 12192185"/>
              <a:gd name="connsiteY12070" fmla="*/ 5839030 h 6859062"/>
              <a:gd name="connsiteX12071" fmla="*/ 7859328 w 12192185"/>
              <a:gd name="connsiteY12071" fmla="*/ 5774142 h 6859062"/>
              <a:gd name="connsiteX12072" fmla="*/ 7796908 w 12192185"/>
              <a:gd name="connsiteY12072" fmla="*/ 5826606 h 6859062"/>
              <a:gd name="connsiteX12073" fmla="*/ 7656674 w 12192185"/>
              <a:gd name="connsiteY12073" fmla="*/ 5930748 h 6859062"/>
              <a:gd name="connsiteX12074" fmla="*/ 7504317 w 12192185"/>
              <a:gd name="connsiteY12074" fmla="*/ 6027505 h 6859062"/>
              <a:gd name="connsiteX12075" fmla="*/ 7412996 w 12192185"/>
              <a:gd name="connsiteY12075" fmla="*/ 6078278 h 6859062"/>
              <a:gd name="connsiteX12076" fmla="*/ 7411442 w 12192185"/>
              <a:gd name="connsiteY12076" fmla="*/ 6080646 h 6859062"/>
              <a:gd name="connsiteX12077" fmla="*/ 7404837 w 12192185"/>
              <a:gd name="connsiteY12077" fmla="*/ 6086187 h 6859062"/>
              <a:gd name="connsiteX12078" fmla="*/ 7388133 w 12192185"/>
              <a:gd name="connsiteY12078" fmla="*/ 6092102 h 6859062"/>
              <a:gd name="connsiteX12079" fmla="*/ 7348375 w 12192185"/>
              <a:gd name="connsiteY12079" fmla="*/ 6114207 h 6859062"/>
              <a:gd name="connsiteX12080" fmla="*/ 6336067 w 12192185"/>
              <a:gd name="connsiteY12080" fmla="*/ 6426635 h 6859062"/>
              <a:gd name="connsiteX12081" fmla="*/ 6066457 w 12192185"/>
              <a:gd name="connsiteY12081" fmla="*/ 6454405 h 6859062"/>
              <a:gd name="connsiteX12082" fmla="*/ 6042256 w 12192185"/>
              <a:gd name="connsiteY12082" fmla="*/ 6447317 h 6859062"/>
              <a:gd name="connsiteX12083" fmla="*/ 6052760 w 12192185"/>
              <a:gd name="connsiteY12083" fmla="*/ 6436612 h 6859062"/>
              <a:gd name="connsiteX12084" fmla="*/ 6903130 w 12192185"/>
              <a:gd name="connsiteY12084" fmla="*/ 6257467 h 6859062"/>
              <a:gd name="connsiteX12085" fmla="*/ 7320884 w 12192185"/>
              <a:gd name="connsiteY12085" fmla="*/ 6077265 h 6859062"/>
              <a:gd name="connsiteX12086" fmla="*/ 7339645 w 12192185"/>
              <a:gd name="connsiteY12086" fmla="*/ 6068760 h 6859062"/>
              <a:gd name="connsiteX12087" fmla="*/ 7335518 w 12192185"/>
              <a:gd name="connsiteY12087" fmla="*/ 6059520 h 6859062"/>
              <a:gd name="connsiteX12088" fmla="*/ 7333012 w 12192185"/>
              <a:gd name="connsiteY12088" fmla="*/ 6049285 h 6859062"/>
              <a:gd name="connsiteX12089" fmla="*/ 7334059 w 12192185"/>
              <a:gd name="connsiteY12089" fmla="*/ 6044691 h 6859062"/>
              <a:gd name="connsiteX12090" fmla="*/ 7336570 w 12192185"/>
              <a:gd name="connsiteY12090" fmla="*/ 6040851 h 6859062"/>
              <a:gd name="connsiteX12091" fmla="*/ 7222909 w 12192185"/>
              <a:gd name="connsiteY12091" fmla="*/ 6097617 h 6859062"/>
              <a:gd name="connsiteX12092" fmla="*/ 7213203 w 12192185"/>
              <a:gd name="connsiteY12092" fmla="*/ 6109304 h 6859062"/>
              <a:gd name="connsiteX12093" fmla="*/ 7209660 w 12192185"/>
              <a:gd name="connsiteY12093" fmla="*/ 6113616 h 6859062"/>
              <a:gd name="connsiteX12094" fmla="*/ 7205640 w 12192185"/>
              <a:gd name="connsiteY12094" fmla="*/ 6114405 h 6859062"/>
              <a:gd name="connsiteX12095" fmla="*/ 7202936 w 12192185"/>
              <a:gd name="connsiteY12095" fmla="*/ 6117841 h 6859062"/>
              <a:gd name="connsiteX12096" fmla="*/ 7203550 w 12192185"/>
              <a:gd name="connsiteY12096" fmla="*/ 6119337 h 6859062"/>
              <a:gd name="connsiteX12097" fmla="*/ 7184103 w 12192185"/>
              <a:gd name="connsiteY12097" fmla="*/ 6131492 h 6859062"/>
              <a:gd name="connsiteX12098" fmla="*/ 7185143 w 12192185"/>
              <a:gd name="connsiteY12098" fmla="*/ 6128503 h 6859062"/>
              <a:gd name="connsiteX12099" fmla="*/ 7184509 w 12192185"/>
              <a:gd name="connsiteY12099" fmla="*/ 6124733 h 6859062"/>
              <a:gd name="connsiteX12100" fmla="*/ 7180534 w 12192185"/>
              <a:gd name="connsiteY12100" fmla="*/ 6125320 h 6859062"/>
              <a:gd name="connsiteX12101" fmla="*/ 7178716 w 12192185"/>
              <a:gd name="connsiteY12101" fmla="*/ 6127679 h 6859062"/>
              <a:gd name="connsiteX12102" fmla="*/ 7172399 w 12192185"/>
              <a:gd name="connsiteY12102" fmla="*/ 6127305 h 6859062"/>
              <a:gd name="connsiteX12103" fmla="*/ 7170178 w 12192185"/>
              <a:gd name="connsiteY12103" fmla="*/ 6124880 h 6859062"/>
              <a:gd name="connsiteX12104" fmla="*/ 7167706 w 12192185"/>
              <a:gd name="connsiteY12104" fmla="*/ 6127302 h 6859062"/>
              <a:gd name="connsiteX12105" fmla="*/ 7166543 w 12192185"/>
              <a:gd name="connsiteY12105" fmla="*/ 6129597 h 6859062"/>
              <a:gd name="connsiteX12106" fmla="*/ 7164099 w 12192185"/>
              <a:gd name="connsiteY12106" fmla="*/ 6131893 h 6859062"/>
              <a:gd name="connsiteX12107" fmla="*/ 7161305 w 12192185"/>
              <a:gd name="connsiteY12107" fmla="*/ 6130109 h 6859062"/>
              <a:gd name="connsiteX12108" fmla="*/ 7160055 w 12192185"/>
              <a:gd name="connsiteY12108" fmla="*/ 6128381 h 6859062"/>
              <a:gd name="connsiteX12109" fmla="*/ 6961547 w 12192185"/>
              <a:gd name="connsiteY12109" fmla="*/ 6207513 h 6859062"/>
              <a:gd name="connsiteX12110" fmla="*/ 5475866 w 12192185"/>
              <a:gd name="connsiteY12110" fmla="*/ 6333050 h 6859062"/>
              <a:gd name="connsiteX12111" fmla="*/ 5461944 w 12192185"/>
              <a:gd name="connsiteY12111" fmla="*/ 6330254 h 6859062"/>
              <a:gd name="connsiteX12112" fmla="*/ 5453061 w 12192185"/>
              <a:gd name="connsiteY12112" fmla="*/ 6319001 h 6859062"/>
              <a:gd name="connsiteX12113" fmla="*/ 5569045 w 12192185"/>
              <a:gd name="connsiteY12113" fmla="*/ 6326687 h 6859062"/>
              <a:gd name="connsiteX12114" fmla="*/ 6430830 w 12192185"/>
              <a:gd name="connsiteY12114" fmla="*/ 6315299 h 6859062"/>
              <a:gd name="connsiteX12115" fmla="*/ 6525320 w 12192185"/>
              <a:gd name="connsiteY12115" fmla="*/ 6291370 h 6859062"/>
              <a:gd name="connsiteX12116" fmla="*/ 6542358 w 12192185"/>
              <a:gd name="connsiteY12116" fmla="*/ 6275850 h 6859062"/>
              <a:gd name="connsiteX12117" fmla="*/ 6521376 w 12192185"/>
              <a:gd name="connsiteY12117" fmla="*/ 6261052 h 6859062"/>
              <a:gd name="connsiteX12118" fmla="*/ 6485820 w 12192185"/>
              <a:gd name="connsiteY12118" fmla="*/ 6252245 h 6859062"/>
              <a:gd name="connsiteX12119" fmla="*/ 6540860 w 12192185"/>
              <a:gd name="connsiteY12119" fmla="*/ 6236804 h 6859062"/>
              <a:gd name="connsiteX12120" fmla="*/ 6461633 w 12192185"/>
              <a:gd name="connsiteY12120" fmla="*/ 6253101 h 6859062"/>
              <a:gd name="connsiteX12121" fmla="*/ 5928161 w 12192185"/>
              <a:gd name="connsiteY12121" fmla="*/ 6275201 h 6859062"/>
              <a:gd name="connsiteX12122" fmla="*/ 5880223 w 12192185"/>
              <a:gd name="connsiteY12122" fmla="*/ 6269693 h 6859062"/>
              <a:gd name="connsiteX12123" fmla="*/ 5808464 w 12192185"/>
              <a:gd name="connsiteY12123" fmla="*/ 6269066 h 6859062"/>
              <a:gd name="connsiteX12124" fmla="*/ 5547045 w 12192185"/>
              <a:gd name="connsiteY12124" fmla="*/ 6242048 h 6859062"/>
              <a:gd name="connsiteX12125" fmla="*/ 5530128 w 12192185"/>
              <a:gd name="connsiteY12125" fmla="*/ 6231967 h 6859062"/>
              <a:gd name="connsiteX12126" fmla="*/ 5636074 w 12192185"/>
              <a:gd name="connsiteY12126" fmla="*/ 6238728 h 6859062"/>
              <a:gd name="connsiteX12127" fmla="*/ 5401349 w 12192185"/>
              <a:gd name="connsiteY12127" fmla="*/ 6187392 h 6859062"/>
              <a:gd name="connsiteX12128" fmla="*/ 5262211 w 12192185"/>
              <a:gd name="connsiteY12128" fmla="*/ 6151496 h 6859062"/>
              <a:gd name="connsiteX12129" fmla="*/ 5249410 w 12192185"/>
              <a:gd name="connsiteY12129" fmla="*/ 6147635 h 6859062"/>
              <a:gd name="connsiteX12130" fmla="*/ 5249474 w 12192185"/>
              <a:gd name="connsiteY12130" fmla="*/ 6153116 h 6859062"/>
              <a:gd name="connsiteX12131" fmla="*/ 5248019 w 12192185"/>
              <a:gd name="connsiteY12131" fmla="*/ 6160253 h 6859062"/>
              <a:gd name="connsiteX12132" fmla="*/ 5245581 w 12192185"/>
              <a:gd name="connsiteY12132" fmla="*/ 6165585 h 6859062"/>
              <a:gd name="connsiteX12133" fmla="*/ 5236208 w 12192185"/>
              <a:gd name="connsiteY12133" fmla="*/ 6175350 h 6859062"/>
              <a:gd name="connsiteX12134" fmla="*/ 5230651 w 12192185"/>
              <a:gd name="connsiteY12134" fmla="*/ 6181706 h 6859062"/>
              <a:gd name="connsiteX12135" fmla="*/ 5227555 w 12192185"/>
              <a:gd name="connsiteY12135" fmla="*/ 6183384 h 6859062"/>
              <a:gd name="connsiteX12136" fmla="*/ 5219694 w 12192185"/>
              <a:gd name="connsiteY12136" fmla="*/ 6183649 h 6859062"/>
              <a:gd name="connsiteX12137" fmla="*/ 5206650 w 12192185"/>
              <a:gd name="connsiteY12137" fmla="*/ 6181724 h 6859062"/>
              <a:gd name="connsiteX12138" fmla="*/ 5202058 w 12192185"/>
              <a:gd name="connsiteY12138" fmla="*/ 6181878 h 6859062"/>
              <a:gd name="connsiteX12139" fmla="*/ 5199091 w 12192185"/>
              <a:gd name="connsiteY12139" fmla="*/ 6179484 h 6859062"/>
              <a:gd name="connsiteX12140" fmla="*/ 5194070 w 12192185"/>
              <a:gd name="connsiteY12140" fmla="*/ 6174533 h 6859062"/>
              <a:gd name="connsiteX12141" fmla="*/ 5191923 w 12192185"/>
              <a:gd name="connsiteY12141" fmla="*/ 6173031 h 6859062"/>
              <a:gd name="connsiteX12142" fmla="*/ 5186411 w 12192185"/>
              <a:gd name="connsiteY12142" fmla="*/ 6165340 h 6859062"/>
              <a:gd name="connsiteX12143" fmla="*/ 5184919 w 12192185"/>
              <a:gd name="connsiteY12143" fmla="*/ 6163814 h 6859062"/>
              <a:gd name="connsiteX12144" fmla="*/ 5186555 w 12192185"/>
              <a:gd name="connsiteY12144" fmla="*/ 6139213 h 6859062"/>
              <a:gd name="connsiteX12145" fmla="*/ 5192317 w 12192185"/>
              <a:gd name="connsiteY12145" fmla="*/ 6130414 h 6859062"/>
              <a:gd name="connsiteX12146" fmla="*/ 5124569 w 12192185"/>
              <a:gd name="connsiteY12146" fmla="*/ 6109979 h 6859062"/>
              <a:gd name="connsiteX12147" fmla="*/ 5119902 w 12192185"/>
              <a:gd name="connsiteY12147" fmla="*/ 6107931 h 6859062"/>
              <a:gd name="connsiteX12148" fmla="*/ 5114111 w 12192185"/>
              <a:gd name="connsiteY12148" fmla="*/ 6111988 h 6859062"/>
              <a:gd name="connsiteX12149" fmla="*/ 5033293 w 12192185"/>
              <a:gd name="connsiteY12149" fmla="*/ 6156713 h 6859062"/>
              <a:gd name="connsiteX12150" fmla="*/ 4816214 w 12192185"/>
              <a:gd name="connsiteY12150" fmla="*/ 6254081 h 6859062"/>
              <a:gd name="connsiteX12151" fmla="*/ 4710048 w 12192185"/>
              <a:gd name="connsiteY12151" fmla="*/ 6297422 h 6859062"/>
              <a:gd name="connsiteX12152" fmla="*/ 4708599 w 12192185"/>
              <a:gd name="connsiteY12152" fmla="*/ 6298932 h 6859062"/>
              <a:gd name="connsiteX12153" fmla="*/ 4701156 w 12192185"/>
              <a:gd name="connsiteY12153" fmla="*/ 6307448 h 6859062"/>
              <a:gd name="connsiteX12154" fmla="*/ 4697017 w 12192185"/>
              <a:gd name="connsiteY12154" fmla="*/ 6309697 h 6859062"/>
              <a:gd name="connsiteX12155" fmla="*/ 4686486 w 12192185"/>
              <a:gd name="connsiteY12155" fmla="*/ 6310051 h 6859062"/>
              <a:gd name="connsiteX12156" fmla="*/ 4677410 w 12192185"/>
              <a:gd name="connsiteY12156" fmla="*/ 6312466 h 6859062"/>
              <a:gd name="connsiteX12157" fmla="*/ 4675693 w 12192185"/>
              <a:gd name="connsiteY12157" fmla="*/ 6311446 h 6859062"/>
              <a:gd name="connsiteX12158" fmla="*/ 4596300 w 12192185"/>
              <a:gd name="connsiteY12158" fmla="*/ 6343857 h 6859062"/>
              <a:gd name="connsiteX12159" fmla="*/ 4140645 w 12192185"/>
              <a:gd name="connsiteY12159" fmla="*/ 6479712 h 6859062"/>
              <a:gd name="connsiteX12160" fmla="*/ 4055861 w 12192185"/>
              <a:gd name="connsiteY12160" fmla="*/ 6494497 h 6859062"/>
              <a:gd name="connsiteX12161" fmla="*/ 4032110 w 12192185"/>
              <a:gd name="connsiteY12161" fmla="*/ 6504253 h 6859062"/>
              <a:gd name="connsiteX12162" fmla="*/ 3999198 w 12192185"/>
              <a:gd name="connsiteY12162" fmla="*/ 6508618 h 6859062"/>
              <a:gd name="connsiteX12163" fmla="*/ 3855035 w 12192185"/>
              <a:gd name="connsiteY12163" fmla="*/ 6521828 h 6859062"/>
              <a:gd name="connsiteX12164" fmla="*/ 3786789 w 12192185"/>
              <a:gd name="connsiteY12164" fmla="*/ 6525283 h 6859062"/>
              <a:gd name="connsiteX12165" fmla="*/ 3784056 w 12192185"/>
              <a:gd name="connsiteY12165" fmla="*/ 6527055 h 6859062"/>
              <a:gd name="connsiteX12166" fmla="*/ 3766635 w 12192185"/>
              <a:gd name="connsiteY12166" fmla="*/ 6531526 h 6859062"/>
              <a:gd name="connsiteX12167" fmla="*/ 3751251 w 12192185"/>
              <a:gd name="connsiteY12167" fmla="*/ 6542917 h 6859062"/>
              <a:gd name="connsiteX12168" fmla="*/ 3752002 w 12192185"/>
              <a:gd name="connsiteY12168" fmla="*/ 6546301 h 6859062"/>
              <a:gd name="connsiteX12169" fmla="*/ 3762318 w 12192185"/>
              <a:gd name="connsiteY12169" fmla="*/ 6569429 h 6859062"/>
              <a:gd name="connsiteX12170" fmla="*/ 3763218 w 12192185"/>
              <a:gd name="connsiteY12170" fmla="*/ 6574294 h 6859062"/>
              <a:gd name="connsiteX12171" fmla="*/ 3762579 w 12192185"/>
              <a:gd name="connsiteY12171" fmla="*/ 6579478 h 6859062"/>
              <a:gd name="connsiteX12172" fmla="*/ 3800787 w 12192185"/>
              <a:gd name="connsiteY12172" fmla="*/ 6578493 h 6859062"/>
              <a:gd name="connsiteX12173" fmla="*/ 3950871 w 12192185"/>
              <a:gd name="connsiteY12173" fmla="*/ 6579646 h 6859062"/>
              <a:gd name="connsiteX12174" fmla="*/ 3761062 w 12192185"/>
              <a:gd name="connsiteY12174" fmla="*/ 6598346 h 6859062"/>
              <a:gd name="connsiteX12175" fmla="*/ 3760783 w 12192185"/>
              <a:gd name="connsiteY12175" fmla="*/ 6604679 h 6859062"/>
              <a:gd name="connsiteX12176" fmla="*/ 3758677 w 12192185"/>
              <a:gd name="connsiteY12176" fmla="*/ 6610980 h 6859062"/>
              <a:gd name="connsiteX12177" fmla="*/ 3734695 w 12192185"/>
              <a:gd name="connsiteY12177" fmla="*/ 6641191 h 6859062"/>
              <a:gd name="connsiteX12178" fmla="*/ 3731422 w 12192185"/>
              <a:gd name="connsiteY12178" fmla="*/ 6642550 h 6859062"/>
              <a:gd name="connsiteX12179" fmla="*/ 3712981 w 12192185"/>
              <a:gd name="connsiteY12179" fmla="*/ 6645575 h 6859062"/>
              <a:gd name="connsiteX12180" fmla="*/ 3705455 w 12192185"/>
              <a:gd name="connsiteY12180" fmla="*/ 6645705 h 6859062"/>
              <a:gd name="connsiteX12181" fmla="*/ 3692991 w 12192185"/>
              <a:gd name="connsiteY12181" fmla="*/ 6644986 h 6859062"/>
              <a:gd name="connsiteX12182" fmla="*/ 3681993 w 12192185"/>
              <a:gd name="connsiteY12182" fmla="*/ 6650159 h 6859062"/>
              <a:gd name="connsiteX12183" fmla="*/ 3677595 w 12192185"/>
              <a:gd name="connsiteY12183" fmla="*/ 6650437 h 6859062"/>
              <a:gd name="connsiteX12184" fmla="*/ 3676226 w 12192185"/>
              <a:gd name="connsiteY12184" fmla="*/ 6646192 h 6859062"/>
              <a:gd name="connsiteX12185" fmla="*/ 3676350 w 12192185"/>
              <a:gd name="connsiteY12185" fmla="*/ 6642773 h 6859062"/>
              <a:gd name="connsiteX12186" fmla="*/ 3675029 w 12192185"/>
              <a:gd name="connsiteY12186" fmla="*/ 6638362 h 6859062"/>
              <a:gd name="connsiteX12187" fmla="*/ 3670884 w 12192185"/>
              <a:gd name="connsiteY12187" fmla="*/ 6639757 h 6859062"/>
              <a:gd name="connsiteX12188" fmla="*/ 3663294 w 12192185"/>
              <a:gd name="connsiteY12188" fmla="*/ 6636126 h 6859062"/>
              <a:gd name="connsiteX12189" fmla="*/ 3662695 w 12192185"/>
              <a:gd name="connsiteY12189" fmla="*/ 6632211 h 6859062"/>
              <a:gd name="connsiteX12190" fmla="*/ 3658446 w 12192185"/>
              <a:gd name="connsiteY12190" fmla="*/ 6628970 h 6859062"/>
              <a:gd name="connsiteX12191" fmla="*/ 3655282 w 12192185"/>
              <a:gd name="connsiteY12191" fmla="*/ 6632951 h 6859062"/>
              <a:gd name="connsiteX12192" fmla="*/ 3654569 w 12192185"/>
              <a:gd name="connsiteY12192" fmla="*/ 6637099 h 6859062"/>
              <a:gd name="connsiteX12193" fmla="*/ 3639753 w 12192185"/>
              <a:gd name="connsiteY12193" fmla="*/ 6610436 h 6859062"/>
              <a:gd name="connsiteX12194" fmla="*/ 3641433 w 12192185"/>
              <a:gd name="connsiteY12194" fmla="*/ 6609091 h 6859062"/>
              <a:gd name="connsiteX12195" fmla="*/ 3641164 w 12192185"/>
              <a:gd name="connsiteY12195" fmla="*/ 6607444 h 6859062"/>
              <a:gd name="connsiteX12196" fmla="*/ 3384236 w 12192185"/>
              <a:gd name="connsiteY12196" fmla="*/ 6606026 h 6859062"/>
              <a:gd name="connsiteX12197" fmla="*/ 2960986 w 12192185"/>
              <a:gd name="connsiteY12197" fmla="*/ 6547613 h 6859062"/>
              <a:gd name="connsiteX12198" fmla="*/ 2960621 w 12192185"/>
              <a:gd name="connsiteY12198" fmla="*/ 6547523 h 6859062"/>
              <a:gd name="connsiteX12199" fmla="*/ 2960658 w 12192185"/>
              <a:gd name="connsiteY12199" fmla="*/ 6548866 h 6859062"/>
              <a:gd name="connsiteX12200" fmla="*/ 2961377 w 12192185"/>
              <a:gd name="connsiteY12200" fmla="*/ 6558566 h 6859062"/>
              <a:gd name="connsiteX12201" fmla="*/ 2960254 w 12192185"/>
              <a:gd name="connsiteY12201" fmla="*/ 6562460 h 6859062"/>
              <a:gd name="connsiteX12202" fmla="*/ 2954106 w 12192185"/>
              <a:gd name="connsiteY12202" fmla="*/ 6569124 h 6859062"/>
              <a:gd name="connsiteX12203" fmla="*/ 2941962 w 12192185"/>
              <a:gd name="connsiteY12203" fmla="*/ 6578274 h 6859062"/>
              <a:gd name="connsiteX12204" fmla="*/ 2938376 w 12192185"/>
              <a:gd name="connsiteY12204" fmla="*/ 6582161 h 6859062"/>
              <a:gd name="connsiteX12205" fmla="*/ 2934006 w 12192185"/>
              <a:gd name="connsiteY12205" fmla="*/ 6582658 h 6859062"/>
              <a:gd name="connsiteX12206" fmla="*/ 2925880 w 12192185"/>
              <a:gd name="connsiteY12206" fmla="*/ 6582772 h 6859062"/>
              <a:gd name="connsiteX12207" fmla="*/ 2922905 w 12192185"/>
              <a:gd name="connsiteY12207" fmla="*/ 6583321 h 6859062"/>
              <a:gd name="connsiteX12208" fmla="*/ 2912133 w 12192185"/>
              <a:gd name="connsiteY12208" fmla="*/ 6581618 h 6859062"/>
              <a:gd name="connsiteX12209" fmla="*/ 2909673 w 12192185"/>
              <a:gd name="connsiteY12209" fmla="*/ 6581610 h 6859062"/>
              <a:gd name="connsiteX12210" fmla="*/ 2890817 w 12192185"/>
              <a:gd name="connsiteY12210" fmla="*/ 6560347 h 6859062"/>
              <a:gd name="connsiteX12211" fmla="*/ 2887508 w 12192185"/>
              <a:gd name="connsiteY12211" fmla="*/ 6544978 h 6859062"/>
              <a:gd name="connsiteX12212" fmla="*/ 2886827 w 12192185"/>
              <a:gd name="connsiteY12212" fmla="*/ 6538805 h 6859062"/>
              <a:gd name="connsiteX12213" fmla="*/ 2888092 w 12192185"/>
              <a:gd name="connsiteY12213" fmla="*/ 6533194 h 6859062"/>
              <a:gd name="connsiteX12214" fmla="*/ 2889810 w 12192185"/>
              <a:gd name="connsiteY12214" fmla="*/ 6530111 h 6859062"/>
              <a:gd name="connsiteX12215" fmla="*/ 2820292 w 12192185"/>
              <a:gd name="connsiteY12215" fmla="*/ 6513018 h 6859062"/>
              <a:gd name="connsiteX12216" fmla="*/ 2871284 w 12192185"/>
              <a:gd name="connsiteY12216" fmla="*/ 6555976 h 6859062"/>
              <a:gd name="connsiteX12217" fmla="*/ 2695986 w 12192185"/>
              <a:gd name="connsiteY12217" fmla="*/ 6503147 h 6859062"/>
              <a:gd name="connsiteX12218" fmla="*/ 2536934 w 12192185"/>
              <a:gd name="connsiteY12218" fmla="*/ 6441155 h 6859062"/>
              <a:gd name="connsiteX12219" fmla="*/ 2526786 w 12192185"/>
              <a:gd name="connsiteY12219" fmla="*/ 6443760 h 6859062"/>
              <a:gd name="connsiteX12220" fmla="*/ 2511401 w 12192185"/>
              <a:gd name="connsiteY12220" fmla="*/ 6455151 h 6859062"/>
              <a:gd name="connsiteX12221" fmla="*/ 2511692 w 12192185"/>
              <a:gd name="connsiteY12221" fmla="*/ 6456460 h 6859062"/>
              <a:gd name="connsiteX12222" fmla="*/ 2591088 w 12192185"/>
              <a:gd name="connsiteY12222" fmla="*/ 6495545 h 6859062"/>
              <a:gd name="connsiteX12223" fmla="*/ 2743330 w 12192185"/>
              <a:gd name="connsiteY12223" fmla="*/ 6545127 h 6859062"/>
              <a:gd name="connsiteX12224" fmla="*/ 2814627 w 12192185"/>
              <a:gd name="connsiteY12224" fmla="*/ 6577902 h 6859062"/>
              <a:gd name="connsiteX12225" fmla="*/ 3133792 w 12192185"/>
              <a:gd name="connsiteY12225" fmla="*/ 6647797 h 6859062"/>
              <a:gd name="connsiteX12226" fmla="*/ 3315594 w 12192185"/>
              <a:gd name="connsiteY12226" fmla="*/ 6670421 h 6859062"/>
              <a:gd name="connsiteX12227" fmla="*/ 3406809 w 12192185"/>
              <a:gd name="connsiteY12227" fmla="*/ 6677463 h 6859062"/>
              <a:gd name="connsiteX12228" fmla="*/ 3413963 w 12192185"/>
              <a:gd name="connsiteY12228" fmla="*/ 6667422 h 6859062"/>
              <a:gd name="connsiteX12229" fmla="*/ 3421702 w 12192185"/>
              <a:gd name="connsiteY12229" fmla="*/ 6665386 h 6859062"/>
              <a:gd name="connsiteX12230" fmla="*/ 3433093 w 12192185"/>
              <a:gd name="connsiteY12230" fmla="*/ 6657287 h 6859062"/>
              <a:gd name="connsiteX12231" fmla="*/ 3437125 w 12192185"/>
              <a:gd name="connsiteY12231" fmla="*/ 6653231 h 6859062"/>
              <a:gd name="connsiteX12232" fmla="*/ 3453863 w 12192185"/>
              <a:gd name="connsiteY12232" fmla="*/ 6644777 h 6859062"/>
              <a:gd name="connsiteX12233" fmla="*/ 3464793 w 12192185"/>
              <a:gd name="connsiteY12233" fmla="*/ 6649831 h 6859062"/>
              <a:gd name="connsiteX12234" fmla="*/ 3472704 w 12192185"/>
              <a:gd name="connsiteY12234" fmla="*/ 6658756 h 6859062"/>
              <a:gd name="connsiteX12235" fmla="*/ 3476214 w 12192185"/>
              <a:gd name="connsiteY12235" fmla="*/ 6666412 h 6859062"/>
              <a:gd name="connsiteX12236" fmla="*/ 3471663 w 12192185"/>
              <a:gd name="connsiteY12236" fmla="*/ 6682180 h 6859062"/>
              <a:gd name="connsiteX12237" fmla="*/ 3471197 w 12192185"/>
              <a:gd name="connsiteY12237" fmla="*/ 6682435 h 6859062"/>
              <a:gd name="connsiteX12238" fmla="*/ 3497495 w 12192185"/>
              <a:gd name="connsiteY12238" fmla="*/ 6684466 h 6859062"/>
              <a:gd name="connsiteX12239" fmla="*/ 3638852 w 12192185"/>
              <a:gd name="connsiteY12239" fmla="*/ 6688311 h 6859062"/>
              <a:gd name="connsiteX12240" fmla="*/ 3638763 w 12192185"/>
              <a:gd name="connsiteY12240" fmla="*/ 6687484 h 6859062"/>
              <a:gd name="connsiteX12241" fmla="*/ 3640029 w 12192185"/>
              <a:gd name="connsiteY12241" fmla="*/ 6681873 h 6859062"/>
              <a:gd name="connsiteX12242" fmla="*/ 3642222 w 12192185"/>
              <a:gd name="connsiteY12242" fmla="*/ 6677936 h 6859062"/>
              <a:gd name="connsiteX12243" fmla="*/ 3646377 w 12192185"/>
              <a:gd name="connsiteY12243" fmla="*/ 6669642 h 6859062"/>
              <a:gd name="connsiteX12244" fmla="*/ 3647636 w 12192185"/>
              <a:gd name="connsiteY12244" fmla="*/ 6666491 h 6859062"/>
              <a:gd name="connsiteX12245" fmla="*/ 3650860 w 12192185"/>
              <a:gd name="connsiteY12245" fmla="*/ 6658984 h 6859062"/>
              <a:gd name="connsiteX12246" fmla="*/ 3670762 w 12192185"/>
              <a:gd name="connsiteY12246" fmla="*/ 6651017 h 6859062"/>
              <a:gd name="connsiteX12247" fmla="*/ 3681250 w 12192185"/>
              <a:gd name="connsiteY12247" fmla="*/ 6653693 h 6859062"/>
              <a:gd name="connsiteX12248" fmla="*/ 3700413 w 12192185"/>
              <a:gd name="connsiteY12248" fmla="*/ 6664145 h 6859062"/>
              <a:gd name="connsiteX12249" fmla="*/ 3705092 w 12192185"/>
              <a:gd name="connsiteY12249" fmla="*/ 6668660 h 6859062"/>
              <a:gd name="connsiteX12250" fmla="*/ 3709765 w 12192185"/>
              <a:gd name="connsiteY12250" fmla="*/ 6675635 h 6859062"/>
              <a:gd name="connsiteX12251" fmla="*/ 3712166 w 12192185"/>
              <a:gd name="connsiteY12251" fmla="*/ 6681952 h 6859062"/>
              <a:gd name="connsiteX12252" fmla="*/ 3712349 w 12192185"/>
              <a:gd name="connsiteY12252" fmla="*/ 6688587 h 6859062"/>
              <a:gd name="connsiteX12253" fmla="*/ 3862152 w 12192185"/>
              <a:gd name="connsiteY12253" fmla="*/ 6684772 h 6859062"/>
              <a:gd name="connsiteX12254" fmla="*/ 4087841 w 12192185"/>
              <a:gd name="connsiteY12254" fmla="*/ 6656140 h 6859062"/>
              <a:gd name="connsiteX12255" fmla="*/ 4130686 w 12192185"/>
              <a:gd name="connsiteY12255" fmla="*/ 6648133 h 6859062"/>
              <a:gd name="connsiteX12256" fmla="*/ 4130668 w 12192185"/>
              <a:gd name="connsiteY12256" fmla="*/ 6648113 h 6859062"/>
              <a:gd name="connsiteX12257" fmla="*/ 4127358 w 12192185"/>
              <a:gd name="connsiteY12257" fmla="*/ 6632745 h 6859062"/>
              <a:gd name="connsiteX12258" fmla="*/ 4126676 w 12192185"/>
              <a:gd name="connsiteY12258" fmla="*/ 6626571 h 6859062"/>
              <a:gd name="connsiteX12259" fmla="*/ 4127943 w 12192185"/>
              <a:gd name="connsiteY12259" fmla="*/ 6620960 h 6859062"/>
              <a:gd name="connsiteX12260" fmla="*/ 4130137 w 12192185"/>
              <a:gd name="connsiteY12260" fmla="*/ 6617023 h 6859062"/>
              <a:gd name="connsiteX12261" fmla="*/ 4134290 w 12192185"/>
              <a:gd name="connsiteY12261" fmla="*/ 6608729 h 6859062"/>
              <a:gd name="connsiteX12262" fmla="*/ 4135552 w 12192185"/>
              <a:gd name="connsiteY12262" fmla="*/ 6605578 h 6859062"/>
              <a:gd name="connsiteX12263" fmla="*/ 4138775 w 12192185"/>
              <a:gd name="connsiteY12263" fmla="*/ 6598071 h 6859062"/>
              <a:gd name="connsiteX12264" fmla="*/ 4158676 w 12192185"/>
              <a:gd name="connsiteY12264" fmla="*/ 6590104 h 6859062"/>
              <a:gd name="connsiteX12265" fmla="*/ 4169167 w 12192185"/>
              <a:gd name="connsiteY12265" fmla="*/ 6592781 h 6859062"/>
              <a:gd name="connsiteX12266" fmla="*/ 4188326 w 12192185"/>
              <a:gd name="connsiteY12266" fmla="*/ 6603232 h 6859062"/>
              <a:gd name="connsiteX12267" fmla="*/ 4193007 w 12192185"/>
              <a:gd name="connsiteY12267" fmla="*/ 6607747 h 6859062"/>
              <a:gd name="connsiteX12268" fmla="*/ 4197662 w 12192185"/>
              <a:gd name="connsiteY12268" fmla="*/ 6614722 h 6859062"/>
              <a:gd name="connsiteX12269" fmla="*/ 4200063 w 12192185"/>
              <a:gd name="connsiteY12269" fmla="*/ 6621040 h 6859062"/>
              <a:gd name="connsiteX12270" fmla="*/ 4200444 w 12192185"/>
              <a:gd name="connsiteY12270" fmla="*/ 6635089 h 6859062"/>
              <a:gd name="connsiteX12271" fmla="*/ 4312688 w 12192185"/>
              <a:gd name="connsiteY12271" fmla="*/ 6614111 h 6859062"/>
              <a:gd name="connsiteX12272" fmla="*/ 4357172 w 12192185"/>
              <a:gd name="connsiteY12272" fmla="*/ 6608455 h 6859062"/>
              <a:gd name="connsiteX12273" fmla="*/ 4292346 w 12192185"/>
              <a:gd name="connsiteY12273" fmla="*/ 6653579 h 6859062"/>
              <a:gd name="connsiteX12274" fmla="*/ 4198774 w 12192185"/>
              <a:gd name="connsiteY12274" fmla="*/ 6662285 h 6859062"/>
              <a:gd name="connsiteX12275" fmla="*/ 4182963 w 12192185"/>
              <a:gd name="connsiteY12275" fmla="*/ 6665174 h 6859062"/>
              <a:gd name="connsiteX12276" fmla="*/ 4181814 w 12192185"/>
              <a:gd name="connsiteY12276" fmla="*/ 6666040 h 6859062"/>
              <a:gd name="connsiteX12277" fmla="*/ 4178229 w 12192185"/>
              <a:gd name="connsiteY12277" fmla="*/ 6669927 h 6859062"/>
              <a:gd name="connsiteX12278" fmla="*/ 4173859 w 12192185"/>
              <a:gd name="connsiteY12278" fmla="*/ 6670424 h 6859062"/>
              <a:gd name="connsiteX12279" fmla="*/ 4170356 w 12192185"/>
              <a:gd name="connsiteY12279" fmla="*/ 6667475 h 6859062"/>
              <a:gd name="connsiteX12280" fmla="*/ 4168682 w 12192185"/>
              <a:gd name="connsiteY12280" fmla="*/ 6667781 h 6859062"/>
              <a:gd name="connsiteX12281" fmla="*/ 4165729 w 12192185"/>
              <a:gd name="connsiteY12281" fmla="*/ 6670539 h 6859062"/>
              <a:gd name="connsiteX12282" fmla="*/ 4162756 w 12192185"/>
              <a:gd name="connsiteY12282" fmla="*/ 6671087 h 6859062"/>
              <a:gd name="connsiteX12283" fmla="*/ 4160318 w 12192185"/>
              <a:gd name="connsiteY12283" fmla="*/ 6669308 h 6859062"/>
              <a:gd name="connsiteX12284" fmla="*/ 4106331 w 12192185"/>
              <a:gd name="connsiteY12284" fmla="*/ 6679159 h 6859062"/>
              <a:gd name="connsiteX12285" fmla="*/ 3921185 w 12192185"/>
              <a:gd name="connsiteY12285" fmla="*/ 6712306 h 6859062"/>
              <a:gd name="connsiteX12286" fmla="*/ 3698517 w 12192185"/>
              <a:gd name="connsiteY12286" fmla="*/ 6723473 h 6859062"/>
              <a:gd name="connsiteX12287" fmla="*/ 3693898 w 12192185"/>
              <a:gd name="connsiteY12287" fmla="*/ 6726953 h 6859062"/>
              <a:gd name="connsiteX12288" fmla="*/ 3690314 w 12192185"/>
              <a:gd name="connsiteY12288" fmla="*/ 6730840 h 6859062"/>
              <a:gd name="connsiteX12289" fmla="*/ 3685944 w 12192185"/>
              <a:gd name="connsiteY12289" fmla="*/ 6731337 h 6859062"/>
              <a:gd name="connsiteX12290" fmla="*/ 3677817 w 12192185"/>
              <a:gd name="connsiteY12290" fmla="*/ 6731452 h 6859062"/>
              <a:gd name="connsiteX12291" fmla="*/ 3674842 w 12192185"/>
              <a:gd name="connsiteY12291" fmla="*/ 6732000 h 6859062"/>
              <a:gd name="connsiteX12292" fmla="*/ 3664070 w 12192185"/>
              <a:gd name="connsiteY12292" fmla="*/ 6730296 h 6859062"/>
              <a:gd name="connsiteX12293" fmla="*/ 3661609 w 12192185"/>
              <a:gd name="connsiteY12293" fmla="*/ 6730289 h 6859062"/>
              <a:gd name="connsiteX12294" fmla="*/ 3657395 w 12192185"/>
              <a:gd name="connsiteY12294" fmla="*/ 6725536 h 6859062"/>
              <a:gd name="connsiteX12295" fmla="*/ 3623421 w 12192185"/>
              <a:gd name="connsiteY12295" fmla="*/ 6727240 h 6859062"/>
              <a:gd name="connsiteX12296" fmla="*/ 2748989 w 12192185"/>
              <a:gd name="connsiteY12296" fmla="*/ 6589609 h 6859062"/>
              <a:gd name="connsiteX12297" fmla="*/ 2633126 w 12192185"/>
              <a:gd name="connsiteY12297" fmla="*/ 6545716 h 6859062"/>
              <a:gd name="connsiteX12298" fmla="*/ 2522306 w 12192185"/>
              <a:gd name="connsiteY12298" fmla="*/ 6495176 h 6859062"/>
              <a:gd name="connsiteX12299" fmla="*/ 2521662 w 12192185"/>
              <a:gd name="connsiteY12299" fmla="*/ 6500428 h 6859062"/>
              <a:gd name="connsiteX12300" fmla="*/ 2520934 w 12192185"/>
              <a:gd name="connsiteY12300" fmla="*/ 6516914 h 6859062"/>
              <a:gd name="connsiteX12301" fmla="*/ 2518827 w 12192185"/>
              <a:gd name="connsiteY12301" fmla="*/ 6523214 h 6859062"/>
              <a:gd name="connsiteX12302" fmla="*/ 2507197 w 12192185"/>
              <a:gd name="connsiteY12302" fmla="*/ 6537863 h 6859062"/>
              <a:gd name="connsiteX12303" fmla="*/ 2508865 w 12192185"/>
              <a:gd name="connsiteY12303" fmla="*/ 6538633 h 6859062"/>
              <a:gd name="connsiteX12304" fmla="*/ 2735710 w 12192185"/>
              <a:gd name="connsiteY12304" fmla="*/ 6617298 h 6859062"/>
              <a:gd name="connsiteX12305" fmla="*/ 2997465 w 12192185"/>
              <a:gd name="connsiteY12305" fmla="*/ 6689144 h 6859062"/>
              <a:gd name="connsiteX12306" fmla="*/ 3119702 w 12192185"/>
              <a:gd name="connsiteY12306" fmla="*/ 6715502 h 6859062"/>
              <a:gd name="connsiteX12307" fmla="*/ 3120297 w 12192185"/>
              <a:gd name="connsiteY12307" fmla="*/ 6715191 h 6859062"/>
              <a:gd name="connsiteX12308" fmla="*/ 3129892 w 12192185"/>
              <a:gd name="connsiteY12308" fmla="*/ 6712441 h 6859062"/>
              <a:gd name="connsiteX12309" fmla="*/ 3139656 w 12192185"/>
              <a:gd name="connsiteY12309" fmla="*/ 6714932 h 6859062"/>
              <a:gd name="connsiteX12310" fmla="*/ 3149711 w 12192185"/>
              <a:gd name="connsiteY12310" fmla="*/ 6717548 h 6859062"/>
              <a:gd name="connsiteX12311" fmla="*/ 3153694 w 12192185"/>
              <a:gd name="connsiteY12311" fmla="*/ 6721190 h 6859062"/>
              <a:gd name="connsiteX12312" fmla="*/ 3264080 w 12192185"/>
              <a:gd name="connsiteY12312" fmla="*/ 6737391 h 6859062"/>
              <a:gd name="connsiteX12313" fmla="*/ 3469151 w 12192185"/>
              <a:gd name="connsiteY12313" fmla="*/ 6788436 h 6859062"/>
              <a:gd name="connsiteX12314" fmla="*/ 3296235 w 12192185"/>
              <a:gd name="connsiteY12314" fmla="*/ 6770909 h 6859062"/>
              <a:gd name="connsiteX12315" fmla="*/ 3168741 w 12192185"/>
              <a:gd name="connsiteY12315" fmla="*/ 6752692 h 6859062"/>
              <a:gd name="connsiteX12316" fmla="*/ 3168825 w 12192185"/>
              <a:gd name="connsiteY12316" fmla="*/ 6755740 h 6859062"/>
              <a:gd name="connsiteX12317" fmla="*/ 3169495 w 12192185"/>
              <a:gd name="connsiteY12317" fmla="*/ 6764766 h 6859062"/>
              <a:gd name="connsiteX12318" fmla="*/ 3168451 w 12192185"/>
              <a:gd name="connsiteY12318" fmla="*/ 6768391 h 6859062"/>
              <a:gd name="connsiteX12319" fmla="*/ 3162727 w 12192185"/>
              <a:gd name="connsiteY12319" fmla="*/ 6774591 h 6859062"/>
              <a:gd name="connsiteX12320" fmla="*/ 3151426 w 12192185"/>
              <a:gd name="connsiteY12320" fmla="*/ 6783106 h 6859062"/>
              <a:gd name="connsiteX12321" fmla="*/ 3148090 w 12192185"/>
              <a:gd name="connsiteY12321" fmla="*/ 6786723 h 6859062"/>
              <a:gd name="connsiteX12322" fmla="*/ 3144025 w 12192185"/>
              <a:gd name="connsiteY12322" fmla="*/ 6787185 h 6859062"/>
              <a:gd name="connsiteX12323" fmla="*/ 3136461 w 12192185"/>
              <a:gd name="connsiteY12323" fmla="*/ 6787292 h 6859062"/>
              <a:gd name="connsiteX12324" fmla="*/ 3133691 w 12192185"/>
              <a:gd name="connsiteY12324" fmla="*/ 6787802 h 6859062"/>
              <a:gd name="connsiteX12325" fmla="*/ 3123668 w 12192185"/>
              <a:gd name="connsiteY12325" fmla="*/ 6786217 h 6859062"/>
              <a:gd name="connsiteX12326" fmla="*/ 3121375 w 12192185"/>
              <a:gd name="connsiteY12326" fmla="*/ 6786210 h 6859062"/>
              <a:gd name="connsiteX12327" fmla="*/ 3103829 w 12192185"/>
              <a:gd name="connsiteY12327" fmla="*/ 6766423 h 6859062"/>
              <a:gd name="connsiteX12328" fmla="*/ 3100750 w 12192185"/>
              <a:gd name="connsiteY12328" fmla="*/ 6752122 h 6859062"/>
              <a:gd name="connsiteX12329" fmla="*/ 3100116 w 12192185"/>
              <a:gd name="connsiteY12329" fmla="*/ 6746377 h 6859062"/>
              <a:gd name="connsiteX12330" fmla="*/ 3101115 w 12192185"/>
              <a:gd name="connsiteY12330" fmla="*/ 6741949 h 6859062"/>
              <a:gd name="connsiteX12331" fmla="*/ 3077372 w 12192185"/>
              <a:gd name="connsiteY12331" fmla="*/ 6737457 h 6859062"/>
              <a:gd name="connsiteX12332" fmla="*/ 3079124 w 12192185"/>
              <a:gd name="connsiteY12332" fmla="*/ 6742065 h 6859062"/>
              <a:gd name="connsiteX12333" fmla="*/ 3079523 w 12192185"/>
              <a:gd name="connsiteY12333" fmla="*/ 6756574 h 6859062"/>
              <a:gd name="connsiteX12334" fmla="*/ 3080192 w 12192185"/>
              <a:gd name="connsiteY12334" fmla="*/ 6765601 h 6859062"/>
              <a:gd name="connsiteX12335" fmla="*/ 3079146 w 12192185"/>
              <a:gd name="connsiteY12335" fmla="*/ 6769226 h 6859062"/>
              <a:gd name="connsiteX12336" fmla="*/ 3073425 w 12192185"/>
              <a:gd name="connsiteY12336" fmla="*/ 6775426 h 6859062"/>
              <a:gd name="connsiteX12337" fmla="*/ 3062123 w 12192185"/>
              <a:gd name="connsiteY12337" fmla="*/ 6783940 h 6859062"/>
              <a:gd name="connsiteX12338" fmla="*/ 3058786 w 12192185"/>
              <a:gd name="connsiteY12338" fmla="*/ 6787558 h 6859062"/>
              <a:gd name="connsiteX12339" fmla="*/ 3054721 w 12192185"/>
              <a:gd name="connsiteY12339" fmla="*/ 6788021 h 6859062"/>
              <a:gd name="connsiteX12340" fmla="*/ 3047156 w 12192185"/>
              <a:gd name="connsiteY12340" fmla="*/ 6788127 h 6859062"/>
              <a:gd name="connsiteX12341" fmla="*/ 3044388 w 12192185"/>
              <a:gd name="connsiteY12341" fmla="*/ 6788636 h 6859062"/>
              <a:gd name="connsiteX12342" fmla="*/ 3034363 w 12192185"/>
              <a:gd name="connsiteY12342" fmla="*/ 6787052 h 6859062"/>
              <a:gd name="connsiteX12343" fmla="*/ 3032073 w 12192185"/>
              <a:gd name="connsiteY12343" fmla="*/ 6787045 h 6859062"/>
              <a:gd name="connsiteX12344" fmla="*/ 3014528 w 12192185"/>
              <a:gd name="connsiteY12344" fmla="*/ 6767259 h 6859062"/>
              <a:gd name="connsiteX12345" fmla="*/ 3011450 w 12192185"/>
              <a:gd name="connsiteY12345" fmla="*/ 6752956 h 6859062"/>
              <a:gd name="connsiteX12346" fmla="*/ 3010815 w 12192185"/>
              <a:gd name="connsiteY12346" fmla="*/ 6747212 h 6859062"/>
              <a:gd name="connsiteX12347" fmla="*/ 3011994 w 12192185"/>
              <a:gd name="connsiteY12347" fmla="*/ 6741990 h 6859062"/>
              <a:gd name="connsiteX12348" fmla="*/ 3014032 w 12192185"/>
              <a:gd name="connsiteY12348" fmla="*/ 6738326 h 6859062"/>
              <a:gd name="connsiteX12349" fmla="*/ 3017899 w 12192185"/>
              <a:gd name="connsiteY12349" fmla="*/ 6730608 h 6859062"/>
              <a:gd name="connsiteX12350" fmla="*/ 3019073 w 12192185"/>
              <a:gd name="connsiteY12350" fmla="*/ 6727676 h 6859062"/>
              <a:gd name="connsiteX12351" fmla="*/ 3019568 w 12192185"/>
              <a:gd name="connsiteY12351" fmla="*/ 6726522 h 6859062"/>
              <a:gd name="connsiteX12352" fmla="*/ 2954030 w 12192185"/>
              <a:gd name="connsiteY12352" fmla="*/ 6714123 h 6859062"/>
              <a:gd name="connsiteX12353" fmla="*/ 2785106 w 12192185"/>
              <a:gd name="connsiteY12353" fmla="*/ 6673498 h 6859062"/>
              <a:gd name="connsiteX12354" fmla="*/ 2455908 w 12192185"/>
              <a:gd name="connsiteY12354" fmla="*/ 6560878 h 6859062"/>
              <a:gd name="connsiteX12355" fmla="*/ 2450543 w 12192185"/>
              <a:gd name="connsiteY12355" fmla="*/ 6558442 h 6859062"/>
              <a:gd name="connsiteX12356" fmla="*/ 2442141 w 12192185"/>
              <a:gd name="connsiteY12356" fmla="*/ 6562394 h 6859062"/>
              <a:gd name="connsiteX12357" fmla="*/ 2437742 w 12192185"/>
              <a:gd name="connsiteY12357" fmla="*/ 6562671 h 6859062"/>
              <a:gd name="connsiteX12358" fmla="*/ 2436376 w 12192185"/>
              <a:gd name="connsiteY12358" fmla="*/ 6558426 h 6859062"/>
              <a:gd name="connsiteX12359" fmla="*/ 2436498 w 12192185"/>
              <a:gd name="connsiteY12359" fmla="*/ 6555008 h 6859062"/>
              <a:gd name="connsiteX12360" fmla="*/ 2435480 w 12192185"/>
              <a:gd name="connsiteY12360" fmla="*/ 6551603 h 6859062"/>
              <a:gd name="connsiteX12361" fmla="*/ 2434077 w 12192185"/>
              <a:gd name="connsiteY12361" fmla="*/ 6550966 h 6859062"/>
              <a:gd name="connsiteX12362" fmla="*/ 2431033 w 12192185"/>
              <a:gd name="connsiteY12362" fmla="*/ 6551990 h 6859062"/>
              <a:gd name="connsiteX12363" fmla="*/ 2423440 w 12192185"/>
              <a:gd name="connsiteY12363" fmla="*/ 6548361 h 6859062"/>
              <a:gd name="connsiteX12364" fmla="*/ 2423076 w 12192185"/>
              <a:gd name="connsiteY12364" fmla="*/ 6545971 h 6859062"/>
              <a:gd name="connsiteX12365" fmla="*/ 2416998 w 12192185"/>
              <a:gd name="connsiteY12365" fmla="*/ 6543212 h 6859062"/>
              <a:gd name="connsiteX12366" fmla="*/ 2415429 w 12192185"/>
              <a:gd name="connsiteY12366" fmla="*/ 6545184 h 6859062"/>
              <a:gd name="connsiteX12367" fmla="*/ 2414718 w 12192185"/>
              <a:gd name="connsiteY12367" fmla="*/ 6549332 h 6859062"/>
              <a:gd name="connsiteX12368" fmla="*/ 2409399 w 12192185"/>
              <a:gd name="connsiteY12368" fmla="*/ 6539761 h 6859062"/>
              <a:gd name="connsiteX12369" fmla="*/ 2297832 w 12192185"/>
              <a:gd name="connsiteY12369" fmla="*/ 6489105 h 6859062"/>
              <a:gd name="connsiteX12370" fmla="*/ 2143893 w 12192185"/>
              <a:gd name="connsiteY12370" fmla="*/ 6405991 h 6859062"/>
              <a:gd name="connsiteX12371" fmla="*/ 2418673 w 12192185"/>
              <a:gd name="connsiteY12371" fmla="*/ 6564084 h 6859062"/>
              <a:gd name="connsiteX12372" fmla="*/ 2422102 w 12192185"/>
              <a:gd name="connsiteY12372" fmla="*/ 6565775 h 6859062"/>
              <a:gd name="connsiteX12373" fmla="*/ 2430910 w 12192185"/>
              <a:gd name="connsiteY12373" fmla="*/ 6563250 h 6859062"/>
              <a:gd name="connsiteX12374" fmla="*/ 2441401 w 12192185"/>
              <a:gd name="connsiteY12374" fmla="*/ 6565927 h 6859062"/>
              <a:gd name="connsiteX12375" fmla="*/ 2460561 w 12192185"/>
              <a:gd name="connsiteY12375" fmla="*/ 6576380 h 6859062"/>
              <a:gd name="connsiteX12376" fmla="*/ 2465241 w 12192185"/>
              <a:gd name="connsiteY12376" fmla="*/ 6580894 h 6859062"/>
              <a:gd name="connsiteX12377" fmla="*/ 2469917 w 12192185"/>
              <a:gd name="connsiteY12377" fmla="*/ 6587868 h 6859062"/>
              <a:gd name="connsiteX12378" fmla="*/ 2470611 w 12192185"/>
              <a:gd name="connsiteY12378" fmla="*/ 6589698 h 6859062"/>
              <a:gd name="connsiteX12379" fmla="*/ 2702676 w 12192185"/>
              <a:gd name="connsiteY12379" fmla="*/ 6704143 h 6859062"/>
              <a:gd name="connsiteX12380" fmla="*/ 2698411 w 12192185"/>
              <a:gd name="connsiteY12380" fmla="*/ 6712765 h 6859062"/>
              <a:gd name="connsiteX12381" fmla="*/ 2532002 w 12192185"/>
              <a:gd name="connsiteY12381" fmla="*/ 6648645 h 6859062"/>
              <a:gd name="connsiteX12382" fmla="*/ 2472765 w 12192185"/>
              <a:gd name="connsiteY12382" fmla="*/ 6621906 h 6859062"/>
              <a:gd name="connsiteX12383" fmla="*/ 2472340 w 12192185"/>
              <a:gd name="connsiteY12383" fmla="*/ 6623374 h 6859062"/>
              <a:gd name="connsiteX12384" fmla="*/ 2466194 w 12192185"/>
              <a:gd name="connsiteY12384" fmla="*/ 6630037 h 6859062"/>
              <a:gd name="connsiteX12385" fmla="*/ 2454049 w 12192185"/>
              <a:gd name="connsiteY12385" fmla="*/ 6639187 h 6859062"/>
              <a:gd name="connsiteX12386" fmla="*/ 2450463 w 12192185"/>
              <a:gd name="connsiteY12386" fmla="*/ 6643075 h 6859062"/>
              <a:gd name="connsiteX12387" fmla="*/ 2446095 w 12192185"/>
              <a:gd name="connsiteY12387" fmla="*/ 6643571 h 6859062"/>
              <a:gd name="connsiteX12388" fmla="*/ 2437965 w 12192185"/>
              <a:gd name="connsiteY12388" fmla="*/ 6643685 h 6859062"/>
              <a:gd name="connsiteX12389" fmla="*/ 2434991 w 12192185"/>
              <a:gd name="connsiteY12389" fmla="*/ 6644234 h 6859062"/>
              <a:gd name="connsiteX12390" fmla="*/ 2424219 w 12192185"/>
              <a:gd name="connsiteY12390" fmla="*/ 6642531 h 6859062"/>
              <a:gd name="connsiteX12391" fmla="*/ 2421756 w 12192185"/>
              <a:gd name="connsiteY12391" fmla="*/ 6642524 h 6859062"/>
              <a:gd name="connsiteX12392" fmla="*/ 2402902 w 12192185"/>
              <a:gd name="connsiteY12392" fmla="*/ 6621260 h 6859062"/>
              <a:gd name="connsiteX12393" fmla="*/ 2399594 w 12192185"/>
              <a:gd name="connsiteY12393" fmla="*/ 6605891 h 6859062"/>
              <a:gd name="connsiteX12394" fmla="*/ 2398912 w 12192185"/>
              <a:gd name="connsiteY12394" fmla="*/ 6599718 h 6859062"/>
              <a:gd name="connsiteX12395" fmla="*/ 2400178 w 12192185"/>
              <a:gd name="connsiteY12395" fmla="*/ 6594107 h 6859062"/>
              <a:gd name="connsiteX12396" fmla="*/ 2402370 w 12192185"/>
              <a:gd name="connsiteY12396" fmla="*/ 6590170 h 6859062"/>
              <a:gd name="connsiteX12397" fmla="*/ 2402387 w 12192185"/>
              <a:gd name="connsiteY12397" fmla="*/ 6590136 h 6859062"/>
              <a:gd name="connsiteX12398" fmla="*/ 2364974 w 12192185"/>
              <a:gd name="connsiteY12398" fmla="*/ 6573247 h 6859062"/>
              <a:gd name="connsiteX12399" fmla="*/ 2125168 w 12192185"/>
              <a:gd name="connsiteY12399" fmla="*/ 6444444 h 6859062"/>
              <a:gd name="connsiteX12400" fmla="*/ 1986745 w 12192185"/>
              <a:gd name="connsiteY12400" fmla="*/ 6354661 h 6859062"/>
              <a:gd name="connsiteX12401" fmla="*/ 1986124 w 12192185"/>
              <a:gd name="connsiteY12401" fmla="*/ 6356810 h 6859062"/>
              <a:gd name="connsiteX12402" fmla="*/ 1979977 w 12192185"/>
              <a:gd name="connsiteY12402" fmla="*/ 6363473 h 6859062"/>
              <a:gd name="connsiteX12403" fmla="*/ 1967831 w 12192185"/>
              <a:gd name="connsiteY12403" fmla="*/ 6372624 h 6859062"/>
              <a:gd name="connsiteX12404" fmla="*/ 1964245 w 12192185"/>
              <a:gd name="connsiteY12404" fmla="*/ 6376511 h 6859062"/>
              <a:gd name="connsiteX12405" fmla="*/ 1959877 w 12192185"/>
              <a:gd name="connsiteY12405" fmla="*/ 6377009 h 6859062"/>
              <a:gd name="connsiteX12406" fmla="*/ 1951748 w 12192185"/>
              <a:gd name="connsiteY12406" fmla="*/ 6377123 h 6859062"/>
              <a:gd name="connsiteX12407" fmla="*/ 1948775 w 12192185"/>
              <a:gd name="connsiteY12407" fmla="*/ 6377671 h 6859062"/>
              <a:gd name="connsiteX12408" fmla="*/ 1938002 w 12192185"/>
              <a:gd name="connsiteY12408" fmla="*/ 6375967 h 6859062"/>
              <a:gd name="connsiteX12409" fmla="*/ 1935540 w 12192185"/>
              <a:gd name="connsiteY12409" fmla="*/ 6375960 h 6859062"/>
              <a:gd name="connsiteX12410" fmla="*/ 1916684 w 12192185"/>
              <a:gd name="connsiteY12410" fmla="*/ 6354697 h 6859062"/>
              <a:gd name="connsiteX12411" fmla="*/ 1913376 w 12192185"/>
              <a:gd name="connsiteY12411" fmla="*/ 6339328 h 6859062"/>
              <a:gd name="connsiteX12412" fmla="*/ 1912694 w 12192185"/>
              <a:gd name="connsiteY12412" fmla="*/ 6333154 h 6859062"/>
              <a:gd name="connsiteX12413" fmla="*/ 1913961 w 12192185"/>
              <a:gd name="connsiteY12413" fmla="*/ 6327545 h 6859062"/>
              <a:gd name="connsiteX12414" fmla="*/ 1916154 w 12192185"/>
              <a:gd name="connsiteY12414" fmla="*/ 6323607 h 6859062"/>
              <a:gd name="connsiteX12415" fmla="*/ 1920307 w 12192185"/>
              <a:gd name="connsiteY12415" fmla="*/ 6315314 h 6859062"/>
              <a:gd name="connsiteX12416" fmla="*/ 1921499 w 12192185"/>
              <a:gd name="connsiteY12416" fmla="*/ 6312337 h 6859062"/>
              <a:gd name="connsiteX12417" fmla="*/ 1898129 w 12192185"/>
              <a:gd name="connsiteY12417" fmla="*/ 6297178 h 6859062"/>
              <a:gd name="connsiteX12418" fmla="*/ 1853097 w 12192185"/>
              <a:gd name="connsiteY12418" fmla="*/ 6263408 h 6859062"/>
              <a:gd name="connsiteX12419" fmla="*/ 1853066 w 12192185"/>
              <a:gd name="connsiteY12419" fmla="*/ 6263665 h 6859062"/>
              <a:gd name="connsiteX12420" fmla="*/ 1855428 w 12192185"/>
              <a:gd name="connsiteY12420" fmla="*/ 6267589 h 6859062"/>
              <a:gd name="connsiteX12421" fmla="*/ 1854922 w 12192185"/>
              <a:gd name="connsiteY12421" fmla="*/ 6271934 h 6859062"/>
              <a:gd name="connsiteX12422" fmla="*/ 1851138 w 12192185"/>
              <a:gd name="connsiteY12422" fmla="*/ 6270343 h 6859062"/>
              <a:gd name="connsiteX12423" fmla="*/ 1847789 w 12192185"/>
              <a:gd name="connsiteY12423" fmla="*/ 6266382 h 6859062"/>
              <a:gd name="connsiteX12424" fmla="*/ 1841599 w 12192185"/>
              <a:gd name="connsiteY12424" fmla="*/ 6265345 h 6859062"/>
              <a:gd name="connsiteX12425" fmla="*/ 1840137 w 12192185"/>
              <a:gd name="connsiteY12425" fmla="*/ 6270410 h 6859062"/>
              <a:gd name="connsiteX12426" fmla="*/ 1861018 w 12192185"/>
              <a:gd name="connsiteY12426" fmla="*/ 6283672 h 6859062"/>
              <a:gd name="connsiteX12427" fmla="*/ 1865950 w 12192185"/>
              <a:gd name="connsiteY12427" fmla="*/ 6287341 h 6859062"/>
              <a:gd name="connsiteX12428" fmla="*/ 1871940 w 12192185"/>
              <a:gd name="connsiteY12428" fmla="*/ 6302042 h 6859062"/>
              <a:gd name="connsiteX12429" fmla="*/ 1874200 w 12192185"/>
              <a:gd name="connsiteY12429" fmla="*/ 6307184 h 6859062"/>
              <a:gd name="connsiteX12430" fmla="*/ 1873729 w 12192185"/>
              <a:gd name="connsiteY12430" fmla="*/ 6323513 h 6859062"/>
              <a:gd name="connsiteX12431" fmla="*/ 1871066 w 12192185"/>
              <a:gd name="connsiteY12431" fmla="*/ 6334470 h 6859062"/>
              <a:gd name="connsiteX12432" fmla="*/ 1873184 w 12192185"/>
              <a:gd name="connsiteY12432" fmla="*/ 6343563 h 6859062"/>
              <a:gd name="connsiteX12433" fmla="*/ 1873875 w 12192185"/>
              <a:gd name="connsiteY12433" fmla="*/ 6343762 h 6859062"/>
              <a:gd name="connsiteX12434" fmla="*/ 1877455 w 12192185"/>
              <a:gd name="connsiteY12434" fmla="*/ 6347789 h 6859062"/>
              <a:gd name="connsiteX12435" fmla="*/ 1873499 w 12192185"/>
              <a:gd name="connsiteY12435" fmla="*/ 6349392 h 6859062"/>
              <a:gd name="connsiteX12436" fmla="*/ 1859395 w 12192185"/>
              <a:gd name="connsiteY12436" fmla="*/ 6364530 h 6859062"/>
              <a:gd name="connsiteX12437" fmla="*/ 1855035 w 12192185"/>
              <a:gd name="connsiteY12437" fmla="*/ 6369258 h 6859062"/>
              <a:gd name="connsiteX12438" fmla="*/ 1850356 w 12192185"/>
              <a:gd name="connsiteY12438" fmla="*/ 6369904 h 6859062"/>
              <a:gd name="connsiteX12439" fmla="*/ 1847019 w 12192185"/>
              <a:gd name="connsiteY12439" fmla="*/ 6373680 h 6859062"/>
              <a:gd name="connsiteX12440" fmla="*/ 1847628 w 12192185"/>
              <a:gd name="connsiteY12440" fmla="*/ 6375441 h 6859062"/>
              <a:gd name="connsiteX12441" fmla="*/ 1824452 w 12192185"/>
              <a:gd name="connsiteY12441" fmla="*/ 6388152 h 6859062"/>
              <a:gd name="connsiteX12442" fmla="*/ 1825845 w 12192185"/>
              <a:gd name="connsiteY12442" fmla="*/ 6384782 h 6859062"/>
              <a:gd name="connsiteX12443" fmla="*/ 1825362 w 12192185"/>
              <a:gd name="connsiteY12443" fmla="*/ 6380401 h 6859062"/>
              <a:gd name="connsiteX12444" fmla="*/ 1820749 w 12192185"/>
              <a:gd name="connsiteY12444" fmla="*/ 6380817 h 6859062"/>
              <a:gd name="connsiteX12445" fmla="*/ 1818504 w 12192185"/>
              <a:gd name="connsiteY12445" fmla="*/ 6383411 h 6859062"/>
              <a:gd name="connsiteX12446" fmla="*/ 1811259 w 12192185"/>
              <a:gd name="connsiteY12446" fmla="*/ 6382567 h 6859062"/>
              <a:gd name="connsiteX12447" fmla="*/ 1808862 w 12192185"/>
              <a:gd name="connsiteY12447" fmla="*/ 6379630 h 6859062"/>
              <a:gd name="connsiteX12448" fmla="*/ 1805858 w 12192185"/>
              <a:gd name="connsiteY12448" fmla="*/ 6382256 h 6859062"/>
              <a:gd name="connsiteX12449" fmla="*/ 1804369 w 12192185"/>
              <a:gd name="connsiteY12449" fmla="*/ 6384819 h 6859062"/>
              <a:gd name="connsiteX12450" fmla="*/ 1801406 w 12192185"/>
              <a:gd name="connsiteY12450" fmla="*/ 6387301 h 6859062"/>
              <a:gd name="connsiteX12451" fmla="*/ 1798307 w 12192185"/>
              <a:gd name="connsiteY12451" fmla="*/ 6385065 h 6859062"/>
              <a:gd name="connsiteX12452" fmla="*/ 1792633 w 12192185"/>
              <a:gd name="connsiteY12452" fmla="*/ 6376194 h 6859062"/>
              <a:gd name="connsiteX12453" fmla="*/ 1783160 w 12192185"/>
              <a:gd name="connsiteY12453" fmla="*/ 6370964 h 6859062"/>
              <a:gd name="connsiteX12454" fmla="*/ 1777701 w 12192185"/>
              <a:gd name="connsiteY12454" fmla="*/ 6367393 h 6859062"/>
              <a:gd name="connsiteX12455" fmla="*/ 1765575 w 12192185"/>
              <a:gd name="connsiteY12455" fmla="*/ 6356658 h 6859062"/>
              <a:gd name="connsiteX12456" fmla="*/ 1763802 w 12192185"/>
              <a:gd name="connsiteY12456" fmla="*/ 6354151 h 6859062"/>
              <a:gd name="connsiteX12457" fmla="*/ 1760165 w 12192185"/>
              <a:gd name="connsiteY12457" fmla="*/ 6320920 h 6859062"/>
              <a:gd name="connsiteX12458" fmla="*/ 1761530 w 12192185"/>
              <a:gd name="connsiteY12458" fmla="*/ 6315327 h 6859062"/>
              <a:gd name="connsiteX12459" fmla="*/ 1768611 w 12192185"/>
              <a:gd name="connsiteY12459" fmla="*/ 6302901 h 6859062"/>
              <a:gd name="connsiteX12460" fmla="*/ 1773777 w 12192185"/>
              <a:gd name="connsiteY12460" fmla="*/ 6291920 h 6859062"/>
              <a:gd name="connsiteX12461" fmla="*/ 1776684 w 12192185"/>
              <a:gd name="connsiteY12461" fmla="*/ 6288767 h 6859062"/>
              <a:gd name="connsiteX12462" fmla="*/ 1794929 w 12192185"/>
              <a:gd name="connsiteY12462" fmla="*/ 6276572 h 6859062"/>
              <a:gd name="connsiteX12463" fmla="*/ 1797043 w 12192185"/>
              <a:gd name="connsiteY12463" fmla="*/ 6274437 h 6859062"/>
              <a:gd name="connsiteX12464" fmla="*/ 1791023 w 12192185"/>
              <a:gd name="connsiteY12464" fmla="*/ 6258979 h 6859062"/>
              <a:gd name="connsiteX12465" fmla="*/ 1780314 w 12192185"/>
              <a:gd name="connsiteY12465" fmla="*/ 6247655 h 6859062"/>
              <a:gd name="connsiteX12466" fmla="*/ 1771240 w 12192185"/>
              <a:gd name="connsiteY12466" fmla="*/ 6228073 h 6859062"/>
              <a:gd name="connsiteX12467" fmla="*/ 1772468 w 12192185"/>
              <a:gd name="connsiteY12467" fmla="*/ 6224685 h 6859062"/>
              <a:gd name="connsiteX12468" fmla="*/ 1774005 w 12192185"/>
              <a:gd name="connsiteY12468" fmla="*/ 6215899 h 6859062"/>
              <a:gd name="connsiteX12469" fmla="*/ 1776200 w 12192185"/>
              <a:gd name="connsiteY12469" fmla="*/ 6205743 h 6859062"/>
              <a:gd name="connsiteX12470" fmla="*/ 1753818 w 12192185"/>
              <a:gd name="connsiteY12470" fmla="*/ 6188958 h 6859062"/>
              <a:gd name="connsiteX12471" fmla="*/ 1354299 w 12192185"/>
              <a:gd name="connsiteY12471" fmla="*/ 5817500 h 6859062"/>
              <a:gd name="connsiteX12472" fmla="*/ 893501 w 12192185"/>
              <a:gd name="connsiteY12472" fmla="*/ 5080792 h 6859062"/>
              <a:gd name="connsiteX12473" fmla="*/ 758247 w 12192185"/>
              <a:gd name="connsiteY12473" fmla="*/ 4769179 h 6859062"/>
              <a:gd name="connsiteX12474" fmla="*/ 754716 w 12192185"/>
              <a:gd name="connsiteY12474" fmla="*/ 4752800 h 6859062"/>
              <a:gd name="connsiteX12475" fmla="*/ 753992 w 12192185"/>
              <a:gd name="connsiteY12475" fmla="*/ 4758541 h 6859062"/>
              <a:gd name="connsiteX12476" fmla="*/ 752871 w 12192185"/>
              <a:gd name="connsiteY12476" fmla="*/ 4761245 h 6859062"/>
              <a:gd name="connsiteX12477" fmla="*/ 745449 w 12192185"/>
              <a:gd name="connsiteY12477" fmla="*/ 4772799 h 6859062"/>
              <a:gd name="connsiteX12478" fmla="*/ 742969 w 12192185"/>
              <a:gd name="connsiteY12478" fmla="*/ 4776939 h 6859062"/>
              <a:gd name="connsiteX12479" fmla="*/ 726957 w 12192185"/>
              <a:gd name="connsiteY12479" fmla="*/ 4785725 h 6859062"/>
              <a:gd name="connsiteX12480" fmla="*/ 712561 w 12192185"/>
              <a:gd name="connsiteY12480" fmla="*/ 4790355 h 6859062"/>
              <a:gd name="connsiteX12481" fmla="*/ 708903 w 12192185"/>
              <a:gd name="connsiteY12481" fmla="*/ 4793539 h 6859062"/>
              <a:gd name="connsiteX12482" fmla="*/ 708556 w 12192185"/>
              <a:gd name="connsiteY12482" fmla="*/ 4797456 h 6859062"/>
              <a:gd name="connsiteX12483" fmla="*/ 705837 w 12192185"/>
              <a:gd name="connsiteY12483" fmla="*/ 4800327 h 6859062"/>
              <a:gd name="connsiteX12484" fmla="*/ 703315 w 12192185"/>
              <a:gd name="connsiteY12484" fmla="*/ 4796817 h 6859062"/>
              <a:gd name="connsiteX12485" fmla="*/ 703295 w 12192185"/>
              <a:gd name="connsiteY12485" fmla="*/ 4794556 h 6859062"/>
              <a:gd name="connsiteX12486" fmla="*/ 694574 w 12192185"/>
              <a:gd name="connsiteY12486" fmla="*/ 4788462 h 6859062"/>
              <a:gd name="connsiteX12487" fmla="*/ 691487 w 12192185"/>
              <a:gd name="connsiteY12487" fmla="*/ 4789863 h 6859062"/>
              <a:gd name="connsiteX12488" fmla="*/ 686632 w 12192185"/>
              <a:gd name="connsiteY12488" fmla="*/ 4789831 h 6859062"/>
              <a:gd name="connsiteX12489" fmla="*/ 686187 w 12192185"/>
              <a:gd name="connsiteY12489" fmla="*/ 4785565 h 6859062"/>
              <a:gd name="connsiteX12490" fmla="*/ 682893 w 12192185"/>
              <a:gd name="connsiteY12490" fmla="*/ 4780844 h 6859062"/>
              <a:gd name="connsiteX12491" fmla="*/ 671837 w 12192185"/>
              <a:gd name="connsiteY12491" fmla="*/ 4775101 h 6859062"/>
              <a:gd name="connsiteX12492" fmla="*/ 665014 w 12192185"/>
              <a:gd name="connsiteY12492" fmla="*/ 4773766 h 6859062"/>
              <a:gd name="connsiteX12493" fmla="*/ 662017 w 12192185"/>
              <a:gd name="connsiteY12493" fmla="*/ 4773972 h 6859062"/>
              <a:gd name="connsiteX12494" fmla="*/ 661813 w 12192185"/>
              <a:gd name="connsiteY12494" fmla="*/ 4770974 h 6859062"/>
              <a:gd name="connsiteX12495" fmla="*/ 663022 w 12192185"/>
              <a:gd name="connsiteY12495" fmla="*/ 4763950 h 6859062"/>
              <a:gd name="connsiteX12496" fmla="*/ 655936 w 12192185"/>
              <a:gd name="connsiteY12496" fmla="*/ 4752834 h 6859062"/>
              <a:gd name="connsiteX12497" fmla="*/ 644143 w 12192185"/>
              <a:gd name="connsiteY12497" fmla="*/ 4744151 h 6859062"/>
              <a:gd name="connsiteX12498" fmla="*/ 646512 w 12192185"/>
              <a:gd name="connsiteY12498" fmla="*/ 4738945 h 6859062"/>
              <a:gd name="connsiteX12499" fmla="*/ 652950 w 12192185"/>
              <a:gd name="connsiteY12499" fmla="*/ 4739674 h 6859062"/>
              <a:gd name="connsiteX12500" fmla="*/ 659182 w 12192185"/>
              <a:gd name="connsiteY12500" fmla="*/ 4737406 h 6859062"/>
              <a:gd name="connsiteX12501" fmla="*/ 654177 w 12192185"/>
              <a:gd name="connsiteY12501" fmla="*/ 4731785 h 6859062"/>
              <a:gd name="connsiteX12502" fmla="*/ 649671 w 12192185"/>
              <a:gd name="connsiteY12502" fmla="*/ 4730963 h 6859062"/>
              <a:gd name="connsiteX12503" fmla="*/ 646745 w 12192185"/>
              <a:gd name="connsiteY12503" fmla="*/ 4727712 h 6859062"/>
              <a:gd name="connsiteX12504" fmla="*/ 650440 w 12192185"/>
              <a:gd name="connsiteY12504" fmla="*/ 4725924 h 6859062"/>
              <a:gd name="connsiteX12505" fmla="*/ 655626 w 12192185"/>
              <a:gd name="connsiteY12505" fmla="*/ 4726029 h 6859062"/>
              <a:gd name="connsiteX12506" fmla="*/ 660496 w 12192185"/>
              <a:gd name="connsiteY12506" fmla="*/ 4722071 h 6859062"/>
              <a:gd name="connsiteX12507" fmla="*/ 657662 w 12192185"/>
              <a:gd name="connsiteY12507" fmla="*/ 4717624 h 6859062"/>
              <a:gd name="connsiteX12508" fmla="*/ 633908 w 12192185"/>
              <a:gd name="connsiteY12508" fmla="*/ 4724527 h 6859062"/>
              <a:gd name="connsiteX12509" fmla="*/ 627894 w 12192185"/>
              <a:gd name="connsiteY12509" fmla="*/ 4725801 h 6859062"/>
              <a:gd name="connsiteX12510" fmla="*/ 612905 w 12192185"/>
              <a:gd name="connsiteY12510" fmla="*/ 4720577 h 6859062"/>
              <a:gd name="connsiteX12511" fmla="*/ 607552 w 12192185"/>
              <a:gd name="connsiteY12511" fmla="*/ 4718872 h 6859062"/>
              <a:gd name="connsiteX12512" fmla="*/ 595611 w 12192185"/>
              <a:gd name="connsiteY12512" fmla="*/ 4707725 h 6859062"/>
              <a:gd name="connsiteX12513" fmla="*/ 589151 w 12192185"/>
              <a:gd name="connsiteY12513" fmla="*/ 4698485 h 6859062"/>
              <a:gd name="connsiteX12514" fmla="*/ 580928 w 12192185"/>
              <a:gd name="connsiteY12514" fmla="*/ 4694062 h 6859062"/>
              <a:gd name="connsiteX12515" fmla="*/ 580322 w 12192185"/>
              <a:gd name="connsiteY12515" fmla="*/ 4694449 h 6859062"/>
              <a:gd name="connsiteX12516" fmla="*/ 574934 w 12192185"/>
              <a:gd name="connsiteY12516" fmla="*/ 4694473 h 6859062"/>
              <a:gd name="connsiteX12517" fmla="*/ 576347 w 12192185"/>
              <a:gd name="connsiteY12517" fmla="*/ 4690446 h 6859062"/>
              <a:gd name="connsiteX12518" fmla="*/ 574312 w 12192185"/>
              <a:gd name="connsiteY12518" fmla="*/ 4669856 h 6859062"/>
              <a:gd name="connsiteX12519" fmla="*/ 573646 w 12192185"/>
              <a:gd name="connsiteY12519" fmla="*/ 4663458 h 6859062"/>
              <a:gd name="connsiteX12520" fmla="*/ 576255 w 12192185"/>
              <a:gd name="connsiteY12520" fmla="*/ 4659521 h 6859062"/>
              <a:gd name="connsiteX12521" fmla="*/ 575627 w 12192185"/>
              <a:gd name="connsiteY12521" fmla="*/ 4654520 h 6859062"/>
              <a:gd name="connsiteX12522" fmla="*/ 573903 w 12192185"/>
              <a:gd name="connsiteY12522" fmla="*/ 4653814 h 6859062"/>
              <a:gd name="connsiteX12523" fmla="*/ 579687 w 12192185"/>
              <a:gd name="connsiteY12523" fmla="*/ 4628020 h 6859062"/>
              <a:gd name="connsiteX12524" fmla="*/ 581296 w 12192185"/>
              <a:gd name="connsiteY12524" fmla="*/ 4631294 h 6859062"/>
              <a:gd name="connsiteX12525" fmla="*/ 584901 w 12192185"/>
              <a:gd name="connsiteY12525" fmla="*/ 4633828 h 6859062"/>
              <a:gd name="connsiteX12526" fmla="*/ 587640 w 12192185"/>
              <a:gd name="connsiteY12526" fmla="*/ 4630093 h 6859062"/>
              <a:gd name="connsiteX12527" fmla="*/ 587177 w 12192185"/>
              <a:gd name="connsiteY12527" fmla="*/ 4626692 h 6859062"/>
              <a:gd name="connsiteX12528" fmla="*/ 592598 w 12192185"/>
              <a:gd name="connsiteY12528" fmla="*/ 4621813 h 6859062"/>
              <a:gd name="connsiteX12529" fmla="*/ 596388 w 12192185"/>
              <a:gd name="connsiteY12529" fmla="*/ 4621957 h 6859062"/>
              <a:gd name="connsiteX12530" fmla="*/ 596404 w 12192185"/>
              <a:gd name="connsiteY12530" fmla="*/ 4617967 h 6859062"/>
              <a:gd name="connsiteX12531" fmla="*/ 595463 w 12192185"/>
              <a:gd name="connsiteY12531" fmla="*/ 4615155 h 6859062"/>
              <a:gd name="connsiteX12532" fmla="*/ 595560 w 12192185"/>
              <a:gd name="connsiteY12532" fmla="*/ 4611291 h 6859062"/>
              <a:gd name="connsiteX12533" fmla="*/ 599286 w 12192185"/>
              <a:gd name="connsiteY12533" fmla="*/ 4610445 h 6859062"/>
              <a:gd name="connsiteX12534" fmla="*/ 609695 w 12192185"/>
              <a:gd name="connsiteY12534" fmla="*/ 4612052 h 6859062"/>
              <a:gd name="connsiteX12535" fmla="*/ 619881 w 12192185"/>
              <a:gd name="connsiteY12535" fmla="*/ 4608400 h 6859062"/>
              <a:gd name="connsiteX12536" fmla="*/ 626169 w 12192185"/>
              <a:gd name="connsiteY12536" fmla="*/ 4606665 h 6859062"/>
              <a:gd name="connsiteX12537" fmla="*/ 642240 w 12192185"/>
              <a:gd name="connsiteY12537" fmla="*/ 4604662 h 6859062"/>
              <a:gd name="connsiteX12538" fmla="*/ 645292 w 12192185"/>
              <a:gd name="connsiteY12538" fmla="*/ 4604991 h 6859062"/>
              <a:gd name="connsiteX12539" fmla="*/ 672631 w 12192185"/>
              <a:gd name="connsiteY12539" fmla="*/ 4624230 h 6859062"/>
              <a:gd name="connsiteX12540" fmla="*/ 675926 w 12192185"/>
              <a:gd name="connsiteY12540" fmla="*/ 4628951 h 6859062"/>
              <a:gd name="connsiteX12541" fmla="*/ 680567 w 12192185"/>
              <a:gd name="connsiteY12541" fmla="*/ 4642478 h 6859062"/>
              <a:gd name="connsiteX12542" fmla="*/ 685392 w 12192185"/>
              <a:gd name="connsiteY12542" fmla="*/ 4653614 h 6859062"/>
              <a:gd name="connsiteX12543" fmla="*/ 685835 w 12192185"/>
              <a:gd name="connsiteY12543" fmla="*/ 4657880 h 6859062"/>
              <a:gd name="connsiteX12544" fmla="*/ 682925 w 12192185"/>
              <a:gd name="connsiteY12544" fmla="*/ 4679632 h 6859062"/>
              <a:gd name="connsiteX12545" fmla="*/ 683129 w 12192185"/>
              <a:gd name="connsiteY12545" fmla="*/ 4682629 h 6859062"/>
              <a:gd name="connsiteX12546" fmla="*/ 698708 w 12192185"/>
              <a:gd name="connsiteY12546" fmla="*/ 4688330 h 6859062"/>
              <a:gd name="connsiteX12547" fmla="*/ 714283 w 12192185"/>
              <a:gd name="connsiteY12547" fmla="*/ 4687781 h 6859062"/>
              <a:gd name="connsiteX12548" fmla="*/ 734975 w 12192185"/>
              <a:gd name="connsiteY12548" fmla="*/ 4693918 h 6859062"/>
              <a:gd name="connsiteX12549" fmla="*/ 736706 w 12192185"/>
              <a:gd name="connsiteY12549" fmla="*/ 4697079 h 6859062"/>
              <a:gd name="connsiteX12550" fmla="*/ 742281 w 12192185"/>
              <a:gd name="connsiteY12550" fmla="*/ 4704041 h 6859062"/>
              <a:gd name="connsiteX12551" fmla="*/ 744998 w 12192185"/>
              <a:gd name="connsiteY12551" fmla="*/ 4707722 h 6859062"/>
              <a:gd name="connsiteX12552" fmla="*/ 724286 w 12192185"/>
              <a:gd name="connsiteY12552" fmla="*/ 4611654 h 6859062"/>
              <a:gd name="connsiteX12553" fmla="*/ 670320 w 12192185"/>
              <a:gd name="connsiteY12553" fmla="*/ 4310105 h 6859062"/>
              <a:gd name="connsiteX12554" fmla="*/ 660321 w 12192185"/>
              <a:gd name="connsiteY12554" fmla="*/ 4442180 h 6859062"/>
              <a:gd name="connsiteX12555" fmla="*/ 602159 w 12192185"/>
              <a:gd name="connsiteY12555" fmla="*/ 4172499 h 6859062"/>
              <a:gd name="connsiteX12556" fmla="*/ 601758 w 12192185"/>
              <a:gd name="connsiteY12556" fmla="*/ 4166530 h 6859062"/>
              <a:gd name="connsiteX12557" fmla="*/ 598443 w 12192185"/>
              <a:gd name="connsiteY12557" fmla="*/ 4166555 h 6859062"/>
              <a:gd name="connsiteX12558" fmla="*/ 584226 w 12192185"/>
              <a:gd name="connsiteY12558" fmla="*/ 4163745 h 6859062"/>
              <a:gd name="connsiteX12559" fmla="*/ 577240 w 12192185"/>
              <a:gd name="connsiteY12559" fmla="*/ 4155318 h 6859062"/>
              <a:gd name="connsiteX12560" fmla="*/ 574426 w 12192185"/>
              <a:gd name="connsiteY12560" fmla="*/ 4151746 h 6859062"/>
              <a:gd name="connsiteX12561" fmla="*/ 565948 w 12192185"/>
              <a:gd name="connsiteY12561" fmla="*/ 4142661 h 6859062"/>
              <a:gd name="connsiteX12562" fmla="*/ 561639 w 12192185"/>
              <a:gd name="connsiteY12562" fmla="*/ 4138431 h 6859062"/>
              <a:gd name="connsiteX12563" fmla="*/ 557885 w 12192185"/>
              <a:gd name="connsiteY12563" fmla="*/ 4131700 h 6859062"/>
              <a:gd name="connsiteX12564" fmla="*/ 556424 w 12192185"/>
              <a:gd name="connsiteY12564" fmla="*/ 4123508 h 6859062"/>
              <a:gd name="connsiteX12565" fmla="*/ 554856 w 12192185"/>
              <a:gd name="connsiteY12565" fmla="*/ 4102505 h 6859062"/>
              <a:gd name="connsiteX12566" fmla="*/ 571036 w 12192185"/>
              <a:gd name="connsiteY12566" fmla="*/ 4068040 h 6859062"/>
              <a:gd name="connsiteX12567" fmla="*/ 574197 w 12192185"/>
              <a:gd name="connsiteY12567" fmla="*/ 4067098 h 6859062"/>
              <a:gd name="connsiteX12568" fmla="*/ 587397 w 12192185"/>
              <a:gd name="connsiteY12568" fmla="*/ 4060829 h 6859062"/>
              <a:gd name="connsiteX12569" fmla="*/ 591426 w 12192185"/>
              <a:gd name="connsiteY12569" fmla="*/ 4060408 h 6859062"/>
              <a:gd name="connsiteX12570" fmla="*/ 597255 w 12192185"/>
              <a:gd name="connsiteY12570" fmla="*/ 4063332 h 6859062"/>
              <a:gd name="connsiteX12571" fmla="*/ 597100 w 12192185"/>
              <a:gd name="connsiteY12571" fmla="*/ 4044514 h 6859062"/>
              <a:gd name="connsiteX12572" fmla="*/ 601419 w 12192185"/>
              <a:gd name="connsiteY12572" fmla="*/ 3998696 h 6859062"/>
              <a:gd name="connsiteX12573" fmla="*/ 644857 w 12192185"/>
              <a:gd name="connsiteY12573" fmla="*/ 4055255 h 6859062"/>
              <a:gd name="connsiteX12574" fmla="*/ 645257 w 12192185"/>
              <a:gd name="connsiteY12574" fmla="*/ 3922558 h 6859062"/>
              <a:gd name="connsiteX12575" fmla="*/ 630321 w 12192185"/>
              <a:gd name="connsiteY12575" fmla="*/ 3912698 h 6859062"/>
              <a:gd name="connsiteX12576" fmla="*/ 592934 w 12192185"/>
              <a:gd name="connsiteY12576" fmla="*/ 3877290 h 6859062"/>
              <a:gd name="connsiteX12577" fmla="*/ 601361 w 12192185"/>
              <a:gd name="connsiteY12577" fmla="*/ 3650094 h 6859062"/>
              <a:gd name="connsiteX12578" fmla="*/ 595373 w 12192185"/>
              <a:gd name="connsiteY12578" fmla="*/ 3653691 h 6859062"/>
              <a:gd name="connsiteX12579" fmla="*/ 582904 w 12192185"/>
              <a:gd name="connsiteY12579" fmla="*/ 3661104 h 6859062"/>
              <a:gd name="connsiteX12580" fmla="*/ 554313 w 12192185"/>
              <a:gd name="connsiteY12580" fmla="*/ 3658402 h 6859062"/>
              <a:gd name="connsiteX12581" fmla="*/ 547329 w 12192185"/>
              <a:gd name="connsiteY12581" fmla="*/ 3649974 h 6859062"/>
              <a:gd name="connsiteX12582" fmla="*/ 544514 w 12192185"/>
              <a:gd name="connsiteY12582" fmla="*/ 3646402 h 6859062"/>
              <a:gd name="connsiteX12583" fmla="*/ 536035 w 12192185"/>
              <a:gd name="connsiteY12583" fmla="*/ 3637317 h 6859062"/>
              <a:gd name="connsiteX12584" fmla="*/ 531727 w 12192185"/>
              <a:gd name="connsiteY12584" fmla="*/ 3633087 h 6859062"/>
              <a:gd name="connsiteX12585" fmla="*/ 527973 w 12192185"/>
              <a:gd name="connsiteY12585" fmla="*/ 3626357 h 6859062"/>
              <a:gd name="connsiteX12586" fmla="*/ 526512 w 12192185"/>
              <a:gd name="connsiteY12586" fmla="*/ 3618166 h 6859062"/>
              <a:gd name="connsiteX12587" fmla="*/ 524944 w 12192185"/>
              <a:gd name="connsiteY12587" fmla="*/ 3597164 h 6859062"/>
              <a:gd name="connsiteX12588" fmla="*/ 541124 w 12192185"/>
              <a:gd name="connsiteY12588" fmla="*/ 3562714 h 6859062"/>
              <a:gd name="connsiteX12589" fmla="*/ 544285 w 12192185"/>
              <a:gd name="connsiteY12589" fmla="*/ 3561774 h 6859062"/>
              <a:gd name="connsiteX12590" fmla="*/ 557484 w 12192185"/>
              <a:gd name="connsiteY12590" fmla="*/ 3555506 h 6859062"/>
              <a:gd name="connsiteX12591" fmla="*/ 561514 w 12192185"/>
              <a:gd name="connsiteY12591" fmla="*/ 3555083 h 6859062"/>
              <a:gd name="connsiteX12592" fmla="*/ 572004 w 12192185"/>
              <a:gd name="connsiteY12592" fmla="*/ 3552151 h 6859062"/>
              <a:gd name="connsiteX12593" fmla="*/ 577805 w 12192185"/>
              <a:gd name="connsiteY12593" fmla="*/ 3551137 h 6859062"/>
              <a:gd name="connsiteX12594" fmla="*/ 583885 w 12192185"/>
              <a:gd name="connsiteY12594" fmla="*/ 3554775 h 6859062"/>
              <a:gd name="connsiteX12595" fmla="*/ 602959 w 12192185"/>
              <a:gd name="connsiteY12595" fmla="*/ 3561935 h 6859062"/>
              <a:gd name="connsiteX12596" fmla="*/ 604595 w 12192185"/>
              <a:gd name="connsiteY12596" fmla="*/ 3562912 h 6859062"/>
              <a:gd name="connsiteX12597" fmla="*/ 605485 w 12192185"/>
              <a:gd name="connsiteY12597" fmla="*/ 3538904 h 6859062"/>
              <a:gd name="connsiteX12598" fmla="*/ 657343 w 12192185"/>
              <a:gd name="connsiteY12598" fmla="*/ 3257940 h 6859062"/>
              <a:gd name="connsiteX12599" fmla="*/ 665024 w 12192185"/>
              <a:gd name="connsiteY12599" fmla="*/ 3236565 h 6859062"/>
              <a:gd name="connsiteX12600" fmla="*/ 672969 w 12192185"/>
              <a:gd name="connsiteY12600" fmla="*/ 3223312 h 6859062"/>
              <a:gd name="connsiteX12601" fmla="*/ 676691 w 12192185"/>
              <a:gd name="connsiteY12601" fmla="*/ 3222213 h 6859062"/>
              <a:gd name="connsiteX12602" fmla="*/ 670256 w 12192185"/>
              <a:gd name="connsiteY12602" fmla="*/ 3222657 h 6859062"/>
              <a:gd name="connsiteX12603" fmla="*/ 667276 w 12192185"/>
              <a:gd name="connsiteY12603" fmla="*/ 3219909 h 6859062"/>
              <a:gd name="connsiteX12604" fmla="*/ 658142 w 12192185"/>
              <a:gd name="connsiteY12604" fmla="*/ 3213980 h 6859062"/>
              <a:gd name="connsiteX12605" fmla="*/ 653545 w 12192185"/>
              <a:gd name="connsiteY12605" fmla="*/ 3210298 h 6859062"/>
              <a:gd name="connsiteX12606" fmla="*/ 652254 w 12192185"/>
              <a:gd name="connsiteY12606" fmla="*/ 3203333 h 6859062"/>
              <a:gd name="connsiteX12607" fmla="*/ 645018 w 12192185"/>
              <a:gd name="connsiteY12607" fmla="*/ 3184281 h 6859062"/>
              <a:gd name="connsiteX12608" fmla="*/ 642806 w 12192185"/>
              <a:gd name="connsiteY12608" fmla="*/ 3172342 h 6859062"/>
              <a:gd name="connsiteX12609" fmla="*/ 644312 w 12192185"/>
              <a:gd name="connsiteY12609" fmla="*/ 3167122 h 6859062"/>
              <a:gd name="connsiteX12610" fmla="*/ 652054 w 12192185"/>
              <a:gd name="connsiteY12610" fmla="*/ 3156638 h 6859062"/>
              <a:gd name="connsiteX12611" fmla="*/ 663670 w 12192185"/>
              <a:gd name="connsiteY12611" fmla="*/ 3139269 h 6859062"/>
              <a:gd name="connsiteX12612" fmla="*/ 670901 w 12192185"/>
              <a:gd name="connsiteY12612" fmla="*/ 3133820 h 6859062"/>
              <a:gd name="connsiteX12613" fmla="*/ 681180 w 12192185"/>
              <a:gd name="connsiteY12613" fmla="*/ 3129252 h 6859062"/>
              <a:gd name="connsiteX12614" fmla="*/ 689711 w 12192185"/>
              <a:gd name="connsiteY12614" fmla="*/ 3127474 h 6859062"/>
              <a:gd name="connsiteX12615" fmla="*/ 718894 w 12192185"/>
              <a:gd name="connsiteY12615" fmla="*/ 3129305 h 6859062"/>
              <a:gd name="connsiteX12616" fmla="*/ 732700 w 12192185"/>
              <a:gd name="connsiteY12616" fmla="*/ 3133759 h 6859062"/>
              <a:gd name="connsiteX12617" fmla="*/ 740935 w 12192185"/>
              <a:gd name="connsiteY12617" fmla="*/ 3142970 h 6859062"/>
              <a:gd name="connsiteX12618" fmla="*/ 756929 w 12192185"/>
              <a:gd name="connsiteY12618" fmla="*/ 3026576 h 6859062"/>
              <a:gd name="connsiteX12619" fmla="*/ 789321 w 12192185"/>
              <a:gd name="connsiteY12619" fmla="*/ 2896426 h 6859062"/>
              <a:gd name="connsiteX12620" fmla="*/ 779838 w 12192185"/>
              <a:gd name="connsiteY12620" fmla="*/ 2885732 h 6859062"/>
              <a:gd name="connsiteX12621" fmla="*/ 776760 w 12192185"/>
              <a:gd name="connsiteY12621" fmla="*/ 2871430 h 6859062"/>
              <a:gd name="connsiteX12622" fmla="*/ 776124 w 12192185"/>
              <a:gd name="connsiteY12622" fmla="*/ 2865684 h 6859062"/>
              <a:gd name="connsiteX12623" fmla="*/ 777304 w 12192185"/>
              <a:gd name="connsiteY12623" fmla="*/ 2860463 h 6859062"/>
              <a:gd name="connsiteX12624" fmla="*/ 779344 w 12192185"/>
              <a:gd name="connsiteY12624" fmla="*/ 2856801 h 6859062"/>
              <a:gd name="connsiteX12625" fmla="*/ 783209 w 12192185"/>
              <a:gd name="connsiteY12625" fmla="*/ 2849084 h 6859062"/>
              <a:gd name="connsiteX12626" fmla="*/ 784384 w 12192185"/>
              <a:gd name="connsiteY12626" fmla="*/ 2846151 h 6859062"/>
              <a:gd name="connsiteX12627" fmla="*/ 787383 w 12192185"/>
              <a:gd name="connsiteY12627" fmla="*/ 2839164 h 6859062"/>
              <a:gd name="connsiteX12628" fmla="*/ 796304 w 12192185"/>
              <a:gd name="connsiteY12628" fmla="*/ 2834500 h 6859062"/>
              <a:gd name="connsiteX12629" fmla="*/ 805382 w 12192185"/>
              <a:gd name="connsiteY12629" fmla="*/ 2831897 h 6859062"/>
              <a:gd name="connsiteX12630" fmla="*/ 814287 w 12192185"/>
              <a:gd name="connsiteY12630" fmla="*/ 2796114 h 6859062"/>
              <a:gd name="connsiteX12631" fmla="*/ 1086140 w 12192185"/>
              <a:gd name="connsiteY12631" fmla="*/ 2277190 h 6859062"/>
              <a:gd name="connsiteX12632" fmla="*/ 1767180 w 12192185"/>
              <a:gd name="connsiteY12632" fmla="*/ 1535930 h 6859062"/>
              <a:gd name="connsiteX12633" fmla="*/ 2815911 w 12192185"/>
              <a:gd name="connsiteY12633" fmla="*/ 1055268 h 6859062"/>
              <a:gd name="connsiteX12634" fmla="*/ 3224930 w 12192185"/>
              <a:gd name="connsiteY12634" fmla="*/ 979323 h 6859062"/>
              <a:gd name="connsiteX12635" fmla="*/ 3494594 w 12192185"/>
              <a:gd name="connsiteY12635" fmla="*/ 980875 h 6859062"/>
              <a:gd name="connsiteX12636" fmla="*/ 3497819 w 12192185"/>
              <a:gd name="connsiteY12636" fmla="*/ 981003 h 6859062"/>
              <a:gd name="connsiteX12637" fmla="*/ 3489499 w 12192185"/>
              <a:gd name="connsiteY12637" fmla="*/ 979729 h 6859062"/>
              <a:gd name="connsiteX12638" fmla="*/ 3481643 w 12192185"/>
              <a:gd name="connsiteY12638" fmla="*/ 974751 h 6859062"/>
              <a:gd name="connsiteX12639" fmla="*/ 3477358 w 12192185"/>
              <a:gd name="connsiteY12639" fmla="*/ 969773 h 6859062"/>
              <a:gd name="connsiteX12640" fmla="*/ 3477357 w 12192185"/>
              <a:gd name="connsiteY12640" fmla="*/ 956974 h 6859062"/>
              <a:gd name="connsiteX12641" fmla="*/ 3485214 w 12192185"/>
              <a:gd name="connsiteY12641" fmla="*/ 949150 h 6859062"/>
              <a:gd name="connsiteX12642" fmla="*/ 3490215 w 12192185"/>
              <a:gd name="connsiteY12642" fmla="*/ 939906 h 6859062"/>
              <a:gd name="connsiteX12643" fmla="*/ 3494144 w 12192185"/>
              <a:gd name="connsiteY12643" fmla="*/ 930305 h 6859062"/>
              <a:gd name="connsiteX12644" fmla="*/ 3499499 w 12192185"/>
              <a:gd name="connsiteY12644" fmla="*/ 923905 h 6859062"/>
              <a:gd name="connsiteX12645" fmla="*/ 3507358 w 12192185"/>
              <a:gd name="connsiteY12645" fmla="*/ 919993 h 6859062"/>
              <a:gd name="connsiteX12646" fmla="*/ 3514500 w 12192185"/>
              <a:gd name="connsiteY12646" fmla="*/ 919994 h 6859062"/>
              <a:gd name="connsiteX12647" fmla="*/ 3515572 w 12192185"/>
              <a:gd name="connsiteY12647" fmla="*/ 921416 h 6859062"/>
              <a:gd name="connsiteX12648" fmla="*/ 3525570 w 12192185"/>
              <a:gd name="connsiteY12648" fmla="*/ 929238 h 6859062"/>
              <a:gd name="connsiteX12649" fmla="*/ 3528786 w 12192185"/>
              <a:gd name="connsiteY12649" fmla="*/ 941329 h 6859062"/>
              <a:gd name="connsiteX12650" fmla="*/ 3523787 w 12192185"/>
              <a:gd name="connsiteY12650" fmla="*/ 955551 h 6859062"/>
              <a:gd name="connsiteX12651" fmla="*/ 3518427 w 12192185"/>
              <a:gd name="connsiteY12651" fmla="*/ 958751 h 6859062"/>
              <a:gd name="connsiteX12652" fmla="*/ 3511643 w 12192185"/>
              <a:gd name="connsiteY12652" fmla="*/ 967285 h 6859062"/>
              <a:gd name="connsiteX12653" fmla="*/ 3509500 w 12192185"/>
              <a:gd name="connsiteY12653" fmla="*/ 971196 h 6859062"/>
              <a:gd name="connsiteX12654" fmla="*/ 3498899 w 12192185"/>
              <a:gd name="connsiteY12654" fmla="*/ 981047 h 6859062"/>
              <a:gd name="connsiteX12655" fmla="*/ 3533107 w 12192185"/>
              <a:gd name="connsiteY12655" fmla="*/ 982410 h 6859062"/>
              <a:gd name="connsiteX12656" fmla="*/ 3537928 w 12192185"/>
              <a:gd name="connsiteY12656" fmla="*/ 976449 h 6859062"/>
              <a:gd name="connsiteX12657" fmla="*/ 3604814 w 12192185"/>
              <a:gd name="connsiteY12657" fmla="*/ 910353 h 6859062"/>
              <a:gd name="connsiteX12658" fmla="*/ 3608834 w 12192185"/>
              <a:gd name="connsiteY12658" fmla="*/ 909626 h 6859062"/>
              <a:gd name="connsiteX12659" fmla="*/ 3612123 w 12192185"/>
              <a:gd name="connsiteY12659" fmla="*/ 904878 h 6859062"/>
              <a:gd name="connsiteX12660" fmla="*/ 3619433 w 12192185"/>
              <a:gd name="connsiteY12660" fmla="*/ 899401 h 6859062"/>
              <a:gd name="connsiteX12661" fmla="*/ 3616141 w 12192185"/>
              <a:gd name="connsiteY12661" fmla="*/ 904148 h 6859062"/>
              <a:gd name="connsiteX12662" fmla="*/ 3612852 w 12192185"/>
              <a:gd name="connsiteY12662" fmla="*/ 908897 h 6859062"/>
              <a:gd name="connsiteX12663" fmla="*/ 3651961 w 12192185"/>
              <a:gd name="connsiteY12663" fmla="*/ 872745 h 6859062"/>
              <a:gd name="connsiteX12664" fmla="*/ 3672787 w 12192185"/>
              <a:gd name="connsiteY12664" fmla="*/ 873118 h 6859062"/>
              <a:gd name="connsiteX12665" fmla="*/ 3805766 w 12192185"/>
              <a:gd name="connsiteY12665" fmla="*/ 753267 h 6859062"/>
              <a:gd name="connsiteX12666" fmla="*/ 3816255 w 12192185"/>
              <a:gd name="connsiteY12666" fmla="*/ 740998 h 6859062"/>
              <a:gd name="connsiteX12667" fmla="*/ 3809960 w 12192185"/>
              <a:gd name="connsiteY12667" fmla="*/ 740685 h 6859062"/>
              <a:gd name="connsiteX12668" fmla="*/ 3796002 w 12192185"/>
              <a:gd name="connsiteY12668" fmla="*/ 735218 h 6859062"/>
              <a:gd name="connsiteX12669" fmla="*/ 3794989 w 12192185"/>
              <a:gd name="connsiteY12669" fmla="*/ 732930 h 6859062"/>
              <a:gd name="connsiteX12670" fmla="*/ 3791542 w 12192185"/>
              <a:gd name="connsiteY12670" fmla="*/ 727783 h 6859062"/>
              <a:gd name="connsiteX12671" fmla="*/ 3787700 w 12192185"/>
              <a:gd name="connsiteY12671" fmla="*/ 721527 h 6859062"/>
              <a:gd name="connsiteX12672" fmla="*/ 3787224 w 12192185"/>
              <a:gd name="connsiteY12672" fmla="*/ 715952 h 6859062"/>
              <a:gd name="connsiteX12673" fmla="*/ 3784254 w 12192185"/>
              <a:gd name="connsiteY12673" fmla="*/ 700594 h 6859062"/>
              <a:gd name="connsiteX12674" fmla="*/ 3786651 w 12192185"/>
              <a:gd name="connsiteY12674" fmla="*/ 689379 h 6859062"/>
              <a:gd name="connsiteX12675" fmla="*/ 3787585 w 12192185"/>
              <a:gd name="connsiteY12675" fmla="*/ 687573 h 6859062"/>
              <a:gd name="connsiteX12676" fmla="*/ 3793404 w 12192185"/>
              <a:gd name="connsiteY12676" fmla="*/ 680015 h 6859062"/>
              <a:gd name="connsiteX12677" fmla="*/ 3795361 w 12192185"/>
              <a:gd name="connsiteY12677" fmla="*/ 677297 h 6859062"/>
              <a:gd name="connsiteX12678" fmla="*/ 3806963 w 12192185"/>
              <a:gd name="connsiteY12678" fmla="*/ 672160 h 6859062"/>
              <a:gd name="connsiteX12679" fmla="*/ 3817197 w 12192185"/>
              <a:gd name="connsiteY12679" fmla="*/ 669805 h 6859062"/>
              <a:gd name="connsiteX12680" fmla="*/ 3819916 w 12192185"/>
              <a:gd name="connsiteY12680" fmla="*/ 667817 h 6859062"/>
              <a:gd name="connsiteX12681" fmla="*/ 3820387 w 12192185"/>
              <a:gd name="connsiteY12681" fmla="*/ 665126 h 6859062"/>
              <a:gd name="connsiteX12682" fmla="*/ 3822438 w 12192185"/>
              <a:gd name="connsiteY12682" fmla="*/ 663301 h 6859062"/>
              <a:gd name="connsiteX12683" fmla="*/ 3823977 w 12192185"/>
              <a:gd name="connsiteY12683" fmla="*/ 665877 h 6859062"/>
              <a:gd name="connsiteX12684" fmla="*/ 3823857 w 12192185"/>
              <a:gd name="connsiteY12684" fmla="*/ 667443 h 6859062"/>
              <a:gd name="connsiteX12685" fmla="*/ 3829532 w 12192185"/>
              <a:gd name="connsiteY12685" fmla="*/ 672174 h 6859062"/>
              <a:gd name="connsiteX12686" fmla="*/ 3831751 w 12192185"/>
              <a:gd name="connsiteY12686" fmla="*/ 671387 h 6859062"/>
              <a:gd name="connsiteX12687" fmla="*/ 3835110 w 12192185"/>
              <a:gd name="connsiteY12687" fmla="*/ 671695 h 6859062"/>
              <a:gd name="connsiteX12688" fmla="*/ 3835165 w 12192185"/>
              <a:gd name="connsiteY12688" fmla="*/ 674673 h 6859062"/>
              <a:gd name="connsiteX12689" fmla="*/ 3837168 w 12192185"/>
              <a:gd name="connsiteY12689" fmla="*/ 678135 h 6859062"/>
              <a:gd name="connsiteX12690" fmla="*/ 3844479 w 12192185"/>
              <a:gd name="connsiteY12690" fmla="*/ 682760 h 6859062"/>
              <a:gd name="connsiteX12691" fmla="*/ 3849123 w 12192185"/>
              <a:gd name="connsiteY12691" fmla="*/ 684086 h 6859062"/>
              <a:gd name="connsiteX12692" fmla="*/ 3851209 w 12192185"/>
              <a:gd name="connsiteY12692" fmla="*/ 684120 h 6859062"/>
              <a:gd name="connsiteX12693" fmla="*/ 3851173 w 12192185"/>
              <a:gd name="connsiteY12693" fmla="*/ 686206 h 6859062"/>
              <a:gd name="connsiteX12694" fmla="*/ 3849922 w 12192185"/>
              <a:gd name="connsiteY12694" fmla="*/ 690997 h 6859062"/>
              <a:gd name="connsiteX12695" fmla="*/ 3854170 w 12192185"/>
              <a:gd name="connsiteY12695" fmla="*/ 699105 h 6859062"/>
              <a:gd name="connsiteX12696" fmla="*/ 3858072 w 12192185"/>
              <a:gd name="connsiteY12696" fmla="*/ 702525 h 6859062"/>
              <a:gd name="connsiteX12697" fmla="*/ 3873165 w 12192185"/>
              <a:gd name="connsiteY12697" fmla="*/ 693176 h 6859062"/>
              <a:gd name="connsiteX12698" fmla="*/ 3920526 w 12192185"/>
              <a:gd name="connsiteY12698" fmla="*/ 667804 h 6859062"/>
              <a:gd name="connsiteX12699" fmla="*/ 3944641 w 12192185"/>
              <a:gd name="connsiteY12699" fmla="*/ 650445 h 6859062"/>
              <a:gd name="connsiteX12700" fmla="*/ 3944611 w 12192185"/>
              <a:gd name="connsiteY12700" fmla="*/ 650209 h 6859062"/>
              <a:gd name="connsiteX12701" fmla="*/ 3942097 w 12192185"/>
              <a:gd name="connsiteY12701" fmla="*/ 635914 h 6859062"/>
              <a:gd name="connsiteX12702" fmla="*/ 3943106 w 12192185"/>
              <a:gd name="connsiteY12702" fmla="*/ 629707 h 6859062"/>
              <a:gd name="connsiteX12703" fmla="*/ 3946070 w 12192185"/>
              <a:gd name="connsiteY12703" fmla="*/ 622479 h 6859062"/>
              <a:gd name="connsiteX12704" fmla="*/ 3949495 w 12192185"/>
              <a:gd name="connsiteY12704" fmla="*/ 617490 h 6859062"/>
              <a:gd name="connsiteX12705" fmla="*/ 3965014 w 12192185"/>
              <a:gd name="connsiteY12705" fmla="*/ 604392 h 6859062"/>
              <a:gd name="connsiteX12706" fmla="*/ 3974080 w 12192185"/>
              <a:gd name="connsiteY12706" fmla="*/ 599997 h 6859062"/>
              <a:gd name="connsiteX12707" fmla="*/ 3993707 w 12192185"/>
              <a:gd name="connsiteY12707" fmla="*/ 603553 h 6859062"/>
              <a:gd name="connsiteX12708" fmla="*/ 3998044 w 12192185"/>
              <a:gd name="connsiteY12708" fmla="*/ 609796 h 6859062"/>
              <a:gd name="connsiteX12709" fmla="*/ 3999693 w 12192185"/>
              <a:gd name="connsiteY12709" fmla="*/ 612301 h 6859062"/>
              <a:gd name="connsiteX12710" fmla="*/ 4025276 w 12192185"/>
              <a:gd name="connsiteY12710" fmla="*/ 593333 h 6859062"/>
              <a:gd name="connsiteX12711" fmla="*/ 4065343 w 12192185"/>
              <a:gd name="connsiteY12711" fmla="*/ 565311 h 6859062"/>
              <a:gd name="connsiteX12712" fmla="*/ 4138071 w 12192185"/>
              <a:gd name="connsiteY12712" fmla="*/ 531364 h 6859062"/>
              <a:gd name="connsiteX12713" fmla="*/ 4102244 w 12192185"/>
              <a:gd name="connsiteY12713" fmla="*/ 562767 h 6859062"/>
              <a:gd name="connsiteX12714" fmla="*/ 4057658 w 12192185"/>
              <a:gd name="connsiteY12714" fmla="*/ 591610 h 6859062"/>
              <a:gd name="connsiteX12715" fmla="*/ 4026229 w 12192185"/>
              <a:gd name="connsiteY12715" fmla="*/ 601461 h 6859062"/>
              <a:gd name="connsiteX12716" fmla="*/ 4003987 w 12192185"/>
              <a:gd name="connsiteY12716" fmla="*/ 617789 h 6859062"/>
              <a:gd name="connsiteX12717" fmla="*/ 4005112 w 12192185"/>
              <a:gd name="connsiteY12717" fmla="*/ 619220 h 6859062"/>
              <a:gd name="connsiteX12718" fmla="*/ 4007845 w 12192185"/>
              <a:gd name="connsiteY12718" fmla="*/ 622402 h 6859062"/>
              <a:gd name="connsiteX12719" fmla="*/ 4010045 w 12192185"/>
              <a:gd name="connsiteY12719" fmla="*/ 627280 h 6859062"/>
              <a:gd name="connsiteX12720" fmla="*/ 4010574 w 12192185"/>
              <a:gd name="connsiteY12720" fmla="*/ 633035 h 6859062"/>
              <a:gd name="connsiteX12721" fmla="*/ 4010422 w 12192185"/>
              <a:gd name="connsiteY12721" fmla="*/ 647663 h 6859062"/>
              <a:gd name="connsiteX12722" fmla="*/ 3997193 w 12192185"/>
              <a:gd name="connsiteY12722" fmla="*/ 670559 h 6859062"/>
              <a:gd name="connsiteX12723" fmla="*/ 3994950 w 12192185"/>
              <a:gd name="connsiteY12723" fmla="*/ 671024 h 6859062"/>
              <a:gd name="connsiteX12724" fmla="*/ 3985447 w 12192185"/>
              <a:gd name="connsiteY12724" fmla="*/ 674584 h 6859062"/>
              <a:gd name="connsiteX12725" fmla="*/ 3982634 w 12192185"/>
              <a:gd name="connsiteY12725" fmla="*/ 674639 h 6859062"/>
              <a:gd name="connsiteX12726" fmla="*/ 3975201 w 12192185"/>
              <a:gd name="connsiteY12726" fmla="*/ 676049 h 6859062"/>
              <a:gd name="connsiteX12727" fmla="*/ 3971126 w 12192185"/>
              <a:gd name="connsiteY12727" fmla="*/ 676410 h 6859062"/>
              <a:gd name="connsiteX12728" fmla="*/ 3967134 w 12192185"/>
              <a:gd name="connsiteY12728" fmla="*/ 673534 h 6859062"/>
              <a:gd name="connsiteX12729" fmla="*/ 3954358 w 12192185"/>
              <a:gd name="connsiteY12729" fmla="*/ 667456 h 6859062"/>
              <a:gd name="connsiteX12730" fmla="*/ 3947511 w 12192185"/>
              <a:gd name="connsiteY12730" fmla="*/ 662527 h 6859062"/>
              <a:gd name="connsiteX12731" fmla="*/ 3945761 w 12192185"/>
              <a:gd name="connsiteY12731" fmla="*/ 659185 h 6859062"/>
              <a:gd name="connsiteX12732" fmla="*/ 3945691 w 12192185"/>
              <a:gd name="connsiteY12732" fmla="*/ 658645 h 6859062"/>
              <a:gd name="connsiteX12733" fmla="*/ 3930473 w 12192185"/>
              <a:gd name="connsiteY12733" fmla="*/ 668642 h 6859062"/>
              <a:gd name="connsiteX12734" fmla="*/ 3931929 w 12192185"/>
              <a:gd name="connsiteY12734" fmla="*/ 676680 h 6859062"/>
              <a:gd name="connsiteX12735" fmla="*/ 3889029 w 12192185"/>
              <a:gd name="connsiteY12735" fmla="*/ 711962 h 6859062"/>
              <a:gd name="connsiteX12736" fmla="*/ 3876671 w 12192185"/>
              <a:gd name="connsiteY12736" fmla="*/ 721562 h 6859062"/>
              <a:gd name="connsiteX12737" fmla="*/ 3882048 w 12192185"/>
              <a:gd name="connsiteY12737" fmla="*/ 723964 h 6859062"/>
              <a:gd name="connsiteX12738" fmla="*/ 3885651 w 12192185"/>
              <a:gd name="connsiteY12738" fmla="*/ 725459 h 6859062"/>
              <a:gd name="connsiteX12739" fmla="*/ 3893260 w 12192185"/>
              <a:gd name="connsiteY12739" fmla="*/ 733877 h 6859062"/>
              <a:gd name="connsiteX12740" fmla="*/ 3897185 w 12192185"/>
              <a:gd name="connsiteY12740" fmla="*/ 740653 h 6859062"/>
              <a:gd name="connsiteX12741" fmla="*/ 3902614 w 12192185"/>
              <a:gd name="connsiteY12741" fmla="*/ 744197 h 6859062"/>
              <a:gd name="connsiteX12742" fmla="*/ 3903057 w 12192185"/>
              <a:gd name="connsiteY12742" fmla="*/ 743966 h 6859062"/>
              <a:gd name="connsiteX12743" fmla="*/ 3906786 w 12192185"/>
              <a:gd name="connsiteY12743" fmla="*/ 744267 h 6859062"/>
              <a:gd name="connsiteX12744" fmla="*/ 3905572 w 12192185"/>
              <a:gd name="connsiteY12744" fmla="*/ 746970 h 6859062"/>
              <a:gd name="connsiteX12745" fmla="*/ 3905765 w 12192185"/>
              <a:gd name="connsiteY12745" fmla="*/ 761339 h 6859062"/>
              <a:gd name="connsiteX12746" fmla="*/ 3905849 w 12192185"/>
              <a:gd name="connsiteY12746" fmla="*/ 765805 h 6859062"/>
              <a:gd name="connsiteX12747" fmla="*/ 3903812 w 12192185"/>
              <a:gd name="connsiteY12747" fmla="*/ 768376 h 6859062"/>
              <a:gd name="connsiteX12748" fmla="*/ 3903952 w 12192185"/>
              <a:gd name="connsiteY12748" fmla="*/ 771873 h 6859062"/>
              <a:gd name="connsiteX12749" fmla="*/ 3905103 w 12192185"/>
              <a:gd name="connsiteY12749" fmla="*/ 772465 h 6859062"/>
              <a:gd name="connsiteX12750" fmla="*/ 3899579 w 12192185"/>
              <a:gd name="connsiteY12750" fmla="*/ 789972 h 6859062"/>
              <a:gd name="connsiteX12751" fmla="*/ 3898661 w 12192185"/>
              <a:gd name="connsiteY12751" fmla="*/ 787612 h 6859062"/>
              <a:gd name="connsiteX12752" fmla="*/ 3896314 w 12192185"/>
              <a:gd name="connsiteY12752" fmla="*/ 785647 h 6859062"/>
              <a:gd name="connsiteX12753" fmla="*/ 3894199 w 12192185"/>
              <a:gd name="connsiteY12753" fmla="*/ 788070 h 6859062"/>
              <a:gd name="connsiteX12754" fmla="*/ 3894318 w 12192185"/>
              <a:gd name="connsiteY12754" fmla="*/ 790451 h 6859062"/>
              <a:gd name="connsiteX12755" fmla="*/ 3890280 w 12192185"/>
              <a:gd name="connsiteY12755" fmla="*/ 793506 h 6859062"/>
              <a:gd name="connsiteX12756" fmla="*/ 3887666 w 12192185"/>
              <a:gd name="connsiteY12756" fmla="*/ 793184 h 6859062"/>
              <a:gd name="connsiteX12757" fmla="*/ 3887419 w 12192185"/>
              <a:gd name="connsiteY12757" fmla="*/ 795944 h 6859062"/>
              <a:gd name="connsiteX12758" fmla="*/ 3887904 w 12192185"/>
              <a:gd name="connsiteY12758" fmla="*/ 797945 h 6859062"/>
              <a:gd name="connsiteX12759" fmla="*/ 3887609 w 12192185"/>
              <a:gd name="connsiteY12759" fmla="*/ 800613 h 6859062"/>
              <a:gd name="connsiteX12760" fmla="*/ 3884983 w 12192185"/>
              <a:gd name="connsiteY12760" fmla="*/ 800980 h 6859062"/>
              <a:gd name="connsiteX12761" fmla="*/ 3877872 w 12192185"/>
              <a:gd name="connsiteY12761" fmla="*/ 799255 h 6859062"/>
              <a:gd name="connsiteX12762" fmla="*/ 3870609 w 12192185"/>
              <a:gd name="connsiteY12762" fmla="*/ 801181 h 6859062"/>
              <a:gd name="connsiteX12763" fmla="*/ 3866155 w 12192185"/>
              <a:gd name="connsiteY12763" fmla="*/ 802010 h 6859062"/>
              <a:gd name="connsiteX12764" fmla="*/ 3854917 w 12192185"/>
              <a:gd name="connsiteY12764" fmla="*/ 802449 h 6859062"/>
              <a:gd name="connsiteX12765" fmla="*/ 3852822 w 12192185"/>
              <a:gd name="connsiteY12765" fmla="*/ 802042 h 6859062"/>
              <a:gd name="connsiteX12766" fmla="*/ 3835038 w 12192185"/>
              <a:gd name="connsiteY12766" fmla="*/ 787117 h 6859062"/>
              <a:gd name="connsiteX12767" fmla="*/ 3833038 w 12192185"/>
              <a:gd name="connsiteY12767" fmla="*/ 783656 h 6859062"/>
              <a:gd name="connsiteX12768" fmla="*/ 3830623 w 12192185"/>
              <a:gd name="connsiteY12768" fmla="*/ 774022 h 6859062"/>
              <a:gd name="connsiteX12769" fmla="*/ 3827939 w 12192185"/>
              <a:gd name="connsiteY12769" fmla="*/ 766031 h 6859062"/>
              <a:gd name="connsiteX12770" fmla="*/ 3827884 w 12192185"/>
              <a:gd name="connsiteY12770" fmla="*/ 763054 h 6859062"/>
              <a:gd name="connsiteX12771" fmla="*/ 3828883 w 12192185"/>
              <a:gd name="connsiteY12771" fmla="*/ 758548 h 6859062"/>
              <a:gd name="connsiteX12772" fmla="*/ 3786547 w 12192185"/>
              <a:gd name="connsiteY12772" fmla="*/ 790738 h 6859062"/>
              <a:gd name="connsiteX12773" fmla="*/ 3736011 w 12192185"/>
              <a:gd name="connsiteY12773" fmla="*/ 832593 h 6859062"/>
              <a:gd name="connsiteX12774" fmla="*/ 3727244 w 12192185"/>
              <a:gd name="connsiteY12774" fmla="*/ 830032 h 6859062"/>
              <a:gd name="connsiteX12775" fmla="*/ 3654501 w 12192185"/>
              <a:gd name="connsiteY12775" fmla="*/ 909642 h 6859062"/>
              <a:gd name="connsiteX12776" fmla="*/ 3608086 w 12192185"/>
              <a:gd name="connsiteY12776" fmla="*/ 951270 h 6859062"/>
              <a:gd name="connsiteX12777" fmla="*/ 3612834 w 12192185"/>
              <a:gd name="connsiteY12777" fmla="*/ 954559 h 6859062"/>
              <a:gd name="connsiteX12778" fmla="*/ 3585074 w 12192185"/>
              <a:gd name="connsiteY12778" fmla="*/ 984481 h 6859062"/>
              <a:gd name="connsiteX12779" fmla="*/ 3763620 w 12192185"/>
              <a:gd name="connsiteY12779" fmla="*/ 991597 h 6859062"/>
              <a:gd name="connsiteX12780" fmla="*/ 4031465 w 12192185"/>
              <a:gd name="connsiteY12780" fmla="*/ 1017743 h 6859062"/>
              <a:gd name="connsiteX12781" fmla="*/ 4096608 w 12192185"/>
              <a:gd name="connsiteY12781" fmla="*/ 1029452 h 6859062"/>
              <a:gd name="connsiteX12782" fmla="*/ 4112058 w 12192185"/>
              <a:gd name="connsiteY12782" fmla="*/ 1014839 h 6859062"/>
              <a:gd name="connsiteX12783" fmla="*/ 4110781 w 12192185"/>
              <a:gd name="connsiteY12783" fmla="*/ 996200 h 6859062"/>
              <a:gd name="connsiteX12784" fmla="*/ 4116497 w 12192185"/>
              <a:gd name="connsiteY12784" fmla="*/ 942750 h 6859062"/>
              <a:gd name="connsiteX12785" fmla="*/ 4195706 w 12192185"/>
              <a:gd name="connsiteY12785" fmla="*/ 886832 h 6859062"/>
              <a:gd name="connsiteX12786" fmla="*/ 4196782 w 12192185"/>
              <a:gd name="connsiteY12786" fmla="*/ 884457 h 6859062"/>
              <a:gd name="connsiteX12787" fmla="*/ 4202876 w 12192185"/>
              <a:gd name="connsiteY12787" fmla="*/ 881017 h 6859062"/>
              <a:gd name="connsiteX12788" fmla="*/ 4207952 w 12192185"/>
              <a:gd name="connsiteY12788" fmla="*/ 878186 h 6859062"/>
              <a:gd name="connsiteX12789" fmla="*/ 4405262 w 12192185"/>
              <a:gd name="connsiteY12789" fmla="*/ 738895 h 6859062"/>
              <a:gd name="connsiteX12790" fmla="*/ 4671331 w 12192185"/>
              <a:gd name="connsiteY12790" fmla="*/ 604005 h 6859062"/>
              <a:gd name="connsiteX12791" fmla="*/ 4693938 w 12192185"/>
              <a:gd name="connsiteY12791" fmla="*/ 596844 h 6859062"/>
              <a:gd name="connsiteX12792" fmla="*/ 4722531 w 12192185"/>
              <a:gd name="connsiteY12792" fmla="*/ 604255 h 6859062"/>
              <a:gd name="connsiteX12793" fmla="*/ 4710731 w 12192185"/>
              <a:gd name="connsiteY12793" fmla="*/ 632526 h 6859062"/>
              <a:gd name="connsiteX12794" fmla="*/ 4637974 w 12192185"/>
              <a:gd name="connsiteY12794" fmla="*/ 673072 h 6859062"/>
              <a:gd name="connsiteX12795" fmla="*/ 4615136 w 12192185"/>
              <a:gd name="connsiteY12795" fmla="*/ 695230 h 6859062"/>
              <a:gd name="connsiteX12796" fmla="*/ 4710281 w 12192185"/>
              <a:gd name="connsiteY12796" fmla="*/ 662519 h 6859062"/>
              <a:gd name="connsiteX12797" fmla="*/ 5153994 w 12192185"/>
              <a:gd name="connsiteY12797" fmla="*/ 441847 h 6859062"/>
              <a:gd name="connsiteX12798" fmla="*/ 5301185 w 12192185"/>
              <a:gd name="connsiteY12798" fmla="*/ 397389 h 6859062"/>
              <a:gd name="connsiteX12799" fmla="*/ 5341799 w 12192185"/>
              <a:gd name="connsiteY12799" fmla="*/ 389478 h 6859062"/>
              <a:gd name="connsiteX12800" fmla="*/ 5346175 w 12192185"/>
              <a:gd name="connsiteY12800" fmla="*/ 386241 h 6859062"/>
              <a:gd name="connsiteX12801" fmla="*/ 5350126 w 12192185"/>
              <a:gd name="connsiteY12801" fmla="*/ 385190 h 6859062"/>
              <a:gd name="connsiteX12802" fmla="*/ 5351467 w 12192185"/>
              <a:gd name="connsiteY12802" fmla="*/ 387595 h 6859062"/>
              <a:gd name="connsiteX12803" fmla="*/ 5451055 w 12192185"/>
              <a:gd name="connsiteY12803" fmla="*/ 368198 h 6859062"/>
              <a:gd name="connsiteX12804" fmla="*/ 5756740 w 12192185"/>
              <a:gd name="connsiteY12804" fmla="*/ 338903 h 6859062"/>
              <a:gd name="connsiteX12805" fmla="*/ 6020199 w 12192185"/>
              <a:gd name="connsiteY12805" fmla="*/ 331824 h 6859062"/>
              <a:gd name="connsiteX12806" fmla="*/ 6022744 w 12192185"/>
              <a:gd name="connsiteY12806" fmla="*/ 327651 h 6859062"/>
              <a:gd name="connsiteX12807" fmla="*/ 6032125 w 12192185"/>
              <a:gd name="connsiteY12807" fmla="*/ 317124 h 6859062"/>
              <a:gd name="connsiteX12808" fmla="*/ 6034680 w 12192185"/>
              <a:gd name="connsiteY12808" fmla="*/ 312938 h 6859062"/>
              <a:gd name="connsiteX12809" fmla="*/ 6038560 w 12192185"/>
              <a:gd name="connsiteY12809" fmla="*/ 311692 h 6859062"/>
              <a:gd name="connsiteX12810" fmla="*/ 6045932 w 12192185"/>
              <a:gd name="connsiteY12810" fmla="*/ 310111 h 6859062"/>
              <a:gd name="connsiteX12811" fmla="*/ 6048536 w 12192185"/>
              <a:gd name="connsiteY12811" fmla="*/ 309072 h 6859062"/>
              <a:gd name="connsiteX12812" fmla="*/ 6058641 w 12192185"/>
              <a:gd name="connsiteY12812" fmla="*/ 308663 h 6859062"/>
              <a:gd name="connsiteX12813" fmla="*/ 6060879 w 12192185"/>
              <a:gd name="connsiteY12813" fmla="*/ 308223 h 6859062"/>
              <a:gd name="connsiteX12814" fmla="*/ 9985735 w 12192185"/>
              <a:gd name="connsiteY12814" fmla="*/ 302455 h 6859062"/>
              <a:gd name="connsiteX12815" fmla="*/ 9999170 w 12192185"/>
              <a:gd name="connsiteY12815" fmla="*/ 314939 h 6859062"/>
              <a:gd name="connsiteX12816" fmla="*/ 10001858 w 12192185"/>
              <a:gd name="connsiteY12816" fmla="*/ 319843 h 6859062"/>
              <a:gd name="connsiteX12817" fmla="*/ 10010366 w 12192185"/>
              <a:gd name="connsiteY12817" fmla="*/ 330544 h 6859062"/>
              <a:gd name="connsiteX12818" fmla="*/ 10017084 w 12192185"/>
              <a:gd name="connsiteY12818" fmla="*/ 334556 h 6859062"/>
              <a:gd name="connsiteX12819" fmla="*/ 10023355 w 12192185"/>
              <a:gd name="connsiteY12819" fmla="*/ 352390 h 6859062"/>
              <a:gd name="connsiteX12820" fmla="*/ 10019325 w 12192185"/>
              <a:gd name="connsiteY12820" fmla="*/ 367549 h 6859062"/>
              <a:gd name="connsiteX12821" fmla="*/ 10006783 w 12192185"/>
              <a:gd name="connsiteY12821" fmla="*/ 377358 h 6859062"/>
              <a:gd name="connsiteX12822" fmla="*/ 10005440 w 12192185"/>
              <a:gd name="connsiteY12822" fmla="*/ 379141 h 6859062"/>
              <a:gd name="connsiteX12823" fmla="*/ 9996483 w 12192185"/>
              <a:gd name="connsiteY12823" fmla="*/ 379142 h 6859062"/>
              <a:gd name="connsiteX12824" fmla="*/ 9986630 w 12192185"/>
              <a:gd name="connsiteY12824" fmla="*/ 374238 h 6859062"/>
              <a:gd name="connsiteX12825" fmla="*/ 9979912 w 12192185"/>
              <a:gd name="connsiteY12825" fmla="*/ 366211 h 6859062"/>
              <a:gd name="connsiteX12826" fmla="*/ 9974985 w 12192185"/>
              <a:gd name="connsiteY12826" fmla="*/ 354173 h 6859062"/>
              <a:gd name="connsiteX12827" fmla="*/ 9968716 w 12192185"/>
              <a:gd name="connsiteY12827" fmla="*/ 342581 h 6859062"/>
              <a:gd name="connsiteX12828" fmla="*/ 9958862 w 12192185"/>
              <a:gd name="connsiteY12828" fmla="*/ 332773 h 6859062"/>
              <a:gd name="connsiteX12829" fmla="*/ 9958862 w 12192185"/>
              <a:gd name="connsiteY12829" fmla="*/ 316722 h 6859062"/>
              <a:gd name="connsiteX12830" fmla="*/ 9964236 w 12192185"/>
              <a:gd name="connsiteY12830" fmla="*/ 310480 h 6859062"/>
              <a:gd name="connsiteX12831" fmla="*/ 9974090 w 12192185"/>
              <a:gd name="connsiteY12831" fmla="*/ 304238 h 6859062"/>
              <a:gd name="connsiteX12832" fmla="*/ 9985735 w 12192185"/>
              <a:gd name="connsiteY12832" fmla="*/ 302455 h 6859062"/>
              <a:gd name="connsiteX12833" fmla="*/ 9441937 w 12192185"/>
              <a:gd name="connsiteY12833" fmla="*/ 300993 h 6859062"/>
              <a:gd name="connsiteX12834" fmla="*/ 9453583 w 12192185"/>
              <a:gd name="connsiteY12834" fmla="*/ 302777 h 6859062"/>
              <a:gd name="connsiteX12835" fmla="*/ 9463435 w 12192185"/>
              <a:gd name="connsiteY12835" fmla="*/ 309019 h 6859062"/>
              <a:gd name="connsiteX12836" fmla="*/ 9468809 w 12192185"/>
              <a:gd name="connsiteY12836" fmla="*/ 315260 h 6859062"/>
              <a:gd name="connsiteX12837" fmla="*/ 9468809 w 12192185"/>
              <a:gd name="connsiteY12837" fmla="*/ 331311 h 6859062"/>
              <a:gd name="connsiteX12838" fmla="*/ 9458956 w 12192185"/>
              <a:gd name="connsiteY12838" fmla="*/ 341119 h 6859062"/>
              <a:gd name="connsiteX12839" fmla="*/ 9452686 w 12192185"/>
              <a:gd name="connsiteY12839" fmla="*/ 352712 h 6859062"/>
              <a:gd name="connsiteX12840" fmla="*/ 9447760 w 12192185"/>
              <a:gd name="connsiteY12840" fmla="*/ 364750 h 6859062"/>
              <a:gd name="connsiteX12841" fmla="*/ 9441041 w 12192185"/>
              <a:gd name="connsiteY12841" fmla="*/ 372776 h 6859062"/>
              <a:gd name="connsiteX12842" fmla="*/ 9431189 w 12192185"/>
              <a:gd name="connsiteY12842" fmla="*/ 377680 h 6859062"/>
              <a:gd name="connsiteX12843" fmla="*/ 9422232 w 12192185"/>
              <a:gd name="connsiteY12843" fmla="*/ 377680 h 6859062"/>
              <a:gd name="connsiteX12844" fmla="*/ 9420888 w 12192185"/>
              <a:gd name="connsiteY12844" fmla="*/ 375896 h 6859062"/>
              <a:gd name="connsiteX12845" fmla="*/ 9408348 w 12192185"/>
              <a:gd name="connsiteY12845" fmla="*/ 366088 h 6859062"/>
              <a:gd name="connsiteX12846" fmla="*/ 9404318 w 12192185"/>
              <a:gd name="connsiteY12846" fmla="*/ 350929 h 6859062"/>
              <a:gd name="connsiteX12847" fmla="*/ 9410587 w 12192185"/>
              <a:gd name="connsiteY12847" fmla="*/ 333094 h 6859062"/>
              <a:gd name="connsiteX12848" fmla="*/ 9417305 w 12192185"/>
              <a:gd name="connsiteY12848" fmla="*/ 329081 h 6859062"/>
              <a:gd name="connsiteX12849" fmla="*/ 9425814 w 12192185"/>
              <a:gd name="connsiteY12849" fmla="*/ 318382 h 6859062"/>
              <a:gd name="connsiteX12850" fmla="*/ 9428501 w 12192185"/>
              <a:gd name="connsiteY12850" fmla="*/ 313477 h 6859062"/>
              <a:gd name="connsiteX12851" fmla="*/ 9441937 w 12192185"/>
              <a:gd name="connsiteY12851" fmla="*/ 300993 h 6859062"/>
              <a:gd name="connsiteX12852" fmla="*/ 8362030 w 12192185"/>
              <a:gd name="connsiteY12852" fmla="*/ 300363 h 6859062"/>
              <a:gd name="connsiteX12853" fmla="*/ 8364504 w 12192185"/>
              <a:gd name="connsiteY12853" fmla="*/ 301069 h 6859062"/>
              <a:gd name="connsiteX12854" fmla="*/ 8375814 w 12192185"/>
              <a:gd name="connsiteY12854" fmla="*/ 302481 h 6859062"/>
              <a:gd name="connsiteX12855" fmla="*/ 8378641 w 12192185"/>
              <a:gd name="connsiteY12855" fmla="*/ 303892 h 6859062"/>
              <a:gd name="connsiteX12856" fmla="*/ 8386770 w 12192185"/>
              <a:gd name="connsiteY12856" fmla="*/ 306363 h 6859062"/>
              <a:gd name="connsiteX12857" fmla="*/ 8391011 w 12192185"/>
              <a:gd name="connsiteY12857" fmla="*/ 308128 h 6859062"/>
              <a:gd name="connsiteX12858" fmla="*/ 8393484 w 12192185"/>
              <a:gd name="connsiteY12858" fmla="*/ 313069 h 6859062"/>
              <a:gd name="connsiteX12859" fmla="*/ 8403027 w 12192185"/>
              <a:gd name="connsiteY12859" fmla="*/ 325776 h 6859062"/>
              <a:gd name="connsiteX12860" fmla="*/ 8407268 w 12192185"/>
              <a:gd name="connsiteY12860" fmla="*/ 334247 h 6859062"/>
              <a:gd name="connsiteX12861" fmla="*/ 8407268 w 12192185"/>
              <a:gd name="connsiteY12861" fmla="*/ 338483 h 6859062"/>
              <a:gd name="connsiteX12862" fmla="*/ 8403733 w 12192185"/>
              <a:gd name="connsiteY12862" fmla="*/ 348013 h 6859062"/>
              <a:gd name="connsiteX12863" fmla="*/ 8398786 w 12192185"/>
              <a:gd name="connsiteY12863" fmla="*/ 363543 h 6859062"/>
              <a:gd name="connsiteX12864" fmla="*/ 8394544 w 12192185"/>
              <a:gd name="connsiteY12864" fmla="*/ 369191 h 6859062"/>
              <a:gd name="connsiteX12865" fmla="*/ 8387830 w 12192185"/>
              <a:gd name="connsiteY12865" fmla="*/ 374839 h 6859062"/>
              <a:gd name="connsiteX12866" fmla="*/ 8381822 w 12192185"/>
              <a:gd name="connsiteY12866" fmla="*/ 378015 h 6859062"/>
              <a:gd name="connsiteX12867" fmla="*/ 8359556 w 12192185"/>
              <a:gd name="connsiteY12867" fmla="*/ 382956 h 6859062"/>
              <a:gd name="connsiteX12868" fmla="*/ 8348247 w 12192185"/>
              <a:gd name="connsiteY12868" fmla="*/ 382603 h 6859062"/>
              <a:gd name="connsiteX12869" fmla="*/ 8330576 w 12192185"/>
              <a:gd name="connsiteY12869" fmla="*/ 368838 h 6859062"/>
              <a:gd name="connsiteX12870" fmla="*/ 8329516 w 12192185"/>
              <a:gd name="connsiteY12870" fmla="*/ 360366 h 6859062"/>
              <a:gd name="connsiteX12871" fmla="*/ 8329162 w 12192185"/>
              <a:gd name="connsiteY12871" fmla="*/ 356837 h 6859062"/>
              <a:gd name="connsiteX12872" fmla="*/ 8327395 w 12192185"/>
              <a:gd name="connsiteY12872" fmla="*/ 347307 h 6859062"/>
              <a:gd name="connsiteX12873" fmla="*/ 8326335 w 12192185"/>
              <a:gd name="connsiteY12873" fmla="*/ 342718 h 6859062"/>
              <a:gd name="connsiteX12874" fmla="*/ 8326689 w 12192185"/>
              <a:gd name="connsiteY12874" fmla="*/ 336718 h 6859062"/>
              <a:gd name="connsiteX12875" fmla="*/ 8329162 w 12192185"/>
              <a:gd name="connsiteY12875" fmla="*/ 330718 h 6859062"/>
              <a:gd name="connsiteX12876" fmla="*/ 8336937 w 12192185"/>
              <a:gd name="connsiteY12876" fmla="*/ 316246 h 6859062"/>
              <a:gd name="connsiteX12877" fmla="*/ 8362030 w 12192185"/>
              <a:gd name="connsiteY12877" fmla="*/ 300363 h 6859062"/>
              <a:gd name="connsiteX12878" fmla="*/ 2859275 w 12192185"/>
              <a:gd name="connsiteY12878" fmla="*/ 295714 h 6859062"/>
              <a:gd name="connsiteX12879" fmla="*/ 2884369 w 12192185"/>
              <a:gd name="connsiteY12879" fmla="*/ 311598 h 6859062"/>
              <a:gd name="connsiteX12880" fmla="*/ 2892143 w 12192185"/>
              <a:gd name="connsiteY12880" fmla="*/ 326070 h 6859062"/>
              <a:gd name="connsiteX12881" fmla="*/ 2894617 w 12192185"/>
              <a:gd name="connsiteY12881" fmla="*/ 332070 h 6859062"/>
              <a:gd name="connsiteX12882" fmla="*/ 2894968 w 12192185"/>
              <a:gd name="connsiteY12882" fmla="*/ 338070 h 6859062"/>
              <a:gd name="connsiteX12883" fmla="*/ 2893910 w 12192185"/>
              <a:gd name="connsiteY12883" fmla="*/ 342659 h 6859062"/>
              <a:gd name="connsiteX12884" fmla="*/ 2892143 w 12192185"/>
              <a:gd name="connsiteY12884" fmla="*/ 352188 h 6859062"/>
              <a:gd name="connsiteX12885" fmla="*/ 2891790 w 12192185"/>
              <a:gd name="connsiteY12885" fmla="*/ 355718 h 6859062"/>
              <a:gd name="connsiteX12886" fmla="*/ 2890728 w 12192185"/>
              <a:gd name="connsiteY12886" fmla="*/ 364190 h 6859062"/>
              <a:gd name="connsiteX12887" fmla="*/ 2873057 w 12192185"/>
              <a:gd name="connsiteY12887" fmla="*/ 377955 h 6859062"/>
              <a:gd name="connsiteX12888" fmla="*/ 2861747 w 12192185"/>
              <a:gd name="connsiteY12888" fmla="*/ 378308 h 6859062"/>
              <a:gd name="connsiteX12889" fmla="*/ 2839483 w 12192185"/>
              <a:gd name="connsiteY12889" fmla="*/ 373367 h 6859062"/>
              <a:gd name="connsiteX12890" fmla="*/ 2833474 w 12192185"/>
              <a:gd name="connsiteY12890" fmla="*/ 370190 h 6859062"/>
              <a:gd name="connsiteX12891" fmla="*/ 2826758 w 12192185"/>
              <a:gd name="connsiteY12891" fmla="*/ 364543 h 6859062"/>
              <a:gd name="connsiteX12892" fmla="*/ 2822518 w 12192185"/>
              <a:gd name="connsiteY12892" fmla="*/ 358895 h 6859062"/>
              <a:gd name="connsiteX12893" fmla="*/ 2817570 w 12192185"/>
              <a:gd name="connsiteY12893" fmla="*/ 343365 h 6859062"/>
              <a:gd name="connsiteX12894" fmla="*/ 2814036 w 12192185"/>
              <a:gd name="connsiteY12894" fmla="*/ 333835 h 6859062"/>
              <a:gd name="connsiteX12895" fmla="*/ 2814036 w 12192185"/>
              <a:gd name="connsiteY12895" fmla="*/ 329599 h 6859062"/>
              <a:gd name="connsiteX12896" fmla="*/ 2818277 w 12192185"/>
              <a:gd name="connsiteY12896" fmla="*/ 321128 h 6859062"/>
              <a:gd name="connsiteX12897" fmla="*/ 2827819 w 12192185"/>
              <a:gd name="connsiteY12897" fmla="*/ 308422 h 6859062"/>
              <a:gd name="connsiteX12898" fmla="*/ 2830293 w 12192185"/>
              <a:gd name="connsiteY12898" fmla="*/ 303480 h 6859062"/>
              <a:gd name="connsiteX12899" fmla="*/ 2834534 w 12192185"/>
              <a:gd name="connsiteY12899" fmla="*/ 301715 h 6859062"/>
              <a:gd name="connsiteX12900" fmla="*/ 2842663 w 12192185"/>
              <a:gd name="connsiteY12900" fmla="*/ 299244 h 6859062"/>
              <a:gd name="connsiteX12901" fmla="*/ 2845491 w 12192185"/>
              <a:gd name="connsiteY12901" fmla="*/ 297833 h 6859062"/>
              <a:gd name="connsiteX12902" fmla="*/ 2856800 w 12192185"/>
              <a:gd name="connsiteY12902" fmla="*/ 296421 h 6859062"/>
              <a:gd name="connsiteX12903" fmla="*/ 2859275 w 12192185"/>
              <a:gd name="connsiteY12903" fmla="*/ 295714 h 6859062"/>
              <a:gd name="connsiteX12904" fmla="*/ 10150282 w 12192185"/>
              <a:gd name="connsiteY12904" fmla="*/ 250461 h 6859062"/>
              <a:gd name="connsiteX12905" fmla="*/ 10153742 w 12192185"/>
              <a:gd name="connsiteY12905" fmla="*/ 252191 h 6859062"/>
              <a:gd name="connsiteX12906" fmla="*/ 10163734 w 12192185"/>
              <a:gd name="connsiteY12906" fmla="*/ 256801 h 6859062"/>
              <a:gd name="connsiteX12907" fmla="*/ 10165656 w 12192185"/>
              <a:gd name="connsiteY12907" fmla="*/ 258145 h 6859062"/>
              <a:gd name="connsiteX12908" fmla="*/ 10174112 w 12192185"/>
              <a:gd name="connsiteY12908" fmla="*/ 268325 h 6859062"/>
              <a:gd name="connsiteX12909" fmla="*/ 10179302 w 12192185"/>
              <a:gd name="connsiteY12909" fmla="*/ 285613 h 6859062"/>
              <a:gd name="connsiteX12910" fmla="*/ 10181799 w 12192185"/>
              <a:gd name="connsiteY12910" fmla="*/ 291567 h 6859062"/>
              <a:gd name="connsiteX12911" fmla="*/ 10181223 w 12192185"/>
              <a:gd name="connsiteY12911" fmla="*/ 300018 h 6859062"/>
              <a:gd name="connsiteX12912" fmla="*/ 10180454 w 12192185"/>
              <a:gd name="connsiteY12912" fmla="*/ 307125 h 6859062"/>
              <a:gd name="connsiteX12913" fmla="*/ 10180646 w 12192185"/>
              <a:gd name="connsiteY12913" fmla="*/ 310007 h 6859062"/>
              <a:gd name="connsiteX12914" fmla="*/ 10169309 w 12192185"/>
              <a:gd name="connsiteY12914" fmla="*/ 323068 h 6859062"/>
              <a:gd name="connsiteX12915" fmla="*/ 10158547 w 12192185"/>
              <a:gd name="connsiteY12915" fmla="*/ 329406 h 6859062"/>
              <a:gd name="connsiteX12916" fmla="*/ 10150474 w 12192185"/>
              <a:gd name="connsiteY12916" fmla="*/ 339971 h 6859062"/>
              <a:gd name="connsiteX12917" fmla="*/ 10151627 w 12192185"/>
              <a:gd name="connsiteY12917" fmla="*/ 342084 h 6859062"/>
              <a:gd name="connsiteX12918" fmla="*/ 10162966 w 12192185"/>
              <a:gd name="connsiteY12918" fmla="*/ 355529 h 6859062"/>
              <a:gd name="connsiteX12919" fmla="*/ 10164504 w 12192185"/>
              <a:gd name="connsiteY12919" fmla="*/ 358603 h 6859062"/>
              <a:gd name="connsiteX12920" fmla="*/ 10166042 w 12192185"/>
              <a:gd name="connsiteY12920" fmla="*/ 368206 h 6859062"/>
              <a:gd name="connsiteX12921" fmla="*/ 10168731 w 12192185"/>
              <a:gd name="connsiteY12921" fmla="*/ 379347 h 6859062"/>
              <a:gd name="connsiteX12922" fmla="*/ 10168539 w 12192185"/>
              <a:gd name="connsiteY12922" fmla="*/ 383957 h 6859062"/>
              <a:gd name="connsiteX12923" fmla="*/ 10158354 w 12192185"/>
              <a:gd name="connsiteY12923" fmla="*/ 408735 h 6859062"/>
              <a:gd name="connsiteX12924" fmla="*/ 10156432 w 12192185"/>
              <a:gd name="connsiteY12924" fmla="*/ 410272 h 6859062"/>
              <a:gd name="connsiteX12925" fmla="*/ 10144709 w 12192185"/>
              <a:gd name="connsiteY12925" fmla="*/ 415842 h 6859062"/>
              <a:gd name="connsiteX12926" fmla="*/ 10139712 w 12192185"/>
              <a:gd name="connsiteY12926" fmla="*/ 417379 h 6859062"/>
              <a:gd name="connsiteX12927" fmla="*/ 10131256 w 12192185"/>
              <a:gd name="connsiteY12927" fmla="*/ 419300 h 6859062"/>
              <a:gd name="connsiteX12928" fmla="*/ 10124914 w 12192185"/>
              <a:gd name="connsiteY12928" fmla="*/ 424870 h 6859062"/>
              <a:gd name="connsiteX12929" fmla="*/ 10122033 w 12192185"/>
              <a:gd name="connsiteY12929" fmla="*/ 425902 h 6859062"/>
              <a:gd name="connsiteX12930" fmla="*/ 10120302 w 12192185"/>
              <a:gd name="connsiteY12930" fmla="*/ 423333 h 6859062"/>
              <a:gd name="connsiteX12931" fmla="*/ 10119726 w 12192185"/>
              <a:gd name="connsiteY12931" fmla="*/ 421028 h 6859062"/>
              <a:gd name="connsiteX12932" fmla="*/ 10117996 w 12192185"/>
              <a:gd name="connsiteY12932" fmla="*/ 418339 h 6859062"/>
              <a:gd name="connsiteX12933" fmla="*/ 10115499 w 12192185"/>
              <a:gd name="connsiteY12933" fmla="*/ 420068 h 6859062"/>
              <a:gd name="connsiteX12934" fmla="*/ 10109733 w 12192185"/>
              <a:gd name="connsiteY12934" fmla="*/ 419108 h 6859062"/>
              <a:gd name="connsiteX12935" fmla="*/ 10108580 w 12192185"/>
              <a:gd name="connsiteY12935" fmla="*/ 416610 h 6859062"/>
              <a:gd name="connsiteX12936" fmla="*/ 10105120 w 12192185"/>
              <a:gd name="connsiteY12936" fmla="*/ 415265 h 6859062"/>
              <a:gd name="connsiteX12937" fmla="*/ 10103775 w 12192185"/>
              <a:gd name="connsiteY12937" fmla="*/ 418531 h 6859062"/>
              <a:gd name="connsiteX12938" fmla="*/ 10104099 w 12192185"/>
              <a:gd name="connsiteY12938" fmla="*/ 421436 h 6859062"/>
              <a:gd name="connsiteX12939" fmla="*/ 10089078 w 12192185"/>
              <a:gd name="connsiteY12939" fmla="*/ 406498 h 6859062"/>
              <a:gd name="connsiteX12940" fmla="*/ 10089938 w 12192185"/>
              <a:gd name="connsiteY12940" fmla="*/ 405277 h 6859062"/>
              <a:gd name="connsiteX12941" fmla="*/ 10088208 w 12192185"/>
              <a:gd name="connsiteY12941" fmla="*/ 401628 h 6859062"/>
              <a:gd name="connsiteX12942" fmla="*/ 10084750 w 12192185"/>
              <a:gd name="connsiteY12942" fmla="*/ 400091 h 6859062"/>
              <a:gd name="connsiteX12943" fmla="*/ 10082443 w 12192185"/>
              <a:gd name="connsiteY12943" fmla="*/ 395482 h 6859062"/>
              <a:gd name="connsiteX12944" fmla="*/ 10074948 w 12192185"/>
              <a:gd name="connsiteY12944" fmla="*/ 380691 h 6859062"/>
              <a:gd name="connsiteX12945" fmla="*/ 10072258 w 12192185"/>
              <a:gd name="connsiteY12945" fmla="*/ 378579 h 6859062"/>
              <a:gd name="connsiteX12946" fmla="*/ 10075909 w 12192185"/>
              <a:gd name="connsiteY12946" fmla="*/ 376273 h 6859062"/>
              <a:gd name="connsiteX12947" fmla="*/ 10076486 w 12192185"/>
              <a:gd name="connsiteY12947" fmla="*/ 376274 h 6859062"/>
              <a:gd name="connsiteX12948" fmla="*/ 10080137 w 12192185"/>
              <a:gd name="connsiteY12948" fmla="*/ 369743 h 6859062"/>
              <a:gd name="connsiteX12949" fmla="*/ 10080522 w 12192185"/>
              <a:gd name="connsiteY12949" fmla="*/ 360716 h 6859062"/>
              <a:gd name="connsiteX12950" fmla="*/ 10083788 w 12192185"/>
              <a:gd name="connsiteY12950" fmla="*/ 348038 h 6859062"/>
              <a:gd name="connsiteX12951" fmla="*/ 10086672 w 12192185"/>
              <a:gd name="connsiteY12951" fmla="*/ 344580 h 6859062"/>
              <a:gd name="connsiteX12952" fmla="*/ 10094551 w 12192185"/>
              <a:gd name="connsiteY12952" fmla="*/ 334593 h 6859062"/>
              <a:gd name="connsiteX12953" fmla="*/ 10099163 w 12192185"/>
              <a:gd name="connsiteY12953" fmla="*/ 332864 h 6859062"/>
              <a:gd name="connsiteX12954" fmla="*/ 10118188 w 12192185"/>
              <a:gd name="connsiteY12954" fmla="*/ 327293 h 6859062"/>
              <a:gd name="connsiteX12955" fmla="*/ 10118189 w 12192185"/>
              <a:gd name="connsiteY12955" fmla="*/ 323067 h 6859062"/>
              <a:gd name="connsiteX12956" fmla="*/ 10113192 w 12192185"/>
              <a:gd name="connsiteY12956" fmla="*/ 322491 h 6859062"/>
              <a:gd name="connsiteX12957" fmla="*/ 10109732 w 12192185"/>
              <a:gd name="connsiteY12957" fmla="*/ 324796 h 6859062"/>
              <a:gd name="connsiteX12958" fmla="*/ 10106466 w 12192185"/>
              <a:gd name="connsiteY12958" fmla="*/ 325180 h 6859062"/>
              <a:gd name="connsiteX12959" fmla="*/ 10107042 w 12192185"/>
              <a:gd name="connsiteY12959" fmla="*/ 321723 h 6859062"/>
              <a:gd name="connsiteX12960" fmla="*/ 10109732 w 12192185"/>
              <a:gd name="connsiteY12960" fmla="*/ 319227 h 6859062"/>
              <a:gd name="connsiteX12961" fmla="*/ 10110694 w 12192185"/>
              <a:gd name="connsiteY12961" fmla="*/ 313272 h 6859062"/>
              <a:gd name="connsiteX12962" fmla="*/ 10105504 w 12192185"/>
              <a:gd name="connsiteY12962" fmla="*/ 314424 h 6859062"/>
              <a:gd name="connsiteX12963" fmla="*/ 10101469 w 12192185"/>
              <a:gd name="connsiteY12963" fmla="*/ 317690 h 6859062"/>
              <a:gd name="connsiteX12964" fmla="*/ 10097625 w 12192185"/>
              <a:gd name="connsiteY12964" fmla="*/ 315193 h 6859062"/>
              <a:gd name="connsiteX12965" fmla="*/ 10101853 w 12192185"/>
              <a:gd name="connsiteY12965" fmla="*/ 304244 h 6859062"/>
              <a:gd name="connsiteX12966" fmla="*/ 10101853 w 12192185"/>
              <a:gd name="connsiteY12966" fmla="*/ 293680 h 6859062"/>
              <a:gd name="connsiteX12967" fmla="*/ 10098009 w 12192185"/>
              <a:gd name="connsiteY12967" fmla="*/ 289454 h 6859062"/>
              <a:gd name="connsiteX12968" fmla="*/ 10096856 w 12192185"/>
              <a:gd name="connsiteY12968" fmla="*/ 287341 h 6859062"/>
              <a:gd name="connsiteX12969" fmla="*/ 10098970 w 12192185"/>
              <a:gd name="connsiteY12969" fmla="*/ 286189 h 6859062"/>
              <a:gd name="connsiteX12970" fmla="*/ 10103006 w 12192185"/>
              <a:gd name="connsiteY12970" fmla="*/ 282347 h 6859062"/>
              <a:gd name="connsiteX12971" fmla="*/ 10108003 w 12192185"/>
              <a:gd name="connsiteY12971" fmla="*/ 273703 h 6859062"/>
              <a:gd name="connsiteX12972" fmla="*/ 10108195 w 12192185"/>
              <a:gd name="connsiteY12972" fmla="*/ 269093 h 6859062"/>
              <a:gd name="connsiteX12973" fmla="*/ 10106657 w 12192185"/>
              <a:gd name="connsiteY12973" fmla="*/ 266020 h 6859062"/>
              <a:gd name="connsiteX12974" fmla="*/ 10109925 w 12192185"/>
              <a:gd name="connsiteY12974" fmla="*/ 263907 h 6859062"/>
              <a:gd name="connsiteX12975" fmla="*/ 10112616 w 12192185"/>
              <a:gd name="connsiteY12975" fmla="*/ 263523 h 6859062"/>
              <a:gd name="connsiteX12976" fmla="*/ 10115883 w 12192185"/>
              <a:gd name="connsiteY12976" fmla="*/ 255648 h 6859062"/>
              <a:gd name="connsiteX12977" fmla="*/ 10114921 w 12192185"/>
              <a:gd name="connsiteY12977" fmla="*/ 254111 h 6859062"/>
              <a:gd name="connsiteX12978" fmla="*/ 10115114 w 12192185"/>
              <a:gd name="connsiteY12978" fmla="*/ 250654 h 6859062"/>
              <a:gd name="connsiteX12979" fmla="*/ 10118188 w 12192185"/>
              <a:gd name="connsiteY12979" fmla="*/ 251422 h 6859062"/>
              <a:gd name="connsiteX12980" fmla="*/ 10120110 w 12192185"/>
              <a:gd name="connsiteY12980" fmla="*/ 253919 h 6859062"/>
              <a:gd name="connsiteX12981" fmla="*/ 10123954 w 12192185"/>
              <a:gd name="connsiteY12981" fmla="*/ 254495 h 6859062"/>
              <a:gd name="connsiteX12982" fmla="*/ 10135677 w 12192185"/>
              <a:gd name="connsiteY12982" fmla="*/ 251422 h 6859062"/>
              <a:gd name="connsiteX12983" fmla="*/ 10150282 w 12192185"/>
              <a:gd name="connsiteY12983" fmla="*/ 250461 h 6859062"/>
              <a:gd name="connsiteX12984" fmla="*/ 3983166 w 12192185"/>
              <a:gd name="connsiteY12984" fmla="*/ 248530 h 6859062"/>
              <a:gd name="connsiteX12985" fmla="*/ 4002792 w 12192185"/>
              <a:gd name="connsiteY12985" fmla="*/ 252086 h 6859062"/>
              <a:gd name="connsiteX12986" fmla="*/ 4007129 w 12192185"/>
              <a:gd name="connsiteY12986" fmla="*/ 258329 h 6859062"/>
              <a:gd name="connsiteX12987" fmla="*/ 4008865 w 12192185"/>
              <a:gd name="connsiteY12987" fmla="*/ 260967 h 6859062"/>
              <a:gd name="connsiteX12988" fmla="*/ 4014197 w 12192185"/>
              <a:gd name="connsiteY12988" fmla="*/ 267753 h 6859062"/>
              <a:gd name="connsiteX12989" fmla="*/ 4016929 w 12192185"/>
              <a:gd name="connsiteY12989" fmla="*/ 270935 h 6859062"/>
              <a:gd name="connsiteX12990" fmla="*/ 4019130 w 12192185"/>
              <a:gd name="connsiteY12990" fmla="*/ 275813 h 6859062"/>
              <a:gd name="connsiteX12991" fmla="*/ 4019659 w 12192185"/>
              <a:gd name="connsiteY12991" fmla="*/ 281568 h 6859062"/>
              <a:gd name="connsiteX12992" fmla="*/ 4019507 w 12192185"/>
              <a:gd name="connsiteY12992" fmla="*/ 296196 h 6859062"/>
              <a:gd name="connsiteX12993" fmla="*/ 4006277 w 12192185"/>
              <a:gd name="connsiteY12993" fmla="*/ 319092 h 6859062"/>
              <a:gd name="connsiteX12994" fmla="*/ 4004035 w 12192185"/>
              <a:gd name="connsiteY12994" fmla="*/ 319558 h 6859062"/>
              <a:gd name="connsiteX12995" fmla="*/ 3994532 w 12192185"/>
              <a:gd name="connsiteY12995" fmla="*/ 323118 h 6859062"/>
              <a:gd name="connsiteX12996" fmla="*/ 3991719 w 12192185"/>
              <a:gd name="connsiteY12996" fmla="*/ 323172 h 6859062"/>
              <a:gd name="connsiteX12997" fmla="*/ 3984287 w 12192185"/>
              <a:gd name="connsiteY12997" fmla="*/ 324582 h 6859062"/>
              <a:gd name="connsiteX12998" fmla="*/ 3980212 w 12192185"/>
              <a:gd name="connsiteY12998" fmla="*/ 324943 h 6859062"/>
              <a:gd name="connsiteX12999" fmla="*/ 3976220 w 12192185"/>
              <a:gd name="connsiteY12999" fmla="*/ 322068 h 6859062"/>
              <a:gd name="connsiteX13000" fmla="*/ 3963443 w 12192185"/>
              <a:gd name="connsiteY13000" fmla="*/ 315989 h 6859062"/>
              <a:gd name="connsiteX13001" fmla="*/ 3956597 w 12192185"/>
              <a:gd name="connsiteY13001" fmla="*/ 311060 h 6859062"/>
              <a:gd name="connsiteX13002" fmla="*/ 3954846 w 12192185"/>
              <a:gd name="connsiteY13002" fmla="*/ 307719 h 6859062"/>
              <a:gd name="connsiteX13003" fmla="*/ 3953697 w 12192185"/>
              <a:gd name="connsiteY13003" fmla="*/ 298742 h 6859062"/>
              <a:gd name="connsiteX13004" fmla="*/ 3951181 w 12192185"/>
              <a:gd name="connsiteY13004" fmla="*/ 284448 h 6859062"/>
              <a:gd name="connsiteX13005" fmla="*/ 3952192 w 12192185"/>
              <a:gd name="connsiteY13005" fmla="*/ 278241 h 6859062"/>
              <a:gd name="connsiteX13006" fmla="*/ 3955155 w 12192185"/>
              <a:gd name="connsiteY13006" fmla="*/ 271012 h 6859062"/>
              <a:gd name="connsiteX13007" fmla="*/ 3958581 w 12192185"/>
              <a:gd name="connsiteY13007" fmla="*/ 266023 h 6859062"/>
              <a:gd name="connsiteX13008" fmla="*/ 3974100 w 12192185"/>
              <a:gd name="connsiteY13008" fmla="*/ 252925 h 6859062"/>
              <a:gd name="connsiteX13009" fmla="*/ 3983166 w 12192185"/>
              <a:gd name="connsiteY13009" fmla="*/ 248530 h 6859062"/>
              <a:gd name="connsiteX13010" fmla="*/ 4924823 w 12192185"/>
              <a:gd name="connsiteY13010" fmla="*/ 233531 h 6859062"/>
              <a:gd name="connsiteX13011" fmla="*/ 4944450 w 12192185"/>
              <a:gd name="connsiteY13011" fmla="*/ 237086 h 6859062"/>
              <a:gd name="connsiteX13012" fmla="*/ 4948789 w 12192185"/>
              <a:gd name="connsiteY13012" fmla="*/ 243330 h 6859062"/>
              <a:gd name="connsiteX13013" fmla="*/ 4950522 w 12192185"/>
              <a:gd name="connsiteY13013" fmla="*/ 245968 h 6859062"/>
              <a:gd name="connsiteX13014" fmla="*/ 4955855 w 12192185"/>
              <a:gd name="connsiteY13014" fmla="*/ 252754 h 6859062"/>
              <a:gd name="connsiteX13015" fmla="*/ 4958589 w 12192185"/>
              <a:gd name="connsiteY13015" fmla="*/ 255936 h 6859062"/>
              <a:gd name="connsiteX13016" fmla="*/ 4960788 w 12192185"/>
              <a:gd name="connsiteY13016" fmla="*/ 260814 h 6859062"/>
              <a:gd name="connsiteX13017" fmla="*/ 4961312 w 12192185"/>
              <a:gd name="connsiteY13017" fmla="*/ 266569 h 6859062"/>
              <a:gd name="connsiteX13018" fmla="*/ 4961163 w 12192185"/>
              <a:gd name="connsiteY13018" fmla="*/ 281196 h 6859062"/>
              <a:gd name="connsiteX13019" fmla="*/ 4947938 w 12192185"/>
              <a:gd name="connsiteY13019" fmla="*/ 304093 h 6859062"/>
              <a:gd name="connsiteX13020" fmla="*/ 4945694 w 12192185"/>
              <a:gd name="connsiteY13020" fmla="*/ 304559 h 6859062"/>
              <a:gd name="connsiteX13021" fmla="*/ 4936188 w 12192185"/>
              <a:gd name="connsiteY13021" fmla="*/ 308118 h 6859062"/>
              <a:gd name="connsiteX13022" fmla="*/ 4933376 w 12192185"/>
              <a:gd name="connsiteY13022" fmla="*/ 308173 h 6859062"/>
              <a:gd name="connsiteX13023" fmla="*/ 4925946 w 12192185"/>
              <a:gd name="connsiteY13023" fmla="*/ 309584 h 6859062"/>
              <a:gd name="connsiteX13024" fmla="*/ 4921866 w 12192185"/>
              <a:gd name="connsiteY13024" fmla="*/ 309943 h 6859062"/>
              <a:gd name="connsiteX13025" fmla="*/ 4917878 w 12192185"/>
              <a:gd name="connsiteY13025" fmla="*/ 307069 h 6859062"/>
              <a:gd name="connsiteX13026" fmla="*/ 4905101 w 12192185"/>
              <a:gd name="connsiteY13026" fmla="*/ 300989 h 6859062"/>
              <a:gd name="connsiteX13027" fmla="*/ 4898255 w 12192185"/>
              <a:gd name="connsiteY13027" fmla="*/ 296060 h 6859062"/>
              <a:gd name="connsiteX13028" fmla="*/ 4896509 w 12192185"/>
              <a:gd name="connsiteY13028" fmla="*/ 292719 h 6859062"/>
              <a:gd name="connsiteX13029" fmla="*/ 4895358 w 12192185"/>
              <a:gd name="connsiteY13029" fmla="*/ 283742 h 6859062"/>
              <a:gd name="connsiteX13030" fmla="*/ 4892839 w 12192185"/>
              <a:gd name="connsiteY13030" fmla="*/ 269449 h 6859062"/>
              <a:gd name="connsiteX13031" fmla="*/ 4893850 w 12192185"/>
              <a:gd name="connsiteY13031" fmla="*/ 263241 h 6859062"/>
              <a:gd name="connsiteX13032" fmla="*/ 4896812 w 12192185"/>
              <a:gd name="connsiteY13032" fmla="*/ 256013 h 6859062"/>
              <a:gd name="connsiteX13033" fmla="*/ 4900240 w 12192185"/>
              <a:gd name="connsiteY13033" fmla="*/ 251024 h 6859062"/>
              <a:gd name="connsiteX13034" fmla="*/ 4915756 w 12192185"/>
              <a:gd name="connsiteY13034" fmla="*/ 237926 h 6859062"/>
              <a:gd name="connsiteX13035" fmla="*/ 4924823 w 12192185"/>
              <a:gd name="connsiteY13035" fmla="*/ 233531 h 6859062"/>
              <a:gd name="connsiteX13036" fmla="*/ 4305991 w 12192185"/>
              <a:gd name="connsiteY13036" fmla="*/ 232693 h 6859062"/>
              <a:gd name="connsiteX13037" fmla="*/ 4317615 w 12192185"/>
              <a:gd name="connsiteY13037" fmla="*/ 233650 h 6859062"/>
              <a:gd name="connsiteX13038" fmla="*/ 4325271 w 12192185"/>
              <a:gd name="connsiteY13038" fmla="*/ 236685 h 6859062"/>
              <a:gd name="connsiteX13039" fmla="*/ 4332720 w 12192185"/>
              <a:gd name="connsiteY13039" fmla="*/ 250903 h 6859062"/>
              <a:gd name="connsiteX13040" fmla="*/ 4328547 w 12192185"/>
              <a:gd name="connsiteY13040" fmla="*/ 264163 h 6859062"/>
              <a:gd name="connsiteX13041" fmla="*/ 4328372 w 12192185"/>
              <a:gd name="connsiteY13041" fmla="*/ 277342 h 6859062"/>
              <a:gd name="connsiteX13042" fmla="*/ 4329595 w 12192185"/>
              <a:gd name="connsiteY13042" fmla="*/ 290291 h 6859062"/>
              <a:gd name="connsiteX13043" fmla="*/ 4327368 w 12192185"/>
              <a:gd name="connsiteY13043" fmla="*/ 300518 h 6859062"/>
              <a:gd name="connsiteX13044" fmla="*/ 4320912 w 12192185"/>
              <a:gd name="connsiteY13044" fmla="*/ 309434 h 6859062"/>
              <a:gd name="connsiteX13045" fmla="*/ 4312983 w 12192185"/>
              <a:gd name="connsiteY13045" fmla="*/ 313591 h 6859062"/>
              <a:gd name="connsiteX13046" fmla="*/ 4310965 w 12192185"/>
              <a:gd name="connsiteY13046" fmla="*/ 312635 h 6859062"/>
              <a:gd name="connsiteX13047" fmla="*/ 4295305 w 12192185"/>
              <a:gd name="connsiteY13047" fmla="*/ 309766 h 6859062"/>
              <a:gd name="connsiteX13048" fmla="*/ 4284700 w 12192185"/>
              <a:gd name="connsiteY13048" fmla="*/ 298209 h 6859062"/>
              <a:gd name="connsiteX13049" fmla="*/ 4281977 w 12192185"/>
              <a:gd name="connsiteY13049" fmla="*/ 279502 h 6859062"/>
              <a:gd name="connsiteX13050" fmla="*/ 4286065 w 12192185"/>
              <a:gd name="connsiteY13050" fmla="*/ 272830 h 6859062"/>
              <a:gd name="connsiteX13051" fmla="*/ 4288636 w 12192185"/>
              <a:gd name="connsiteY13051" fmla="*/ 259402 h 6859062"/>
              <a:gd name="connsiteX13052" fmla="*/ 4288740 w 12192185"/>
              <a:gd name="connsiteY13052" fmla="*/ 253811 h 6859062"/>
              <a:gd name="connsiteX13053" fmla="*/ 4294847 w 12192185"/>
              <a:gd name="connsiteY13053" fmla="*/ 236517 h 6859062"/>
              <a:gd name="connsiteX13054" fmla="*/ 4305991 w 12192185"/>
              <a:gd name="connsiteY13054" fmla="*/ 232693 h 6859062"/>
              <a:gd name="connsiteX13055" fmla="*/ 6694336 w 12192185"/>
              <a:gd name="connsiteY13055" fmla="*/ 218355 h 6859062"/>
              <a:gd name="connsiteX13056" fmla="*/ 6699318 w 12192185"/>
              <a:gd name="connsiteY13056" fmla="*/ 220475 h 6859062"/>
              <a:gd name="connsiteX13057" fmla="*/ 6695739 w 12192185"/>
              <a:gd name="connsiteY13057" fmla="*/ 221947 h 6859062"/>
              <a:gd name="connsiteX13058" fmla="*/ 6692161 w 12192185"/>
              <a:gd name="connsiteY13058" fmla="*/ 223417 h 6859062"/>
              <a:gd name="connsiteX13059" fmla="*/ 6694267 w 12192185"/>
              <a:gd name="connsiteY13059" fmla="*/ 218365 h 6859062"/>
              <a:gd name="connsiteX13060" fmla="*/ 9139815 w 12192185"/>
              <a:gd name="connsiteY13060" fmla="*/ 166396 h 6859062"/>
              <a:gd name="connsiteX13061" fmla="*/ 9150198 w 12192185"/>
              <a:gd name="connsiteY13061" fmla="*/ 166671 h 6859062"/>
              <a:gd name="connsiteX13062" fmla="*/ 9160269 w 12192185"/>
              <a:gd name="connsiteY13062" fmla="*/ 166985 h 6859062"/>
              <a:gd name="connsiteX13063" fmla="*/ 9176003 w 12192185"/>
              <a:gd name="connsiteY13063" fmla="*/ 179243 h 6859062"/>
              <a:gd name="connsiteX13064" fmla="*/ 9176947 w 12192185"/>
              <a:gd name="connsiteY13064" fmla="*/ 186785 h 6859062"/>
              <a:gd name="connsiteX13065" fmla="*/ 9177263 w 12192185"/>
              <a:gd name="connsiteY13065" fmla="*/ 189928 h 6859062"/>
              <a:gd name="connsiteX13066" fmla="*/ 9178835 w 12192185"/>
              <a:gd name="connsiteY13066" fmla="*/ 198414 h 6859062"/>
              <a:gd name="connsiteX13067" fmla="*/ 9179779 w 12192185"/>
              <a:gd name="connsiteY13067" fmla="*/ 202500 h 6859062"/>
              <a:gd name="connsiteX13068" fmla="*/ 9179465 w 12192185"/>
              <a:gd name="connsiteY13068" fmla="*/ 207842 h 6859062"/>
              <a:gd name="connsiteX13069" fmla="*/ 9177262 w 12192185"/>
              <a:gd name="connsiteY13069" fmla="*/ 213186 h 6859062"/>
              <a:gd name="connsiteX13070" fmla="*/ 9170339 w 12192185"/>
              <a:gd name="connsiteY13070" fmla="*/ 226072 h 6859062"/>
              <a:gd name="connsiteX13071" fmla="*/ 9147996 w 12192185"/>
              <a:gd name="connsiteY13071" fmla="*/ 240215 h 6859062"/>
              <a:gd name="connsiteX13072" fmla="*/ 9145794 w 12192185"/>
              <a:gd name="connsiteY13072" fmla="*/ 239586 h 6859062"/>
              <a:gd name="connsiteX13073" fmla="*/ 9135724 w 12192185"/>
              <a:gd name="connsiteY13073" fmla="*/ 238329 h 6859062"/>
              <a:gd name="connsiteX13074" fmla="*/ 9133205 w 12192185"/>
              <a:gd name="connsiteY13074" fmla="*/ 237071 h 6859062"/>
              <a:gd name="connsiteX13075" fmla="*/ 9125968 w 12192185"/>
              <a:gd name="connsiteY13075" fmla="*/ 234871 h 6859062"/>
              <a:gd name="connsiteX13076" fmla="*/ 9122192 w 12192185"/>
              <a:gd name="connsiteY13076" fmla="*/ 233300 h 6859062"/>
              <a:gd name="connsiteX13077" fmla="*/ 9119988 w 12192185"/>
              <a:gd name="connsiteY13077" fmla="*/ 228900 h 6859062"/>
              <a:gd name="connsiteX13078" fmla="*/ 9111492 w 12192185"/>
              <a:gd name="connsiteY13078" fmla="*/ 217586 h 6859062"/>
              <a:gd name="connsiteX13079" fmla="*/ 9107715 w 12192185"/>
              <a:gd name="connsiteY13079" fmla="*/ 210043 h 6859062"/>
              <a:gd name="connsiteX13080" fmla="*/ 9107715 w 12192185"/>
              <a:gd name="connsiteY13080" fmla="*/ 206271 h 6859062"/>
              <a:gd name="connsiteX13081" fmla="*/ 9110863 w 12192185"/>
              <a:gd name="connsiteY13081" fmla="*/ 197786 h 6859062"/>
              <a:gd name="connsiteX13082" fmla="*/ 9115268 w 12192185"/>
              <a:gd name="connsiteY13082" fmla="*/ 183957 h 6859062"/>
              <a:gd name="connsiteX13083" fmla="*/ 9119045 w 12192185"/>
              <a:gd name="connsiteY13083" fmla="*/ 178928 h 6859062"/>
              <a:gd name="connsiteX13084" fmla="*/ 9125023 w 12192185"/>
              <a:gd name="connsiteY13084" fmla="*/ 173900 h 6859062"/>
              <a:gd name="connsiteX13085" fmla="*/ 9130374 w 12192185"/>
              <a:gd name="connsiteY13085" fmla="*/ 171070 h 6859062"/>
              <a:gd name="connsiteX13086" fmla="*/ 9139815 w 12192185"/>
              <a:gd name="connsiteY13086" fmla="*/ 166396 h 6859062"/>
              <a:gd name="connsiteX13087" fmla="*/ 5831207 w 12192185"/>
              <a:gd name="connsiteY13087" fmla="*/ 160660 h 6859062"/>
              <a:gd name="connsiteX13088" fmla="*/ 5850755 w 12192185"/>
              <a:gd name="connsiteY13088" fmla="*/ 175462 h 6859062"/>
              <a:gd name="connsiteX13089" fmla="*/ 5856154 w 12192185"/>
              <a:gd name="connsiteY13089" fmla="*/ 187907 h 6859062"/>
              <a:gd name="connsiteX13090" fmla="*/ 5857775 w 12192185"/>
              <a:gd name="connsiteY13090" fmla="*/ 193015 h 6859062"/>
              <a:gd name="connsiteX13091" fmla="*/ 5857652 w 12192185"/>
              <a:gd name="connsiteY13091" fmla="*/ 197976 h 6859062"/>
              <a:gd name="connsiteX13092" fmla="*/ 5856462 w 12192185"/>
              <a:gd name="connsiteY13092" fmla="*/ 201679 h 6859062"/>
              <a:gd name="connsiteX13093" fmla="*/ 5854349 w 12192185"/>
              <a:gd name="connsiteY13093" fmla="*/ 209399 h 6859062"/>
              <a:gd name="connsiteX13094" fmla="*/ 5853816 w 12192185"/>
              <a:gd name="connsiteY13094" fmla="*/ 212279 h 6859062"/>
              <a:gd name="connsiteX13095" fmla="*/ 5852359 w 12192185"/>
              <a:gd name="connsiteY13095" fmla="*/ 219176 h 6859062"/>
              <a:gd name="connsiteX13096" fmla="*/ 5836868 w 12192185"/>
              <a:gd name="connsiteY13096" fmla="*/ 229283 h 6859062"/>
              <a:gd name="connsiteX13097" fmla="*/ 5827537 w 12192185"/>
              <a:gd name="connsiteY13097" fmla="*/ 228791 h 6859062"/>
              <a:gd name="connsiteX13098" fmla="*/ 5809556 w 12192185"/>
              <a:gd name="connsiteY13098" fmla="*/ 223188 h 6859062"/>
              <a:gd name="connsiteX13099" fmla="*/ 5804833 w 12192185"/>
              <a:gd name="connsiteY13099" fmla="*/ 220159 h 6859062"/>
              <a:gd name="connsiteX13100" fmla="*/ 5799699 w 12192185"/>
              <a:gd name="connsiteY13100" fmla="*/ 215049 h 6859062"/>
              <a:gd name="connsiteX13101" fmla="*/ 5796598 w 12192185"/>
              <a:gd name="connsiteY13101" fmla="*/ 210108 h 6859062"/>
              <a:gd name="connsiteX13102" fmla="*/ 5793601 w 12192185"/>
              <a:gd name="connsiteY13102" fmla="*/ 196987 h 6859062"/>
              <a:gd name="connsiteX13103" fmla="*/ 5791350 w 12192185"/>
              <a:gd name="connsiteY13103" fmla="*/ 188902 h 6859062"/>
              <a:gd name="connsiteX13104" fmla="*/ 5791641 w 12192185"/>
              <a:gd name="connsiteY13104" fmla="*/ 185417 h 6859062"/>
              <a:gd name="connsiteX13105" fmla="*/ 5795718 w 12192185"/>
              <a:gd name="connsiteY13105" fmla="*/ 178740 h 6859062"/>
              <a:gd name="connsiteX13106" fmla="*/ 5804447 w 12192185"/>
              <a:gd name="connsiteY13106" fmla="*/ 168942 h 6859062"/>
              <a:gd name="connsiteX13107" fmla="*/ 5806824 w 12192185"/>
              <a:gd name="connsiteY13107" fmla="*/ 165048 h 6859062"/>
              <a:gd name="connsiteX13108" fmla="*/ 5810437 w 12192185"/>
              <a:gd name="connsiteY13108" fmla="*/ 163888 h 6859062"/>
              <a:gd name="connsiteX13109" fmla="*/ 5817294 w 12192185"/>
              <a:gd name="connsiteY13109" fmla="*/ 162417 h 6859062"/>
              <a:gd name="connsiteX13110" fmla="*/ 5819718 w 12192185"/>
              <a:gd name="connsiteY13110" fmla="*/ 161450 h 6859062"/>
              <a:gd name="connsiteX13111" fmla="*/ 5829121 w 12192185"/>
              <a:gd name="connsiteY13111" fmla="*/ 161070 h 6859062"/>
              <a:gd name="connsiteX13112" fmla="*/ 5831207 w 12192185"/>
              <a:gd name="connsiteY13112" fmla="*/ 160660 h 6859062"/>
              <a:gd name="connsiteX13113" fmla="*/ 6357103 w 12192185"/>
              <a:gd name="connsiteY13113" fmla="*/ 130850 h 6859062"/>
              <a:gd name="connsiteX13114" fmla="*/ 6379414 w 12192185"/>
              <a:gd name="connsiteY13114" fmla="*/ 134241 h 6859062"/>
              <a:gd name="connsiteX13115" fmla="*/ 6384464 w 12192185"/>
              <a:gd name="connsiteY13115" fmla="*/ 136351 h 6859062"/>
              <a:gd name="connsiteX13116" fmla="*/ 6393094 w 12192185"/>
              <a:gd name="connsiteY13116" fmla="*/ 136991 h 6859062"/>
              <a:gd name="connsiteX13117" fmla="*/ 6398145 w 12192185"/>
              <a:gd name="connsiteY13117" fmla="*/ 139102 h 6859062"/>
              <a:gd name="connsiteX13118" fmla="*/ 6389516 w 12192185"/>
              <a:gd name="connsiteY13118" fmla="*/ 138462 h 6859062"/>
              <a:gd name="connsiteX13119" fmla="*/ 6380885 w 12192185"/>
              <a:gd name="connsiteY13119" fmla="*/ 137822 h 6859062"/>
              <a:gd name="connsiteX13120" fmla="*/ 6406139 w 12192185"/>
              <a:gd name="connsiteY13120" fmla="*/ 148377 h 6859062"/>
              <a:gd name="connsiteX13121" fmla="*/ 6399820 w 12192185"/>
              <a:gd name="connsiteY13121" fmla="*/ 163534 h 6859062"/>
              <a:gd name="connsiteX13122" fmla="*/ 6477439 w 12192185"/>
              <a:gd name="connsiteY13122" fmla="*/ 167593 h 6859062"/>
              <a:gd name="connsiteX13123" fmla="*/ 6478503 w 12192185"/>
              <a:gd name="connsiteY13123" fmla="*/ 166108 h 6859062"/>
              <a:gd name="connsiteX13124" fmla="*/ 6481108 w 12192185"/>
              <a:gd name="connsiteY13124" fmla="*/ 165070 h 6859062"/>
              <a:gd name="connsiteX13125" fmla="*/ 6491213 w 12192185"/>
              <a:gd name="connsiteY13125" fmla="*/ 164661 h 6859062"/>
              <a:gd name="connsiteX13126" fmla="*/ 6493452 w 12192185"/>
              <a:gd name="connsiteY13126" fmla="*/ 164220 h 6859062"/>
              <a:gd name="connsiteX13127" fmla="*/ 6501170 w 12192185"/>
              <a:gd name="connsiteY13127" fmla="*/ 170064 h 6859062"/>
              <a:gd name="connsiteX13128" fmla="*/ 6578935 w 12192185"/>
              <a:gd name="connsiteY13128" fmla="*/ 182030 h 6859062"/>
              <a:gd name="connsiteX13129" fmla="*/ 6587565 w 12192185"/>
              <a:gd name="connsiteY13129" fmla="*/ 182670 h 6859062"/>
              <a:gd name="connsiteX13130" fmla="*/ 6592616 w 12192185"/>
              <a:gd name="connsiteY13130" fmla="*/ 184781 h 6859062"/>
              <a:gd name="connsiteX13131" fmla="*/ 6664597 w 12192185"/>
              <a:gd name="connsiteY13131" fmla="*/ 197066 h 6859062"/>
              <a:gd name="connsiteX13132" fmla="*/ 6682597 w 12192185"/>
              <a:gd name="connsiteY13132" fmla="*/ 198204 h 6859062"/>
              <a:gd name="connsiteX13133" fmla="*/ 6678219 w 12192185"/>
              <a:gd name="connsiteY13133" fmla="*/ 194887 h 6859062"/>
              <a:gd name="connsiteX13134" fmla="*/ 6673637 w 12192185"/>
              <a:gd name="connsiteY13134" fmla="*/ 188563 h 6859062"/>
              <a:gd name="connsiteX13135" fmla="*/ 6674908 w 12192185"/>
              <a:gd name="connsiteY13135" fmla="*/ 173399 h 6859062"/>
              <a:gd name="connsiteX13136" fmla="*/ 6684995 w 12192185"/>
              <a:gd name="connsiteY13136" fmla="*/ 164913 h 6859062"/>
              <a:gd name="connsiteX13137" fmla="*/ 6691838 w 12192185"/>
              <a:gd name="connsiteY13137" fmla="*/ 154459 h 6859062"/>
              <a:gd name="connsiteX13138" fmla="*/ 6697447 w 12192185"/>
              <a:gd name="connsiteY13138" fmla="*/ 143477 h 6859062"/>
              <a:gd name="connsiteX13139" fmla="*/ 6704430 w 12192185"/>
              <a:gd name="connsiteY13139" fmla="*/ 136428 h 6859062"/>
              <a:gd name="connsiteX13140" fmla="*/ 6714127 w 12192185"/>
              <a:gd name="connsiteY13140" fmla="*/ 132576 h 6859062"/>
              <a:gd name="connsiteX13141" fmla="*/ 6722590 w 12192185"/>
              <a:gd name="connsiteY13141" fmla="*/ 133286 h 6859062"/>
              <a:gd name="connsiteX13142" fmla="*/ 6723718 w 12192185"/>
              <a:gd name="connsiteY13142" fmla="*/ 135078 h 6859062"/>
              <a:gd name="connsiteX13143" fmla="*/ 6734787 w 12192185"/>
              <a:gd name="connsiteY13143" fmla="*/ 145339 h 6859062"/>
              <a:gd name="connsiteX13144" fmla="*/ 6737393 w 12192185"/>
              <a:gd name="connsiteY13144" fmla="*/ 159980 h 6859062"/>
              <a:gd name="connsiteX13145" fmla="*/ 6730055 w 12192185"/>
              <a:gd name="connsiteY13145" fmla="*/ 176331 h 6859062"/>
              <a:gd name="connsiteX13146" fmla="*/ 6723390 w 12192185"/>
              <a:gd name="connsiteY13146" fmla="*/ 179589 h 6859062"/>
              <a:gd name="connsiteX13147" fmla="*/ 6714502 w 12192185"/>
              <a:gd name="connsiteY13147" fmla="*/ 189024 h 6859062"/>
              <a:gd name="connsiteX13148" fmla="*/ 6711575 w 12192185"/>
              <a:gd name="connsiteY13148" fmla="*/ 193445 h 6859062"/>
              <a:gd name="connsiteX13149" fmla="*/ 6703795 w 12192185"/>
              <a:gd name="connsiteY13149" fmla="*/ 199545 h 6859062"/>
              <a:gd name="connsiteX13150" fmla="*/ 6704325 w 12192185"/>
              <a:gd name="connsiteY13150" fmla="*/ 199579 h 6859062"/>
              <a:gd name="connsiteX13151" fmla="*/ 6753838 w 12192185"/>
              <a:gd name="connsiteY13151" fmla="*/ 210630 h 6859062"/>
              <a:gd name="connsiteX13152" fmla="*/ 6843916 w 12192185"/>
              <a:gd name="connsiteY13152" fmla="*/ 236411 h 6859062"/>
              <a:gd name="connsiteX13153" fmla="*/ 6976507 w 12192185"/>
              <a:gd name="connsiteY13153" fmla="*/ 274027 h 6859062"/>
              <a:gd name="connsiteX13154" fmla="*/ 7030883 w 12192185"/>
              <a:gd name="connsiteY13154" fmla="*/ 295640 h 6859062"/>
              <a:gd name="connsiteX13155" fmla="*/ 7056575 w 12192185"/>
              <a:gd name="connsiteY13155" fmla="*/ 312658 h 6859062"/>
              <a:gd name="connsiteX13156" fmla="*/ 7058402 w 12192185"/>
              <a:gd name="connsiteY13156" fmla="*/ 309661 h 6859062"/>
              <a:gd name="connsiteX13157" fmla="*/ 7062539 w 12192185"/>
              <a:gd name="connsiteY13157" fmla="*/ 308224 h 6859062"/>
              <a:gd name="connsiteX13158" fmla="*/ 7064887 w 12192185"/>
              <a:gd name="connsiteY13158" fmla="*/ 304184 h 6859062"/>
              <a:gd name="connsiteX13159" fmla="*/ 7064013 w 12192185"/>
              <a:gd name="connsiteY13159" fmla="*/ 302694 h 6859062"/>
              <a:gd name="connsiteX13160" fmla="*/ 7082777 w 12192185"/>
              <a:gd name="connsiteY13160" fmla="*/ 286924 h 6859062"/>
              <a:gd name="connsiteX13161" fmla="*/ 7082122 w 12192185"/>
              <a:gd name="connsiteY13161" fmla="*/ 290242 h 6859062"/>
              <a:gd name="connsiteX13162" fmla="*/ 7083358 w 12192185"/>
              <a:gd name="connsiteY13162" fmla="*/ 294137 h 6859062"/>
              <a:gd name="connsiteX13163" fmla="*/ 7087476 w 12192185"/>
              <a:gd name="connsiteY13163" fmla="*/ 292921 h 6859062"/>
              <a:gd name="connsiteX13164" fmla="*/ 7089048 w 12192185"/>
              <a:gd name="connsiteY13164" fmla="*/ 290154 h 6859062"/>
              <a:gd name="connsiteX13165" fmla="*/ 7095787 w 12192185"/>
              <a:gd name="connsiteY13165" fmla="*/ 289605 h 6859062"/>
              <a:gd name="connsiteX13166" fmla="*/ 7098501 w 12192185"/>
              <a:gd name="connsiteY13166" fmla="*/ 291840 h 6859062"/>
              <a:gd name="connsiteX13167" fmla="*/ 7100755 w 12192185"/>
              <a:gd name="connsiteY13167" fmla="*/ 288907 h 6859062"/>
              <a:gd name="connsiteX13168" fmla="*/ 7101643 w 12192185"/>
              <a:gd name="connsiteY13168" fmla="*/ 286305 h 6859062"/>
              <a:gd name="connsiteX13169" fmla="*/ 7103886 w 12192185"/>
              <a:gd name="connsiteY13169" fmla="*/ 283510 h 6859062"/>
              <a:gd name="connsiteX13170" fmla="*/ 7107110 w 12192185"/>
              <a:gd name="connsiteY13170" fmla="*/ 284980 h 6859062"/>
              <a:gd name="connsiteX13171" fmla="*/ 7113883 w 12192185"/>
              <a:gd name="connsiteY13171" fmla="*/ 292016 h 6859062"/>
              <a:gd name="connsiteX13172" fmla="*/ 7123446 w 12192185"/>
              <a:gd name="connsiteY13172" fmla="*/ 295048 h 6859062"/>
              <a:gd name="connsiteX13173" fmla="*/ 7129058 w 12192185"/>
              <a:gd name="connsiteY13173" fmla="*/ 297304 h 6859062"/>
              <a:gd name="connsiteX13174" fmla="*/ 7142035 w 12192185"/>
              <a:gd name="connsiteY13174" fmla="*/ 304861 h 6859062"/>
              <a:gd name="connsiteX13175" fmla="*/ 7144102 w 12192185"/>
              <a:gd name="connsiteY13175" fmla="*/ 306818 h 6859062"/>
              <a:gd name="connsiteX13176" fmla="*/ 7153448 w 12192185"/>
              <a:gd name="connsiteY13176" fmla="*/ 336374 h 6859062"/>
              <a:gd name="connsiteX13177" fmla="*/ 7153224 w 12192185"/>
              <a:gd name="connsiteY13177" fmla="*/ 341707 h 6859062"/>
              <a:gd name="connsiteX13178" fmla="*/ 7149043 w 12192185"/>
              <a:gd name="connsiteY13178" fmla="*/ 354291 h 6859062"/>
              <a:gd name="connsiteX13179" fmla="*/ 7147775 w 12192185"/>
              <a:gd name="connsiteY13179" fmla="*/ 359417 h 6859062"/>
              <a:gd name="connsiteX13180" fmla="*/ 7169275 w 12192185"/>
              <a:gd name="connsiteY13180" fmla="*/ 366458 h 6859062"/>
              <a:gd name="connsiteX13181" fmla="*/ 7270495 w 12192185"/>
              <a:gd name="connsiteY13181" fmla="*/ 429527 h 6859062"/>
              <a:gd name="connsiteX13182" fmla="*/ 7180185 w 12192185"/>
              <a:gd name="connsiteY13182" fmla="*/ 389188 h 6859062"/>
              <a:gd name="connsiteX13183" fmla="*/ 7140461 w 12192185"/>
              <a:gd name="connsiteY13183" fmla="*/ 372428 h 6859062"/>
              <a:gd name="connsiteX13184" fmla="*/ 7129896 w 12192185"/>
              <a:gd name="connsiteY13184" fmla="*/ 383016 h 6859062"/>
              <a:gd name="connsiteX13185" fmla="*/ 7128363 w 12192185"/>
              <a:gd name="connsiteY13185" fmla="*/ 385340 h 6859062"/>
              <a:gd name="connsiteX13186" fmla="*/ 7136647 w 12192185"/>
              <a:gd name="connsiteY13186" fmla="*/ 398302 h 6859062"/>
              <a:gd name="connsiteX13187" fmla="*/ 7148441 w 12192185"/>
              <a:gd name="connsiteY13187" fmla="*/ 406652 h 6859062"/>
              <a:gd name="connsiteX13188" fmla="*/ 7160250 w 12192185"/>
              <a:gd name="connsiteY13188" fmla="*/ 422808 h 6859062"/>
              <a:gd name="connsiteX13189" fmla="*/ 7159749 w 12192185"/>
              <a:gd name="connsiteY13189" fmla="*/ 426112 h 6859062"/>
              <a:gd name="connsiteX13190" fmla="*/ 7159948 w 12192185"/>
              <a:gd name="connsiteY13190" fmla="*/ 434381 h 6859062"/>
              <a:gd name="connsiteX13191" fmla="*/ 7159795 w 12192185"/>
              <a:gd name="connsiteY13191" fmla="*/ 444180 h 6859062"/>
              <a:gd name="connsiteX13192" fmla="*/ 7156338 w 12192185"/>
              <a:gd name="connsiteY13192" fmla="*/ 450804 h 6859062"/>
              <a:gd name="connsiteX13193" fmla="*/ 7148683 w 12192185"/>
              <a:gd name="connsiteY13193" fmla="*/ 470234 h 6859062"/>
              <a:gd name="connsiteX13194" fmla="*/ 7137948 w 12192185"/>
              <a:gd name="connsiteY13194" fmla="*/ 481154 h 6859062"/>
              <a:gd name="connsiteX13195" fmla="*/ 7135602 w 12192185"/>
              <a:gd name="connsiteY13195" fmla="*/ 482517 h 6859062"/>
              <a:gd name="connsiteX13196" fmla="*/ 7123634 w 12192185"/>
              <a:gd name="connsiteY13196" fmla="*/ 486865 h 6859062"/>
              <a:gd name="connsiteX13197" fmla="*/ 7119479 w 12192185"/>
              <a:gd name="connsiteY13197" fmla="*/ 488523 h 6859062"/>
              <a:gd name="connsiteX13198" fmla="*/ 7102732 w 12192185"/>
              <a:gd name="connsiteY13198" fmla="*/ 486003 h 6859062"/>
              <a:gd name="connsiteX13199" fmla="*/ 7089513 w 12192185"/>
              <a:gd name="connsiteY13199" fmla="*/ 481325 h 6859062"/>
              <a:gd name="connsiteX13200" fmla="*/ 7085026 w 12192185"/>
              <a:gd name="connsiteY13200" fmla="*/ 481617 h 6859062"/>
              <a:gd name="connsiteX13201" fmla="*/ 7082568 w 12192185"/>
              <a:gd name="connsiteY13201" fmla="*/ 484310 h 6859062"/>
              <a:gd name="connsiteX13202" fmla="*/ 7078949 w 12192185"/>
              <a:gd name="connsiteY13202" fmla="*/ 484899 h 6859062"/>
              <a:gd name="connsiteX13203" fmla="*/ 7079061 w 12192185"/>
              <a:gd name="connsiteY13203" fmla="*/ 480894 h 6859062"/>
              <a:gd name="connsiteX13204" fmla="*/ 7080318 w 12192185"/>
              <a:gd name="connsiteY13204" fmla="*/ 479215 h 6859062"/>
              <a:gd name="connsiteX13205" fmla="*/ 7077314 w 12192185"/>
              <a:gd name="connsiteY13205" fmla="*/ 469819 h 6859062"/>
              <a:gd name="connsiteX13206" fmla="*/ 7074249 w 12192185"/>
              <a:gd name="connsiteY13206" fmla="*/ 469116 h 6859062"/>
              <a:gd name="connsiteX13207" fmla="*/ 7070686 w 12192185"/>
              <a:gd name="connsiteY13207" fmla="*/ 466364 h 6859062"/>
              <a:gd name="connsiteX13208" fmla="*/ 7072757 w 12192185"/>
              <a:gd name="connsiteY13208" fmla="*/ 462969 h 6859062"/>
              <a:gd name="connsiteX13209" fmla="*/ 7072982 w 12192185"/>
              <a:gd name="connsiteY13209" fmla="*/ 457635 h 6859062"/>
              <a:gd name="connsiteX13210" fmla="*/ 7068056 w 12192185"/>
              <a:gd name="connsiteY13210" fmla="*/ 447185 h 6859062"/>
              <a:gd name="connsiteX13211" fmla="*/ 7063776 w 12192185"/>
              <a:gd name="connsiteY13211" fmla="*/ 442365 h 6859062"/>
              <a:gd name="connsiteX13212" fmla="*/ 7061450 w 12192185"/>
              <a:gd name="connsiteY13212" fmla="*/ 440833 h 6859062"/>
              <a:gd name="connsiteX13213" fmla="*/ 7062983 w 12192185"/>
              <a:gd name="connsiteY13213" fmla="*/ 438508 h 6859062"/>
              <a:gd name="connsiteX13214" fmla="*/ 7067824 w 12192185"/>
              <a:gd name="connsiteY13214" fmla="*/ 434008 h 6859062"/>
              <a:gd name="connsiteX13215" fmla="*/ 7068846 w 12192185"/>
              <a:gd name="connsiteY13215" fmla="*/ 421828 h 6859062"/>
              <a:gd name="connsiteX13216" fmla="*/ 7065031 w 12192185"/>
              <a:gd name="connsiteY13216" fmla="*/ 408795 h 6859062"/>
              <a:gd name="connsiteX13217" fmla="*/ 7069704 w 12192185"/>
              <a:gd name="connsiteY13217" fmla="*/ 406287 h 6859062"/>
              <a:gd name="connsiteX13218" fmla="*/ 7074042 w 12192185"/>
              <a:gd name="connsiteY13218" fmla="*/ 410443 h 6859062"/>
              <a:gd name="connsiteX13219" fmla="*/ 7079913 w 12192185"/>
              <a:gd name="connsiteY13219" fmla="*/ 412274 h 6859062"/>
              <a:gd name="connsiteX13220" fmla="*/ 7079381 w 12192185"/>
              <a:gd name="connsiteY13220" fmla="*/ 405315 h 6859062"/>
              <a:gd name="connsiteX13221" fmla="*/ 7076521 w 12192185"/>
              <a:gd name="connsiteY13221" fmla="*/ 402176 h 6859062"/>
              <a:gd name="connsiteX13222" fmla="*/ 7076190 w 12192185"/>
              <a:gd name="connsiteY13222" fmla="*/ 398134 h 6859062"/>
              <a:gd name="connsiteX13223" fmla="*/ 7079920 w 12192185"/>
              <a:gd name="connsiteY13223" fmla="*/ 398893 h 6859062"/>
              <a:gd name="connsiteX13224" fmla="*/ 7083685 w 12192185"/>
              <a:gd name="connsiteY13224" fmla="*/ 401885 h 6859062"/>
              <a:gd name="connsiteX13225" fmla="*/ 7089502 w 12192185"/>
              <a:gd name="connsiteY13225" fmla="*/ 401705 h 6859062"/>
              <a:gd name="connsiteX13226" fmla="*/ 7089911 w 12192185"/>
              <a:gd name="connsiteY13226" fmla="*/ 396832 h 6859062"/>
              <a:gd name="connsiteX13227" fmla="*/ 7068514 w 12192185"/>
              <a:gd name="connsiteY13227" fmla="*/ 388568 h 6859062"/>
              <a:gd name="connsiteX13228" fmla="*/ 7063364 w 12192185"/>
              <a:gd name="connsiteY13228" fmla="*/ 386129 h 6859062"/>
              <a:gd name="connsiteX13229" fmla="*/ 7055246 w 12192185"/>
              <a:gd name="connsiteY13229" fmla="*/ 373850 h 6859062"/>
              <a:gd name="connsiteX13230" fmla="*/ 7052257 w 12192185"/>
              <a:gd name="connsiteY13230" fmla="*/ 369585 h 6859062"/>
              <a:gd name="connsiteX13231" fmla="*/ 7049717 w 12192185"/>
              <a:gd name="connsiteY13231" fmla="*/ 354652 h 6859062"/>
              <a:gd name="connsiteX13232" fmla="*/ 7050147 w 12192185"/>
              <a:gd name="connsiteY13232" fmla="*/ 344206 h 6859062"/>
              <a:gd name="connsiteX13233" fmla="*/ 7049251 w 12192185"/>
              <a:gd name="connsiteY13233" fmla="*/ 342233 h 6859062"/>
              <a:gd name="connsiteX13234" fmla="*/ 7031973 w 12192185"/>
              <a:gd name="connsiteY13234" fmla="*/ 333919 h 6859062"/>
              <a:gd name="connsiteX13235" fmla="*/ 7012902 w 12192185"/>
              <a:gd name="connsiteY13235" fmla="*/ 321870 h 6859062"/>
              <a:gd name="connsiteX13236" fmla="*/ 6968282 w 12192185"/>
              <a:gd name="connsiteY13236" fmla="*/ 315088 h 6859062"/>
              <a:gd name="connsiteX13237" fmla="*/ 6918409 w 12192185"/>
              <a:gd name="connsiteY13237" fmla="*/ 285344 h 6859062"/>
              <a:gd name="connsiteX13238" fmla="*/ 6922621 w 12192185"/>
              <a:gd name="connsiteY13238" fmla="*/ 275239 h 6859062"/>
              <a:gd name="connsiteX13239" fmla="*/ 6883688 w 12192185"/>
              <a:gd name="connsiteY13239" fmla="*/ 261933 h 6859062"/>
              <a:gd name="connsiteX13240" fmla="*/ 6885159 w 12192185"/>
              <a:gd name="connsiteY13240" fmla="*/ 265514 h 6859062"/>
              <a:gd name="connsiteX13241" fmla="*/ 6890211 w 12192185"/>
              <a:gd name="connsiteY13241" fmla="*/ 267625 h 6859062"/>
              <a:gd name="connsiteX13242" fmla="*/ 6886632 w 12192185"/>
              <a:gd name="connsiteY13242" fmla="*/ 269096 h 6859062"/>
              <a:gd name="connsiteX13243" fmla="*/ 6894627 w 12192185"/>
              <a:gd name="connsiteY13243" fmla="*/ 278370 h 6859062"/>
              <a:gd name="connsiteX13244" fmla="*/ 6865794 w 12192185"/>
              <a:gd name="connsiteY13244" fmla="*/ 269287 h 6859062"/>
              <a:gd name="connsiteX13245" fmla="*/ 6862214 w 12192185"/>
              <a:gd name="connsiteY13245" fmla="*/ 270758 h 6859062"/>
              <a:gd name="connsiteX13246" fmla="*/ 6860742 w 12192185"/>
              <a:gd name="connsiteY13246" fmla="*/ 267177 h 6859062"/>
              <a:gd name="connsiteX13247" fmla="*/ 6852112 w 12192185"/>
              <a:gd name="connsiteY13247" fmla="*/ 266536 h 6859062"/>
              <a:gd name="connsiteX13248" fmla="*/ 6850641 w 12192185"/>
              <a:gd name="connsiteY13248" fmla="*/ 262954 h 6859062"/>
              <a:gd name="connsiteX13249" fmla="*/ 6797391 w 12192185"/>
              <a:gd name="connsiteY13249" fmla="*/ 255532 h 6859062"/>
              <a:gd name="connsiteX13250" fmla="*/ 6759091 w 12192185"/>
              <a:gd name="connsiteY13250" fmla="*/ 233591 h 6859062"/>
              <a:gd name="connsiteX13251" fmla="*/ 6754039 w 12192185"/>
              <a:gd name="connsiteY13251" fmla="*/ 231481 h 6859062"/>
              <a:gd name="connsiteX13252" fmla="*/ 6743938 w 12192185"/>
              <a:gd name="connsiteY13252" fmla="*/ 227258 h 6859062"/>
              <a:gd name="connsiteX13253" fmla="*/ 6747517 w 12192185"/>
              <a:gd name="connsiteY13253" fmla="*/ 225787 h 6859062"/>
              <a:gd name="connsiteX13254" fmla="*/ 6752569 w 12192185"/>
              <a:gd name="connsiteY13254" fmla="*/ 227899 h 6859062"/>
              <a:gd name="connsiteX13255" fmla="*/ 6756147 w 12192185"/>
              <a:gd name="connsiteY13255" fmla="*/ 226428 h 6859062"/>
              <a:gd name="connsiteX13256" fmla="*/ 6725207 w 12192185"/>
              <a:gd name="connsiteY13256" fmla="*/ 222396 h 6859062"/>
              <a:gd name="connsiteX13257" fmla="*/ 6730257 w 12192185"/>
              <a:gd name="connsiteY13257" fmla="*/ 224508 h 6859062"/>
              <a:gd name="connsiteX13258" fmla="*/ 6726678 w 12192185"/>
              <a:gd name="connsiteY13258" fmla="*/ 225979 h 6859062"/>
              <a:gd name="connsiteX13259" fmla="*/ 6723099 w 12192185"/>
              <a:gd name="connsiteY13259" fmla="*/ 227450 h 6859062"/>
              <a:gd name="connsiteX13260" fmla="*/ 6729623 w 12192185"/>
              <a:gd name="connsiteY13260" fmla="*/ 233141 h 6859062"/>
              <a:gd name="connsiteX13261" fmla="*/ 6704369 w 12192185"/>
              <a:gd name="connsiteY13261" fmla="*/ 222588 h 6859062"/>
              <a:gd name="connsiteX13262" fmla="*/ 6699318 w 12192185"/>
              <a:gd name="connsiteY13262" fmla="*/ 220475 h 6859062"/>
              <a:gd name="connsiteX13263" fmla="*/ 6696241 w 12192185"/>
              <a:gd name="connsiteY13263" fmla="*/ 218077 h 6859062"/>
              <a:gd name="connsiteX13264" fmla="*/ 6694336 w 12192185"/>
              <a:gd name="connsiteY13264" fmla="*/ 218355 h 6859062"/>
              <a:gd name="connsiteX13265" fmla="*/ 6650520 w 12192185"/>
              <a:gd name="connsiteY13265" fmla="*/ 199711 h 6859062"/>
              <a:gd name="connsiteX13266" fmla="*/ 6590509 w 12192185"/>
              <a:gd name="connsiteY13266" fmla="*/ 189832 h 6859062"/>
              <a:gd name="connsiteX13267" fmla="*/ 6585459 w 12192185"/>
              <a:gd name="connsiteY13267" fmla="*/ 187722 h 6859062"/>
              <a:gd name="connsiteX13268" fmla="*/ 6576828 w 12192185"/>
              <a:gd name="connsiteY13268" fmla="*/ 187083 h 6859062"/>
              <a:gd name="connsiteX13269" fmla="*/ 6580406 w 12192185"/>
              <a:gd name="connsiteY13269" fmla="*/ 185612 h 6859062"/>
              <a:gd name="connsiteX13270" fmla="*/ 6540202 w 12192185"/>
              <a:gd name="connsiteY13270" fmla="*/ 189575 h 6859062"/>
              <a:gd name="connsiteX13271" fmla="*/ 6548832 w 12192185"/>
              <a:gd name="connsiteY13271" fmla="*/ 190215 h 6859062"/>
              <a:gd name="connsiteX13272" fmla="*/ 6550305 w 12192185"/>
              <a:gd name="connsiteY13272" fmla="*/ 193795 h 6859062"/>
              <a:gd name="connsiteX13273" fmla="*/ 6541676 w 12192185"/>
              <a:gd name="connsiteY13273" fmla="*/ 193156 h 6859062"/>
              <a:gd name="connsiteX13274" fmla="*/ 6540373 w 12192185"/>
              <a:gd name="connsiteY13274" fmla="*/ 193691 h 6859062"/>
              <a:gd name="connsiteX13275" fmla="*/ 6537992 w 12192185"/>
              <a:gd name="connsiteY13275" fmla="*/ 193100 h 6859062"/>
              <a:gd name="connsiteX13276" fmla="*/ 6533044 w 12192185"/>
              <a:gd name="connsiteY13276" fmla="*/ 192516 h 6859062"/>
              <a:gd name="connsiteX13277" fmla="*/ 6538096 w 12192185"/>
              <a:gd name="connsiteY13277" fmla="*/ 194627 h 6859062"/>
              <a:gd name="connsiteX13278" fmla="*/ 6540373 w 12192185"/>
              <a:gd name="connsiteY13278" fmla="*/ 193691 h 6859062"/>
              <a:gd name="connsiteX13279" fmla="*/ 6546725 w 12192185"/>
              <a:gd name="connsiteY13279" fmla="*/ 195267 h 6859062"/>
              <a:gd name="connsiteX13280" fmla="*/ 6520793 w 12192185"/>
              <a:gd name="connsiteY13280" fmla="*/ 195174 h 6859062"/>
              <a:gd name="connsiteX13281" fmla="*/ 6522004 w 12192185"/>
              <a:gd name="connsiteY13281" fmla="*/ 198989 h 6859062"/>
              <a:gd name="connsiteX13282" fmla="*/ 6521871 w 12192185"/>
              <a:gd name="connsiteY13282" fmla="*/ 204322 h 6859062"/>
              <a:gd name="connsiteX13283" fmla="*/ 6520592 w 12192185"/>
              <a:gd name="connsiteY13283" fmla="*/ 208300 h 6859062"/>
              <a:gd name="connsiteX13284" fmla="*/ 6518324 w 12192185"/>
              <a:gd name="connsiteY13284" fmla="*/ 216595 h 6859062"/>
              <a:gd name="connsiteX13285" fmla="*/ 6517749 w 12192185"/>
              <a:gd name="connsiteY13285" fmla="*/ 219690 h 6859062"/>
              <a:gd name="connsiteX13286" fmla="*/ 6516182 w 12192185"/>
              <a:gd name="connsiteY13286" fmla="*/ 227102 h 6859062"/>
              <a:gd name="connsiteX13287" fmla="*/ 6499535 w 12192185"/>
              <a:gd name="connsiteY13287" fmla="*/ 237963 h 6859062"/>
              <a:gd name="connsiteX13288" fmla="*/ 6489509 w 12192185"/>
              <a:gd name="connsiteY13288" fmla="*/ 237435 h 6859062"/>
              <a:gd name="connsiteX13289" fmla="*/ 6470189 w 12192185"/>
              <a:gd name="connsiteY13289" fmla="*/ 231413 h 6859062"/>
              <a:gd name="connsiteX13290" fmla="*/ 6465113 w 12192185"/>
              <a:gd name="connsiteY13290" fmla="*/ 228159 h 6859062"/>
              <a:gd name="connsiteX13291" fmla="*/ 6459594 w 12192185"/>
              <a:gd name="connsiteY13291" fmla="*/ 222667 h 6859062"/>
              <a:gd name="connsiteX13292" fmla="*/ 6456263 w 12192185"/>
              <a:gd name="connsiteY13292" fmla="*/ 217358 h 6859062"/>
              <a:gd name="connsiteX13293" fmla="*/ 6453041 w 12192185"/>
              <a:gd name="connsiteY13293" fmla="*/ 203259 h 6859062"/>
              <a:gd name="connsiteX13294" fmla="*/ 6450624 w 12192185"/>
              <a:gd name="connsiteY13294" fmla="*/ 194569 h 6859062"/>
              <a:gd name="connsiteX13295" fmla="*/ 6450938 w 12192185"/>
              <a:gd name="connsiteY13295" fmla="*/ 190824 h 6859062"/>
              <a:gd name="connsiteX13296" fmla="*/ 6452001 w 12192185"/>
              <a:gd name="connsiteY13296" fmla="*/ 189082 h 6859062"/>
              <a:gd name="connsiteX13297" fmla="*/ 6416463 w 12192185"/>
              <a:gd name="connsiteY13297" fmla="*/ 184627 h 6859062"/>
              <a:gd name="connsiteX13298" fmla="*/ 6374133 w 12192185"/>
              <a:gd name="connsiteY13298" fmla="*/ 182465 h 6859062"/>
              <a:gd name="connsiteX13299" fmla="*/ 6350350 w 12192185"/>
              <a:gd name="connsiteY13299" fmla="*/ 175491 h 6859062"/>
              <a:gd name="connsiteX13300" fmla="*/ 6344663 w 12192185"/>
              <a:gd name="connsiteY13300" fmla="*/ 182014 h 6859062"/>
              <a:gd name="connsiteX13301" fmla="*/ 6339613 w 12192185"/>
              <a:gd name="connsiteY13301" fmla="*/ 179903 h 6859062"/>
              <a:gd name="connsiteX13302" fmla="*/ 6330985 w 12192185"/>
              <a:gd name="connsiteY13302" fmla="*/ 179264 h 6859062"/>
              <a:gd name="connsiteX13303" fmla="*/ 6285942 w 12192185"/>
              <a:gd name="connsiteY13303" fmla="*/ 175272 h 6859062"/>
              <a:gd name="connsiteX13304" fmla="*/ 6258708 w 12192185"/>
              <a:gd name="connsiteY13304" fmla="*/ 169184 h 6859062"/>
              <a:gd name="connsiteX13305" fmla="*/ 6257397 w 12192185"/>
              <a:gd name="connsiteY13305" fmla="*/ 168162 h 6859062"/>
              <a:gd name="connsiteX13306" fmla="*/ 6255423 w 12192185"/>
              <a:gd name="connsiteY13306" fmla="*/ 168449 h 6859062"/>
              <a:gd name="connsiteX13307" fmla="*/ 6258708 w 12192185"/>
              <a:gd name="connsiteY13307" fmla="*/ 169184 h 6859062"/>
              <a:gd name="connsiteX13308" fmla="*/ 6260474 w 12192185"/>
              <a:gd name="connsiteY13308" fmla="*/ 170560 h 6859062"/>
              <a:gd name="connsiteX13309" fmla="*/ 6258366 w 12192185"/>
              <a:gd name="connsiteY13309" fmla="*/ 175613 h 6859062"/>
              <a:gd name="connsiteX13310" fmla="*/ 6253317 w 12192185"/>
              <a:gd name="connsiteY13310" fmla="*/ 173503 h 6859062"/>
              <a:gd name="connsiteX13311" fmla="*/ 6249737 w 12192185"/>
              <a:gd name="connsiteY13311" fmla="*/ 174973 h 6859062"/>
              <a:gd name="connsiteX13312" fmla="*/ 6179229 w 12192185"/>
              <a:gd name="connsiteY13312" fmla="*/ 166270 h 6859062"/>
              <a:gd name="connsiteX13313" fmla="*/ 6080101 w 12192185"/>
              <a:gd name="connsiteY13313" fmla="*/ 169334 h 6859062"/>
              <a:gd name="connsiteX13314" fmla="*/ 6162606 w 12192185"/>
              <a:gd name="connsiteY13314" fmla="*/ 156356 h 6859062"/>
              <a:gd name="connsiteX13315" fmla="*/ 6229534 w 12192185"/>
              <a:gd name="connsiteY13315" fmla="*/ 166529 h 6859062"/>
              <a:gd name="connsiteX13316" fmla="*/ 6231641 w 12192185"/>
              <a:gd name="connsiteY13316" fmla="*/ 161476 h 6859062"/>
              <a:gd name="connsiteX13317" fmla="*/ 6245322 w 12192185"/>
              <a:gd name="connsiteY13317" fmla="*/ 164228 h 6859062"/>
              <a:gd name="connsiteX13318" fmla="*/ 6250372 w 12192185"/>
              <a:gd name="connsiteY13318" fmla="*/ 166338 h 6859062"/>
              <a:gd name="connsiteX13319" fmla="*/ 6248902 w 12192185"/>
              <a:gd name="connsiteY13319" fmla="*/ 162758 h 6859062"/>
              <a:gd name="connsiteX13320" fmla="*/ 6311415 w 12192185"/>
              <a:gd name="connsiteY13320" fmla="*/ 162187 h 6859062"/>
              <a:gd name="connsiteX13321" fmla="*/ 6314994 w 12192185"/>
              <a:gd name="connsiteY13321" fmla="*/ 160715 h 6859062"/>
              <a:gd name="connsiteX13322" fmla="*/ 6318574 w 12192185"/>
              <a:gd name="connsiteY13322" fmla="*/ 159244 h 6859062"/>
              <a:gd name="connsiteX13323" fmla="*/ 6322152 w 12192185"/>
              <a:gd name="connsiteY13323" fmla="*/ 157773 h 6859062"/>
              <a:gd name="connsiteX13324" fmla="*/ 6323624 w 12192185"/>
              <a:gd name="connsiteY13324" fmla="*/ 161354 h 6859062"/>
              <a:gd name="connsiteX13325" fmla="*/ 6325732 w 12192185"/>
              <a:gd name="connsiteY13325" fmla="*/ 156303 h 6859062"/>
              <a:gd name="connsiteX13326" fmla="*/ 6357306 w 12192185"/>
              <a:gd name="connsiteY13326" fmla="*/ 151700 h 6859062"/>
              <a:gd name="connsiteX13327" fmla="*/ 6339209 w 12192185"/>
              <a:gd name="connsiteY13327" fmla="*/ 138202 h 6859062"/>
              <a:gd name="connsiteX13328" fmla="*/ 6347102 w 12192185"/>
              <a:gd name="connsiteY13328" fmla="*/ 137053 h 6859062"/>
              <a:gd name="connsiteX13329" fmla="*/ 6351049 w 12192185"/>
              <a:gd name="connsiteY13329" fmla="*/ 136477 h 6859062"/>
              <a:gd name="connsiteX13330" fmla="*/ 6351417 w 12192185"/>
              <a:gd name="connsiteY13330" fmla="*/ 137372 h 6859062"/>
              <a:gd name="connsiteX13331" fmla="*/ 6354996 w 12192185"/>
              <a:gd name="connsiteY13331" fmla="*/ 135902 h 6859062"/>
              <a:gd name="connsiteX13332" fmla="*/ 6351049 w 12192185"/>
              <a:gd name="connsiteY13332" fmla="*/ 136477 h 6859062"/>
              <a:gd name="connsiteX13333" fmla="*/ 6349946 w 12192185"/>
              <a:gd name="connsiteY13333" fmla="*/ 133791 h 6859062"/>
              <a:gd name="connsiteX13334" fmla="*/ 6353524 w 12192185"/>
              <a:gd name="connsiteY13334" fmla="*/ 132319 h 6859062"/>
              <a:gd name="connsiteX13335" fmla="*/ 6357103 w 12192185"/>
              <a:gd name="connsiteY13335" fmla="*/ 130850 h 6859062"/>
              <a:gd name="connsiteX13336" fmla="*/ 4601331 w 12192185"/>
              <a:gd name="connsiteY13336" fmla="*/ 127244 h 6859062"/>
              <a:gd name="connsiteX13337" fmla="*/ 4605849 w 12192185"/>
              <a:gd name="connsiteY13337" fmla="*/ 127261 h 6859062"/>
              <a:gd name="connsiteX13338" fmla="*/ 4611546 w 12192185"/>
              <a:gd name="connsiteY13338" fmla="*/ 128515 h 6859062"/>
              <a:gd name="connsiteX13339" fmla="*/ 4615784 w 12192185"/>
              <a:gd name="connsiteY13339" fmla="*/ 130533 h 6859062"/>
              <a:gd name="connsiteX13340" fmla="*/ 4623485 w 12192185"/>
              <a:gd name="connsiteY13340" fmla="*/ 138148 h 6859062"/>
              <a:gd name="connsiteX13341" fmla="*/ 4628508 w 12192185"/>
              <a:gd name="connsiteY13341" fmla="*/ 142669 h 6859062"/>
              <a:gd name="connsiteX13342" fmla="*/ 4629814 w 12192185"/>
              <a:gd name="connsiteY13342" fmla="*/ 145163 h 6859062"/>
              <a:gd name="connsiteX13343" fmla="*/ 4629927 w 12192185"/>
              <a:gd name="connsiteY13343" fmla="*/ 151458 h 6859062"/>
              <a:gd name="connsiteX13344" fmla="*/ 4628233 w 12192185"/>
              <a:gd name="connsiteY13344" fmla="*/ 161882 h 6859062"/>
              <a:gd name="connsiteX13345" fmla="*/ 4628297 w 12192185"/>
              <a:gd name="connsiteY13345" fmla="*/ 165555 h 6859062"/>
              <a:gd name="connsiteX13346" fmla="*/ 4626345 w 12192185"/>
              <a:gd name="connsiteY13346" fmla="*/ 167902 h 6859062"/>
              <a:gd name="connsiteX13347" fmla="*/ 4622322 w 12192185"/>
              <a:gd name="connsiteY13347" fmla="*/ 171863 h 6859062"/>
              <a:gd name="connsiteX13348" fmla="*/ 4621095 w 12192185"/>
              <a:gd name="connsiteY13348" fmla="*/ 173567 h 6859062"/>
              <a:gd name="connsiteX13349" fmla="*/ 4614871 w 12192185"/>
              <a:gd name="connsiteY13349" fmla="*/ 177886 h 6859062"/>
              <a:gd name="connsiteX13350" fmla="*/ 4613634 w 12192185"/>
              <a:gd name="connsiteY13350" fmla="*/ 179065 h 6859062"/>
              <a:gd name="connsiteX13351" fmla="*/ 4593960 w 12192185"/>
              <a:gd name="connsiteY13351" fmla="*/ 177454 h 6859062"/>
              <a:gd name="connsiteX13352" fmla="*/ 4584917 w 12192185"/>
              <a:gd name="connsiteY13352" fmla="*/ 171332 h 6859062"/>
              <a:gd name="connsiteX13353" fmla="*/ 4581612 w 12192185"/>
              <a:gd name="connsiteY13353" fmla="*/ 168563 h 6859062"/>
              <a:gd name="connsiteX13354" fmla="*/ 4579551 w 12192185"/>
              <a:gd name="connsiteY13354" fmla="*/ 165138 h 6859062"/>
              <a:gd name="connsiteX13355" fmla="*/ 4578762 w 12192185"/>
              <a:gd name="connsiteY13355" fmla="*/ 162111 h 6859062"/>
              <a:gd name="connsiteX13356" fmla="*/ 4576863 w 12192185"/>
              <a:gd name="connsiteY13356" fmla="*/ 155955 h 6859062"/>
              <a:gd name="connsiteX13357" fmla="*/ 4575983 w 12192185"/>
              <a:gd name="connsiteY13357" fmla="*/ 153768 h 6859062"/>
              <a:gd name="connsiteX13358" fmla="*/ 4573994 w 12192185"/>
              <a:gd name="connsiteY13358" fmla="*/ 148454 h 6859062"/>
              <a:gd name="connsiteX13359" fmla="*/ 4580151 w 12192185"/>
              <a:gd name="connsiteY13359" fmla="*/ 134899 h 6859062"/>
              <a:gd name="connsiteX13360" fmla="*/ 4586698 w 12192185"/>
              <a:gd name="connsiteY13360" fmla="*/ 131203 h 6859062"/>
              <a:gd name="connsiteX13361" fmla="*/ 4601331 w 12192185"/>
              <a:gd name="connsiteY13361" fmla="*/ 127244 h 6859062"/>
              <a:gd name="connsiteX13362" fmla="*/ 3331871 w 12192185"/>
              <a:gd name="connsiteY13362" fmla="*/ 114564 h 6859062"/>
              <a:gd name="connsiteX13363" fmla="*/ 3334345 w 12192185"/>
              <a:gd name="connsiteY13363" fmla="*/ 115271 h 6859062"/>
              <a:gd name="connsiteX13364" fmla="*/ 3345653 w 12192185"/>
              <a:gd name="connsiteY13364" fmla="*/ 116683 h 6859062"/>
              <a:gd name="connsiteX13365" fmla="*/ 3348480 w 12192185"/>
              <a:gd name="connsiteY13365" fmla="*/ 118094 h 6859062"/>
              <a:gd name="connsiteX13366" fmla="*/ 3356610 w 12192185"/>
              <a:gd name="connsiteY13366" fmla="*/ 120565 h 6859062"/>
              <a:gd name="connsiteX13367" fmla="*/ 3360850 w 12192185"/>
              <a:gd name="connsiteY13367" fmla="*/ 122331 h 6859062"/>
              <a:gd name="connsiteX13368" fmla="*/ 3363325 w 12192185"/>
              <a:gd name="connsiteY13368" fmla="*/ 127272 h 6859062"/>
              <a:gd name="connsiteX13369" fmla="*/ 3372868 w 12192185"/>
              <a:gd name="connsiteY13369" fmla="*/ 139979 h 6859062"/>
              <a:gd name="connsiteX13370" fmla="*/ 3377109 w 12192185"/>
              <a:gd name="connsiteY13370" fmla="*/ 148449 h 6859062"/>
              <a:gd name="connsiteX13371" fmla="*/ 3377109 w 12192185"/>
              <a:gd name="connsiteY13371" fmla="*/ 152685 h 6859062"/>
              <a:gd name="connsiteX13372" fmla="*/ 3373575 w 12192185"/>
              <a:gd name="connsiteY13372" fmla="*/ 162215 h 6859062"/>
              <a:gd name="connsiteX13373" fmla="*/ 3368627 w 12192185"/>
              <a:gd name="connsiteY13373" fmla="*/ 177745 h 6859062"/>
              <a:gd name="connsiteX13374" fmla="*/ 3364383 w 12192185"/>
              <a:gd name="connsiteY13374" fmla="*/ 183393 h 6859062"/>
              <a:gd name="connsiteX13375" fmla="*/ 3357668 w 12192185"/>
              <a:gd name="connsiteY13375" fmla="*/ 189040 h 6859062"/>
              <a:gd name="connsiteX13376" fmla="*/ 3351661 w 12192185"/>
              <a:gd name="connsiteY13376" fmla="*/ 192217 h 6859062"/>
              <a:gd name="connsiteX13377" fmla="*/ 3329396 w 12192185"/>
              <a:gd name="connsiteY13377" fmla="*/ 197159 h 6859062"/>
              <a:gd name="connsiteX13378" fmla="*/ 3318086 w 12192185"/>
              <a:gd name="connsiteY13378" fmla="*/ 196806 h 6859062"/>
              <a:gd name="connsiteX13379" fmla="*/ 3300414 w 12192185"/>
              <a:gd name="connsiteY13379" fmla="*/ 183040 h 6859062"/>
              <a:gd name="connsiteX13380" fmla="*/ 3299353 w 12192185"/>
              <a:gd name="connsiteY13380" fmla="*/ 174569 h 6859062"/>
              <a:gd name="connsiteX13381" fmla="*/ 3299001 w 12192185"/>
              <a:gd name="connsiteY13381" fmla="*/ 171039 h 6859062"/>
              <a:gd name="connsiteX13382" fmla="*/ 3297234 w 12192185"/>
              <a:gd name="connsiteY13382" fmla="*/ 161509 h 6859062"/>
              <a:gd name="connsiteX13383" fmla="*/ 3296172 w 12192185"/>
              <a:gd name="connsiteY13383" fmla="*/ 156921 h 6859062"/>
              <a:gd name="connsiteX13384" fmla="*/ 3296527 w 12192185"/>
              <a:gd name="connsiteY13384" fmla="*/ 150920 h 6859062"/>
              <a:gd name="connsiteX13385" fmla="*/ 3299000 w 12192185"/>
              <a:gd name="connsiteY13385" fmla="*/ 144919 h 6859062"/>
              <a:gd name="connsiteX13386" fmla="*/ 3306776 w 12192185"/>
              <a:gd name="connsiteY13386" fmla="*/ 130448 h 6859062"/>
              <a:gd name="connsiteX13387" fmla="*/ 3331871 w 12192185"/>
              <a:gd name="connsiteY13387" fmla="*/ 114564 h 6859062"/>
              <a:gd name="connsiteX13388" fmla="*/ 5553602 w 12192185"/>
              <a:gd name="connsiteY13388" fmla="*/ 83367 h 6859062"/>
              <a:gd name="connsiteX13389" fmla="*/ 5556463 w 12192185"/>
              <a:gd name="connsiteY13389" fmla="*/ 84449 h 6859062"/>
              <a:gd name="connsiteX13390" fmla="*/ 5569720 w 12192185"/>
              <a:gd name="connsiteY13390" fmla="*/ 87246 h 6859062"/>
              <a:gd name="connsiteX13391" fmla="*/ 5572930 w 12192185"/>
              <a:gd name="connsiteY13391" fmla="*/ 89200 h 6859062"/>
              <a:gd name="connsiteX13392" fmla="*/ 5582313 w 12192185"/>
              <a:gd name="connsiteY13392" fmla="*/ 92936 h 6859062"/>
              <a:gd name="connsiteX13393" fmla="*/ 5587161 w 12192185"/>
              <a:gd name="connsiteY13393" fmla="*/ 95448 h 6859062"/>
              <a:gd name="connsiteX13394" fmla="*/ 5589602 w 12192185"/>
              <a:gd name="connsiteY13394" fmla="*/ 101548 h 6859062"/>
              <a:gd name="connsiteX13395" fmla="*/ 5599642 w 12192185"/>
              <a:gd name="connsiteY13395" fmla="*/ 117549 h 6859062"/>
              <a:gd name="connsiteX13396" fmla="*/ 5603822 w 12192185"/>
              <a:gd name="connsiteY13396" fmla="*/ 128007 h 6859062"/>
              <a:gd name="connsiteX13397" fmla="*/ 5603403 w 12192185"/>
              <a:gd name="connsiteY13397" fmla="*/ 133024 h 6859062"/>
              <a:gd name="connsiteX13398" fmla="*/ 5598268 w 12192185"/>
              <a:gd name="connsiteY13398" fmla="*/ 143962 h 6859062"/>
              <a:gd name="connsiteX13399" fmla="*/ 5590861 w 12192185"/>
              <a:gd name="connsiteY13399" fmla="*/ 161868 h 6859062"/>
              <a:gd name="connsiteX13400" fmla="*/ 5585277 w 12192185"/>
              <a:gd name="connsiteY13400" fmla="*/ 168136 h 6859062"/>
              <a:gd name="connsiteX13401" fmla="*/ 5576761 w 12192185"/>
              <a:gd name="connsiteY13401" fmla="*/ 174159 h 6859062"/>
              <a:gd name="connsiteX13402" fmla="*/ 5569326 w 12192185"/>
              <a:gd name="connsiteY13402" fmla="*/ 177325 h 6859062"/>
              <a:gd name="connsiteX13403" fmla="*/ 5542459 w 12192185"/>
              <a:gd name="connsiteY13403" fmla="*/ 180965 h 6859062"/>
              <a:gd name="connsiteX13404" fmla="*/ 5529097 w 12192185"/>
              <a:gd name="connsiteY13404" fmla="*/ 179423 h 6859062"/>
              <a:gd name="connsiteX13405" fmla="*/ 5509533 w 12192185"/>
              <a:gd name="connsiteY13405" fmla="*/ 161358 h 6859062"/>
              <a:gd name="connsiteX13406" fmla="*/ 5509117 w 12192185"/>
              <a:gd name="connsiteY13406" fmla="*/ 151217 h 6859062"/>
              <a:gd name="connsiteX13407" fmla="*/ 5509051 w 12192185"/>
              <a:gd name="connsiteY13407" fmla="*/ 147000 h 6859062"/>
              <a:gd name="connsiteX13408" fmla="*/ 5507906 w 12192185"/>
              <a:gd name="connsiteY13408" fmla="*/ 135535 h 6859062"/>
              <a:gd name="connsiteX13409" fmla="*/ 5507106 w 12192185"/>
              <a:gd name="connsiteY13409" fmla="*/ 129994 h 6859062"/>
              <a:gd name="connsiteX13410" fmla="*/ 5508121 w 12192185"/>
              <a:gd name="connsiteY13410" fmla="*/ 122921 h 6859062"/>
              <a:gd name="connsiteX13411" fmla="*/ 5511647 w 12192185"/>
              <a:gd name="connsiteY13411" fmla="*/ 116059 h 6859062"/>
              <a:gd name="connsiteX13412" fmla="*/ 5522297 w 12192185"/>
              <a:gd name="connsiteY13412" fmla="*/ 99688 h 6859062"/>
              <a:gd name="connsiteX13413" fmla="*/ 5553602 w 12192185"/>
              <a:gd name="connsiteY13413" fmla="*/ 83367 h 6859062"/>
              <a:gd name="connsiteX13414" fmla="*/ 6247844 w 12192185"/>
              <a:gd name="connsiteY13414" fmla="*/ 64951 h 6859062"/>
              <a:gd name="connsiteX13415" fmla="*/ 6268852 w 12192185"/>
              <a:gd name="connsiteY13415" fmla="*/ 80858 h 6859062"/>
              <a:gd name="connsiteX13416" fmla="*/ 6274653 w 12192185"/>
              <a:gd name="connsiteY13416" fmla="*/ 94231 h 6859062"/>
              <a:gd name="connsiteX13417" fmla="*/ 6276395 w 12192185"/>
              <a:gd name="connsiteY13417" fmla="*/ 99720 h 6859062"/>
              <a:gd name="connsiteX13418" fmla="*/ 6276261 w 12192185"/>
              <a:gd name="connsiteY13418" fmla="*/ 105052 h 6859062"/>
              <a:gd name="connsiteX13419" fmla="*/ 6274984 w 12192185"/>
              <a:gd name="connsiteY13419" fmla="*/ 109030 h 6859062"/>
              <a:gd name="connsiteX13420" fmla="*/ 6272714 w 12192185"/>
              <a:gd name="connsiteY13420" fmla="*/ 117327 h 6859062"/>
              <a:gd name="connsiteX13421" fmla="*/ 6272139 w 12192185"/>
              <a:gd name="connsiteY13421" fmla="*/ 120421 h 6859062"/>
              <a:gd name="connsiteX13422" fmla="*/ 6270573 w 12192185"/>
              <a:gd name="connsiteY13422" fmla="*/ 127833 h 6859062"/>
              <a:gd name="connsiteX13423" fmla="*/ 6253927 w 12192185"/>
              <a:gd name="connsiteY13423" fmla="*/ 138694 h 6859062"/>
              <a:gd name="connsiteX13424" fmla="*/ 6243901 w 12192185"/>
              <a:gd name="connsiteY13424" fmla="*/ 138166 h 6859062"/>
              <a:gd name="connsiteX13425" fmla="*/ 6224580 w 12192185"/>
              <a:gd name="connsiteY13425" fmla="*/ 132144 h 6859062"/>
              <a:gd name="connsiteX13426" fmla="*/ 6219503 w 12192185"/>
              <a:gd name="connsiteY13426" fmla="*/ 128889 h 6859062"/>
              <a:gd name="connsiteX13427" fmla="*/ 6213985 w 12192185"/>
              <a:gd name="connsiteY13427" fmla="*/ 123397 h 6859062"/>
              <a:gd name="connsiteX13428" fmla="*/ 6210655 w 12192185"/>
              <a:gd name="connsiteY13428" fmla="*/ 118089 h 6859062"/>
              <a:gd name="connsiteX13429" fmla="*/ 6207432 w 12192185"/>
              <a:gd name="connsiteY13429" fmla="*/ 103989 h 6859062"/>
              <a:gd name="connsiteX13430" fmla="*/ 6205014 w 12192185"/>
              <a:gd name="connsiteY13430" fmla="*/ 95301 h 6859062"/>
              <a:gd name="connsiteX13431" fmla="*/ 6205329 w 12192185"/>
              <a:gd name="connsiteY13431" fmla="*/ 91555 h 6859062"/>
              <a:gd name="connsiteX13432" fmla="*/ 6209707 w 12192185"/>
              <a:gd name="connsiteY13432" fmla="*/ 84379 h 6859062"/>
              <a:gd name="connsiteX13433" fmla="*/ 6219088 w 12192185"/>
              <a:gd name="connsiteY13433" fmla="*/ 73852 h 6859062"/>
              <a:gd name="connsiteX13434" fmla="*/ 6221643 w 12192185"/>
              <a:gd name="connsiteY13434" fmla="*/ 69666 h 6859062"/>
              <a:gd name="connsiteX13435" fmla="*/ 6225523 w 12192185"/>
              <a:gd name="connsiteY13435" fmla="*/ 68420 h 6859062"/>
              <a:gd name="connsiteX13436" fmla="*/ 6232895 w 12192185"/>
              <a:gd name="connsiteY13436" fmla="*/ 66839 h 6859062"/>
              <a:gd name="connsiteX13437" fmla="*/ 6235500 w 12192185"/>
              <a:gd name="connsiteY13437" fmla="*/ 65800 h 6859062"/>
              <a:gd name="connsiteX13438" fmla="*/ 6245603 w 12192185"/>
              <a:gd name="connsiteY13438" fmla="*/ 65391 h 6859062"/>
              <a:gd name="connsiteX13439" fmla="*/ 6247844 w 12192185"/>
              <a:gd name="connsiteY13439" fmla="*/ 64951 h 6859062"/>
              <a:gd name="connsiteX13440" fmla="*/ 4865142 w 12192185"/>
              <a:gd name="connsiteY13440" fmla="*/ 13187 h 6859062"/>
              <a:gd name="connsiteX13441" fmla="*/ 4865119 w 12192185"/>
              <a:gd name="connsiteY13441" fmla="*/ 13581 h 6859062"/>
              <a:gd name="connsiteX13442" fmla="*/ 4864801 w 12192185"/>
              <a:gd name="connsiteY13442" fmla="*/ 13483 h 6859062"/>
              <a:gd name="connsiteX13443" fmla="*/ 7040995 w 12192185"/>
              <a:gd name="connsiteY13443" fmla="*/ 826 h 6859062"/>
              <a:gd name="connsiteX13444" fmla="*/ 7048109 w 12192185"/>
              <a:gd name="connsiteY13444" fmla="*/ 826 h 6859062"/>
              <a:gd name="connsiteX13445" fmla="*/ 7048895 w 12192185"/>
              <a:gd name="connsiteY13445" fmla="*/ 1190 h 6859062"/>
              <a:gd name="connsiteX13446" fmla="*/ 7049531 w 12192185"/>
              <a:gd name="connsiteY13446" fmla="*/ 826 h 6859062"/>
              <a:gd name="connsiteX13447" fmla="*/ 7059070 w 12192185"/>
              <a:gd name="connsiteY13447" fmla="*/ 826 h 6859062"/>
              <a:gd name="connsiteX13448" fmla="*/ 7075105 w 12192185"/>
              <a:gd name="connsiteY13448" fmla="*/ 12968 h 6859062"/>
              <a:gd name="connsiteX13449" fmla="*/ 7080503 w 12192185"/>
              <a:gd name="connsiteY13449" fmla="*/ 25413 h 6859062"/>
              <a:gd name="connsiteX13450" fmla="*/ 7082124 w 12192185"/>
              <a:gd name="connsiteY13450" fmla="*/ 30521 h 6859062"/>
              <a:gd name="connsiteX13451" fmla="*/ 7082001 w 12192185"/>
              <a:gd name="connsiteY13451" fmla="*/ 35483 h 6859062"/>
              <a:gd name="connsiteX13452" fmla="*/ 7080812 w 12192185"/>
              <a:gd name="connsiteY13452" fmla="*/ 39186 h 6859062"/>
              <a:gd name="connsiteX13453" fmla="*/ 7078699 w 12192185"/>
              <a:gd name="connsiteY13453" fmla="*/ 46905 h 6859062"/>
              <a:gd name="connsiteX13454" fmla="*/ 7078164 w 12192185"/>
              <a:gd name="connsiteY13454" fmla="*/ 49785 h 6859062"/>
              <a:gd name="connsiteX13455" fmla="*/ 7076707 w 12192185"/>
              <a:gd name="connsiteY13455" fmla="*/ 56683 h 6859062"/>
              <a:gd name="connsiteX13456" fmla="*/ 7061217 w 12192185"/>
              <a:gd name="connsiteY13456" fmla="*/ 66788 h 6859062"/>
              <a:gd name="connsiteX13457" fmla="*/ 7051886 w 12192185"/>
              <a:gd name="connsiteY13457" fmla="*/ 66298 h 6859062"/>
              <a:gd name="connsiteX13458" fmla="*/ 7033907 w 12192185"/>
              <a:gd name="connsiteY13458" fmla="*/ 60695 h 6859062"/>
              <a:gd name="connsiteX13459" fmla="*/ 7029182 w 12192185"/>
              <a:gd name="connsiteY13459" fmla="*/ 57666 h 6859062"/>
              <a:gd name="connsiteX13460" fmla="*/ 7024047 w 12192185"/>
              <a:gd name="connsiteY13460" fmla="*/ 52554 h 6859062"/>
              <a:gd name="connsiteX13461" fmla="*/ 7020947 w 12192185"/>
              <a:gd name="connsiteY13461" fmla="*/ 47615 h 6859062"/>
              <a:gd name="connsiteX13462" fmla="*/ 7017949 w 12192185"/>
              <a:gd name="connsiteY13462" fmla="*/ 34494 h 6859062"/>
              <a:gd name="connsiteX13463" fmla="*/ 7015699 w 12192185"/>
              <a:gd name="connsiteY13463" fmla="*/ 26408 h 6859062"/>
              <a:gd name="connsiteX13464" fmla="*/ 7015991 w 12192185"/>
              <a:gd name="connsiteY13464" fmla="*/ 22923 h 6859062"/>
              <a:gd name="connsiteX13465" fmla="*/ 7020067 w 12192185"/>
              <a:gd name="connsiteY13465" fmla="*/ 16245 h 6859062"/>
              <a:gd name="connsiteX13466" fmla="*/ 7028796 w 12192185"/>
              <a:gd name="connsiteY13466" fmla="*/ 6449 h 6859062"/>
              <a:gd name="connsiteX13467" fmla="*/ 7031172 w 12192185"/>
              <a:gd name="connsiteY13467" fmla="*/ 2553 h 6859062"/>
              <a:gd name="connsiteX13468" fmla="*/ 7034784 w 12192185"/>
              <a:gd name="connsiteY13468" fmla="*/ 1394 h 6859062"/>
              <a:gd name="connsiteX13469" fmla="*/ 7038948 w 12192185"/>
              <a:gd name="connsiteY13469" fmla="*/ 3682 h 6859062"/>
              <a:gd name="connsiteX13470" fmla="*/ 5922866 w 12192185"/>
              <a:gd name="connsiteY13470" fmla="*/ 826 h 6859062"/>
              <a:gd name="connsiteX13471" fmla="*/ 5990306 w 12192185"/>
              <a:gd name="connsiteY13471" fmla="*/ 826 h 6859062"/>
              <a:gd name="connsiteX13472" fmla="*/ 5990219 w 12192185"/>
              <a:gd name="connsiteY13472" fmla="*/ 1170 h 6859062"/>
              <a:gd name="connsiteX13473" fmla="*/ 5987369 w 12192185"/>
              <a:gd name="connsiteY13473" fmla="*/ 3402 h 6859062"/>
              <a:gd name="connsiteX13474" fmla="*/ 5985934 w 12192185"/>
              <a:gd name="connsiteY13474" fmla="*/ 9174 h 6859062"/>
              <a:gd name="connsiteX13475" fmla="*/ 5991128 w 12192185"/>
              <a:gd name="connsiteY13475" fmla="*/ 8470 h 6859062"/>
              <a:gd name="connsiteX13476" fmla="*/ 5995364 w 12192185"/>
              <a:gd name="connsiteY13476" fmla="*/ 5594 h 6859062"/>
              <a:gd name="connsiteX13477" fmla="*/ 5998935 w 12192185"/>
              <a:gd name="connsiteY13477" fmla="*/ 8364 h 6859062"/>
              <a:gd name="connsiteX13478" fmla="*/ 5993876 w 12192185"/>
              <a:gd name="connsiteY13478" fmla="*/ 18775 h 6859062"/>
              <a:gd name="connsiteX13479" fmla="*/ 5993006 w 12192185"/>
              <a:gd name="connsiteY13479" fmla="*/ 29155 h 6859062"/>
              <a:gd name="connsiteX13480" fmla="*/ 5996433 w 12192185"/>
              <a:gd name="connsiteY13480" fmla="*/ 33625 h 6859062"/>
              <a:gd name="connsiteX13481" fmla="*/ 5997393 w 12192185"/>
              <a:gd name="connsiteY13481" fmla="*/ 35797 h 6859062"/>
              <a:gd name="connsiteX13482" fmla="*/ 5995220 w 12192185"/>
              <a:gd name="connsiteY13482" fmla="*/ 36754 h 6859062"/>
              <a:gd name="connsiteX13483" fmla="*/ 5990936 w 12192185"/>
              <a:gd name="connsiteY13483" fmla="*/ 40197 h 6859062"/>
              <a:gd name="connsiteX13484" fmla="*/ 5985312 w 12192185"/>
              <a:gd name="connsiteY13484" fmla="*/ 48278 h 6859062"/>
              <a:gd name="connsiteX13485" fmla="*/ 5984744 w 12192185"/>
              <a:gd name="connsiteY13485" fmla="*/ 52792 h 6859062"/>
              <a:gd name="connsiteX13486" fmla="*/ 5986003 w 12192185"/>
              <a:gd name="connsiteY13486" fmla="*/ 55939 h 6859062"/>
              <a:gd name="connsiteX13487" fmla="*/ 5982618 w 12192185"/>
              <a:gd name="connsiteY13487" fmla="*/ 57746 h 6859062"/>
              <a:gd name="connsiteX13488" fmla="*/ 5979941 w 12192185"/>
              <a:gd name="connsiteY13488" fmla="*/ 57901 h 6859062"/>
              <a:gd name="connsiteX13489" fmla="*/ 5976083 w 12192185"/>
              <a:gd name="connsiteY13489" fmla="*/ 65371 h 6859062"/>
              <a:gd name="connsiteX13490" fmla="*/ 5976900 w 12192185"/>
              <a:gd name="connsiteY13490" fmla="*/ 66960 h 6859062"/>
              <a:gd name="connsiteX13491" fmla="*/ 5976425 w 12192185"/>
              <a:gd name="connsiteY13491" fmla="*/ 70342 h 6859062"/>
              <a:gd name="connsiteX13492" fmla="*/ 5973467 w 12192185"/>
              <a:gd name="connsiteY13492" fmla="*/ 69333 h 6859062"/>
              <a:gd name="connsiteX13493" fmla="*/ 5971785 w 12192185"/>
              <a:gd name="connsiteY13493" fmla="*/ 66721 h 6859062"/>
              <a:gd name="connsiteX13494" fmla="*/ 5968055 w 12192185"/>
              <a:gd name="connsiteY13494" fmla="*/ 65837 h 6859062"/>
              <a:gd name="connsiteX13495" fmla="*/ 5956282 w 12192185"/>
              <a:gd name="connsiteY13495" fmla="*/ 67890 h 6859062"/>
              <a:gd name="connsiteX13496" fmla="*/ 5941851 w 12192185"/>
              <a:gd name="connsiteY13496" fmla="*/ 67629 h 6859062"/>
              <a:gd name="connsiteX13497" fmla="*/ 5938595 w 12192185"/>
              <a:gd name="connsiteY13497" fmla="*/ 65645 h 6859062"/>
              <a:gd name="connsiteX13498" fmla="*/ 5929154 w 12192185"/>
              <a:gd name="connsiteY13498" fmla="*/ 60292 h 6859062"/>
              <a:gd name="connsiteX13499" fmla="*/ 5927377 w 12192185"/>
              <a:gd name="connsiteY13499" fmla="*/ 58812 h 6859062"/>
              <a:gd name="connsiteX13500" fmla="*/ 5919907 w 12192185"/>
              <a:gd name="connsiteY13500" fmla="*/ 48110 h 6859062"/>
              <a:gd name="connsiteX13501" fmla="*/ 5916235 w 12192185"/>
              <a:gd name="connsiteY13501" fmla="*/ 30695 h 6859062"/>
              <a:gd name="connsiteX13502" fmla="*/ 5914270 w 12192185"/>
              <a:gd name="connsiteY13502" fmla="*/ 24638 h 6859062"/>
              <a:gd name="connsiteX13503" fmla="*/ 5915534 w 12192185"/>
              <a:gd name="connsiteY13503" fmla="*/ 16380 h 6859062"/>
              <a:gd name="connsiteX13504" fmla="*/ 5916876 w 12192185"/>
              <a:gd name="connsiteY13504" fmla="*/ 9459 h 6859062"/>
              <a:gd name="connsiteX13505" fmla="*/ 5916924 w 12192185"/>
              <a:gd name="connsiteY13505" fmla="*/ 6613 h 6859062"/>
              <a:gd name="connsiteX13506" fmla="*/ 4891881 w 12192185"/>
              <a:gd name="connsiteY13506" fmla="*/ 826 h 6859062"/>
              <a:gd name="connsiteX13507" fmla="*/ 4978869 w 12192185"/>
              <a:gd name="connsiteY13507" fmla="*/ 826 h 6859062"/>
              <a:gd name="connsiteX13508" fmla="*/ 4978468 w 12192185"/>
              <a:gd name="connsiteY13508" fmla="*/ 1736 h 6859062"/>
              <a:gd name="connsiteX13509" fmla="*/ 4970670 w 12192185"/>
              <a:gd name="connsiteY13509" fmla="*/ 12111 h 6859062"/>
              <a:gd name="connsiteX13510" fmla="*/ 4966957 w 12192185"/>
              <a:gd name="connsiteY13510" fmla="*/ 15790 h 6859062"/>
              <a:gd name="connsiteX13511" fmla="*/ 4960358 w 12192185"/>
              <a:gd name="connsiteY13511" fmla="*/ 21416 h 6859062"/>
              <a:gd name="connsiteX13512" fmla="*/ 4957319 w 12192185"/>
              <a:gd name="connsiteY13512" fmla="*/ 29293 h 6859062"/>
              <a:gd name="connsiteX13513" fmla="*/ 4955248 w 12192185"/>
              <a:gd name="connsiteY13513" fmla="*/ 31546 h 6859062"/>
              <a:gd name="connsiteX13514" fmla="*/ 4952524 w 12192185"/>
              <a:gd name="connsiteY13514" fmla="*/ 30073 h 6859062"/>
              <a:gd name="connsiteX13515" fmla="*/ 4950941 w 12192185"/>
              <a:gd name="connsiteY13515" fmla="*/ 28298 h 6859062"/>
              <a:gd name="connsiteX13516" fmla="*/ 4948162 w 12192185"/>
              <a:gd name="connsiteY13516" fmla="*/ 26719 h 6859062"/>
              <a:gd name="connsiteX13517" fmla="*/ 4946751 w 12192185"/>
              <a:gd name="connsiteY13517" fmla="*/ 29410 h 6859062"/>
              <a:gd name="connsiteX13518" fmla="*/ 4941199 w 12192185"/>
              <a:gd name="connsiteY13518" fmla="*/ 31235 h 6859062"/>
              <a:gd name="connsiteX13519" fmla="*/ 4939020 w 12192185"/>
              <a:gd name="connsiteY13519" fmla="*/ 29558 h 6859062"/>
              <a:gd name="connsiteX13520" fmla="*/ 4935334 w 12192185"/>
              <a:gd name="connsiteY13520" fmla="*/ 29973 h 6859062"/>
              <a:gd name="connsiteX13521" fmla="*/ 4935655 w 12192185"/>
              <a:gd name="connsiteY13521" fmla="*/ 33489 h 6859062"/>
              <a:gd name="connsiteX13522" fmla="*/ 4937289 w 12192185"/>
              <a:gd name="connsiteY13522" fmla="*/ 35912 h 6859062"/>
              <a:gd name="connsiteX13523" fmla="*/ 4917059 w 12192185"/>
              <a:gd name="connsiteY13523" fmla="*/ 29651 h 6859062"/>
              <a:gd name="connsiteX13524" fmla="*/ 4917252 w 12192185"/>
              <a:gd name="connsiteY13524" fmla="*/ 28171 h 6859062"/>
              <a:gd name="connsiteX13525" fmla="*/ 4914027 w 12192185"/>
              <a:gd name="connsiteY13525" fmla="*/ 25741 h 6859062"/>
              <a:gd name="connsiteX13526" fmla="*/ 4910246 w 12192185"/>
              <a:gd name="connsiteY13526" fmla="*/ 25984 h 6859062"/>
              <a:gd name="connsiteX13527" fmla="*/ 4906068 w 12192185"/>
              <a:gd name="connsiteY13527" fmla="*/ 22971 h 6859062"/>
              <a:gd name="connsiteX13528" fmla="*/ 4892564 w 12192185"/>
              <a:gd name="connsiteY13528" fmla="*/ 13349 h 6859062"/>
              <a:gd name="connsiteX13529" fmla="*/ 4889200 w 12192185"/>
              <a:gd name="connsiteY13529" fmla="*/ 12725 h 6859062"/>
              <a:gd name="connsiteX13530" fmla="*/ 4891362 w 12192185"/>
              <a:gd name="connsiteY13530" fmla="*/ 8989 h 6859062"/>
              <a:gd name="connsiteX13531" fmla="*/ 4891873 w 12192185"/>
              <a:gd name="connsiteY13531" fmla="*/ 8722 h 6859062"/>
              <a:gd name="connsiteX13532" fmla="*/ 4892077 w 12192185"/>
              <a:gd name="connsiteY13532" fmla="*/ 1243 h 6859062"/>
              <a:gd name="connsiteX13533" fmla="*/ 4762897 w 12192185"/>
              <a:gd name="connsiteY13533" fmla="*/ 826 h 6859062"/>
              <a:gd name="connsiteX13534" fmla="*/ 4821498 w 12192185"/>
              <a:gd name="connsiteY13534" fmla="*/ 826 h 6859062"/>
              <a:gd name="connsiteX13535" fmla="*/ 4833729 w 12192185"/>
              <a:gd name="connsiteY13535" fmla="*/ 12222 h 6859062"/>
              <a:gd name="connsiteX13536" fmla="*/ 4837193 w 12192185"/>
              <a:gd name="connsiteY13536" fmla="*/ 27520 h 6859062"/>
              <a:gd name="connsiteX13537" fmla="*/ 4830637 w 12192185"/>
              <a:gd name="connsiteY13537" fmla="*/ 42029 h 6859062"/>
              <a:gd name="connsiteX13538" fmla="*/ 4830277 w 12192185"/>
              <a:gd name="connsiteY13538" fmla="*/ 44232 h 6859062"/>
              <a:gd name="connsiteX13539" fmla="*/ 4822340 w 12192185"/>
              <a:gd name="connsiteY13539" fmla="*/ 48389 h 6859062"/>
              <a:gd name="connsiteX13540" fmla="*/ 4811337 w 12192185"/>
              <a:gd name="connsiteY13540" fmla="*/ 48617 h 6859062"/>
              <a:gd name="connsiteX13541" fmla="*/ 4801662 w 12192185"/>
              <a:gd name="connsiteY13541" fmla="*/ 44626 h 6859062"/>
              <a:gd name="connsiteX13542" fmla="*/ 4791709 w 12192185"/>
              <a:gd name="connsiteY13542" fmla="*/ 36249 h 6859062"/>
              <a:gd name="connsiteX13543" fmla="*/ 4780778 w 12192185"/>
              <a:gd name="connsiteY13543" fmla="*/ 28890 h 6859062"/>
              <a:gd name="connsiteX13544" fmla="*/ 4767497 w 12192185"/>
              <a:gd name="connsiteY13544" fmla="*/ 24775 h 6859062"/>
              <a:gd name="connsiteX13545" fmla="*/ 4760048 w 12192185"/>
              <a:gd name="connsiteY13545" fmla="*/ 10557 h 6859062"/>
              <a:gd name="connsiteX13546" fmla="*/ 4761911 w 12192185"/>
              <a:gd name="connsiteY13546" fmla="*/ 2534 h 68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Lst>
            <a:rect l="l" t="t" r="r" b="b"/>
            <a:pathLst>
              <a:path w="12192185" h="6859062">
                <a:moveTo>
                  <a:pt x="2948713" y="6851034"/>
                </a:moveTo>
                <a:cubicBezTo>
                  <a:pt x="2949921" y="6850533"/>
                  <a:pt x="2951069" y="6851714"/>
                  <a:pt x="2951628" y="6852726"/>
                </a:cubicBezTo>
                <a:cubicBezTo>
                  <a:pt x="2952187" y="6853737"/>
                  <a:pt x="2952550" y="6854693"/>
                  <a:pt x="2952855" y="6855845"/>
                </a:cubicBezTo>
                <a:cubicBezTo>
                  <a:pt x="2953637" y="6857558"/>
                  <a:pt x="2954701" y="6858291"/>
                  <a:pt x="2956612" y="6857566"/>
                </a:cubicBezTo>
                <a:cubicBezTo>
                  <a:pt x="2961079" y="6856091"/>
                  <a:pt x="2965316" y="6856890"/>
                  <a:pt x="2969498" y="6857884"/>
                </a:cubicBezTo>
                <a:lnTo>
                  <a:pt x="2973808" y="6858826"/>
                </a:lnTo>
                <a:lnTo>
                  <a:pt x="2946058" y="6858826"/>
                </a:lnTo>
                <a:lnTo>
                  <a:pt x="2948026" y="6856364"/>
                </a:lnTo>
                <a:cubicBezTo>
                  <a:pt x="2947802" y="6855661"/>
                  <a:pt x="2947525" y="6855155"/>
                  <a:pt x="2947498" y="6854510"/>
                </a:cubicBezTo>
                <a:cubicBezTo>
                  <a:pt x="2947249" y="6853162"/>
                  <a:pt x="2947309" y="6851479"/>
                  <a:pt x="2948713" y="6851034"/>
                </a:cubicBezTo>
                <a:close/>
                <a:moveTo>
                  <a:pt x="2304198" y="6843047"/>
                </a:moveTo>
                <a:cubicBezTo>
                  <a:pt x="2308157" y="6844190"/>
                  <a:pt x="2311929" y="6844330"/>
                  <a:pt x="2316142" y="6844597"/>
                </a:cubicBezTo>
                <a:lnTo>
                  <a:pt x="2324693" y="6858826"/>
                </a:lnTo>
                <a:lnTo>
                  <a:pt x="2283437" y="6858826"/>
                </a:lnTo>
                <a:lnTo>
                  <a:pt x="2285697" y="6850994"/>
                </a:lnTo>
                <a:cubicBezTo>
                  <a:pt x="2288717" y="6850441"/>
                  <a:pt x="2290543" y="6849070"/>
                  <a:pt x="2292747" y="6846385"/>
                </a:cubicBezTo>
                <a:cubicBezTo>
                  <a:pt x="2295518" y="6843389"/>
                  <a:pt x="2300238" y="6841904"/>
                  <a:pt x="2304198" y="6843047"/>
                </a:cubicBezTo>
                <a:close/>
                <a:moveTo>
                  <a:pt x="10040397" y="6832230"/>
                </a:moveTo>
                <a:lnTo>
                  <a:pt x="10040877" y="6832253"/>
                </a:lnTo>
                <a:lnTo>
                  <a:pt x="10040570" y="6832540"/>
                </a:lnTo>
                <a:close/>
                <a:moveTo>
                  <a:pt x="3416775" y="6821238"/>
                </a:moveTo>
                <a:cubicBezTo>
                  <a:pt x="3421580" y="6822565"/>
                  <a:pt x="3426273" y="6825098"/>
                  <a:pt x="3431032" y="6825765"/>
                </a:cubicBezTo>
                <a:cubicBezTo>
                  <a:pt x="3435076" y="6826461"/>
                  <a:pt x="3443975" y="6826674"/>
                  <a:pt x="3444838" y="6830221"/>
                </a:cubicBezTo>
                <a:cubicBezTo>
                  <a:pt x="3447551" y="6840423"/>
                  <a:pt x="3462050" y="6840840"/>
                  <a:pt x="3461708" y="6853460"/>
                </a:cubicBezTo>
                <a:lnTo>
                  <a:pt x="3463367" y="6858826"/>
                </a:lnTo>
                <a:lnTo>
                  <a:pt x="3359962" y="6858826"/>
                </a:lnTo>
                <a:lnTo>
                  <a:pt x="3364190" y="6853101"/>
                </a:lnTo>
                <a:cubicBezTo>
                  <a:pt x="3364273" y="6844646"/>
                  <a:pt x="3368642" y="6839314"/>
                  <a:pt x="3375809" y="6835730"/>
                </a:cubicBezTo>
                <a:cubicBezTo>
                  <a:pt x="3378611" y="6834184"/>
                  <a:pt x="3381290" y="6833073"/>
                  <a:pt x="3383039" y="6830282"/>
                </a:cubicBezTo>
                <a:cubicBezTo>
                  <a:pt x="3385291" y="6825750"/>
                  <a:pt x="3388655" y="6823895"/>
                  <a:pt x="3393320" y="6825713"/>
                </a:cubicBezTo>
                <a:cubicBezTo>
                  <a:pt x="3396801" y="6826717"/>
                  <a:pt x="3400040" y="6825297"/>
                  <a:pt x="3401849" y="6823936"/>
                </a:cubicBezTo>
                <a:cubicBezTo>
                  <a:pt x="3407055" y="6819787"/>
                  <a:pt x="3411972" y="6819909"/>
                  <a:pt x="3416775" y="6821238"/>
                </a:cubicBezTo>
                <a:close/>
                <a:moveTo>
                  <a:pt x="3909535" y="6807860"/>
                </a:moveTo>
                <a:cubicBezTo>
                  <a:pt x="3911491" y="6805963"/>
                  <a:pt x="3917195" y="6809368"/>
                  <a:pt x="3920026" y="6810536"/>
                </a:cubicBezTo>
                <a:cubicBezTo>
                  <a:pt x="3926569" y="6813479"/>
                  <a:pt x="3935910" y="6811605"/>
                  <a:pt x="3939185" y="6820989"/>
                </a:cubicBezTo>
                <a:cubicBezTo>
                  <a:pt x="3939786" y="6822567"/>
                  <a:pt x="3941265" y="6824753"/>
                  <a:pt x="3943866" y="6825503"/>
                </a:cubicBezTo>
                <a:cubicBezTo>
                  <a:pt x="3947537" y="6826210"/>
                  <a:pt x="3948922" y="6828720"/>
                  <a:pt x="3948543" y="6832478"/>
                </a:cubicBezTo>
                <a:cubicBezTo>
                  <a:pt x="3948536" y="6834937"/>
                  <a:pt x="3949786" y="6836704"/>
                  <a:pt x="3950941" y="6838795"/>
                </a:cubicBezTo>
                <a:cubicBezTo>
                  <a:pt x="3954042" y="6843910"/>
                  <a:pt x="3954681" y="6849015"/>
                  <a:pt x="3951370" y="6854388"/>
                </a:cubicBezTo>
                <a:lnTo>
                  <a:pt x="3951700" y="6858826"/>
                </a:lnTo>
                <a:lnTo>
                  <a:pt x="3880011" y="6858826"/>
                </a:lnTo>
                <a:lnTo>
                  <a:pt x="3878219" y="6850501"/>
                </a:lnTo>
                <a:cubicBezTo>
                  <a:pt x="3878129" y="6848366"/>
                  <a:pt x="3879017" y="6846512"/>
                  <a:pt x="3877538" y="6844327"/>
                </a:cubicBezTo>
                <a:cubicBezTo>
                  <a:pt x="3876054" y="6842141"/>
                  <a:pt x="3876942" y="6840288"/>
                  <a:pt x="3878804" y="6838716"/>
                </a:cubicBezTo>
                <a:cubicBezTo>
                  <a:pt x="3879828" y="6837606"/>
                  <a:pt x="3881597" y="6836359"/>
                  <a:pt x="3880997" y="6834779"/>
                </a:cubicBezTo>
                <a:cubicBezTo>
                  <a:pt x="3878870" y="6829946"/>
                  <a:pt x="3879389" y="6826932"/>
                  <a:pt x="3885151" y="6826485"/>
                </a:cubicBezTo>
                <a:cubicBezTo>
                  <a:pt x="3886544" y="6826536"/>
                  <a:pt x="3887428" y="6824682"/>
                  <a:pt x="3886411" y="6823334"/>
                </a:cubicBezTo>
                <a:cubicBezTo>
                  <a:pt x="3883218" y="6818545"/>
                  <a:pt x="3888234" y="6818235"/>
                  <a:pt x="3889636" y="6815827"/>
                </a:cubicBezTo>
                <a:cubicBezTo>
                  <a:pt x="3894437" y="6807721"/>
                  <a:pt x="3903763" y="6813224"/>
                  <a:pt x="3909535" y="6807860"/>
                </a:cubicBezTo>
                <a:close/>
                <a:moveTo>
                  <a:pt x="4369730" y="6800208"/>
                </a:moveTo>
                <a:cubicBezTo>
                  <a:pt x="4371551" y="6798443"/>
                  <a:pt x="4376856" y="6801610"/>
                  <a:pt x="4379492" y="6802698"/>
                </a:cubicBezTo>
                <a:cubicBezTo>
                  <a:pt x="4385583" y="6805437"/>
                  <a:pt x="4394275" y="6803693"/>
                  <a:pt x="4397325" y="6812424"/>
                </a:cubicBezTo>
                <a:cubicBezTo>
                  <a:pt x="4397880" y="6813894"/>
                  <a:pt x="4399257" y="6815928"/>
                  <a:pt x="4401677" y="6816626"/>
                </a:cubicBezTo>
                <a:cubicBezTo>
                  <a:pt x="4405091" y="6817284"/>
                  <a:pt x="4406385" y="6819621"/>
                  <a:pt x="4406032" y="6823117"/>
                </a:cubicBezTo>
                <a:cubicBezTo>
                  <a:pt x="4406023" y="6825405"/>
                  <a:pt x="4407195" y="6827049"/>
                  <a:pt x="4408264" y="6828996"/>
                </a:cubicBezTo>
                <a:cubicBezTo>
                  <a:pt x="4411150" y="6833755"/>
                  <a:pt x="4411743" y="6838506"/>
                  <a:pt x="4408667" y="6843505"/>
                </a:cubicBezTo>
                <a:cubicBezTo>
                  <a:pt x="4406882" y="6846263"/>
                  <a:pt x="4406834" y="6849847"/>
                  <a:pt x="4409333" y="6852532"/>
                </a:cubicBezTo>
                <a:cubicBezTo>
                  <a:pt x="4408984" y="6853740"/>
                  <a:pt x="4408638" y="6854948"/>
                  <a:pt x="4408285" y="6856157"/>
                </a:cubicBezTo>
                <a:lnTo>
                  <a:pt x="4405824" y="6858826"/>
                </a:lnTo>
                <a:lnTo>
                  <a:pt x="4347776" y="6858826"/>
                </a:lnTo>
                <a:lnTo>
                  <a:pt x="4343663" y="6854189"/>
                </a:lnTo>
                <a:cubicBezTo>
                  <a:pt x="4340950" y="6851116"/>
                  <a:pt x="4340790" y="6844853"/>
                  <a:pt x="4340585" y="6839888"/>
                </a:cubicBezTo>
                <a:cubicBezTo>
                  <a:pt x="4340502" y="6837901"/>
                  <a:pt x="4341332" y="6836176"/>
                  <a:pt x="4339947" y="6834142"/>
                </a:cubicBezTo>
                <a:cubicBezTo>
                  <a:pt x="4338574" y="6832109"/>
                  <a:pt x="4339401" y="6830384"/>
                  <a:pt x="4341132" y="6828921"/>
                </a:cubicBezTo>
                <a:cubicBezTo>
                  <a:pt x="4342085" y="6827888"/>
                  <a:pt x="4343730" y="6826728"/>
                  <a:pt x="4343168" y="6825258"/>
                </a:cubicBezTo>
                <a:cubicBezTo>
                  <a:pt x="4341190" y="6820760"/>
                  <a:pt x="4341676" y="6817955"/>
                  <a:pt x="4347033" y="6817540"/>
                </a:cubicBezTo>
                <a:cubicBezTo>
                  <a:pt x="4348331" y="6817588"/>
                  <a:pt x="4349160" y="6815862"/>
                  <a:pt x="4348210" y="6814607"/>
                </a:cubicBezTo>
                <a:cubicBezTo>
                  <a:pt x="4345241" y="6810151"/>
                  <a:pt x="4349909" y="6809862"/>
                  <a:pt x="4351210" y="6807621"/>
                </a:cubicBezTo>
                <a:cubicBezTo>
                  <a:pt x="4355681" y="6800078"/>
                  <a:pt x="4364359" y="6805200"/>
                  <a:pt x="4369730" y="6800208"/>
                </a:cubicBezTo>
                <a:close/>
                <a:moveTo>
                  <a:pt x="2039497" y="6782355"/>
                </a:moveTo>
                <a:cubicBezTo>
                  <a:pt x="2041317" y="6780589"/>
                  <a:pt x="2046626" y="6783758"/>
                  <a:pt x="2049259" y="6784845"/>
                </a:cubicBezTo>
                <a:cubicBezTo>
                  <a:pt x="2055349" y="6787584"/>
                  <a:pt x="2064041" y="6785840"/>
                  <a:pt x="2067089" y="6794572"/>
                </a:cubicBezTo>
                <a:cubicBezTo>
                  <a:pt x="2067648" y="6796041"/>
                  <a:pt x="2069027" y="6798075"/>
                  <a:pt x="2071445" y="6798774"/>
                </a:cubicBezTo>
                <a:cubicBezTo>
                  <a:pt x="2074859" y="6799431"/>
                  <a:pt x="2076150" y="6801768"/>
                  <a:pt x="2075797" y="6805263"/>
                </a:cubicBezTo>
                <a:cubicBezTo>
                  <a:pt x="2075791" y="6807552"/>
                  <a:pt x="2076955" y="6809196"/>
                  <a:pt x="2078030" y="6811143"/>
                </a:cubicBezTo>
                <a:cubicBezTo>
                  <a:pt x="2080915" y="6815902"/>
                  <a:pt x="2081509" y="6820653"/>
                  <a:pt x="2078428" y="6825652"/>
                </a:cubicBezTo>
                <a:cubicBezTo>
                  <a:pt x="2076649" y="6828411"/>
                  <a:pt x="2076598" y="6831994"/>
                  <a:pt x="2079098" y="6834680"/>
                </a:cubicBezTo>
                <a:cubicBezTo>
                  <a:pt x="2078750" y="6835888"/>
                  <a:pt x="2078401" y="6837096"/>
                  <a:pt x="2078053" y="6838303"/>
                </a:cubicBezTo>
                <a:cubicBezTo>
                  <a:pt x="2074896" y="6839027"/>
                  <a:pt x="2073163" y="6840490"/>
                  <a:pt x="2072332" y="6844504"/>
                </a:cubicBezTo>
                <a:cubicBezTo>
                  <a:pt x="2071066" y="6850026"/>
                  <a:pt x="2067426" y="6853556"/>
                  <a:pt x="2061029" y="6853018"/>
                </a:cubicBezTo>
                <a:cubicBezTo>
                  <a:pt x="2058221" y="6852535"/>
                  <a:pt x="2058215" y="6854824"/>
                  <a:pt x="2057692" y="6856636"/>
                </a:cubicBezTo>
                <a:cubicBezTo>
                  <a:pt x="2056820" y="6859656"/>
                  <a:pt x="2055437" y="6859911"/>
                  <a:pt x="2053628" y="6857099"/>
                </a:cubicBezTo>
                <a:cubicBezTo>
                  <a:pt x="2050872" y="6853031"/>
                  <a:pt x="2048452" y="6852333"/>
                  <a:pt x="2046063" y="6857205"/>
                </a:cubicBezTo>
                <a:cubicBezTo>
                  <a:pt x="2045413" y="6858326"/>
                  <a:pt x="2044070" y="6859574"/>
                  <a:pt x="2043295" y="6857715"/>
                </a:cubicBezTo>
                <a:cubicBezTo>
                  <a:pt x="2040498" y="6852654"/>
                  <a:pt x="2037080" y="6854285"/>
                  <a:pt x="2033270" y="6856130"/>
                </a:cubicBezTo>
                <a:cubicBezTo>
                  <a:pt x="2032794" y="6856646"/>
                  <a:pt x="2031584" y="6856298"/>
                  <a:pt x="2030979" y="6856123"/>
                </a:cubicBezTo>
                <a:cubicBezTo>
                  <a:pt x="2024943" y="6849800"/>
                  <a:pt x="2019382" y="6842962"/>
                  <a:pt x="2013433" y="6836337"/>
                </a:cubicBezTo>
                <a:cubicBezTo>
                  <a:pt x="2010716" y="6833262"/>
                  <a:pt x="2010559" y="6827001"/>
                  <a:pt x="2010354" y="6822035"/>
                </a:cubicBezTo>
                <a:cubicBezTo>
                  <a:pt x="2010273" y="6820048"/>
                  <a:pt x="2011098" y="6818323"/>
                  <a:pt x="2009720" y="6816290"/>
                </a:cubicBezTo>
                <a:cubicBezTo>
                  <a:pt x="2008341" y="6814257"/>
                  <a:pt x="2009166" y="6812531"/>
                  <a:pt x="2010899" y="6811068"/>
                </a:cubicBezTo>
                <a:cubicBezTo>
                  <a:pt x="2011851" y="6810035"/>
                  <a:pt x="2013498" y="6808874"/>
                  <a:pt x="2012939" y="6807404"/>
                </a:cubicBezTo>
                <a:cubicBezTo>
                  <a:pt x="2010961" y="6802908"/>
                  <a:pt x="2011444" y="6800102"/>
                  <a:pt x="2016805" y="6799686"/>
                </a:cubicBezTo>
                <a:cubicBezTo>
                  <a:pt x="2018101" y="6799734"/>
                  <a:pt x="2018927" y="6798009"/>
                  <a:pt x="2017979" y="6796754"/>
                </a:cubicBezTo>
                <a:cubicBezTo>
                  <a:pt x="2015007" y="6792298"/>
                  <a:pt x="2019675" y="6792010"/>
                  <a:pt x="2020977" y="6789769"/>
                </a:cubicBezTo>
                <a:cubicBezTo>
                  <a:pt x="2025448" y="6782225"/>
                  <a:pt x="2034125" y="6787347"/>
                  <a:pt x="2039497" y="6782355"/>
                </a:cubicBezTo>
                <a:close/>
                <a:moveTo>
                  <a:pt x="1708847" y="6763268"/>
                </a:moveTo>
                <a:cubicBezTo>
                  <a:pt x="1710055" y="6762766"/>
                  <a:pt x="1711204" y="6763948"/>
                  <a:pt x="1711763" y="6764960"/>
                </a:cubicBezTo>
                <a:cubicBezTo>
                  <a:pt x="1712321" y="6765972"/>
                  <a:pt x="1712684" y="6766927"/>
                  <a:pt x="1712989" y="6768078"/>
                </a:cubicBezTo>
                <a:cubicBezTo>
                  <a:pt x="1713771" y="6769793"/>
                  <a:pt x="1714836" y="6770525"/>
                  <a:pt x="1716747" y="6769800"/>
                </a:cubicBezTo>
                <a:cubicBezTo>
                  <a:pt x="1721214" y="6768326"/>
                  <a:pt x="1725451" y="6769124"/>
                  <a:pt x="1729632" y="6770117"/>
                </a:cubicBezTo>
                <a:cubicBezTo>
                  <a:pt x="1734654" y="6771142"/>
                  <a:pt x="1739589" y="6773204"/>
                  <a:pt x="1744838" y="6773444"/>
                </a:cubicBezTo>
                <a:cubicBezTo>
                  <a:pt x="1746719" y="6773562"/>
                  <a:pt x="1747360" y="6775022"/>
                  <a:pt x="1747863" y="6776230"/>
                </a:cubicBezTo>
                <a:cubicBezTo>
                  <a:pt x="1749706" y="6780164"/>
                  <a:pt x="1751352" y="6784041"/>
                  <a:pt x="1756714" y="6783888"/>
                </a:cubicBezTo>
                <a:cubicBezTo>
                  <a:pt x="1757753" y="6783975"/>
                  <a:pt x="1758115" y="6784930"/>
                  <a:pt x="1758282" y="6785828"/>
                </a:cubicBezTo>
                <a:cubicBezTo>
                  <a:pt x="1759309" y="6790378"/>
                  <a:pt x="1761937" y="6794537"/>
                  <a:pt x="1763920" y="6798725"/>
                </a:cubicBezTo>
                <a:cubicBezTo>
                  <a:pt x="1766962" y="6805131"/>
                  <a:pt x="1767872" y="6811559"/>
                  <a:pt x="1764123" y="6817918"/>
                </a:cubicBezTo>
                <a:cubicBezTo>
                  <a:pt x="1762740" y="6820495"/>
                  <a:pt x="1763801" y="6822716"/>
                  <a:pt x="1764919" y="6824739"/>
                </a:cubicBezTo>
                <a:cubicBezTo>
                  <a:pt x="1767377" y="6829489"/>
                  <a:pt x="1766614" y="6831394"/>
                  <a:pt x="1761837" y="6833204"/>
                </a:cubicBezTo>
                <a:cubicBezTo>
                  <a:pt x="1756668" y="6834902"/>
                  <a:pt x="1756668" y="6834902"/>
                  <a:pt x="1758957" y="6840240"/>
                </a:cubicBezTo>
                <a:cubicBezTo>
                  <a:pt x="1759458" y="6841448"/>
                  <a:pt x="1759821" y="6842403"/>
                  <a:pt x="1758302" y="6843240"/>
                </a:cubicBezTo>
                <a:cubicBezTo>
                  <a:pt x="1753072" y="6846621"/>
                  <a:pt x="1748235" y="6850115"/>
                  <a:pt x="1742865" y="6853242"/>
                </a:cubicBezTo>
                <a:cubicBezTo>
                  <a:pt x="1738957" y="6855728"/>
                  <a:pt x="1734603" y="6856810"/>
                  <a:pt x="1729999" y="6856545"/>
                </a:cubicBezTo>
                <a:lnTo>
                  <a:pt x="1725317" y="6858826"/>
                </a:lnTo>
                <a:lnTo>
                  <a:pt x="1644996" y="6858826"/>
                </a:lnTo>
                <a:lnTo>
                  <a:pt x="1648119" y="6853535"/>
                </a:lnTo>
                <a:cubicBezTo>
                  <a:pt x="1648154" y="6851205"/>
                  <a:pt x="1650597" y="6850848"/>
                  <a:pt x="1652084" y="6850852"/>
                </a:cubicBezTo>
                <a:cubicBezTo>
                  <a:pt x="1657699" y="6850560"/>
                  <a:pt x="1661019" y="6847903"/>
                  <a:pt x="1663081" y="6842970"/>
                </a:cubicBezTo>
                <a:cubicBezTo>
                  <a:pt x="1664381" y="6839944"/>
                  <a:pt x="1665729" y="6839695"/>
                  <a:pt x="1668305" y="6842565"/>
                </a:cubicBezTo>
                <a:cubicBezTo>
                  <a:pt x="1673791" y="6848613"/>
                  <a:pt x="1684458" y="6848503"/>
                  <a:pt x="1689386" y="6842484"/>
                </a:cubicBezTo>
                <a:cubicBezTo>
                  <a:pt x="1690372" y="6841280"/>
                  <a:pt x="1691668" y="6839740"/>
                  <a:pt x="1690633" y="6838166"/>
                </a:cubicBezTo>
                <a:cubicBezTo>
                  <a:pt x="1689598" y="6836592"/>
                  <a:pt x="1687804" y="6835437"/>
                  <a:pt x="1685697" y="6836104"/>
                </a:cubicBezTo>
                <a:cubicBezTo>
                  <a:pt x="1684349" y="6836352"/>
                  <a:pt x="1682888" y="6836994"/>
                  <a:pt x="1681482" y="6837439"/>
                </a:cubicBezTo>
                <a:cubicBezTo>
                  <a:pt x="1680022" y="6838080"/>
                  <a:pt x="1678674" y="6838329"/>
                  <a:pt x="1678031" y="6836868"/>
                </a:cubicBezTo>
                <a:cubicBezTo>
                  <a:pt x="1677250" y="6835154"/>
                  <a:pt x="1678375" y="6834203"/>
                  <a:pt x="1679640" y="6833505"/>
                </a:cubicBezTo>
                <a:cubicBezTo>
                  <a:pt x="1680709" y="6832750"/>
                  <a:pt x="1682113" y="6832306"/>
                  <a:pt x="1683125" y="6831746"/>
                </a:cubicBezTo>
                <a:cubicBezTo>
                  <a:pt x="1685403" y="6830490"/>
                  <a:pt x="1687064" y="6828419"/>
                  <a:pt x="1685863" y="6825946"/>
                </a:cubicBezTo>
                <a:cubicBezTo>
                  <a:pt x="1684746" y="6823922"/>
                  <a:pt x="1682133" y="6824869"/>
                  <a:pt x="1680222" y="6825593"/>
                </a:cubicBezTo>
                <a:cubicBezTo>
                  <a:pt x="1678564" y="6826177"/>
                  <a:pt x="1677073" y="6827661"/>
                  <a:pt x="1675135" y="6827740"/>
                </a:cubicBezTo>
                <a:cubicBezTo>
                  <a:pt x="1672299" y="6827985"/>
                  <a:pt x="1670842" y="6827138"/>
                  <a:pt x="1671944" y="6824055"/>
                </a:cubicBezTo>
                <a:cubicBezTo>
                  <a:pt x="1673387" y="6819794"/>
                  <a:pt x="1676174" y="6816770"/>
                  <a:pt x="1679493" y="6814115"/>
                </a:cubicBezTo>
                <a:cubicBezTo>
                  <a:pt x="1683685" y="6810646"/>
                  <a:pt x="1684561" y="6808348"/>
                  <a:pt x="1682609" y="6803321"/>
                </a:cubicBezTo>
                <a:cubicBezTo>
                  <a:pt x="1682080" y="6801467"/>
                  <a:pt x="1680906" y="6799639"/>
                  <a:pt x="1679928" y="6797869"/>
                </a:cubicBezTo>
                <a:cubicBezTo>
                  <a:pt x="1679509" y="6797109"/>
                  <a:pt x="1678697" y="6796237"/>
                  <a:pt x="1679374" y="6795370"/>
                </a:cubicBezTo>
                <a:cubicBezTo>
                  <a:pt x="1680105" y="6794305"/>
                  <a:pt x="1681144" y="6794393"/>
                  <a:pt x="1681873" y="6794816"/>
                </a:cubicBezTo>
                <a:cubicBezTo>
                  <a:pt x="1685180" y="6796621"/>
                  <a:pt x="1686419" y="6795278"/>
                  <a:pt x="1687129" y="6792080"/>
                </a:cubicBezTo>
                <a:cubicBezTo>
                  <a:pt x="1688066" y="6788099"/>
                  <a:pt x="1691412" y="6786087"/>
                  <a:pt x="1694784" y="6784722"/>
                </a:cubicBezTo>
                <a:cubicBezTo>
                  <a:pt x="1697454" y="6783580"/>
                  <a:pt x="1698047" y="6782262"/>
                  <a:pt x="1696340" y="6780069"/>
                </a:cubicBezTo>
                <a:cubicBezTo>
                  <a:pt x="1695389" y="6778944"/>
                  <a:pt x="1694830" y="6777932"/>
                  <a:pt x="1695675" y="6776475"/>
                </a:cubicBezTo>
                <a:cubicBezTo>
                  <a:pt x="1696691" y="6774430"/>
                  <a:pt x="1698149" y="6775276"/>
                  <a:pt x="1699636" y="6775279"/>
                </a:cubicBezTo>
                <a:cubicBezTo>
                  <a:pt x="1700479" y="6775310"/>
                  <a:pt x="1701460" y="6775594"/>
                  <a:pt x="1702499" y="6775680"/>
                </a:cubicBezTo>
                <a:cubicBezTo>
                  <a:pt x="1707971" y="6776622"/>
                  <a:pt x="1709998" y="6774018"/>
                  <a:pt x="1708160" y="6768598"/>
                </a:cubicBezTo>
                <a:cubicBezTo>
                  <a:pt x="1707937" y="6767895"/>
                  <a:pt x="1707658" y="6767390"/>
                  <a:pt x="1707631" y="6766744"/>
                </a:cubicBezTo>
                <a:cubicBezTo>
                  <a:pt x="1707382" y="6765396"/>
                  <a:pt x="1707443" y="6763713"/>
                  <a:pt x="1708847" y="6763268"/>
                </a:cubicBezTo>
                <a:close/>
                <a:moveTo>
                  <a:pt x="1064333" y="6755281"/>
                </a:moveTo>
                <a:cubicBezTo>
                  <a:pt x="1068292" y="6756424"/>
                  <a:pt x="1072065" y="6756564"/>
                  <a:pt x="1076277" y="6756831"/>
                </a:cubicBezTo>
                <a:cubicBezTo>
                  <a:pt x="1081365" y="6760671"/>
                  <a:pt x="1085759" y="6765262"/>
                  <a:pt x="1085936" y="6772905"/>
                </a:cubicBezTo>
                <a:cubicBezTo>
                  <a:pt x="1085997" y="6774346"/>
                  <a:pt x="1088384" y="6775983"/>
                  <a:pt x="1087186" y="6778485"/>
                </a:cubicBezTo>
                <a:cubicBezTo>
                  <a:pt x="1083843" y="6785111"/>
                  <a:pt x="1088491" y="6788825"/>
                  <a:pt x="1092511" y="6791408"/>
                </a:cubicBezTo>
                <a:cubicBezTo>
                  <a:pt x="1095338" y="6793173"/>
                  <a:pt x="1096718" y="6794995"/>
                  <a:pt x="1097972" y="6797256"/>
                </a:cubicBezTo>
                <a:cubicBezTo>
                  <a:pt x="1101861" y="6803597"/>
                  <a:pt x="1099525" y="6810039"/>
                  <a:pt x="1099075" y="6816552"/>
                </a:cubicBezTo>
                <a:cubicBezTo>
                  <a:pt x="1098311" y="6822500"/>
                  <a:pt x="1094408" y="6826119"/>
                  <a:pt x="1090816" y="6830301"/>
                </a:cubicBezTo>
                <a:cubicBezTo>
                  <a:pt x="1087100" y="6834922"/>
                  <a:pt x="1082317" y="6838286"/>
                  <a:pt x="1075717" y="6836381"/>
                </a:cubicBezTo>
                <a:cubicBezTo>
                  <a:pt x="1074837" y="6836127"/>
                  <a:pt x="1074270" y="6836438"/>
                  <a:pt x="1073892" y="6837752"/>
                </a:cubicBezTo>
                <a:cubicBezTo>
                  <a:pt x="1070811" y="6836864"/>
                  <a:pt x="1068172" y="6836101"/>
                  <a:pt x="1065092" y="6835212"/>
                </a:cubicBezTo>
                <a:cubicBezTo>
                  <a:pt x="1063778" y="6831511"/>
                  <a:pt x="1059251" y="6830680"/>
                  <a:pt x="1056804" y="6827600"/>
                </a:cubicBezTo>
                <a:cubicBezTo>
                  <a:pt x="1054356" y="6824522"/>
                  <a:pt x="1052223" y="6822009"/>
                  <a:pt x="1052480" y="6817812"/>
                </a:cubicBezTo>
                <a:cubicBezTo>
                  <a:pt x="1053305" y="6813306"/>
                  <a:pt x="1052243" y="6808729"/>
                  <a:pt x="1051054" y="6804590"/>
                </a:cubicBezTo>
                <a:cubicBezTo>
                  <a:pt x="1049992" y="6800013"/>
                  <a:pt x="1049370" y="6795563"/>
                  <a:pt x="1048182" y="6791424"/>
                </a:cubicBezTo>
                <a:cubicBezTo>
                  <a:pt x="1047559" y="6786974"/>
                  <a:pt x="1045051" y="6782455"/>
                  <a:pt x="1041283" y="6778995"/>
                </a:cubicBezTo>
                <a:cubicBezTo>
                  <a:pt x="1042800" y="6773739"/>
                  <a:pt x="1044317" y="6768483"/>
                  <a:pt x="1045834" y="6763227"/>
                </a:cubicBezTo>
                <a:cubicBezTo>
                  <a:pt x="1048854" y="6762675"/>
                  <a:pt x="1050679" y="6761304"/>
                  <a:pt x="1052883" y="6758619"/>
                </a:cubicBezTo>
                <a:cubicBezTo>
                  <a:pt x="1055656" y="6755623"/>
                  <a:pt x="1060373" y="6754139"/>
                  <a:pt x="1064333" y="6755281"/>
                </a:cubicBezTo>
                <a:close/>
                <a:moveTo>
                  <a:pt x="2176920" y="6733472"/>
                </a:moveTo>
                <a:cubicBezTo>
                  <a:pt x="2181723" y="6734800"/>
                  <a:pt x="2186417" y="6737332"/>
                  <a:pt x="2191176" y="6737998"/>
                </a:cubicBezTo>
                <a:cubicBezTo>
                  <a:pt x="2195219" y="6738695"/>
                  <a:pt x="2204118" y="6738908"/>
                  <a:pt x="2204981" y="6742454"/>
                </a:cubicBezTo>
                <a:cubicBezTo>
                  <a:pt x="2207696" y="6752658"/>
                  <a:pt x="2222195" y="6753075"/>
                  <a:pt x="2221854" y="6765694"/>
                </a:cubicBezTo>
                <a:cubicBezTo>
                  <a:pt x="2221721" y="6769423"/>
                  <a:pt x="2227189" y="6773357"/>
                  <a:pt x="2220149" y="6776505"/>
                </a:cubicBezTo>
                <a:cubicBezTo>
                  <a:pt x="2218030" y="6777306"/>
                  <a:pt x="2217714" y="6780041"/>
                  <a:pt x="2219329" y="6780979"/>
                </a:cubicBezTo>
                <a:cubicBezTo>
                  <a:pt x="2225541" y="6785598"/>
                  <a:pt x="2223977" y="6789385"/>
                  <a:pt x="2218118" y="6793346"/>
                </a:cubicBezTo>
                <a:cubicBezTo>
                  <a:pt x="2216309" y="6794708"/>
                  <a:pt x="2217423" y="6797385"/>
                  <a:pt x="2217792" y="6799375"/>
                </a:cubicBezTo>
                <a:cubicBezTo>
                  <a:pt x="2218781" y="6802486"/>
                  <a:pt x="2218463" y="6805220"/>
                  <a:pt x="2215224" y="6806640"/>
                </a:cubicBezTo>
                <a:cubicBezTo>
                  <a:pt x="2211984" y="6808060"/>
                  <a:pt x="2211666" y="6810795"/>
                  <a:pt x="2210043" y="6813152"/>
                </a:cubicBezTo>
                <a:cubicBezTo>
                  <a:pt x="2205984" y="6819046"/>
                  <a:pt x="2200988" y="6826552"/>
                  <a:pt x="2195319" y="6828214"/>
                </a:cubicBezTo>
                <a:cubicBezTo>
                  <a:pt x="2182987" y="6831720"/>
                  <a:pt x="2170967" y="6835786"/>
                  <a:pt x="2158762" y="6838858"/>
                </a:cubicBezTo>
                <a:cubicBezTo>
                  <a:pt x="2157892" y="6838606"/>
                  <a:pt x="2156151" y="6838104"/>
                  <a:pt x="2155967" y="6837108"/>
                </a:cubicBezTo>
                <a:cubicBezTo>
                  <a:pt x="2152744" y="6831939"/>
                  <a:pt x="2149827" y="6827330"/>
                  <a:pt x="2142538" y="6831348"/>
                </a:cubicBezTo>
                <a:cubicBezTo>
                  <a:pt x="2140169" y="6833020"/>
                  <a:pt x="2139491" y="6830468"/>
                  <a:pt x="2139556" y="6828604"/>
                </a:cubicBezTo>
                <a:cubicBezTo>
                  <a:pt x="2140383" y="6820835"/>
                  <a:pt x="2136901" y="6819830"/>
                  <a:pt x="2130423" y="6822670"/>
                </a:cubicBezTo>
                <a:cubicBezTo>
                  <a:pt x="2126060" y="6824709"/>
                  <a:pt x="2124571" y="6823336"/>
                  <a:pt x="2125826" y="6818989"/>
                </a:cubicBezTo>
                <a:cubicBezTo>
                  <a:pt x="2126579" y="6816380"/>
                  <a:pt x="2128328" y="6813587"/>
                  <a:pt x="2124535" y="6812023"/>
                </a:cubicBezTo>
                <a:cubicBezTo>
                  <a:pt x="2116331" y="6807771"/>
                  <a:pt x="2114604" y="6800677"/>
                  <a:pt x="2117298" y="6792978"/>
                </a:cubicBezTo>
                <a:cubicBezTo>
                  <a:pt x="2119365" y="6787451"/>
                  <a:pt x="2118377" y="6784340"/>
                  <a:pt x="2115086" y="6781035"/>
                </a:cubicBezTo>
                <a:cubicBezTo>
                  <a:pt x="2115589" y="6779296"/>
                  <a:pt x="2116090" y="6777557"/>
                  <a:pt x="2116592" y="6775817"/>
                </a:cubicBezTo>
                <a:cubicBezTo>
                  <a:pt x="2121699" y="6774466"/>
                  <a:pt x="2124384" y="6770060"/>
                  <a:pt x="2124334" y="6765335"/>
                </a:cubicBezTo>
                <a:cubicBezTo>
                  <a:pt x="2124416" y="6756880"/>
                  <a:pt x="2128784" y="6751548"/>
                  <a:pt x="2135951" y="6747964"/>
                </a:cubicBezTo>
                <a:cubicBezTo>
                  <a:pt x="2138755" y="6746418"/>
                  <a:pt x="2141435" y="6745307"/>
                  <a:pt x="2143183" y="6742515"/>
                </a:cubicBezTo>
                <a:cubicBezTo>
                  <a:pt x="2145434" y="6737984"/>
                  <a:pt x="2148799" y="6736129"/>
                  <a:pt x="2153461" y="6737947"/>
                </a:cubicBezTo>
                <a:cubicBezTo>
                  <a:pt x="2156945" y="6738951"/>
                  <a:pt x="2160185" y="6737532"/>
                  <a:pt x="2161993" y="6736169"/>
                </a:cubicBezTo>
                <a:cubicBezTo>
                  <a:pt x="2167198" y="6732020"/>
                  <a:pt x="2172115" y="6732144"/>
                  <a:pt x="2176920" y="6733472"/>
                </a:cubicBezTo>
                <a:close/>
                <a:moveTo>
                  <a:pt x="10141215" y="6731520"/>
                </a:moveTo>
                <a:cubicBezTo>
                  <a:pt x="10142424" y="6731018"/>
                  <a:pt x="10143572" y="6732200"/>
                  <a:pt x="10144130" y="6733212"/>
                </a:cubicBezTo>
                <a:cubicBezTo>
                  <a:pt x="10144689" y="6734224"/>
                  <a:pt x="10145051" y="6735179"/>
                  <a:pt x="10145358" y="6736330"/>
                </a:cubicBezTo>
                <a:cubicBezTo>
                  <a:pt x="10146139" y="6738045"/>
                  <a:pt x="10147203" y="6738777"/>
                  <a:pt x="10149115" y="6738053"/>
                </a:cubicBezTo>
                <a:cubicBezTo>
                  <a:pt x="10153583" y="6736578"/>
                  <a:pt x="10157819" y="6737376"/>
                  <a:pt x="10161999" y="6738369"/>
                </a:cubicBezTo>
                <a:cubicBezTo>
                  <a:pt x="10167021" y="6739394"/>
                  <a:pt x="10171957" y="6741456"/>
                  <a:pt x="10177206" y="6741696"/>
                </a:cubicBezTo>
                <a:cubicBezTo>
                  <a:pt x="10179086" y="6741814"/>
                  <a:pt x="10179728" y="6743274"/>
                  <a:pt x="10180230" y="6744483"/>
                </a:cubicBezTo>
                <a:cubicBezTo>
                  <a:pt x="10182073" y="6748416"/>
                  <a:pt x="10183719" y="6752293"/>
                  <a:pt x="10189082" y="6752140"/>
                </a:cubicBezTo>
                <a:cubicBezTo>
                  <a:pt x="10190121" y="6752227"/>
                  <a:pt x="10190482" y="6753182"/>
                  <a:pt x="10190650" y="6754080"/>
                </a:cubicBezTo>
                <a:cubicBezTo>
                  <a:pt x="10191677" y="6758630"/>
                  <a:pt x="10194304" y="6762789"/>
                  <a:pt x="10196287" y="6766977"/>
                </a:cubicBezTo>
                <a:cubicBezTo>
                  <a:pt x="10199331" y="6773383"/>
                  <a:pt x="10200240" y="6779810"/>
                  <a:pt x="10196490" y="6786170"/>
                </a:cubicBezTo>
                <a:cubicBezTo>
                  <a:pt x="10195109" y="6788747"/>
                  <a:pt x="10196170" y="6790968"/>
                  <a:pt x="10197286" y="6792991"/>
                </a:cubicBezTo>
                <a:cubicBezTo>
                  <a:pt x="10199746" y="6797741"/>
                  <a:pt x="10198982" y="6799647"/>
                  <a:pt x="10194205" y="6801456"/>
                </a:cubicBezTo>
                <a:cubicBezTo>
                  <a:pt x="10189035" y="6803154"/>
                  <a:pt x="10189035" y="6803154"/>
                  <a:pt x="10191324" y="6808492"/>
                </a:cubicBezTo>
                <a:cubicBezTo>
                  <a:pt x="10191826" y="6809700"/>
                  <a:pt x="10192188" y="6810655"/>
                  <a:pt x="10190671" y="6811492"/>
                </a:cubicBezTo>
                <a:cubicBezTo>
                  <a:pt x="10185440" y="6814873"/>
                  <a:pt x="10180602" y="6818367"/>
                  <a:pt x="10175233" y="6821495"/>
                </a:cubicBezTo>
                <a:cubicBezTo>
                  <a:pt x="10171324" y="6823980"/>
                  <a:pt x="10166970" y="6825062"/>
                  <a:pt x="10162367" y="6824797"/>
                </a:cubicBezTo>
                <a:cubicBezTo>
                  <a:pt x="10159392" y="6824788"/>
                  <a:pt x="10152050" y="6830323"/>
                  <a:pt x="10151004" y="6833211"/>
                </a:cubicBezTo>
                <a:cubicBezTo>
                  <a:pt x="10150721" y="6834192"/>
                  <a:pt x="10150494" y="6834978"/>
                  <a:pt x="10151560" y="6835709"/>
                </a:cubicBezTo>
                <a:cubicBezTo>
                  <a:pt x="10156854" y="6840214"/>
                  <a:pt x="10158269" y="6846364"/>
                  <a:pt x="10159180" y="6852792"/>
                </a:cubicBezTo>
                <a:cubicBezTo>
                  <a:pt x="10159429" y="6854140"/>
                  <a:pt x="10159539" y="6855235"/>
                  <a:pt x="10159843" y="6856386"/>
                </a:cubicBezTo>
                <a:lnTo>
                  <a:pt x="10159543" y="6858826"/>
                </a:lnTo>
                <a:lnTo>
                  <a:pt x="10063020" y="6858826"/>
                </a:lnTo>
                <a:lnTo>
                  <a:pt x="10061824" y="6852544"/>
                </a:lnTo>
                <a:cubicBezTo>
                  <a:pt x="10061012" y="6851672"/>
                  <a:pt x="10058795" y="6851245"/>
                  <a:pt x="10059699" y="6849592"/>
                </a:cubicBezTo>
                <a:cubicBezTo>
                  <a:pt x="10060404" y="6847882"/>
                  <a:pt x="10062284" y="6848000"/>
                  <a:pt x="10064108" y="6848314"/>
                </a:cubicBezTo>
                <a:cubicBezTo>
                  <a:pt x="10064305" y="6848370"/>
                  <a:pt x="10064501" y="6848427"/>
                  <a:pt x="10064697" y="6848483"/>
                </a:cubicBezTo>
                <a:cubicBezTo>
                  <a:pt x="10069637" y="6849059"/>
                  <a:pt x="10071635" y="6847297"/>
                  <a:pt x="10070355" y="6842888"/>
                </a:cubicBezTo>
                <a:cubicBezTo>
                  <a:pt x="10069214" y="6838732"/>
                  <a:pt x="10070596" y="6836154"/>
                  <a:pt x="10073411" y="6833777"/>
                </a:cubicBezTo>
                <a:cubicBezTo>
                  <a:pt x="10077095" y="6830588"/>
                  <a:pt x="10080249" y="6827034"/>
                  <a:pt x="10080487" y="6821787"/>
                </a:cubicBezTo>
                <a:cubicBezTo>
                  <a:pt x="10080521" y="6819457"/>
                  <a:pt x="10082965" y="6819100"/>
                  <a:pt x="10084453" y="6819104"/>
                </a:cubicBezTo>
                <a:cubicBezTo>
                  <a:pt x="10090068" y="6818812"/>
                  <a:pt x="10093387" y="6816155"/>
                  <a:pt x="10095448" y="6811222"/>
                </a:cubicBezTo>
                <a:cubicBezTo>
                  <a:pt x="10096747" y="6808196"/>
                  <a:pt x="10098096" y="6807947"/>
                  <a:pt x="10100672" y="6810817"/>
                </a:cubicBezTo>
                <a:cubicBezTo>
                  <a:pt x="10106157" y="6816865"/>
                  <a:pt x="10116826" y="6816755"/>
                  <a:pt x="10121754" y="6810736"/>
                </a:cubicBezTo>
                <a:cubicBezTo>
                  <a:pt x="10122739" y="6809532"/>
                  <a:pt x="10124035" y="6807992"/>
                  <a:pt x="10123001" y="6806418"/>
                </a:cubicBezTo>
                <a:cubicBezTo>
                  <a:pt x="10121965" y="6804844"/>
                  <a:pt x="10120172" y="6803689"/>
                  <a:pt x="10118064" y="6804356"/>
                </a:cubicBezTo>
                <a:cubicBezTo>
                  <a:pt x="10116717" y="6804604"/>
                  <a:pt x="10115256" y="6805246"/>
                  <a:pt x="10113851" y="6805691"/>
                </a:cubicBezTo>
                <a:cubicBezTo>
                  <a:pt x="10112390" y="6806332"/>
                  <a:pt x="10111040" y="6806581"/>
                  <a:pt x="10110398" y="6805120"/>
                </a:cubicBezTo>
                <a:cubicBezTo>
                  <a:pt x="10109617" y="6803406"/>
                  <a:pt x="10110742" y="6802455"/>
                  <a:pt x="10112007" y="6801757"/>
                </a:cubicBezTo>
                <a:cubicBezTo>
                  <a:pt x="10113076" y="6801002"/>
                  <a:pt x="10114481" y="6800558"/>
                  <a:pt x="10115493" y="6799998"/>
                </a:cubicBezTo>
                <a:cubicBezTo>
                  <a:pt x="10117770" y="6798742"/>
                  <a:pt x="10119433" y="6796671"/>
                  <a:pt x="10118231" y="6794198"/>
                </a:cubicBezTo>
                <a:cubicBezTo>
                  <a:pt x="10117114" y="6792174"/>
                  <a:pt x="10114500" y="6793121"/>
                  <a:pt x="10112589" y="6793845"/>
                </a:cubicBezTo>
                <a:cubicBezTo>
                  <a:pt x="10110931" y="6794429"/>
                  <a:pt x="10109440" y="6795913"/>
                  <a:pt x="10107503" y="6795992"/>
                </a:cubicBezTo>
                <a:cubicBezTo>
                  <a:pt x="10104666" y="6796237"/>
                  <a:pt x="10103209" y="6795390"/>
                  <a:pt x="10104313" y="6792307"/>
                </a:cubicBezTo>
                <a:cubicBezTo>
                  <a:pt x="10105754" y="6788046"/>
                  <a:pt x="10108542" y="6785022"/>
                  <a:pt x="10111861" y="6782367"/>
                </a:cubicBezTo>
                <a:cubicBezTo>
                  <a:pt x="10116052" y="6778899"/>
                  <a:pt x="10116929" y="6776600"/>
                  <a:pt x="10114976" y="6771572"/>
                </a:cubicBezTo>
                <a:cubicBezTo>
                  <a:pt x="10114448" y="6769719"/>
                  <a:pt x="10113273" y="6767891"/>
                  <a:pt x="10112295" y="6766121"/>
                </a:cubicBezTo>
                <a:cubicBezTo>
                  <a:pt x="10111876" y="6765361"/>
                  <a:pt x="10111064" y="6764489"/>
                  <a:pt x="10111740" y="6763622"/>
                </a:cubicBezTo>
                <a:cubicBezTo>
                  <a:pt x="10112474" y="6762558"/>
                  <a:pt x="10113511" y="6762645"/>
                  <a:pt x="10114240" y="6763068"/>
                </a:cubicBezTo>
                <a:cubicBezTo>
                  <a:pt x="10117549" y="6764873"/>
                  <a:pt x="10118787" y="6763530"/>
                  <a:pt x="10119497" y="6760332"/>
                </a:cubicBezTo>
                <a:cubicBezTo>
                  <a:pt x="10120434" y="6756351"/>
                  <a:pt x="10123780" y="6754339"/>
                  <a:pt x="10127152" y="6752975"/>
                </a:cubicBezTo>
                <a:cubicBezTo>
                  <a:pt x="10129822" y="6751832"/>
                  <a:pt x="10130415" y="6750514"/>
                  <a:pt x="10128707" y="6748321"/>
                </a:cubicBezTo>
                <a:cubicBezTo>
                  <a:pt x="10127756" y="6747196"/>
                  <a:pt x="10127198" y="6746184"/>
                  <a:pt x="10128044" y="6744727"/>
                </a:cubicBezTo>
                <a:cubicBezTo>
                  <a:pt x="10129059" y="6742681"/>
                  <a:pt x="10130517" y="6743528"/>
                  <a:pt x="10132004" y="6743532"/>
                </a:cubicBezTo>
                <a:cubicBezTo>
                  <a:pt x="10132846" y="6743562"/>
                  <a:pt x="10133829" y="6743846"/>
                  <a:pt x="10134866" y="6743932"/>
                </a:cubicBezTo>
                <a:cubicBezTo>
                  <a:pt x="10140338" y="6744874"/>
                  <a:pt x="10142366" y="6742270"/>
                  <a:pt x="10140527" y="6736850"/>
                </a:cubicBezTo>
                <a:cubicBezTo>
                  <a:pt x="10140304" y="6736147"/>
                  <a:pt x="10140026" y="6735642"/>
                  <a:pt x="10139998" y="6734996"/>
                </a:cubicBezTo>
                <a:cubicBezTo>
                  <a:pt x="10139749" y="6733648"/>
                  <a:pt x="10139810" y="6731965"/>
                  <a:pt x="10141215" y="6731520"/>
                </a:cubicBezTo>
                <a:close/>
                <a:moveTo>
                  <a:pt x="9496698" y="6723534"/>
                </a:moveTo>
                <a:cubicBezTo>
                  <a:pt x="9500658" y="6724676"/>
                  <a:pt x="9504431" y="6724816"/>
                  <a:pt x="9508643" y="6725083"/>
                </a:cubicBezTo>
                <a:cubicBezTo>
                  <a:pt x="9513731" y="6728924"/>
                  <a:pt x="9518124" y="6733514"/>
                  <a:pt x="9518303" y="6741156"/>
                </a:cubicBezTo>
                <a:cubicBezTo>
                  <a:pt x="9518362" y="6742597"/>
                  <a:pt x="9520750" y="6744235"/>
                  <a:pt x="9519551" y="6746736"/>
                </a:cubicBezTo>
                <a:cubicBezTo>
                  <a:pt x="9516208" y="6753363"/>
                  <a:pt x="9520857" y="6757077"/>
                  <a:pt x="9524877" y="6759661"/>
                </a:cubicBezTo>
                <a:cubicBezTo>
                  <a:pt x="9527703" y="6761425"/>
                  <a:pt x="9529083" y="6763248"/>
                  <a:pt x="9530337" y="6765507"/>
                </a:cubicBezTo>
                <a:cubicBezTo>
                  <a:pt x="9534226" y="6771849"/>
                  <a:pt x="9531890" y="6778292"/>
                  <a:pt x="9531441" y="6784804"/>
                </a:cubicBezTo>
                <a:cubicBezTo>
                  <a:pt x="9530677" y="6790752"/>
                  <a:pt x="9526773" y="6794370"/>
                  <a:pt x="9523183" y="6798553"/>
                </a:cubicBezTo>
                <a:cubicBezTo>
                  <a:pt x="9519465" y="6803174"/>
                  <a:pt x="9514682" y="6806538"/>
                  <a:pt x="9508082" y="6804633"/>
                </a:cubicBezTo>
                <a:cubicBezTo>
                  <a:pt x="9507202" y="6804379"/>
                  <a:pt x="9506636" y="6804690"/>
                  <a:pt x="9506257" y="6806004"/>
                </a:cubicBezTo>
                <a:cubicBezTo>
                  <a:pt x="9503178" y="6805115"/>
                  <a:pt x="9500537" y="6804353"/>
                  <a:pt x="9497459" y="6803464"/>
                </a:cubicBezTo>
                <a:cubicBezTo>
                  <a:pt x="9496144" y="6799763"/>
                  <a:pt x="9491617" y="6798932"/>
                  <a:pt x="9489169" y="6795852"/>
                </a:cubicBezTo>
                <a:cubicBezTo>
                  <a:pt x="9486721" y="6792774"/>
                  <a:pt x="9484587" y="6790260"/>
                  <a:pt x="9484845" y="6786064"/>
                </a:cubicBezTo>
                <a:cubicBezTo>
                  <a:pt x="9485669" y="6781557"/>
                  <a:pt x="9484607" y="6776981"/>
                  <a:pt x="9483419" y="6772842"/>
                </a:cubicBezTo>
                <a:cubicBezTo>
                  <a:pt x="9482357" y="6768265"/>
                  <a:pt x="9481735" y="6763815"/>
                  <a:pt x="9480546" y="6759676"/>
                </a:cubicBezTo>
                <a:cubicBezTo>
                  <a:pt x="9479924" y="6755227"/>
                  <a:pt x="9477416" y="6750707"/>
                  <a:pt x="9473650" y="6747247"/>
                </a:cubicBezTo>
                <a:cubicBezTo>
                  <a:pt x="9475167" y="6741991"/>
                  <a:pt x="9476684" y="6736735"/>
                  <a:pt x="9478200" y="6731479"/>
                </a:cubicBezTo>
                <a:cubicBezTo>
                  <a:pt x="9481219" y="6730927"/>
                  <a:pt x="9483044" y="6729557"/>
                  <a:pt x="9485250" y="6726872"/>
                </a:cubicBezTo>
                <a:cubicBezTo>
                  <a:pt x="9488020" y="6723875"/>
                  <a:pt x="9492739" y="6722390"/>
                  <a:pt x="9496698" y="6723534"/>
                </a:cubicBezTo>
                <a:close/>
                <a:moveTo>
                  <a:pt x="7316600" y="6721138"/>
                </a:moveTo>
                <a:cubicBezTo>
                  <a:pt x="7320826" y="6722052"/>
                  <a:pt x="7325017" y="6724012"/>
                  <a:pt x="7329172" y="6724355"/>
                </a:cubicBezTo>
                <a:cubicBezTo>
                  <a:pt x="7332708" y="6724759"/>
                  <a:pt x="7340427" y="6724504"/>
                  <a:pt x="7341349" y="6727533"/>
                </a:cubicBezTo>
                <a:cubicBezTo>
                  <a:pt x="7344204" y="6736237"/>
                  <a:pt x="7356784" y="6735882"/>
                  <a:pt x="7357112" y="6746830"/>
                </a:cubicBezTo>
                <a:cubicBezTo>
                  <a:pt x="7357180" y="6750067"/>
                  <a:pt x="7362110" y="6753203"/>
                  <a:pt x="7356169" y="6756278"/>
                </a:cubicBezTo>
                <a:cubicBezTo>
                  <a:pt x="7354374" y="6757077"/>
                  <a:pt x="7354234" y="6759461"/>
                  <a:pt x="7355680" y="6760194"/>
                </a:cubicBezTo>
                <a:cubicBezTo>
                  <a:pt x="7361288" y="6763888"/>
                  <a:pt x="7360121" y="6767246"/>
                  <a:pt x="7355240" y="6770966"/>
                </a:cubicBezTo>
                <a:cubicBezTo>
                  <a:pt x="7353742" y="6772235"/>
                  <a:pt x="7354839" y="6774498"/>
                  <a:pt x="7355256" y="6776204"/>
                </a:cubicBezTo>
                <a:cubicBezTo>
                  <a:pt x="7356266" y="6778850"/>
                  <a:pt x="7356126" y="6781235"/>
                  <a:pt x="7353391" y="6782624"/>
                </a:cubicBezTo>
                <a:cubicBezTo>
                  <a:pt x="7350655" y="6784014"/>
                  <a:pt x="7350515" y="6786398"/>
                  <a:pt x="7349225" y="6788521"/>
                </a:cubicBezTo>
                <a:cubicBezTo>
                  <a:pt x="7346000" y="6793826"/>
                  <a:pt x="7342042" y="6800575"/>
                  <a:pt x="7337216" y="6802294"/>
                </a:cubicBezTo>
                <a:cubicBezTo>
                  <a:pt x="7326709" y="6805940"/>
                  <a:pt x="7316498" y="6810056"/>
                  <a:pt x="7306077" y="6813319"/>
                </a:cubicBezTo>
                <a:cubicBezTo>
                  <a:pt x="7305311" y="6813144"/>
                  <a:pt x="7303778" y="6812795"/>
                  <a:pt x="7303569" y="6811942"/>
                </a:cubicBezTo>
                <a:cubicBezTo>
                  <a:pt x="7300521" y="6807623"/>
                  <a:pt x="7297770" y="6803774"/>
                  <a:pt x="7291653" y="6807615"/>
                </a:cubicBezTo>
                <a:cubicBezTo>
                  <a:pt x="7289684" y="6809181"/>
                  <a:pt x="7288971" y="6807005"/>
                  <a:pt x="7288936" y="6805386"/>
                </a:cubicBezTo>
                <a:cubicBezTo>
                  <a:pt x="7289268" y="6798616"/>
                  <a:pt x="7286202" y="6797917"/>
                  <a:pt x="7280730" y="6800697"/>
                </a:cubicBezTo>
                <a:cubicBezTo>
                  <a:pt x="7277054" y="6802679"/>
                  <a:pt x="7275695" y="6801563"/>
                  <a:pt x="7276567" y="6797736"/>
                </a:cubicBezTo>
                <a:cubicBezTo>
                  <a:pt x="7277090" y="6795439"/>
                  <a:pt x="7278468" y="6792934"/>
                  <a:pt x="7275106" y="6791766"/>
                </a:cubicBezTo>
                <a:cubicBezTo>
                  <a:pt x="7267788" y="6788487"/>
                  <a:pt x="7265943" y="6782430"/>
                  <a:pt x="7267897" y="6775626"/>
                </a:cubicBezTo>
                <a:cubicBezTo>
                  <a:pt x="7269414" y="6770737"/>
                  <a:pt x="7268404" y="6768091"/>
                  <a:pt x="7265391" y="6765392"/>
                </a:cubicBezTo>
                <a:cubicBezTo>
                  <a:pt x="7265740" y="6763859"/>
                  <a:pt x="7266088" y="6762328"/>
                  <a:pt x="7266438" y="6760797"/>
                </a:cubicBezTo>
                <a:cubicBezTo>
                  <a:pt x="7270794" y="6759374"/>
                  <a:pt x="7272903" y="6755425"/>
                  <a:pt x="7272626" y="6751336"/>
                </a:cubicBezTo>
                <a:cubicBezTo>
                  <a:pt x="7272279" y="6744008"/>
                  <a:pt x="7275800" y="6739173"/>
                  <a:pt x="7281830" y="6735715"/>
                </a:cubicBezTo>
                <a:cubicBezTo>
                  <a:pt x="7284182" y="6734237"/>
                  <a:pt x="7286448" y="6733143"/>
                  <a:pt x="7287824" y="6730638"/>
                </a:cubicBezTo>
                <a:cubicBezTo>
                  <a:pt x="7289551" y="6726603"/>
                  <a:pt x="7292374" y="6724829"/>
                  <a:pt x="7296502" y="6726172"/>
                </a:cubicBezTo>
                <a:cubicBezTo>
                  <a:pt x="7299569" y="6726871"/>
                  <a:pt x="7302304" y="6725481"/>
                  <a:pt x="7303804" y="6724212"/>
                </a:cubicBezTo>
                <a:cubicBezTo>
                  <a:pt x="7308108" y="6720361"/>
                  <a:pt x="7312372" y="6720225"/>
                  <a:pt x="7316600" y="6721138"/>
                </a:cubicBezTo>
                <a:close/>
                <a:moveTo>
                  <a:pt x="2669682" y="6720094"/>
                </a:moveTo>
                <a:cubicBezTo>
                  <a:pt x="2671636" y="6718197"/>
                  <a:pt x="2677342" y="6721602"/>
                  <a:pt x="2680174" y="6722770"/>
                </a:cubicBezTo>
                <a:cubicBezTo>
                  <a:pt x="2686715" y="6725714"/>
                  <a:pt x="2696057" y="6723839"/>
                  <a:pt x="2699333" y="6733222"/>
                </a:cubicBezTo>
                <a:cubicBezTo>
                  <a:pt x="2699933" y="6734802"/>
                  <a:pt x="2701416" y="6736988"/>
                  <a:pt x="2704014" y="6737738"/>
                </a:cubicBezTo>
                <a:cubicBezTo>
                  <a:pt x="2707682" y="6738445"/>
                  <a:pt x="2709069" y="6740955"/>
                  <a:pt x="2708689" y="6744712"/>
                </a:cubicBezTo>
                <a:cubicBezTo>
                  <a:pt x="2708682" y="6747171"/>
                  <a:pt x="2709933" y="6748938"/>
                  <a:pt x="2711089" y="6751030"/>
                </a:cubicBezTo>
                <a:cubicBezTo>
                  <a:pt x="2714189" y="6756143"/>
                  <a:pt x="2714828" y="6761249"/>
                  <a:pt x="2711517" y="6766621"/>
                </a:cubicBezTo>
                <a:cubicBezTo>
                  <a:pt x="2709606" y="6769586"/>
                  <a:pt x="2709551" y="6773437"/>
                  <a:pt x="2712236" y="6776323"/>
                </a:cubicBezTo>
                <a:cubicBezTo>
                  <a:pt x="2711864" y="6777620"/>
                  <a:pt x="2711489" y="6778918"/>
                  <a:pt x="2711114" y="6780216"/>
                </a:cubicBezTo>
                <a:cubicBezTo>
                  <a:pt x="2707720" y="6780994"/>
                  <a:pt x="2705859" y="6782567"/>
                  <a:pt x="2704967" y="6786880"/>
                </a:cubicBezTo>
                <a:cubicBezTo>
                  <a:pt x="2703605" y="6792814"/>
                  <a:pt x="2699694" y="6796608"/>
                  <a:pt x="2692821" y="6796031"/>
                </a:cubicBezTo>
                <a:cubicBezTo>
                  <a:pt x="2689802" y="6795510"/>
                  <a:pt x="2689797" y="6797970"/>
                  <a:pt x="2689233" y="6799917"/>
                </a:cubicBezTo>
                <a:cubicBezTo>
                  <a:pt x="2688298" y="6803162"/>
                  <a:pt x="2686812" y="6803436"/>
                  <a:pt x="2684867" y="6800415"/>
                </a:cubicBezTo>
                <a:cubicBezTo>
                  <a:pt x="2681905" y="6796044"/>
                  <a:pt x="2679304" y="6795293"/>
                  <a:pt x="2676737" y="6800529"/>
                </a:cubicBezTo>
                <a:cubicBezTo>
                  <a:pt x="2676038" y="6801733"/>
                  <a:pt x="2674595" y="6803074"/>
                  <a:pt x="2673763" y="6801076"/>
                </a:cubicBezTo>
                <a:cubicBezTo>
                  <a:pt x="2670758" y="6795639"/>
                  <a:pt x="2667084" y="6797391"/>
                  <a:pt x="2662990" y="6799373"/>
                </a:cubicBezTo>
                <a:cubicBezTo>
                  <a:pt x="2662480" y="6799928"/>
                  <a:pt x="2661179" y="6799553"/>
                  <a:pt x="2660529" y="6799366"/>
                </a:cubicBezTo>
                <a:cubicBezTo>
                  <a:pt x="2654042" y="6792572"/>
                  <a:pt x="2648067" y="6785222"/>
                  <a:pt x="2641673" y="6778104"/>
                </a:cubicBezTo>
                <a:cubicBezTo>
                  <a:pt x="2638755" y="6774800"/>
                  <a:pt x="2638586" y="6768071"/>
                  <a:pt x="2638365" y="6762734"/>
                </a:cubicBezTo>
                <a:cubicBezTo>
                  <a:pt x="2638278" y="6760599"/>
                  <a:pt x="2639165" y="6758746"/>
                  <a:pt x="2637684" y="6756560"/>
                </a:cubicBezTo>
                <a:cubicBezTo>
                  <a:pt x="2636202" y="6754376"/>
                  <a:pt x="2637088" y="6752522"/>
                  <a:pt x="2638951" y="6750950"/>
                </a:cubicBezTo>
                <a:cubicBezTo>
                  <a:pt x="2639975" y="6749839"/>
                  <a:pt x="2641744" y="6748592"/>
                  <a:pt x="2641144" y="6747012"/>
                </a:cubicBezTo>
                <a:cubicBezTo>
                  <a:pt x="2639019" y="6742181"/>
                  <a:pt x="2639537" y="6739165"/>
                  <a:pt x="2645297" y="6738719"/>
                </a:cubicBezTo>
                <a:cubicBezTo>
                  <a:pt x="2646690" y="6738770"/>
                  <a:pt x="2647578" y="6736917"/>
                  <a:pt x="2646559" y="6735567"/>
                </a:cubicBezTo>
                <a:cubicBezTo>
                  <a:pt x="2643365" y="6730778"/>
                  <a:pt x="2648382" y="6730469"/>
                  <a:pt x="2649783" y="6728061"/>
                </a:cubicBezTo>
                <a:cubicBezTo>
                  <a:pt x="2654584" y="6719955"/>
                  <a:pt x="2663910" y="6725459"/>
                  <a:pt x="2669682" y="6720094"/>
                </a:cubicBezTo>
                <a:close/>
                <a:moveTo>
                  <a:pt x="10609278" y="6701723"/>
                </a:moveTo>
                <a:cubicBezTo>
                  <a:pt x="10614084" y="6703051"/>
                  <a:pt x="10618775" y="6705583"/>
                  <a:pt x="10623535" y="6706251"/>
                </a:cubicBezTo>
                <a:cubicBezTo>
                  <a:pt x="10627578" y="6706946"/>
                  <a:pt x="10636478" y="6707160"/>
                  <a:pt x="10637340" y="6710706"/>
                </a:cubicBezTo>
                <a:cubicBezTo>
                  <a:pt x="10640054" y="6720910"/>
                  <a:pt x="10654554" y="6721327"/>
                  <a:pt x="10654213" y="6733946"/>
                </a:cubicBezTo>
                <a:cubicBezTo>
                  <a:pt x="10654080" y="6737675"/>
                  <a:pt x="10659547" y="6741608"/>
                  <a:pt x="10652507" y="6744757"/>
                </a:cubicBezTo>
                <a:cubicBezTo>
                  <a:pt x="10650390" y="6745559"/>
                  <a:pt x="10650073" y="6748293"/>
                  <a:pt x="10651687" y="6749231"/>
                </a:cubicBezTo>
                <a:cubicBezTo>
                  <a:pt x="10657900" y="6753850"/>
                  <a:pt x="10656335" y="6757637"/>
                  <a:pt x="10650476" y="6761598"/>
                </a:cubicBezTo>
                <a:cubicBezTo>
                  <a:pt x="10648668" y="6762960"/>
                  <a:pt x="10649782" y="6765636"/>
                  <a:pt x="10650151" y="6767627"/>
                </a:cubicBezTo>
                <a:cubicBezTo>
                  <a:pt x="10651139" y="6770739"/>
                  <a:pt x="10650821" y="6773473"/>
                  <a:pt x="10647582" y="6774893"/>
                </a:cubicBezTo>
                <a:cubicBezTo>
                  <a:pt x="10644342" y="6776313"/>
                  <a:pt x="10644025" y="6779047"/>
                  <a:pt x="10642401" y="6781404"/>
                </a:cubicBezTo>
                <a:cubicBezTo>
                  <a:pt x="10638342" y="6787297"/>
                  <a:pt x="10633346" y="6794805"/>
                  <a:pt x="10627679" y="6796465"/>
                </a:cubicBezTo>
                <a:cubicBezTo>
                  <a:pt x="10615348" y="6799971"/>
                  <a:pt x="10603327" y="6804038"/>
                  <a:pt x="10591122" y="6807110"/>
                </a:cubicBezTo>
                <a:cubicBezTo>
                  <a:pt x="10590251" y="6806858"/>
                  <a:pt x="10588510" y="6806356"/>
                  <a:pt x="10588326" y="6805360"/>
                </a:cubicBezTo>
                <a:cubicBezTo>
                  <a:pt x="10585102" y="6800190"/>
                  <a:pt x="10582188" y="6795581"/>
                  <a:pt x="10574898" y="6799601"/>
                </a:cubicBezTo>
                <a:cubicBezTo>
                  <a:pt x="10572529" y="6801271"/>
                  <a:pt x="10571850" y="6798721"/>
                  <a:pt x="10571917" y="6796857"/>
                </a:cubicBezTo>
                <a:cubicBezTo>
                  <a:pt x="10572743" y="6789088"/>
                  <a:pt x="10569261" y="6788083"/>
                  <a:pt x="10562782" y="6790923"/>
                </a:cubicBezTo>
                <a:cubicBezTo>
                  <a:pt x="10558421" y="6792961"/>
                  <a:pt x="10556931" y="6791589"/>
                  <a:pt x="10558185" y="6787240"/>
                </a:cubicBezTo>
                <a:cubicBezTo>
                  <a:pt x="10558939" y="6784632"/>
                  <a:pt x="10560687" y="6781840"/>
                  <a:pt x="10556895" y="6780274"/>
                </a:cubicBezTo>
                <a:cubicBezTo>
                  <a:pt x="10548690" y="6776022"/>
                  <a:pt x="10546964" y="6768930"/>
                  <a:pt x="10549659" y="6761230"/>
                </a:cubicBezTo>
                <a:cubicBezTo>
                  <a:pt x="10551725" y="6755704"/>
                  <a:pt x="10550737" y="6752592"/>
                  <a:pt x="10547446" y="6749287"/>
                </a:cubicBezTo>
                <a:cubicBezTo>
                  <a:pt x="10547948" y="6747548"/>
                  <a:pt x="10548450" y="6745809"/>
                  <a:pt x="10548953" y="6744070"/>
                </a:cubicBezTo>
                <a:cubicBezTo>
                  <a:pt x="10554059" y="6742718"/>
                  <a:pt x="10556746" y="6738311"/>
                  <a:pt x="10556694" y="6733588"/>
                </a:cubicBezTo>
                <a:cubicBezTo>
                  <a:pt x="10556776" y="6725133"/>
                  <a:pt x="10561145" y="6719800"/>
                  <a:pt x="10568310" y="6716215"/>
                </a:cubicBezTo>
                <a:cubicBezTo>
                  <a:pt x="10571114" y="6714671"/>
                  <a:pt x="10573794" y="6713559"/>
                  <a:pt x="10575542" y="6710767"/>
                </a:cubicBezTo>
                <a:cubicBezTo>
                  <a:pt x="10577793" y="6706237"/>
                  <a:pt x="10581158" y="6704382"/>
                  <a:pt x="10585822" y="6706198"/>
                </a:cubicBezTo>
                <a:cubicBezTo>
                  <a:pt x="10589305" y="6707204"/>
                  <a:pt x="10592545" y="6705784"/>
                  <a:pt x="10594352" y="6704421"/>
                </a:cubicBezTo>
                <a:cubicBezTo>
                  <a:pt x="10599558" y="6700272"/>
                  <a:pt x="10604474" y="6700396"/>
                  <a:pt x="10609278" y="6701723"/>
                </a:cubicBezTo>
                <a:close/>
                <a:moveTo>
                  <a:pt x="799646" y="6694588"/>
                </a:moveTo>
                <a:cubicBezTo>
                  <a:pt x="801466" y="6692823"/>
                  <a:pt x="806775" y="6695992"/>
                  <a:pt x="809410" y="6697079"/>
                </a:cubicBezTo>
                <a:cubicBezTo>
                  <a:pt x="815498" y="6699818"/>
                  <a:pt x="824190" y="6698074"/>
                  <a:pt x="827240" y="6706805"/>
                </a:cubicBezTo>
                <a:cubicBezTo>
                  <a:pt x="827797" y="6708275"/>
                  <a:pt x="829176" y="6710310"/>
                  <a:pt x="831595" y="6711007"/>
                </a:cubicBezTo>
                <a:cubicBezTo>
                  <a:pt x="835008" y="6711665"/>
                  <a:pt x="836299" y="6714001"/>
                  <a:pt x="835946" y="6717498"/>
                </a:cubicBezTo>
                <a:cubicBezTo>
                  <a:pt x="835940" y="6719787"/>
                  <a:pt x="837103" y="6721431"/>
                  <a:pt x="838180" y="6723376"/>
                </a:cubicBezTo>
                <a:cubicBezTo>
                  <a:pt x="841064" y="6728135"/>
                  <a:pt x="841659" y="6732887"/>
                  <a:pt x="838578" y="6737887"/>
                </a:cubicBezTo>
                <a:cubicBezTo>
                  <a:pt x="836799" y="6740644"/>
                  <a:pt x="836748" y="6744228"/>
                  <a:pt x="839248" y="6746913"/>
                </a:cubicBezTo>
                <a:cubicBezTo>
                  <a:pt x="838900" y="6748121"/>
                  <a:pt x="838550" y="6749329"/>
                  <a:pt x="838202" y="6750538"/>
                </a:cubicBezTo>
                <a:cubicBezTo>
                  <a:pt x="835045" y="6751262"/>
                  <a:pt x="833312" y="6752724"/>
                  <a:pt x="832481" y="6756738"/>
                </a:cubicBezTo>
                <a:cubicBezTo>
                  <a:pt x="831215" y="6762261"/>
                  <a:pt x="827576" y="6765791"/>
                  <a:pt x="821180" y="6765252"/>
                </a:cubicBezTo>
                <a:cubicBezTo>
                  <a:pt x="818370" y="6764770"/>
                  <a:pt x="818365" y="6767058"/>
                  <a:pt x="817842" y="6768870"/>
                </a:cubicBezTo>
                <a:cubicBezTo>
                  <a:pt x="816971" y="6771889"/>
                  <a:pt x="815586" y="6772145"/>
                  <a:pt x="813777" y="6769332"/>
                </a:cubicBezTo>
                <a:cubicBezTo>
                  <a:pt x="811021" y="6765266"/>
                  <a:pt x="808602" y="6764567"/>
                  <a:pt x="806213" y="6769439"/>
                </a:cubicBezTo>
                <a:cubicBezTo>
                  <a:pt x="805562" y="6770560"/>
                  <a:pt x="804219" y="6771809"/>
                  <a:pt x="803445" y="6769948"/>
                </a:cubicBezTo>
                <a:cubicBezTo>
                  <a:pt x="800647" y="6764889"/>
                  <a:pt x="797229" y="6766518"/>
                  <a:pt x="793420" y="6768364"/>
                </a:cubicBezTo>
                <a:cubicBezTo>
                  <a:pt x="792943" y="6768881"/>
                  <a:pt x="791734" y="6768532"/>
                  <a:pt x="791130" y="6768358"/>
                </a:cubicBezTo>
                <a:cubicBezTo>
                  <a:pt x="785092" y="6762034"/>
                  <a:pt x="779532" y="6755195"/>
                  <a:pt x="773582" y="6748571"/>
                </a:cubicBezTo>
                <a:cubicBezTo>
                  <a:pt x="770867" y="6745497"/>
                  <a:pt x="770709" y="6739234"/>
                  <a:pt x="770504" y="6734269"/>
                </a:cubicBezTo>
                <a:cubicBezTo>
                  <a:pt x="770423" y="6732282"/>
                  <a:pt x="771248" y="6730557"/>
                  <a:pt x="769869" y="6728524"/>
                </a:cubicBezTo>
                <a:cubicBezTo>
                  <a:pt x="768490" y="6726490"/>
                  <a:pt x="769316" y="6724765"/>
                  <a:pt x="771049" y="6723302"/>
                </a:cubicBezTo>
                <a:cubicBezTo>
                  <a:pt x="772002" y="6722269"/>
                  <a:pt x="773647" y="6721108"/>
                  <a:pt x="773089" y="6719638"/>
                </a:cubicBezTo>
                <a:cubicBezTo>
                  <a:pt x="771112" y="6715142"/>
                  <a:pt x="771593" y="6712336"/>
                  <a:pt x="776954" y="6711921"/>
                </a:cubicBezTo>
                <a:cubicBezTo>
                  <a:pt x="778251" y="6711968"/>
                  <a:pt x="779076" y="6710243"/>
                  <a:pt x="778129" y="6708988"/>
                </a:cubicBezTo>
                <a:cubicBezTo>
                  <a:pt x="775156" y="6704532"/>
                  <a:pt x="779826" y="6704243"/>
                  <a:pt x="781128" y="6702002"/>
                </a:cubicBezTo>
                <a:cubicBezTo>
                  <a:pt x="785597" y="6694459"/>
                  <a:pt x="794274" y="6699581"/>
                  <a:pt x="799646" y="6694588"/>
                </a:cubicBezTo>
                <a:close/>
                <a:moveTo>
                  <a:pt x="7874472" y="6640941"/>
                </a:moveTo>
                <a:cubicBezTo>
                  <a:pt x="7876873" y="6641689"/>
                  <a:pt x="7879424" y="6642875"/>
                  <a:pt x="7881105" y="6643459"/>
                </a:cubicBezTo>
                <a:cubicBezTo>
                  <a:pt x="7888892" y="6646441"/>
                  <a:pt x="7899608" y="6643649"/>
                  <a:pt x="7904031" y="6654321"/>
                </a:cubicBezTo>
                <a:cubicBezTo>
                  <a:pt x="7904832" y="6656113"/>
                  <a:pt x="7906696" y="6658552"/>
                  <a:pt x="7909762" y="6659251"/>
                </a:cubicBezTo>
                <a:cubicBezTo>
                  <a:pt x="7914066" y="6659829"/>
                  <a:pt x="7915842" y="6662649"/>
                  <a:pt x="7915648" y="6667034"/>
                </a:cubicBezTo>
                <a:cubicBezTo>
                  <a:pt x="7915804" y="6669889"/>
                  <a:pt x="7917372" y="6671857"/>
                  <a:pt x="7918853" y="6674208"/>
                </a:cubicBezTo>
                <a:cubicBezTo>
                  <a:pt x="7922788" y="6679937"/>
                  <a:pt x="7923867" y="6685820"/>
                  <a:pt x="7920381" y="6692274"/>
                </a:cubicBezTo>
                <a:cubicBezTo>
                  <a:pt x="7918359" y="6695839"/>
                  <a:pt x="7918549" y="6700313"/>
                  <a:pt x="7921858" y="6703483"/>
                </a:cubicBezTo>
                <a:cubicBezTo>
                  <a:pt x="7921509" y="6705014"/>
                  <a:pt x="7921161" y="6706545"/>
                  <a:pt x="7920812" y="6708076"/>
                </a:cubicBezTo>
                <a:cubicBezTo>
                  <a:pt x="7916926" y="6709204"/>
                  <a:pt x="7914870" y="6711151"/>
                  <a:pt x="7914118" y="6716215"/>
                </a:cubicBezTo>
                <a:cubicBezTo>
                  <a:pt x="7912932" y="6723193"/>
                  <a:pt x="7908645" y="6727853"/>
                  <a:pt x="7900630" y="6727638"/>
                </a:cubicBezTo>
                <a:cubicBezTo>
                  <a:pt x="7897093" y="6727234"/>
                  <a:pt x="7897249" y="6730088"/>
                  <a:pt x="7896726" y="6732386"/>
                </a:cubicBezTo>
                <a:cubicBezTo>
                  <a:pt x="7895854" y="6736214"/>
                  <a:pt x="7894146" y="6736630"/>
                  <a:pt x="7891690" y="6733251"/>
                </a:cubicBezTo>
                <a:cubicBezTo>
                  <a:pt x="7887964" y="6728376"/>
                  <a:pt x="7884896" y="6727677"/>
                  <a:pt x="7882264" y="6733922"/>
                </a:cubicBezTo>
                <a:cubicBezTo>
                  <a:pt x="7881531" y="6735366"/>
                  <a:pt x="7879946" y="6737018"/>
                  <a:pt x="7878849" y="6734755"/>
                </a:cubicBezTo>
                <a:cubicBezTo>
                  <a:pt x="7875000" y="6728643"/>
                  <a:pt x="7870853" y="6730919"/>
                  <a:pt x="7866235" y="6733491"/>
                </a:cubicBezTo>
                <a:cubicBezTo>
                  <a:pt x="7865677" y="6734169"/>
                  <a:pt x="7864144" y="6733820"/>
                  <a:pt x="7863377" y="6733646"/>
                </a:cubicBezTo>
                <a:cubicBezTo>
                  <a:pt x="7855399" y="6726190"/>
                  <a:pt x="7847980" y="6718057"/>
                  <a:pt x="7840089" y="6710219"/>
                </a:cubicBezTo>
                <a:cubicBezTo>
                  <a:pt x="7836483" y="6706578"/>
                  <a:pt x="7835841" y="6698781"/>
                  <a:pt x="7835233" y="6692602"/>
                </a:cubicBezTo>
                <a:cubicBezTo>
                  <a:pt x="7834990" y="6690131"/>
                  <a:pt x="7835897" y="6687921"/>
                  <a:pt x="7834033" y="6685483"/>
                </a:cubicBezTo>
                <a:cubicBezTo>
                  <a:pt x="7832170" y="6683045"/>
                  <a:pt x="7833076" y="6680836"/>
                  <a:pt x="7835133" y="6678888"/>
                </a:cubicBezTo>
                <a:cubicBezTo>
                  <a:pt x="7836248" y="6677532"/>
                  <a:pt x="7838218" y="6675967"/>
                  <a:pt x="7837417" y="6674174"/>
                </a:cubicBezTo>
                <a:cubicBezTo>
                  <a:pt x="7834631" y="6668708"/>
                  <a:pt x="7835032" y="6665175"/>
                  <a:pt x="7841688" y="6664275"/>
                </a:cubicBezTo>
                <a:cubicBezTo>
                  <a:pt x="7843308" y="6664242"/>
                  <a:pt x="7844216" y="6662032"/>
                  <a:pt x="7842943" y="6660534"/>
                </a:cubicBezTo>
                <a:cubicBezTo>
                  <a:pt x="7838920" y="6655188"/>
                  <a:pt x="7844723" y="6654497"/>
                  <a:pt x="7846187" y="6651609"/>
                </a:cubicBezTo>
                <a:cubicBezTo>
                  <a:pt x="7851225" y="6641886"/>
                  <a:pt x="7862409" y="6647655"/>
                  <a:pt x="7868753" y="6641047"/>
                </a:cubicBezTo>
                <a:cubicBezTo>
                  <a:pt x="7869825" y="6639882"/>
                  <a:pt x="7872072" y="6640193"/>
                  <a:pt x="7874472" y="6640941"/>
                </a:cubicBezTo>
                <a:close/>
                <a:moveTo>
                  <a:pt x="1429816" y="6632328"/>
                </a:moveTo>
                <a:cubicBezTo>
                  <a:pt x="1431771" y="6630431"/>
                  <a:pt x="1437477" y="6633836"/>
                  <a:pt x="1440308" y="6635004"/>
                </a:cubicBezTo>
                <a:cubicBezTo>
                  <a:pt x="1446851" y="6637947"/>
                  <a:pt x="1456191" y="6636073"/>
                  <a:pt x="1459467" y="6645457"/>
                </a:cubicBezTo>
                <a:cubicBezTo>
                  <a:pt x="1460068" y="6647035"/>
                  <a:pt x="1461548" y="6649221"/>
                  <a:pt x="1464148" y="6649971"/>
                </a:cubicBezTo>
                <a:cubicBezTo>
                  <a:pt x="1467816" y="6650678"/>
                  <a:pt x="1469203" y="6653188"/>
                  <a:pt x="1468823" y="6656946"/>
                </a:cubicBezTo>
                <a:cubicBezTo>
                  <a:pt x="1468817" y="6659406"/>
                  <a:pt x="1470067" y="6661172"/>
                  <a:pt x="1471223" y="6663263"/>
                </a:cubicBezTo>
                <a:cubicBezTo>
                  <a:pt x="1474323" y="6668378"/>
                  <a:pt x="1474962" y="6673483"/>
                  <a:pt x="1471651" y="6678856"/>
                </a:cubicBezTo>
                <a:cubicBezTo>
                  <a:pt x="1469740" y="6681819"/>
                  <a:pt x="1469684" y="6685671"/>
                  <a:pt x="1472372" y="6688556"/>
                </a:cubicBezTo>
                <a:cubicBezTo>
                  <a:pt x="1471997" y="6689854"/>
                  <a:pt x="1471622" y="6691153"/>
                  <a:pt x="1471247" y="6692450"/>
                </a:cubicBezTo>
                <a:cubicBezTo>
                  <a:pt x="1467854" y="6693229"/>
                  <a:pt x="1465993" y="6694800"/>
                  <a:pt x="1465100" y="6699114"/>
                </a:cubicBezTo>
                <a:cubicBezTo>
                  <a:pt x="1463739" y="6705049"/>
                  <a:pt x="1459828" y="6708842"/>
                  <a:pt x="1452954" y="6708264"/>
                </a:cubicBezTo>
                <a:cubicBezTo>
                  <a:pt x="1449937" y="6707745"/>
                  <a:pt x="1449931" y="6710204"/>
                  <a:pt x="1449369" y="6712151"/>
                </a:cubicBezTo>
                <a:cubicBezTo>
                  <a:pt x="1448432" y="6715396"/>
                  <a:pt x="1446945" y="6715670"/>
                  <a:pt x="1445002" y="6712648"/>
                </a:cubicBezTo>
                <a:cubicBezTo>
                  <a:pt x="1442039" y="6708278"/>
                  <a:pt x="1439440" y="6707527"/>
                  <a:pt x="1436872" y="6712763"/>
                </a:cubicBezTo>
                <a:cubicBezTo>
                  <a:pt x="1436172" y="6713967"/>
                  <a:pt x="1434729" y="6715308"/>
                  <a:pt x="1433897" y="6713311"/>
                </a:cubicBezTo>
                <a:cubicBezTo>
                  <a:pt x="1430892" y="6707872"/>
                  <a:pt x="1427217" y="6709625"/>
                  <a:pt x="1423125" y="6711607"/>
                </a:cubicBezTo>
                <a:cubicBezTo>
                  <a:pt x="1422613" y="6712163"/>
                  <a:pt x="1421313" y="6711788"/>
                  <a:pt x="1420663" y="6711600"/>
                </a:cubicBezTo>
                <a:cubicBezTo>
                  <a:pt x="1414177" y="6704805"/>
                  <a:pt x="1408202" y="6697456"/>
                  <a:pt x="1401807" y="6690337"/>
                </a:cubicBezTo>
                <a:cubicBezTo>
                  <a:pt x="1398890" y="6687033"/>
                  <a:pt x="1398720" y="6680306"/>
                  <a:pt x="1398499" y="6674969"/>
                </a:cubicBezTo>
                <a:cubicBezTo>
                  <a:pt x="1398412" y="6672834"/>
                  <a:pt x="1399299" y="6670980"/>
                  <a:pt x="1397817" y="6668795"/>
                </a:cubicBezTo>
                <a:cubicBezTo>
                  <a:pt x="1396336" y="6666609"/>
                  <a:pt x="1397223" y="6664756"/>
                  <a:pt x="1399085" y="6663184"/>
                </a:cubicBezTo>
                <a:cubicBezTo>
                  <a:pt x="1400110" y="6662074"/>
                  <a:pt x="1401877" y="6660826"/>
                  <a:pt x="1401277" y="6659247"/>
                </a:cubicBezTo>
                <a:cubicBezTo>
                  <a:pt x="1399152" y="6654414"/>
                  <a:pt x="1399670" y="6651400"/>
                  <a:pt x="1405431" y="6650953"/>
                </a:cubicBezTo>
                <a:cubicBezTo>
                  <a:pt x="1406825" y="6651004"/>
                  <a:pt x="1407711" y="6649151"/>
                  <a:pt x="1406693" y="6647802"/>
                </a:cubicBezTo>
                <a:cubicBezTo>
                  <a:pt x="1403499" y="6643013"/>
                  <a:pt x="1408516" y="6642703"/>
                  <a:pt x="1409916" y="6640295"/>
                </a:cubicBezTo>
                <a:cubicBezTo>
                  <a:pt x="1414720" y="6632188"/>
                  <a:pt x="1424043" y="6637692"/>
                  <a:pt x="1429816" y="6632328"/>
                </a:cubicBezTo>
                <a:close/>
                <a:moveTo>
                  <a:pt x="4841361" y="6629356"/>
                </a:moveTo>
                <a:lnTo>
                  <a:pt x="4842011" y="6629388"/>
                </a:lnTo>
                <a:lnTo>
                  <a:pt x="4841589" y="6629776"/>
                </a:lnTo>
                <a:close/>
                <a:moveTo>
                  <a:pt x="1800725" y="6625510"/>
                </a:moveTo>
                <a:cubicBezTo>
                  <a:pt x="1802545" y="6623745"/>
                  <a:pt x="1807853" y="6626913"/>
                  <a:pt x="1810488" y="6628001"/>
                </a:cubicBezTo>
                <a:cubicBezTo>
                  <a:pt x="1816577" y="6630739"/>
                  <a:pt x="1825269" y="6628995"/>
                  <a:pt x="1828318" y="6637728"/>
                </a:cubicBezTo>
                <a:cubicBezTo>
                  <a:pt x="1828877" y="6639197"/>
                  <a:pt x="1830254" y="6641231"/>
                  <a:pt x="1832675" y="6641929"/>
                </a:cubicBezTo>
                <a:cubicBezTo>
                  <a:pt x="1836087" y="6642587"/>
                  <a:pt x="1837379" y="6644923"/>
                  <a:pt x="1837024" y="6648420"/>
                </a:cubicBezTo>
                <a:cubicBezTo>
                  <a:pt x="1837019" y="6650708"/>
                  <a:pt x="1838182" y="6652352"/>
                  <a:pt x="1839258" y="6654299"/>
                </a:cubicBezTo>
                <a:cubicBezTo>
                  <a:pt x="1842143" y="6659057"/>
                  <a:pt x="1842737" y="6663808"/>
                  <a:pt x="1839657" y="6668808"/>
                </a:cubicBezTo>
                <a:cubicBezTo>
                  <a:pt x="1837878" y="6671567"/>
                  <a:pt x="1837826" y="6675150"/>
                  <a:pt x="1840327" y="6677835"/>
                </a:cubicBezTo>
                <a:cubicBezTo>
                  <a:pt x="1839979" y="6679043"/>
                  <a:pt x="1839629" y="6680251"/>
                  <a:pt x="1839280" y="6681459"/>
                </a:cubicBezTo>
                <a:cubicBezTo>
                  <a:pt x="1836123" y="6682184"/>
                  <a:pt x="1834391" y="6683646"/>
                  <a:pt x="1833560" y="6687659"/>
                </a:cubicBezTo>
                <a:cubicBezTo>
                  <a:pt x="1832293" y="6693183"/>
                  <a:pt x="1828654" y="6696713"/>
                  <a:pt x="1822258" y="6696175"/>
                </a:cubicBezTo>
                <a:cubicBezTo>
                  <a:pt x="1819449" y="6695691"/>
                  <a:pt x="1819444" y="6697980"/>
                  <a:pt x="1818920" y="6699791"/>
                </a:cubicBezTo>
                <a:cubicBezTo>
                  <a:pt x="1818049" y="6702812"/>
                  <a:pt x="1816666" y="6703066"/>
                  <a:pt x="1814856" y="6700255"/>
                </a:cubicBezTo>
                <a:cubicBezTo>
                  <a:pt x="1812099" y="6696187"/>
                  <a:pt x="1809681" y="6695489"/>
                  <a:pt x="1807291" y="6700362"/>
                </a:cubicBezTo>
                <a:cubicBezTo>
                  <a:pt x="1806640" y="6701482"/>
                  <a:pt x="1805297" y="6702730"/>
                  <a:pt x="1804524" y="6700871"/>
                </a:cubicBezTo>
                <a:cubicBezTo>
                  <a:pt x="1801726" y="6695810"/>
                  <a:pt x="1798308" y="6697441"/>
                  <a:pt x="1794499" y="6699286"/>
                </a:cubicBezTo>
                <a:cubicBezTo>
                  <a:pt x="1794022" y="6699803"/>
                  <a:pt x="1792812" y="6699453"/>
                  <a:pt x="1792208" y="6699279"/>
                </a:cubicBezTo>
                <a:cubicBezTo>
                  <a:pt x="1786171" y="6692956"/>
                  <a:pt x="1780611" y="6686117"/>
                  <a:pt x="1774661" y="6679492"/>
                </a:cubicBezTo>
                <a:cubicBezTo>
                  <a:pt x="1771945" y="6676418"/>
                  <a:pt x="1771787" y="6670157"/>
                  <a:pt x="1771583" y="6665191"/>
                </a:cubicBezTo>
                <a:cubicBezTo>
                  <a:pt x="1771502" y="6663204"/>
                  <a:pt x="1772327" y="6661479"/>
                  <a:pt x="1770947" y="6659445"/>
                </a:cubicBezTo>
                <a:cubicBezTo>
                  <a:pt x="1769570" y="6657412"/>
                  <a:pt x="1770395" y="6655687"/>
                  <a:pt x="1772128" y="6654224"/>
                </a:cubicBezTo>
                <a:cubicBezTo>
                  <a:pt x="1773081" y="6653191"/>
                  <a:pt x="1774727" y="6652030"/>
                  <a:pt x="1774167" y="6650561"/>
                </a:cubicBezTo>
                <a:cubicBezTo>
                  <a:pt x="1772190" y="6646063"/>
                  <a:pt x="1772672" y="6643258"/>
                  <a:pt x="1778033" y="6642843"/>
                </a:cubicBezTo>
                <a:cubicBezTo>
                  <a:pt x="1779330" y="6642890"/>
                  <a:pt x="1780155" y="6641165"/>
                  <a:pt x="1779207" y="6639910"/>
                </a:cubicBezTo>
                <a:cubicBezTo>
                  <a:pt x="1776235" y="6635454"/>
                  <a:pt x="1780904" y="6635166"/>
                  <a:pt x="1782206" y="6632924"/>
                </a:cubicBezTo>
                <a:cubicBezTo>
                  <a:pt x="1786676" y="6625382"/>
                  <a:pt x="1795354" y="6630502"/>
                  <a:pt x="1800725" y="6625510"/>
                </a:cubicBezTo>
                <a:close/>
                <a:moveTo>
                  <a:pt x="1890028" y="6624675"/>
                </a:moveTo>
                <a:cubicBezTo>
                  <a:pt x="1891848" y="6622910"/>
                  <a:pt x="1897156" y="6626079"/>
                  <a:pt x="1899791" y="6627166"/>
                </a:cubicBezTo>
                <a:cubicBezTo>
                  <a:pt x="1905880" y="6629905"/>
                  <a:pt x="1914572" y="6628161"/>
                  <a:pt x="1917620" y="6636893"/>
                </a:cubicBezTo>
                <a:cubicBezTo>
                  <a:pt x="1918180" y="6638363"/>
                  <a:pt x="1919557" y="6640396"/>
                  <a:pt x="1921976" y="6641094"/>
                </a:cubicBezTo>
                <a:cubicBezTo>
                  <a:pt x="1925390" y="6641753"/>
                  <a:pt x="1926681" y="6644088"/>
                  <a:pt x="1926328" y="6647584"/>
                </a:cubicBezTo>
                <a:cubicBezTo>
                  <a:pt x="1926321" y="6649873"/>
                  <a:pt x="1927485" y="6651517"/>
                  <a:pt x="1928561" y="6653464"/>
                </a:cubicBezTo>
                <a:cubicBezTo>
                  <a:pt x="1931446" y="6658222"/>
                  <a:pt x="1932041" y="6662973"/>
                  <a:pt x="1928959" y="6667973"/>
                </a:cubicBezTo>
                <a:cubicBezTo>
                  <a:pt x="1927180" y="6670732"/>
                  <a:pt x="1927129" y="6674315"/>
                  <a:pt x="1929629" y="6677000"/>
                </a:cubicBezTo>
                <a:cubicBezTo>
                  <a:pt x="1929282" y="6678208"/>
                  <a:pt x="1928932" y="6679416"/>
                  <a:pt x="1928584" y="6680624"/>
                </a:cubicBezTo>
                <a:cubicBezTo>
                  <a:pt x="1925426" y="6681348"/>
                  <a:pt x="1923694" y="6682812"/>
                  <a:pt x="1922863" y="6686824"/>
                </a:cubicBezTo>
                <a:cubicBezTo>
                  <a:pt x="1921596" y="6692348"/>
                  <a:pt x="1917957" y="6695878"/>
                  <a:pt x="1911561" y="6695340"/>
                </a:cubicBezTo>
                <a:cubicBezTo>
                  <a:pt x="1908752" y="6694856"/>
                  <a:pt x="1908746" y="6697146"/>
                  <a:pt x="1908224" y="6698956"/>
                </a:cubicBezTo>
                <a:cubicBezTo>
                  <a:pt x="1907352" y="6701977"/>
                  <a:pt x="1905967" y="6702232"/>
                  <a:pt x="1904159" y="6699420"/>
                </a:cubicBezTo>
                <a:cubicBezTo>
                  <a:pt x="1901403" y="6695352"/>
                  <a:pt x="1898984" y="6694654"/>
                  <a:pt x="1896595" y="6699527"/>
                </a:cubicBezTo>
                <a:cubicBezTo>
                  <a:pt x="1895943" y="6700647"/>
                  <a:pt x="1894601" y="6701895"/>
                  <a:pt x="1893826" y="6700036"/>
                </a:cubicBezTo>
                <a:cubicBezTo>
                  <a:pt x="1891029" y="6694975"/>
                  <a:pt x="1887610" y="6696606"/>
                  <a:pt x="1883802" y="6698452"/>
                </a:cubicBezTo>
                <a:cubicBezTo>
                  <a:pt x="1883325" y="6698968"/>
                  <a:pt x="1882116" y="6698618"/>
                  <a:pt x="1881511" y="6698444"/>
                </a:cubicBezTo>
                <a:cubicBezTo>
                  <a:pt x="1875474" y="6692121"/>
                  <a:pt x="1869914" y="6685282"/>
                  <a:pt x="1863964" y="6678658"/>
                </a:cubicBezTo>
                <a:cubicBezTo>
                  <a:pt x="1861248" y="6675583"/>
                  <a:pt x="1861090" y="6669322"/>
                  <a:pt x="1860886" y="6664355"/>
                </a:cubicBezTo>
                <a:cubicBezTo>
                  <a:pt x="1860803" y="6662370"/>
                  <a:pt x="1861629" y="6660645"/>
                  <a:pt x="1860251" y="6658611"/>
                </a:cubicBezTo>
                <a:cubicBezTo>
                  <a:pt x="1858872" y="6656577"/>
                  <a:pt x="1859697" y="6654852"/>
                  <a:pt x="1861431" y="6653390"/>
                </a:cubicBezTo>
                <a:cubicBezTo>
                  <a:pt x="1862383" y="6652357"/>
                  <a:pt x="1864028" y="6651195"/>
                  <a:pt x="1863470" y="6649725"/>
                </a:cubicBezTo>
                <a:cubicBezTo>
                  <a:pt x="1861493" y="6645229"/>
                  <a:pt x="1861975" y="6642424"/>
                  <a:pt x="1867336" y="6642008"/>
                </a:cubicBezTo>
                <a:cubicBezTo>
                  <a:pt x="1868632" y="6642055"/>
                  <a:pt x="1869457" y="6640330"/>
                  <a:pt x="1868510" y="6639076"/>
                </a:cubicBezTo>
                <a:cubicBezTo>
                  <a:pt x="1865538" y="6634618"/>
                  <a:pt x="1870207" y="6634331"/>
                  <a:pt x="1871509" y="6632089"/>
                </a:cubicBezTo>
                <a:cubicBezTo>
                  <a:pt x="1875979" y="6624546"/>
                  <a:pt x="1884655" y="6629668"/>
                  <a:pt x="1890028" y="6624675"/>
                </a:cubicBezTo>
                <a:close/>
                <a:moveTo>
                  <a:pt x="11264900" y="6616258"/>
                </a:moveTo>
                <a:cubicBezTo>
                  <a:pt x="11272718" y="6621032"/>
                  <a:pt x="11282063" y="6612603"/>
                  <a:pt x="11289413" y="6620724"/>
                </a:cubicBezTo>
                <a:cubicBezTo>
                  <a:pt x="11291565" y="6623144"/>
                  <a:pt x="11297351" y="6622334"/>
                  <a:pt x="11294823" y="6628528"/>
                </a:cubicBezTo>
                <a:cubicBezTo>
                  <a:pt x="11293975" y="6630300"/>
                  <a:pt x="11295413" y="6632206"/>
                  <a:pt x="11296990" y="6631826"/>
                </a:cubicBezTo>
                <a:cubicBezTo>
                  <a:pt x="11303654" y="6631000"/>
                  <a:pt x="11304942" y="6634314"/>
                  <a:pt x="11303641" y="6640310"/>
                </a:cubicBezTo>
                <a:cubicBezTo>
                  <a:pt x="11303323" y="6642248"/>
                  <a:pt x="11305626" y="6643260"/>
                  <a:pt x="11307050" y="6644287"/>
                </a:cubicBezTo>
                <a:cubicBezTo>
                  <a:pt x="11309535" y="6645647"/>
                  <a:pt x="11310974" y="6647553"/>
                  <a:pt x="11309793" y="6650385"/>
                </a:cubicBezTo>
                <a:cubicBezTo>
                  <a:pt x="11308612" y="6653217"/>
                  <a:pt x="11310053" y="6655122"/>
                  <a:pt x="11310446" y="6657574"/>
                </a:cubicBezTo>
                <a:cubicBezTo>
                  <a:pt x="11311433" y="6663704"/>
                  <a:pt x="11312797" y="6671408"/>
                  <a:pt x="11310237" y="6675846"/>
                </a:cubicBezTo>
                <a:cubicBezTo>
                  <a:pt x="11304604" y="6685435"/>
                  <a:pt x="11299500" y="6695191"/>
                  <a:pt x="11293686" y="6704432"/>
                </a:cubicBezTo>
                <a:cubicBezTo>
                  <a:pt x="11292988" y="6704797"/>
                  <a:pt x="11291594" y="6705525"/>
                  <a:pt x="11290883" y="6705011"/>
                </a:cubicBezTo>
                <a:cubicBezTo>
                  <a:pt x="11285761" y="6703700"/>
                  <a:pt x="11281171" y="6702555"/>
                  <a:pt x="11279006" y="6709445"/>
                </a:cubicBezTo>
                <a:cubicBezTo>
                  <a:pt x="11278522" y="6711915"/>
                  <a:pt x="11276567" y="6710721"/>
                  <a:pt x="11275491" y="6709511"/>
                </a:cubicBezTo>
                <a:cubicBezTo>
                  <a:pt x="11271355" y="6704142"/>
                  <a:pt x="11268567" y="6705599"/>
                  <a:pt x="11266205" y="6711263"/>
                </a:cubicBezTo>
                <a:cubicBezTo>
                  <a:pt x="11264691" y="6715155"/>
                  <a:pt x="11262934" y="6715187"/>
                  <a:pt x="11261115" y="6711708"/>
                </a:cubicBezTo>
                <a:cubicBezTo>
                  <a:pt x="11260024" y="6709620"/>
                  <a:pt x="11259448" y="6706820"/>
                  <a:pt x="11256130" y="6708111"/>
                </a:cubicBezTo>
                <a:cubicBezTo>
                  <a:pt x="11248435" y="6710362"/>
                  <a:pt x="11243102" y="6706947"/>
                  <a:pt x="11240177" y="6700501"/>
                </a:cubicBezTo>
                <a:cubicBezTo>
                  <a:pt x="11238162" y="6695796"/>
                  <a:pt x="11235678" y="6694437"/>
                  <a:pt x="11231632" y="6694336"/>
                </a:cubicBezTo>
                <a:cubicBezTo>
                  <a:pt x="11230905" y="6692943"/>
                  <a:pt x="11230178" y="6691553"/>
                  <a:pt x="11229450" y="6690160"/>
                </a:cubicBezTo>
                <a:cubicBezTo>
                  <a:pt x="11231843" y="6686251"/>
                  <a:pt x="11230887" y="6681878"/>
                  <a:pt x="11228024" y="6678945"/>
                </a:cubicBezTo>
                <a:cubicBezTo>
                  <a:pt x="11223009" y="6673592"/>
                  <a:pt x="11222552" y="6667628"/>
                  <a:pt x="11224900" y="6661085"/>
                </a:cubicBezTo>
                <a:cubicBezTo>
                  <a:pt x="11225732" y="6658436"/>
                  <a:pt x="11226747" y="6656133"/>
                  <a:pt x="11226170" y="6653333"/>
                </a:cubicBezTo>
                <a:cubicBezTo>
                  <a:pt x="11224868" y="6649141"/>
                  <a:pt x="11225866" y="6645961"/>
                  <a:pt x="11229880" y="6644306"/>
                </a:cubicBezTo>
                <a:cubicBezTo>
                  <a:pt x="11232667" y="6642850"/>
                  <a:pt x="11233849" y="6640017"/>
                  <a:pt x="11234166" y="6638079"/>
                </a:cubicBezTo>
                <a:cubicBezTo>
                  <a:pt x="11235725" y="6626633"/>
                  <a:pt x="11246799" y="6626604"/>
                  <a:pt x="11253569" y="6621736"/>
                </a:cubicBezTo>
                <a:cubicBezTo>
                  <a:pt x="11256524" y="6619750"/>
                  <a:pt x="11262234" y="6614550"/>
                  <a:pt x="11264900" y="6616258"/>
                </a:cubicBezTo>
                <a:close/>
                <a:moveTo>
                  <a:pt x="9839371" y="6615337"/>
                </a:moveTo>
                <a:lnTo>
                  <a:pt x="9810628" y="6624191"/>
                </a:lnTo>
                <a:lnTo>
                  <a:pt x="9810214" y="6624189"/>
                </a:lnTo>
                <a:cubicBezTo>
                  <a:pt x="9808599" y="6624324"/>
                  <a:pt x="9806634" y="6624738"/>
                  <a:pt x="9805225" y="6625856"/>
                </a:cubicBezTo>
                <a:lnTo>
                  <a:pt x="9810628" y="6624191"/>
                </a:lnTo>
                <a:lnTo>
                  <a:pt x="9813092" y="6624200"/>
                </a:lnTo>
                <a:cubicBezTo>
                  <a:pt x="9812514" y="6629252"/>
                  <a:pt x="9809698" y="6631489"/>
                  <a:pt x="9804646" y="6630908"/>
                </a:cubicBezTo>
                <a:cubicBezTo>
                  <a:pt x="9804646" y="6630908"/>
                  <a:pt x="9804646" y="6630908"/>
                  <a:pt x="9801830" y="6633143"/>
                </a:cubicBezTo>
                <a:lnTo>
                  <a:pt x="9834408" y="6625979"/>
                </a:lnTo>
                <a:lnTo>
                  <a:pt x="9837801" y="6619205"/>
                </a:lnTo>
                <a:cubicBezTo>
                  <a:pt x="9839194" y="6619256"/>
                  <a:pt x="9840081" y="6617403"/>
                  <a:pt x="9839063" y="6616054"/>
                </a:cubicBezTo>
                <a:close/>
                <a:moveTo>
                  <a:pt x="5312027" y="6606537"/>
                </a:moveTo>
                <a:cubicBezTo>
                  <a:pt x="5314683" y="6607327"/>
                  <a:pt x="5316998" y="6608304"/>
                  <a:pt x="5319791" y="6607683"/>
                </a:cubicBezTo>
                <a:cubicBezTo>
                  <a:pt x="5323963" y="6606311"/>
                  <a:pt x="5327160" y="6607260"/>
                  <a:pt x="5328874" y="6611246"/>
                </a:cubicBezTo>
                <a:cubicBezTo>
                  <a:pt x="5330375" y="6614010"/>
                  <a:pt x="5333233" y="6615145"/>
                  <a:pt x="5335174" y="6615432"/>
                </a:cubicBezTo>
                <a:cubicBezTo>
                  <a:pt x="5346644" y="6616805"/>
                  <a:pt x="5346846" y="6627878"/>
                  <a:pt x="5351828" y="6634569"/>
                </a:cubicBezTo>
                <a:cubicBezTo>
                  <a:pt x="5353858" y="6637490"/>
                  <a:pt x="5359152" y="6643116"/>
                  <a:pt x="5357485" y="6645810"/>
                </a:cubicBezTo>
                <a:cubicBezTo>
                  <a:pt x="5352846" y="6653703"/>
                  <a:pt x="5361418" y="6662913"/>
                  <a:pt x="5353416" y="6670390"/>
                </a:cubicBezTo>
                <a:cubicBezTo>
                  <a:pt x="5351030" y="6672582"/>
                  <a:pt x="5351932" y="6678354"/>
                  <a:pt x="5345701" y="6675926"/>
                </a:cubicBezTo>
                <a:cubicBezTo>
                  <a:pt x="5343918" y="6675107"/>
                  <a:pt x="5342032" y="6676576"/>
                  <a:pt x="5342440" y="6678146"/>
                </a:cubicBezTo>
                <a:cubicBezTo>
                  <a:pt x="5343372" y="6684797"/>
                  <a:pt x="5340081" y="6686138"/>
                  <a:pt x="5334057" y="6684933"/>
                </a:cubicBezTo>
                <a:cubicBezTo>
                  <a:pt x="5332117" y="6684647"/>
                  <a:pt x="5331143" y="6686966"/>
                  <a:pt x="5330143" y="6688406"/>
                </a:cubicBezTo>
                <a:cubicBezTo>
                  <a:pt x="5328819" y="6690912"/>
                  <a:pt x="5326941" y="6692383"/>
                  <a:pt x="5324086" y="6691247"/>
                </a:cubicBezTo>
                <a:cubicBezTo>
                  <a:pt x="5321237" y="6690112"/>
                  <a:pt x="5319359" y="6691582"/>
                  <a:pt x="5316910" y="6692016"/>
                </a:cubicBezTo>
                <a:cubicBezTo>
                  <a:pt x="5310800" y="6693100"/>
                  <a:pt x="5303117" y="6694589"/>
                  <a:pt x="5298630" y="6692102"/>
                </a:cubicBezTo>
                <a:cubicBezTo>
                  <a:pt x="5288960" y="6686623"/>
                  <a:pt x="5279122" y="6681678"/>
                  <a:pt x="5269787" y="6676012"/>
                </a:cubicBezTo>
                <a:cubicBezTo>
                  <a:pt x="5269414" y="6675320"/>
                  <a:pt x="5268665" y="6673939"/>
                  <a:pt x="5269163" y="6673219"/>
                </a:cubicBezTo>
                <a:cubicBezTo>
                  <a:pt x="5270396" y="6668077"/>
                  <a:pt x="5271466" y="6663470"/>
                  <a:pt x="5264537" y="6661416"/>
                </a:cubicBezTo>
                <a:cubicBezTo>
                  <a:pt x="5262064" y="6660971"/>
                  <a:pt x="5263226" y="6658998"/>
                  <a:pt x="5264417" y="6657903"/>
                </a:cubicBezTo>
                <a:cubicBezTo>
                  <a:pt x="5269715" y="6653680"/>
                  <a:pt x="5268220" y="6650917"/>
                  <a:pt x="5262518" y="6648646"/>
                </a:cubicBezTo>
                <a:cubicBezTo>
                  <a:pt x="5258601" y="6647194"/>
                  <a:pt x="5258545" y="6645439"/>
                  <a:pt x="5261992" y="6643563"/>
                </a:cubicBezTo>
                <a:cubicBezTo>
                  <a:pt x="5264061" y="6642439"/>
                  <a:pt x="5266848" y="6641817"/>
                  <a:pt x="5265509" y="6638522"/>
                </a:cubicBezTo>
                <a:cubicBezTo>
                  <a:pt x="5263139" y="6630864"/>
                  <a:pt x="5266463" y="6625476"/>
                  <a:pt x="5272859" y="6622447"/>
                </a:cubicBezTo>
                <a:cubicBezTo>
                  <a:pt x="5277528" y="6620357"/>
                  <a:pt x="5278846" y="6617850"/>
                  <a:pt x="5278887" y="6613804"/>
                </a:cubicBezTo>
                <a:cubicBezTo>
                  <a:pt x="5280262" y="6613055"/>
                  <a:pt x="5281639" y="6612305"/>
                  <a:pt x="5283024" y="6611554"/>
                </a:cubicBezTo>
                <a:cubicBezTo>
                  <a:pt x="5286967" y="6613884"/>
                  <a:pt x="5291327" y="6612859"/>
                  <a:pt x="5294212" y="6609949"/>
                </a:cubicBezTo>
                <a:cubicBezTo>
                  <a:pt x="5299484" y="6604847"/>
                  <a:pt x="5305442" y="6604296"/>
                  <a:pt x="5312027" y="6606537"/>
                </a:cubicBezTo>
                <a:close/>
                <a:moveTo>
                  <a:pt x="8848411" y="6600411"/>
                </a:moveTo>
                <a:cubicBezTo>
                  <a:pt x="8855699" y="6603808"/>
                  <a:pt x="8860751" y="6604389"/>
                  <a:pt x="8857935" y="6606624"/>
                </a:cubicBezTo>
                <a:cubicBezTo>
                  <a:pt x="8852883" y="6606044"/>
                  <a:pt x="8845595" y="6602648"/>
                  <a:pt x="8848411" y="6600411"/>
                </a:cubicBezTo>
                <a:close/>
                <a:moveTo>
                  <a:pt x="10322396" y="6592927"/>
                </a:moveTo>
                <a:cubicBezTo>
                  <a:pt x="10324216" y="6591162"/>
                  <a:pt x="10329526" y="6594330"/>
                  <a:pt x="10332160" y="6595418"/>
                </a:cubicBezTo>
                <a:cubicBezTo>
                  <a:pt x="10338248" y="6598156"/>
                  <a:pt x="10346941" y="6596412"/>
                  <a:pt x="10349990" y="6605145"/>
                </a:cubicBezTo>
                <a:cubicBezTo>
                  <a:pt x="10350549" y="6606614"/>
                  <a:pt x="10351926" y="6608648"/>
                  <a:pt x="10354346" y="6609346"/>
                </a:cubicBezTo>
                <a:cubicBezTo>
                  <a:pt x="10357758" y="6610005"/>
                  <a:pt x="10359051" y="6612340"/>
                  <a:pt x="10358697" y="6615837"/>
                </a:cubicBezTo>
                <a:cubicBezTo>
                  <a:pt x="10358690" y="6618125"/>
                  <a:pt x="10359854" y="6619769"/>
                  <a:pt x="10360930" y="6621716"/>
                </a:cubicBezTo>
                <a:cubicBezTo>
                  <a:pt x="10363815" y="6626474"/>
                  <a:pt x="10364410" y="6631225"/>
                  <a:pt x="10361329" y="6636225"/>
                </a:cubicBezTo>
                <a:cubicBezTo>
                  <a:pt x="10359550" y="6638984"/>
                  <a:pt x="10359498" y="6642567"/>
                  <a:pt x="10361998" y="6645252"/>
                </a:cubicBezTo>
                <a:cubicBezTo>
                  <a:pt x="10361650" y="6646460"/>
                  <a:pt x="10361301" y="6647668"/>
                  <a:pt x="10360952" y="6648876"/>
                </a:cubicBezTo>
                <a:cubicBezTo>
                  <a:pt x="10357796" y="6649601"/>
                  <a:pt x="10356062" y="6651063"/>
                  <a:pt x="10355232" y="6655076"/>
                </a:cubicBezTo>
                <a:cubicBezTo>
                  <a:pt x="10353965" y="6660600"/>
                  <a:pt x="10350325" y="6664130"/>
                  <a:pt x="10343930" y="6663592"/>
                </a:cubicBezTo>
                <a:cubicBezTo>
                  <a:pt x="10341120" y="6663108"/>
                  <a:pt x="10341116" y="6665397"/>
                  <a:pt x="10340592" y="6667208"/>
                </a:cubicBezTo>
                <a:cubicBezTo>
                  <a:pt x="10339721" y="6670229"/>
                  <a:pt x="10338337" y="6670484"/>
                  <a:pt x="10336528" y="6667672"/>
                </a:cubicBezTo>
                <a:cubicBezTo>
                  <a:pt x="10333771" y="6663604"/>
                  <a:pt x="10331352" y="6662906"/>
                  <a:pt x="10328963" y="6667779"/>
                </a:cubicBezTo>
                <a:cubicBezTo>
                  <a:pt x="10328312" y="6668899"/>
                  <a:pt x="10326969" y="6670147"/>
                  <a:pt x="10326196" y="6668288"/>
                </a:cubicBezTo>
                <a:cubicBezTo>
                  <a:pt x="10323397" y="6663227"/>
                  <a:pt x="10319979" y="6664858"/>
                  <a:pt x="10316170" y="6666703"/>
                </a:cubicBezTo>
                <a:cubicBezTo>
                  <a:pt x="10315693" y="6667220"/>
                  <a:pt x="10314484" y="6666870"/>
                  <a:pt x="10313880" y="6666696"/>
                </a:cubicBezTo>
                <a:cubicBezTo>
                  <a:pt x="10307842" y="6660373"/>
                  <a:pt x="10302282" y="6653534"/>
                  <a:pt x="10296332" y="6646910"/>
                </a:cubicBezTo>
                <a:cubicBezTo>
                  <a:pt x="10293616" y="6643835"/>
                  <a:pt x="10293458" y="6637574"/>
                  <a:pt x="10293255" y="6632608"/>
                </a:cubicBezTo>
                <a:cubicBezTo>
                  <a:pt x="10293173" y="6630622"/>
                  <a:pt x="10293998" y="6628897"/>
                  <a:pt x="10292619" y="6626862"/>
                </a:cubicBezTo>
                <a:cubicBezTo>
                  <a:pt x="10291241" y="6624829"/>
                  <a:pt x="10292066" y="6623104"/>
                  <a:pt x="10293798" y="6621642"/>
                </a:cubicBezTo>
                <a:cubicBezTo>
                  <a:pt x="10294753" y="6620608"/>
                  <a:pt x="10296398" y="6619447"/>
                  <a:pt x="10295840" y="6617977"/>
                </a:cubicBezTo>
                <a:cubicBezTo>
                  <a:pt x="10293862" y="6613480"/>
                  <a:pt x="10294343" y="6610675"/>
                  <a:pt x="10299705" y="6610260"/>
                </a:cubicBezTo>
                <a:cubicBezTo>
                  <a:pt x="10301001" y="6610307"/>
                  <a:pt x="10301826" y="6608582"/>
                  <a:pt x="10300878" y="6607328"/>
                </a:cubicBezTo>
                <a:cubicBezTo>
                  <a:pt x="10297906" y="6602870"/>
                  <a:pt x="10302576" y="6602583"/>
                  <a:pt x="10303877" y="6600341"/>
                </a:cubicBezTo>
                <a:cubicBezTo>
                  <a:pt x="10308348" y="6592799"/>
                  <a:pt x="10317024" y="6597920"/>
                  <a:pt x="10322396" y="6592927"/>
                </a:cubicBezTo>
                <a:close/>
                <a:moveTo>
                  <a:pt x="8098835" y="6569115"/>
                </a:moveTo>
                <a:lnTo>
                  <a:pt x="8098582" y="6569379"/>
                </a:lnTo>
                <a:lnTo>
                  <a:pt x="8098418" y="6569119"/>
                </a:lnTo>
                <a:close/>
                <a:moveTo>
                  <a:pt x="5776625" y="6567775"/>
                </a:moveTo>
                <a:cubicBezTo>
                  <a:pt x="5779175" y="6566937"/>
                  <a:pt x="5779672" y="6568854"/>
                  <a:pt x="5780894" y="6570101"/>
                </a:cubicBezTo>
                <a:cubicBezTo>
                  <a:pt x="5781561" y="6570831"/>
                  <a:pt x="5782137" y="6571885"/>
                  <a:pt x="5782919" y="6572826"/>
                </a:cubicBezTo>
                <a:cubicBezTo>
                  <a:pt x="5786647" y="6578177"/>
                  <a:pt x="5790494" y="6577725"/>
                  <a:pt x="5793510" y="6571715"/>
                </a:cubicBezTo>
                <a:cubicBezTo>
                  <a:pt x="5793913" y="6570949"/>
                  <a:pt x="5794107" y="6570298"/>
                  <a:pt x="5794624" y="6569743"/>
                </a:cubicBezTo>
                <a:cubicBezTo>
                  <a:pt x="5795547" y="6568424"/>
                  <a:pt x="5797005" y="6567085"/>
                  <a:pt x="5798534" y="6567893"/>
                </a:cubicBezTo>
                <a:cubicBezTo>
                  <a:pt x="5799951" y="6568490"/>
                  <a:pt x="5799909" y="6570424"/>
                  <a:pt x="5799524" y="6571725"/>
                </a:cubicBezTo>
                <a:cubicBezTo>
                  <a:pt x="5799139" y="6573028"/>
                  <a:pt x="5798641" y="6574119"/>
                  <a:pt x="5797928" y="6575324"/>
                </a:cubicBezTo>
                <a:cubicBezTo>
                  <a:pt x="5797143" y="6577392"/>
                  <a:pt x="5797406" y="6578886"/>
                  <a:pt x="5799588" y="6579887"/>
                </a:cubicBezTo>
                <a:cubicBezTo>
                  <a:pt x="5804505" y="6582405"/>
                  <a:pt x="5807334" y="6586607"/>
                  <a:pt x="5809951" y="6590922"/>
                </a:cubicBezTo>
                <a:cubicBezTo>
                  <a:pt x="5813241" y="6595965"/>
                  <a:pt x="5815589" y="6601794"/>
                  <a:pt x="5819715" y="6606381"/>
                </a:cubicBezTo>
                <a:cubicBezTo>
                  <a:pt x="5821170" y="6608050"/>
                  <a:pt x="5820478" y="6609791"/>
                  <a:pt x="5819881" y="6611208"/>
                </a:cubicBezTo>
                <a:cubicBezTo>
                  <a:pt x="5818113" y="6615994"/>
                  <a:pt x="5816234" y="6620569"/>
                  <a:pt x="5820782" y="6624926"/>
                </a:cubicBezTo>
                <a:cubicBezTo>
                  <a:pt x="5821565" y="6625867"/>
                  <a:pt x="5821068" y="6626958"/>
                  <a:pt x="5820454" y="6627838"/>
                </a:cubicBezTo>
                <a:cubicBezTo>
                  <a:pt x="5817496" y="6632449"/>
                  <a:pt x="5816186" y="6638079"/>
                  <a:pt x="5814321" y="6643190"/>
                </a:cubicBezTo>
                <a:cubicBezTo>
                  <a:pt x="5811476" y="6651021"/>
                  <a:pt x="5806850" y="6657085"/>
                  <a:pt x="5798444" y="6659195"/>
                </a:cubicBezTo>
                <a:cubicBezTo>
                  <a:pt x="5795146" y="6660167"/>
                  <a:pt x="5794165" y="6662885"/>
                  <a:pt x="5793396" y="6665489"/>
                </a:cubicBezTo>
                <a:cubicBezTo>
                  <a:pt x="5791455" y="6671463"/>
                  <a:pt x="5789229" y="6672397"/>
                  <a:pt x="5783777" y="6669897"/>
                </a:cubicBezTo>
                <a:cubicBezTo>
                  <a:pt x="5778094" y="6666975"/>
                  <a:pt x="5778094" y="6666975"/>
                  <a:pt x="5775516" y="6673291"/>
                </a:cubicBezTo>
                <a:cubicBezTo>
                  <a:pt x="5774917" y="6674708"/>
                  <a:pt x="5774424" y="6675799"/>
                  <a:pt x="5772470" y="6675221"/>
                </a:cubicBezTo>
                <a:cubicBezTo>
                  <a:pt x="5765331" y="6673636"/>
                  <a:pt x="5758416" y="6672474"/>
                  <a:pt x="5751372" y="6670565"/>
                </a:cubicBezTo>
                <a:cubicBezTo>
                  <a:pt x="5746069" y="6669348"/>
                  <a:pt x="5741573" y="6666600"/>
                  <a:pt x="5737995" y="6662532"/>
                </a:cubicBezTo>
                <a:cubicBezTo>
                  <a:pt x="5735549" y="6660038"/>
                  <a:pt x="5724863" y="6658465"/>
                  <a:pt x="5721587" y="6659974"/>
                </a:cubicBezTo>
                <a:cubicBezTo>
                  <a:pt x="5720535" y="6660545"/>
                  <a:pt x="5719690" y="6661004"/>
                  <a:pt x="5719957" y="6662499"/>
                </a:cubicBezTo>
                <a:cubicBezTo>
                  <a:pt x="5720557" y="6670642"/>
                  <a:pt x="5716582" y="6676899"/>
                  <a:pt x="5711959" y="6682964"/>
                </a:cubicBezTo>
                <a:cubicBezTo>
                  <a:pt x="5711041" y="6684284"/>
                  <a:pt x="5710216" y="6685278"/>
                  <a:pt x="5709504" y="6686484"/>
                </a:cubicBezTo>
                <a:cubicBezTo>
                  <a:pt x="5707273" y="6690426"/>
                  <a:pt x="5704899" y="6693085"/>
                  <a:pt x="5699882" y="6693899"/>
                </a:cubicBezTo>
                <a:cubicBezTo>
                  <a:pt x="5694860" y="6694714"/>
                  <a:pt x="5691903" y="6699324"/>
                  <a:pt x="5689257" y="6703496"/>
                </a:cubicBezTo>
                <a:cubicBezTo>
                  <a:pt x="5687816" y="6705371"/>
                  <a:pt x="5686778" y="6706480"/>
                  <a:pt x="5684078" y="6706034"/>
                </a:cubicBezTo>
                <a:cubicBezTo>
                  <a:pt x="5672864" y="6704481"/>
                  <a:pt x="5661600" y="6704862"/>
                  <a:pt x="5650814" y="6709633"/>
                </a:cubicBezTo>
                <a:cubicBezTo>
                  <a:pt x="5649220" y="6710222"/>
                  <a:pt x="5648361" y="6710144"/>
                  <a:pt x="5647978" y="6708439"/>
                </a:cubicBezTo>
                <a:cubicBezTo>
                  <a:pt x="5646033" y="6701846"/>
                  <a:pt x="5640814" y="6699767"/>
                  <a:pt x="5634893" y="6698893"/>
                </a:cubicBezTo>
                <a:cubicBezTo>
                  <a:pt x="5632196" y="6698448"/>
                  <a:pt x="5630454" y="6697755"/>
                  <a:pt x="5630230" y="6694325"/>
                </a:cubicBezTo>
                <a:cubicBezTo>
                  <a:pt x="5630292" y="6689920"/>
                  <a:pt x="5626887" y="6687671"/>
                  <a:pt x="5623077" y="6686190"/>
                </a:cubicBezTo>
                <a:cubicBezTo>
                  <a:pt x="5619921" y="6684900"/>
                  <a:pt x="5616345" y="6683840"/>
                  <a:pt x="5613182" y="6682551"/>
                </a:cubicBezTo>
                <a:cubicBezTo>
                  <a:pt x="5611709" y="6681848"/>
                  <a:pt x="5610636" y="6680999"/>
                  <a:pt x="5610330" y="6680003"/>
                </a:cubicBezTo>
                <a:cubicBezTo>
                  <a:pt x="5610025" y="6679006"/>
                  <a:pt x="5610500" y="6677861"/>
                  <a:pt x="5612119" y="6676571"/>
                </a:cubicBezTo>
                <a:cubicBezTo>
                  <a:pt x="5612963" y="6676114"/>
                  <a:pt x="5613691" y="6675444"/>
                  <a:pt x="5614306" y="6674564"/>
                </a:cubicBezTo>
                <a:cubicBezTo>
                  <a:pt x="5615127" y="6673569"/>
                  <a:pt x="5616816" y="6672653"/>
                  <a:pt x="5616226" y="6671062"/>
                </a:cubicBezTo>
                <a:cubicBezTo>
                  <a:pt x="5615538" y="6669796"/>
                  <a:pt x="5614022" y="6669525"/>
                  <a:pt x="5612842" y="6669350"/>
                </a:cubicBezTo>
                <a:cubicBezTo>
                  <a:pt x="5607536" y="6668134"/>
                  <a:pt x="5607061" y="6666754"/>
                  <a:pt x="5610458" y="6662450"/>
                </a:cubicBezTo>
                <a:cubicBezTo>
                  <a:pt x="5611279" y="6661455"/>
                  <a:pt x="5612010" y="6660786"/>
                  <a:pt x="5612507" y="6659696"/>
                </a:cubicBezTo>
                <a:cubicBezTo>
                  <a:pt x="5613314" y="6658164"/>
                  <a:pt x="5613910" y="6656748"/>
                  <a:pt x="5611920" y="6655096"/>
                </a:cubicBezTo>
                <a:cubicBezTo>
                  <a:pt x="5609837" y="6653770"/>
                  <a:pt x="5608996" y="6654229"/>
                  <a:pt x="5607534" y="6655567"/>
                </a:cubicBezTo>
                <a:lnTo>
                  <a:pt x="5604540" y="6657655"/>
                </a:lnTo>
                <a:lnTo>
                  <a:pt x="5611978" y="6632259"/>
                </a:lnTo>
                <a:lnTo>
                  <a:pt x="5613830" y="6632475"/>
                </a:lnTo>
                <a:cubicBezTo>
                  <a:pt x="5615955" y="6631865"/>
                  <a:pt x="5616879" y="6630546"/>
                  <a:pt x="5616802" y="6628400"/>
                </a:cubicBezTo>
                <a:cubicBezTo>
                  <a:pt x="5616746" y="6626791"/>
                  <a:pt x="5616485" y="6625296"/>
                  <a:pt x="5616426" y="6623687"/>
                </a:cubicBezTo>
                <a:cubicBezTo>
                  <a:pt x="5616335" y="6621004"/>
                  <a:pt x="5617357" y="6619359"/>
                  <a:pt x="5620112" y="6618406"/>
                </a:cubicBezTo>
                <a:cubicBezTo>
                  <a:pt x="5628386" y="6615548"/>
                  <a:pt x="5632167" y="6609942"/>
                  <a:pt x="5631876" y="6601358"/>
                </a:cubicBezTo>
                <a:cubicBezTo>
                  <a:pt x="5631932" y="6599960"/>
                  <a:pt x="5630462" y="6597754"/>
                  <a:pt x="5632591" y="6597145"/>
                </a:cubicBezTo>
                <a:cubicBezTo>
                  <a:pt x="5634598" y="6596325"/>
                  <a:pt x="5636054" y="6597995"/>
                  <a:pt x="5637297" y="6599779"/>
                </a:cubicBezTo>
                <a:cubicBezTo>
                  <a:pt x="5637410" y="6599989"/>
                  <a:pt x="5637524" y="6600201"/>
                  <a:pt x="5637639" y="6600412"/>
                </a:cubicBezTo>
                <a:cubicBezTo>
                  <a:pt x="5641214" y="6605016"/>
                  <a:pt x="5644333" y="6605232"/>
                  <a:pt x="5646966" y="6600524"/>
                </a:cubicBezTo>
                <a:cubicBezTo>
                  <a:pt x="5649498" y="6596142"/>
                  <a:pt x="5652799" y="6595172"/>
                  <a:pt x="5657104" y="6595562"/>
                </a:cubicBezTo>
                <a:cubicBezTo>
                  <a:pt x="5662806" y="6596014"/>
                  <a:pt x="5668385" y="6595717"/>
                  <a:pt x="5672965" y="6591588"/>
                </a:cubicBezTo>
                <a:cubicBezTo>
                  <a:pt x="5674943" y="6589695"/>
                  <a:pt x="5677259" y="6591442"/>
                  <a:pt x="5678478" y="6592690"/>
                </a:cubicBezTo>
                <a:cubicBezTo>
                  <a:pt x="5683355" y="6597143"/>
                  <a:pt x="5688315" y="6597727"/>
                  <a:pt x="5694142" y="6595382"/>
                </a:cubicBezTo>
                <a:cubicBezTo>
                  <a:pt x="5697740" y="6593971"/>
                  <a:pt x="5699062" y="6594892"/>
                  <a:pt x="5698786" y="6599413"/>
                </a:cubicBezTo>
                <a:cubicBezTo>
                  <a:pt x="5698258" y="6608991"/>
                  <a:pt x="5707151" y="6617819"/>
                  <a:pt x="5716248" y="6616974"/>
                </a:cubicBezTo>
                <a:cubicBezTo>
                  <a:pt x="5718068" y="6616806"/>
                  <a:pt x="5720424" y="6616618"/>
                  <a:pt x="5720886" y="6614454"/>
                </a:cubicBezTo>
                <a:cubicBezTo>
                  <a:pt x="5721352" y="6612291"/>
                  <a:pt x="5720834" y="6609837"/>
                  <a:pt x="5718541" y="6608626"/>
                </a:cubicBezTo>
                <a:cubicBezTo>
                  <a:pt x="5717217" y="6607704"/>
                  <a:pt x="5715475" y="6607012"/>
                  <a:pt x="5713946" y="6606204"/>
                </a:cubicBezTo>
                <a:cubicBezTo>
                  <a:pt x="5712204" y="6605511"/>
                  <a:pt x="5710886" y="6604589"/>
                  <a:pt x="5711577" y="6602847"/>
                </a:cubicBezTo>
                <a:cubicBezTo>
                  <a:pt x="5712364" y="6600780"/>
                  <a:pt x="5714088" y="6600935"/>
                  <a:pt x="5715716" y="6601418"/>
                </a:cubicBezTo>
                <a:cubicBezTo>
                  <a:pt x="5717228" y="6601690"/>
                  <a:pt x="5718759" y="6602497"/>
                  <a:pt x="5720060" y="6602882"/>
                </a:cubicBezTo>
                <a:cubicBezTo>
                  <a:pt x="5722988" y="6603750"/>
                  <a:pt x="5726093" y="6603429"/>
                  <a:pt x="5727168" y="6600386"/>
                </a:cubicBezTo>
                <a:cubicBezTo>
                  <a:pt x="5727940" y="6597782"/>
                  <a:pt x="5724991" y="6596377"/>
                  <a:pt x="5722809" y="6595377"/>
                </a:cubicBezTo>
                <a:cubicBezTo>
                  <a:pt x="5720955" y="6594474"/>
                  <a:pt x="5718482" y="6594449"/>
                  <a:pt x="5716820" y="6592895"/>
                </a:cubicBezTo>
                <a:cubicBezTo>
                  <a:pt x="5714274" y="6590726"/>
                  <a:pt x="5713780" y="6588809"/>
                  <a:pt x="5717270" y="6587186"/>
                </a:cubicBezTo>
                <a:cubicBezTo>
                  <a:pt x="5722022" y="6584878"/>
                  <a:pt x="5726846" y="6584715"/>
                  <a:pt x="5731805" y="6585299"/>
                </a:cubicBezTo>
                <a:cubicBezTo>
                  <a:pt x="5738163" y="6585943"/>
                  <a:pt x="5740806" y="6584779"/>
                  <a:pt x="5743403" y="6578998"/>
                </a:cubicBezTo>
                <a:cubicBezTo>
                  <a:pt x="5744515" y="6577027"/>
                  <a:pt x="5745073" y="6574538"/>
                  <a:pt x="5745748" y="6572259"/>
                </a:cubicBezTo>
                <a:cubicBezTo>
                  <a:pt x="5746037" y="6571282"/>
                  <a:pt x="5746095" y="6569884"/>
                  <a:pt x="5747379" y="6569733"/>
                </a:cubicBezTo>
                <a:cubicBezTo>
                  <a:pt x="5748873" y="6569468"/>
                  <a:pt x="5749657" y="6570407"/>
                  <a:pt x="5749905" y="6571366"/>
                </a:cubicBezTo>
                <a:cubicBezTo>
                  <a:pt x="5751126" y="6575621"/>
                  <a:pt x="5753269" y="6575549"/>
                  <a:pt x="5756526" y="6573505"/>
                </a:cubicBezTo>
                <a:cubicBezTo>
                  <a:pt x="5760630" y="6571002"/>
                  <a:pt x="5765070" y="6572141"/>
                  <a:pt x="5768996" y="6573834"/>
                </a:cubicBezTo>
                <a:cubicBezTo>
                  <a:pt x="5772153" y="6575124"/>
                  <a:pt x="5773741" y="6574532"/>
                  <a:pt x="5774166" y="6571296"/>
                </a:cubicBezTo>
                <a:cubicBezTo>
                  <a:pt x="5774322" y="6569572"/>
                  <a:pt x="5774709" y="6568269"/>
                  <a:pt x="5776625" y="6567775"/>
                </a:cubicBezTo>
                <a:close/>
                <a:moveTo>
                  <a:pt x="5631183" y="6566685"/>
                </a:moveTo>
                <a:lnTo>
                  <a:pt x="5631558" y="6567106"/>
                </a:lnTo>
                <a:lnTo>
                  <a:pt x="5631065" y="6567084"/>
                </a:lnTo>
                <a:close/>
                <a:moveTo>
                  <a:pt x="2214007" y="6557011"/>
                </a:moveTo>
                <a:cubicBezTo>
                  <a:pt x="2217713" y="6559030"/>
                  <a:pt x="2220979" y="6560921"/>
                  <a:pt x="2224939" y="6562064"/>
                </a:cubicBezTo>
                <a:cubicBezTo>
                  <a:pt x="2228901" y="6563207"/>
                  <a:pt x="2232099" y="6566978"/>
                  <a:pt x="2232851" y="6570990"/>
                </a:cubicBezTo>
                <a:cubicBezTo>
                  <a:pt x="2233284" y="6574436"/>
                  <a:pt x="2234097" y="6576570"/>
                  <a:pt x="2236358" y="6578645"/>
                </a:cubicBezTo>
                <a:cubicBezTo>
                  <a:pt x="2234842" y="6583901"/>
                  <a:pt x="2233325" y="6589157"/>
                  <a:pt x="2231808" y="6594413"/>
                </a:cubicBezTo>
                <a:cubicBezTo>
                  <a:pt x="2226775" y="6595333"/>
                  <a:pt x="2222244" y="6597821"/>
                  <a:pt x="2219347" y="6601256"/>
                </a:cubicBezTo>
                <a:cubicBezTo>
                  <a:pt x="2216137" y="6604124"/>
                  <a:pt x="2213238" y="6607558"/>
                  <a:pt x="2209901" y="6610865"/>
                </a:cubicBezTo>
                <a:cubicBezTo>
                  <a:pt x="2206690" y="6613734"/>
                  <a:pt x="2203353" y="6617041"/>
                  <a:pt x="2201647" y="6621293"/>
                </a:cubicBezTo>
                <a:cubicBezTo>
                  <a:pt x="2199630" y="6624982"/>
                  <a:pt x="2196484" y="6625972"/>
                  <a:pt x="2192772" y="6627273"/>
                </a:cubicBezTo>
                <a:cubicBezTo>
                  <a:pt x="2189060" y="6628574"/>
                  <a:pt x="2184788" y="6626866"/>
                  <a:pt x="2181703" y="6629297"/>
                </a:cubicBezTo>
                <a:cubicBezTo>
                  <a:pt x="2178623" y="6628407"/>
                  <a:pt x="2175983" y="6627646"/>
                  <a:pt x="2172904" y="6626756"/>
                </a:cubicBezTo>
                <a:cubicBezTo>
                  <a:pt x="2173282" y="6625443"/>
                  <a:pt x="2172969" y="6624878"/>
                  <a:pt x="2172091" y="6624624"/>
                </a:cubicBezTo>
                <a:cubicBezTo>
                  <a:pt x="2165491" y="6622719"/>
                  <a:pt x="2163235" y="6617323"/>
                  <a:pt x="2162551" y="6611433"/>
                </a:cubicBezTo>
                <a:cubicBezTo>
                  <a:pt x="2161742" y="6605980"/>
                  <a:pt x="2160367" y="6600838"/>
                  <a:pt x="2162892" y="6595398"/>
                </a:cubicBezTo>
                <a:cubicBezTo>
                  <a:pt x="2165980" y="6589647"/>
                  <a:pt x="2167437" y="6582950"/>
                  <a:pt x="2174106" y="6579657"/>
                </a:cubicBezTo>
                <a:cubicBezTo>
                  <a:pt x="2176373" y="6578413"/>
                  <a:pt x="2178511" y="6577607"/>
                  <a:pt x="2181843" y="6577620"/>
                </a:cubicBezTo>
                <a:cubicBezTo>
                  <a:pt x="2186622" y="6577575"/>
                  <a:pt x="2192533" y="6576909"/>
                  <a:pt x="2193238" y="6569520"/>
                </a:cubicBezTo>
                <a:cubicBezTo>
                  <a:pt x="2193556" y="6566765"/>
                  <a:pt x="2196448" y="6566652"/>
                  <a:pt x="2197267" y="6565464"/>
                </a:cubicBezTo>
                <a:cubicBezTo>
                  <a:pt x="2201490" y="6559092"/>
                  <a:pt x="2207656" y="6557549"/>
                  <a:pt x="2214007" y="6557011"/>
                </a:cubicBezTo>
                <a:close/>
                <a:moveTo>
                  <a:pt x="560874" y="6537744"/>
                </a:moveTo>
                <a:cubicBezTo>
                  <a:pt x="562694" y="6535979"/>
                  <a:pt x="568004" y="6539148"/>
                  <a:pt x="570638" y="6540235"/>
                </a:cubicBezTo>
                <a:cubicBezTo>
                  <a:pt x="576726" y="6542974"/>
                  <a:pt x="585420" y="6541230"/>
                  <a:pt x="588468" y="6549962"/>
                </a:cubicBezTo>
                <a:cubicBezTo>
                  <a:pt x="589026" y="6551432"/>
                  <a:pt x="590405" y="6553465"/>
                  <a:pt x="592824" y="6554163"/>
                </a:cubicBezTo>
                <a:cubicBezTo>
                  <a:pt x="596237" y="6554822"/>
                  <a:pt x="597529" y="6557157"/>
                  <a:pt x="597174" y="6560653"/>
                </a:cubicBezTo>
                <a:cubicBezTo>
                  <a:pt x="597169" y="6562942"/>
                  <a:pt x="598332" y="6564586"/>
                  <a:pt x="599408" y="6566533"/>
                </a:cubicBezTo>
                <a:cubicBezTo>
                  <a:pt x="602293" y="6571291"/>
                  <a:pt x="602887" y="6576042"/>
                  <a:pt x="599806" y="6581042"/>
                </a:cubicBezTo>
                <a:cubicBezTo>
                  <a:pt x="598027" y="6583801"/>
                  <a:pt x="597976" y="6587384"/>
                  <a:pt x="600476" y="6590069"/>
                </a:cubicBezTo>
                <a:cubicBezTo>
                  <a:pt x="600128" y="6591277"/>
                  <a:pt x="599779" y="6592485"/>
                  <a:pt x="599431" y="6593693"/>
                </a:cubicBezTo>
                <a:cubicBezTo>
                  <a:pt x="596273" y="6594417"/>
                  <a:pt x="594540" y="6595881"/>
                  <a:pt x="593710" y="6599894"/>
                </a:cubicBezTo>
                <a:cubicBezTo>
                  <a:pt x="592443" y="6605417"/>
                  <a:pt x="588803" y="6608947"/>
                  <a:pt x="582407" y="6608409"/>
                </a:cubicBezTo>
                <a:cubicBezTo>
                  <a:pt x="579599" y="6607925"/>
                  <a:pt x="579593" y="6610215"/>
                  <a:pt x="579071" y="6612025"/>
                </a:cubicBezTo>
                <a:cubicBezTo>
                  <a:pt x="578198" y="6615046"/>
                  <a:pt x="576815" y="6615301"/>
                  <a:pt x="575006" y="6612489"/>
                </a:cubicBezTo>
                <a:cubicBezTo>
                  <a:pt x="572249" y="6608421"/>
                  <a:pt x="569830" y="6607723"/>
                  <a:pt x="567441" y="6612595"/>
                </a:cubicBezTo>
                <a:cubicBezTo>
                  <a:pt x="566790" y="6613716"/>
                  <a:pt x="565447" y="6614964"/>
                  <a:pt x="564674" y="6613105"/>
                </a:cubicBezTo>
                <a:cubicBezTo>
                  <a:pt x="561876" y="6608044"/>
                  <a:pt x="558457" y="6609675"/>
                  <a:pt x="554648" y="6611520"/>
                </a:cubicBezTo>
                <a:cubicBezTo>
                  <a:pt x="554172" y="6612037"/>
                  <a:pt x="552962" y="6611687"/>
                  <a:pt x="552357" y="6611513"/>
                </a:cubicBezTo>
                <a:cubicBezTo>
                  <a:pt x="546321" y="6605190"/>
                  <a:pt x="540760" y="6598351"/>
                  <a:pt x="534812" y="6591727"/>
                </a:cubicBezTo>
                <a:cubicBezTo>
                  <a:pt x="532095" y="6588652"/>
                  <a:pt x="531936" y="6582391"/>
                  <a:pt x="531733" y="6577424"/>
                </a:cubicBezTo>
                <a:cubicBezTo>
                  <a:pt x="531651" y="6575439"/>
                  <a:pt x="532476" y="6573714"/>
                  <a:pt x="531097" y="6571680"/>
                </a:cubicBezTo>
                <a:cubicBezTo>
                  <a:pt x="529720" y="6569646"/>
                  <a:pt x="530545" y="6567921"/>
                  <a:pt x="532277" y="6566459"/>
                </a:cubicBezTo>
                <a:cubicBezTo>
                  <a:pt x="533231" y="6565426"/>
                  <a:pt x="534876" y="6564264"/>
                  <a:pt x="534318" y="6562794"/>
                </a:cubicBezTo>
                <a:cubicBezTo>
                  <a:pt x="532340" y="6558298"/>
                  <a:pt x="532822" y="6555493"/>
                  <a:pt x="538183" y="6555077"/>
                </a:cubicBezTo>
                <a:cubicBezTo>
                  <a:pt x="539480" y="6555124"/>
                  <a:pt x="540305" y="6553399"/>
                  <a:pt x="539357" y="6552145"/>
                </a:cubicBezTo>
                <a:cubicBezTo>
                  <a:pt x="536385" y="6547687"/>
                  <a:pt x="541054" y="6547400"/>
                  <a:pt x="542356" y="6545158"/>
                </a:cubicBezTo>
                <a:cubicBezTo>
                  <a:pt x="546826" y="6537615"/>
                  <a:pt x="555503" y="6542737"/>
                  <a:pt x="560874" y="6537744"/>
                </a:cubicBezTo>
                <a:close/>
                <a:moveTo>
                  <a:pt x="3655038" y="6528709"/>
                </a:moveTo>
                <a:lnTo>
                  <a:pt x="3641038" y="6529473"/>
                </a:lnTo>
                <a:lnTo>
                  <a:pt x="3614824" y="6529486"/>
                </a:lnTo>
                <a:lnTo>
                  <a:pt x="3616939" y="6533655"/>
                </a:lnTo>
                <a:cubicBezTo>
                  <a:pt x="3621143" y="6538123"/>
                  <a:pt x="3626774" y="6540845"/>
                  <a:pt x="3632232" y="6543967"/>
                </a:cubicBezTo>
                <a:lnTo>
                  <a:pt x="3642909" y="6553494"/>
                </a:lnTo>
                <a:lnTo>
                  <a:pt x="3646198" y="6543684"/>
                </a:lnTo>
                <a:close/>
                <a:moveTo>
                  <a:pt x="6583166" y="6523954"/>
                </a:moveTo>
                <a:cubicBezTo>
                  <a:pt x="6585999" y="6526596"/>
                  <a:pt x="6585999" y="6526596"/>
                  <a:pt x="6583359" y="6529425"/>
                </a:cubicBezTo>
                <a:lnTo>
                  <a:pt x="6583303" y="6529462"/>
                </a:lnTo>
                <a:lnTo>
                  <a:pt x="6577889" y="6529613"/>
                </a:lnTo>
                <a:cubicBezTo>
                  <a:pt x="6580528" y="6526783"/>
                  <a:pt x="6580528" y="6526783"/>
                  <a:pt x="6580528" y="6526783"/>
                </a:cubicBezTo>
                <a:cubicBezTo>
                  <a:pt x="6580528" y="6526783"/>
                  <a:pt x="6583166" y="6523954"/>
                  <a:pt x="6583166" y="6523954"/>
                </a:cubicBezTo>
                <a:close/>
                <a:moveTo>
                  <a:pt x="4761368" y="6510821"/>
                </a:moveTo>
                <a:cubicBezTo>
                  <a:pt x="4766947" y="6512431"/>
                  <a:pt x="4772259" y="6512628"/>
                  <a:pt x="4778192" y="6513004"/>
                </a:cubicBezTo>
                <a:cubicBezTo>
                  <a:pt x="4785353" y="6518413"/>
                  <a:pt x="4791543" y="6524876"/>
                  <a:pt x="4791797" y="6535639"/>
                </a:cubicBezTo>
                <a:cubicBezTo>
                  <a:pt x="4791878" y="6537668"/>
                  <a:pt x="4795244" y="6539974"/>
                  <a:pt x="4793553" y="6543496"/>
                </a:cubicBezTo>
                <a:cubicBezTo>
                  <a:pt x="4788849" y="6552829"/>
                  <a:pt x="4795393" y="6558057"/>
                  <a:pt x="4801055" y="6561697"/>
                </a:cubicBezTo>
                <a:cubicBezTo>
                  <a:pt x="4805033" y="6564182"/>
                  <a:pt x="4806978" y="6566748"/>
                  <a:pt x="4808741" y="6569930"/>
                </a:cubicBezTo>
                <a:cubicBezTo>
                  <a:pt x="4814216" y="6578861"/>
                  <a:pt x="4810929" y="6587933"/>
                  <a:pt x="4810299" y="6597105"/>
                </a:cubicBezTo>
                <a:cubicBezTo>
                  <a:pt x="4809222" y="6605481"/>
                  <a:pt x="4803726" y="6610575"/>
                  <a:pt x="4798675" y="6616465"/>
                </a:cubicBezTo>
                <a:cubicBezTo>
                  <a:pt x="4793433" y="6622973"/>
                  <a:pt x="4786698" y="6627710"/>
                  <a:pt x="4777407" y="6625028"/>
                </a:cubicBezTo>
                <a:cubicBezTo>
                  <a:pt x="4776165" y="6624670"/>
                  <a:pt x="4775368" y="6625108"/>
                  <a:pt x="4774834" y="6626959"/>
                </a:cubicBezTo>
                <a:cubicBezTo>
                  <a:pt x="4770496" y="6625707"/>
                  <a:pt x="4766774" y="6624634"/>
                  <a:pt x="4762439" y="6623382"/>
                </a:cubicBezTo>
                <a:cubicBezTo>
                  <a:pt x="4760592" y="6618170"/>
                  <a:pt x="4754216" y="6616999"/>
                  <a:pt x="4750769" y="6612663"/>
                </a:cubicBezTo>
                <a:cubicBezTo>
                  <a:pt x="4747322" y="6608328"/>
                  <a:pt x="4744320" y="6604787"/>
                  <a:pt x="4744682" y="6598879"/>
                </a:cubicBezTo>
                <a:cubicBezTo>
                  <a:pt x="4745839" y="6592532"/>
                  <a:pt x="4744345" y="6586087"/>
                  <a:pt x="4742672" y="6580258"/>
                </a:cubicBezTo>
                <a:cubicBezTo>
                  <a:pt x="4741175" y="6573814"/>
                  <a:pt x="4740301" y="6567547"/>
                  <a:pt x="4738621" y="6561718"/>
                </a:cubicBezTo>
                <a:cubicBezTo>
                  <a:pt x="4737752" y="6555452"/>
                  <a:pt x="4734216" y="6549087"/>
                  <a:pt x="4728912" y="6544215"/>
                </a:cubicBezTo>
                <a:cubicBezTo>
                  <a:pt x="4731048" y="6536814"/>
                  <a:pt x="4733183" y="6529412"/>
                  <a:pt x="4735319" y="6522011"/>
                </a:cubicBezTo>
                <a:cubicBezTo>
                  <a:pt x="4739572" y="6521234"/>
                  <a:pt x="4742142" y="6519303"/>
                  <a:pt x="4745248" y="6515522"/>
                </a:cubicBezTo>
                <a:cubicBezTo>
                  <a:pt x="4749150" y="6511303"/>
                  <a:pt x="4755795" y="6509212"/>
                  <a:pt x="4761368" y="6510821"/>
                </a:cubicBezTo>
                <a:close/>
                <a:moveTo>
                  <a:pt x="8993241" y="6505996"/>
                </a:moveTo>
                <a:cubicBezTo>
                  <a:pt x="8995061" y="6504231"/>
                  <a:pt x="9000370" y="6507400"/>
                  <a:pt x="9003004" y="6508487"/>
                </a:cubicBezTo>
                <a:cubicBezTo>
                  <a:pt x="9009093" y="6511226"/>
                  <a:pt x="9017786" y="6509482"/>
                  <a:pt x="9020834" y="6518214"/>
                </a:cubicBezTo>
                <a:cubicBezTo>
                  <a:pt x="9021393" y="6519684"/>
                  <a:pt x="9022771" y="6521717"/>
                  <a:pt x="9025190" y="6522415"/>
                </a:cubicBezTo>
                <a:cubicBezTo>
                  <a:pt x="9028603" y="6523073"/>
                  <a:pt x="9029895" y="6525409"/>
                  <a:pt x="9029541" y="6528905"/>
                </a:cubicBezTo>
                <a:cubicBezTo>
                  <a:pt x="9029535" y="6531194"/>
                  <a:pt x="9030699" y="6532838"/>
                  <a:pt x="9031775" y="6534785"/>
                </a:cubicBezTo>
                <a:cubicBezTo>
                  <a:pt x="9034661" y="6539543"/>
                  <a:pt x="9035254" y="6544294"/>
                  <a:pt x="9032173" y="6549294"/>
                </a:cubicBezTo>
                <a:cubicBezTo>
                  <a:pt x="9030394" y="6552053"/>
                  <a:pt x="9030342" y="6555636"/>
                  <a:pt x="9032843" y="6558321"/>
                </a:cubicBezTo>
                <a:cubicBezTo>
                  <a:pt x="9032494" y="6559529"/>
                  <a:pt x="9032146" y="6560737"/>
                  <a:pt x="9031798" y="6561945"/>
                </a:cubicBezTo>
                <a:cubicBezTo>
                  <a:pt x="9028640" y="6562669"/>
                  <a:pt x="9026908" y="6564133"/>
                  <a:pt x="9026076" y="6568146"/>
                </a:cubicBezTo>
                <a:cubicBezTo>
                  <a:pt x="9024811" y="6573669"/>
                  <a:pt x="9021171" y="6577198"/>
                  <a:pt x="9014774" y="6576661"/>
                </a:cubicBezTo>
                <a:cubicBezTo>
                  <a:pt x="9011966" y="6576177"/>
                  <a:pt x="9011960" y="6578467"/>
                  <a:pt x="9011437" y="6580278"/>
                </a:cubicBezTo>
                <a:cubicBezTo>
                  <a:pt x="9010565" y="6583298"/>
                  <a:pt x="9009181" y="6583553"/>
                  <a:pt x="9007373" y="6580741"/>
                </a:cubicBezTo>
                <a:cubicBezTo>
                  <a:pt x="9004617" y="6576673"/>
                  <a:pt x="9002197" y="6575975"/>
                  <a:pt x="8999808" y="6580847"/>
                </a:cubicBezTo>
                <a:cubicBezTo>
                  <a:pt x="8999157" y="6581968"/>
                  <a:pt x="8997814" y="6583216"/>
                  <a:pt x="8997040" y="6581357"/>
                </a:cubicBezTo>
                <a:cubicBezTo>
                  <a:pt x="8994243" y="6576296"/>
                  <a:pt x="8990823" y="6577927"/>
                  <a:pt x="8987016" y="6579773"/>
                </a:cubicBezTo>
                <a:cubicBezTo>
                  <a:pt x="8986539" y="6580289"/>
                  <a:pt x="8985330" y="6579940"/>
                  <a:pt x="8984724" y="6579765"/>
                </a:cubicBezTo>
                <a:cubicBezTo>
                  <a:pt x="8978687" y="6573442"/>
                  <a:pt x="8973127" y="6566603"/>
                  <a:pt x="8967178" y="6559979"/>
                </a:cubicBezTo>
                <a:cubicBezTo>
                  <a:pt x="8964461" y="6556904"/>
                  <a:pt x="8964304" y="6550643"/>
                  <a:pt x="8964099" y="6545676"/>
                </a:cubicBezTo>
                <a:cubicBezTo>
                  <a:pt x="8964017" y="6543690"/>
                  <a:pt x="8964842" y="6541965"/>
                  <a:pt x="8963464" y="6539932"/>
                </a:cubicBezTo>
                <a:cubicBezTo>
                  <a:pt x="8962087" y="6537898"/>
                  <a:pt x="8962911" y="6536174"/>
                  <a:pt x="8964643" y="6534710"/>
                </a:cubicBezTo>
                <a:cubicBezTo>
                  <a:pt x="8965597" y="6533678"/>
                  <a:pt x="8967242" y="6532516"/>
                  <a:pt x="8966684" y="6531046"/>
                </a:cubicBezTo>
                <a:cubicBezTo>
                  <a:pt x="8964706" y="6526550"/>
                  <a:pt x="8965189" y="6523745"/>
                  <a:pt x="8970549" y="6523329"/>
                </a:cubicBezTo>
                <a:cubicBezTo>
                  <a:pt x="8971847" y="6523376"/>
                  <a:pt x="8972672" y="6521651"/>
                  <a:pt x="8971723" y="6520396"/>
                </a:cubicBezTo>
                <a:cubicBezTo>
                  <a:pt x="8968752" y="6515939"/>
                  <a:pt x="8973420" y="6515652"/>
                  <a:pt x="8974722" y="6513410"/>
                </a:cubicBezTo>
                <a:cubicBezTo>
                  <a:pt x="8979193" y="6505867"/>
                  <a:pt x="8987869" y="6510989"/>
                  <a:pt x="8993241" y="6505996"/>
                </a:cubicBezTo>
                <a:close/>
                <a:moveTo>
                  <a:pt x="7622107" y="6501820"/>
                </a:moveTo>
                <a:cubicBezTo>
                  <a:pt x="7625593" y="6502615"/>
                  <a:pt x="7628868" y="6502549"/>
                  <a:pt x="7632530" y="6502573"/>
                </a:cubicBezTo>
                <a:cubicBezTo>
                  <a:pt x="7637126" y="6505648"/>
                  <a:pt x="7641159" y="6509407"/>
                  <a:pt x="7641690" y="6516018"/>
                </a:cubicBezTo>
                <a:cubicBezTo>
                  <a:pt x="7641814" y="6517263"/>
                  <a:pt x="7643962" y="6518564"/>
                  <a:pt x="7643048" y="6520789"/>
                </a:cubicBezTo>
                <a:cubicBezTo>
                  <a:pt x="7640480" y="6526694"/>
                  <a:pt x="7644689" y="6529682"/>
                  <a:pt x="7648299" y="6531722"/>
                </a:cubicBezTo>
                <a:cubicBezTo>
                  <a:pt x="7650834" y="6533111"/>
                  <a:pt x="7652120" y="6534621"/>
                  <a:pt x="7653318" y="6536517"/>
                </a:cubicBezTo>
                <a:cubicBezTo>
                  <a:pt x="7657000" y="6541817"/>
                  <a:pt x="7655294" y="6547513"/>
                  <a:pt x="7655226" y="6553177"/>
                </a:cubicBezTo>
                <a:cubicBezTo>
                  <a:pt x="7654859" y="6558366"/>
                  <a:pt x="7651657" y="6561693"/>
                  <a:pt x="7648752" y="6565493"/>
                </a:cubicBezTo>
                <a:cubicBezTo>
                  <a:pt x="7645762" y="6569680"/>
                  <a:pt x="7641783" y="6572830"/>
                  <a:pt x="7635974" y="6571505"/>
                </a:cubicBezTo>
                <a:cubicBezTo>
                  <a:pt x="7635199" y="6571329"/>
                  <a:pt x="7634723" y="6571626"/>
                  <a:pt x="7634460" y="6572783"/>
                </a:cubicBezTo>
                <a:cubicBezTo>
                  <a:pt x="7631749" y="6572165"/>
                  <a:pt x="7629424" y="6571636"/>
                  <a:pt x="7626712" y="6571018"/>
                </a:cubicBezTo>
                <a:cubicBezTo>
                  <a:pt x="7625391" y="6567878"/>
                  <a:pt x="7621430" y="6567380"/>
                  <a:pt x="7619158" y="6564834"/>
                </a:cubicBezTo>
                <a:cubicBezTo>
                  <a:pt x="7616885" y="6562288"/>
                  <a:pt x="7614912" y="6560216"/>
                  <a:pt x="7614928" y="6556569"/>
                </a:cubicBezTo>
                <a:cubicBezTo>
                  <a:pt x="7615420" y="6552625"/>
                  <a:pt x="7614274" y="6548712"/>
                  <a:pt x="7613040" y="6545187"/>
                </a:cubicBezTo>
                <a:cubicBezTo>
                  <a:pt x="7611894" y="6541274"/>
                  <a:pt x="7611135" y="6537450"/>
                  <a:pt x="7609902" y="6533925"/>
                </a:cubicBezTo>
                <a:cubicBezTo>
                  <a:pt x="7609143" y="6530101"/>
                  <a:pt x="7606747" y="6526309"/>
                  <a:pt x="7603313" y="6523499"/>
                </a:cubicBezTo>
                <a:cubicBezTo>
                  <a:pt x="7604368" y="6518871"/>
                  <a:pt x="7605422" y="6514244"/>
                  <a:pt x="7606477" y="6509616"/>
                </a:cubicBezTo>
                <a:cubicBezTo>
                  <a:pt x="7609064" y="6508989"/>
                  <a:pt x="7610578" y="6507712"/>
                  <a:pt x="7612355" y="6505277"/>
                </a:cubicBezTo>
                <a:cubicBezTo>
                  <a:pt x="7614607" y="6502546"/>
                  <a:pt x="7618620" y="6501026"/>
                  <a:pt x="7622107" y="6501820"/>
                </a:cubicBezTo>
                <a:close/>
                <a:moveTo>
                  <a:pt x="4977857" y="6493005"/>
                </a:moveTo>
                <a:cubicBezTo>
                  <a:pt x="4979492" y="6492326"/>
                  <a:pt x="4981050" y="6493926"/>
                  <a:pt x="4981811" y="6495296"/>
                </a:cubicBezTo>
                <a:cubicBezTo>
                  <a:pt x="4982573" y="6496666"/>
                  <a:pt x="4983057" y="6497959"/>
                  <a:pt x="4983475" y="6499517"/>
                </a:cubicBezTo>
                <a:cubicBezTo>
                  <a:pt x="4984527" y="6501838"/>
                  <a:pt x="4985966" y="6502830"/>
                  <a:pt x="4988554" y="6501850"/>
                </a:cubicBezTo>
                <a:cubicBezTo>
                  <a:pt x="4994602" y="6499853"/>
                  <a:pt x="5000338" y="6500934"/>
                  <a:pt x="5006001" y="6502279"/>
                </a:cubicBezTo>
                <a:cubicBezTo>
                  <a:pt x="5012795" y="6503666"/>
                  <a:pt x="5019481" y="6506458"/>
                  <a:pt x="5026584" y="6506782"/>
                </a:cubicBezTo>
                <a:cubicBezTo>
                  <a:pt x="5029130" y="6506941"/>
                  <a:pt x="5030002" y="6508919"/>
                  <a:pt x="5030682" y="6510554"/>
                </a:cubicBezTo>
                <a:cubicBezTo>
                  <a:pt x="5033176" y="6515881"/>
                  <a:pt x="5035401" y="6521129"/>
                  <a:pt x="5042661" y="6520922"/>
                </a:cubicBezTo>
                <a:cubicBezTo>
                  <a:pt x="5044071" y="6521040"/>
                  <a:pt x="5044564" y="6522333"/>
                  <a:pt x="5044786" y="6523550"/>
                </a:cubicBezTo>
                <a:cubicBezTo>
                  <a:pt x="5046174" y="6529708"/>
                  <a:pt x="5049736" y="6535341"/>
                  <a:pt x="5052422" y="6541010"/>
                </a:cubicBezTo>
                <a:cubicBezTo>
                  <a:pt x="5056544" y="6549683"/>
                  <a:pt x="5057771" y="6558386"/>
                  <a:pt x="5052697" y="6566996"/>
                </a:cubicBezTo>
                <a:cubicBezTo>
                  <a:pt x="5050826" y="6570485"/>
                  <a:pt x="5052263" y="6573491"/>
                  <a:pt x="5053777" y="6576230"/>
                </a:cubicBezTo>
                <a:cubicBezTo>
                  <a:pt x="5057104" y="6582660"/>
                  <a:pt x="5056072" y="6585241"/>
                  <a:pt x="5049602" y="6587691"/>
                </a:cubicBezTo>
                <a:cubicBezTo>
                  <a:pt x="5042601" y="6589989"/>
                  <a:pt x="5042601" y="6589989"/>
                  <a:pt x="5045699" y="6597216"/>
                </a:cubicBezTo>
                <a:cubicBezTo>
                  <a:pt x="5046379" y="6598852"/>
                  <a:pt x="5046869" y="6600145"/>
                  <a:pt x="5044818" y="6601280"/>
                </a:cubicBezTo>
                <a:cubicBezTo>
                  <a:pt x="5037735" y="6605855"/>
                  <a:pt x="5031184" y="6610586"/>
                  <a:pt x="5023916" y="6614821"/>
                </a:cubicBezTo>
                <a:cubicBezTo>
                  <a:pt x="5018621" y="6618187"/>
                  <a:pt x="5012727" y="6619652"/>
                  <a:pt x="5006495" y="6619292"/>
                </a:cubicBezTo>
                <a:cubicBezTo>
                  <a:pt x="5002466" y="6619280"/>
                  <a:pt x="4992531" y="6626775"/>
                  <a:pt x="4991106" y="6630684"/>
                </a:cubicBezTo>
                <a:cubicBezTo>
                  <a:pt x="4990737" y="6632012"/>
                  <a:pt x="4990421" y="6633075"/>
                  <a:pt x="4991864" y="6634067"/>
                </a:cubicBezTo>
                <a:cubicBezTo>
                  <a:pt x="4999031" y="6640165"/>
                  <a:pt x="5000951" y="6648491"/>
                  <a:pt x="5002184" y="6657195"/>
                </a:cubicBezTo>
                <a:cubicBezTo>
                  <a:pt x="5002511" y="6659019"/>
                  <a:pt x="5002667" y="6660502"/>
                  <a:pt x="5003085" y="6662060"/>
                </a:cubicBezTo>
                <a:cubicBezTo>
                  <a:pt x="5004515" y="6667079"/>
                  <a:pt x="5004764" y="6671182"/>
                  <a:pt x="5001373" y="6675961"/>
                </a:cubicBezTo>
                <a:cubicBezTo>
                  <a:pt x="4997974" y="6680737"/>
                  <a:pt x="4999366" y="6686896"/>
                  <a:pt x="5000642" y="6692445"/>
                </a:cubicBezTo>
                <a:cubicBezTo>
                  <a:pt x="5001022" y="6695144"/>
                  <a:pt x="5001092" y="6696892"/>
                  <a:pt x="4998544" y="6698746"/>
                </a:cubicBezTo>
                <a:cubicBezTo>
                  <a:pt x="4988179" y="6706695"/>
                  <a:pt x="4979371" y="6716244"/>
                  <a:pt x="4974565" y="6728957"/>
                </a:cubicBezTo>
                <a:cubicBezTo>
                  <a:pt x="4973762" y="6730741"/>
                  <a:pt x="4972995" y="6731384"/>
                  <a:pt x="4971289" y="6730316"/>
                </a:cubicBezTo>
                <a:cubicBezTo>
                  <a:pt x="4964309" y="6726573"/>
                  <a:pt x="4958376" y="6729178"/>
                  <a:pt x="4952838" y="6733341"/>
                </a:cubicBezTo>
                <a:cubicBezTo>
                  <a:pt x="4950291" y="6735195"/>
                  <a:pt x="4948322" y="6736063"/>
                  <a:pt x="4945320" y="6733472"/>
                </a:cubicBezTo>
                <a:cubicBezTo>
                  <a:pt x="4941754" y="6729853"/>
                  <a:pt x="4937153" y="6730827"/>
                  <a:pt x="4932849" y="6732752"/>
                </a:cubicBezTo>
                <a:cubicBezTo>
                  <a:pt x="4929230" y="6734300"/>
                  <a:pt x="4925461" y="6736379"/>
                  <a:pt x="4921852" y="6737925"/>
                </a:cubicBezTo>
                <a:cubicBezTo>
                  <a:pt x="4920089" y="6738567"/>
                  <a:pt x="4918515" y="6738762"/>
                  <a:pt x="4917456" y="6738203"/>
                </a:cubicBezTo>
                <a:cubicBezTo>
                  <a:pt x="4916392" y="6737645"/>
                  <a:pt x="4915836" y="6736332"/>
                  <a:pt x="4916084" y="6733958"/>
                </a:cubicBezTo>
                <a:cubicBezTo>
                  <a:pt x="4916393" y="6732896"/>
                  <a:pt x="4916428" y="6731756"/>
                  <a:pt x="4916216" y="6730540"/>
                </a:cubicBezTo>
                <a:cubicBezTo>
                  <a:pt x="4916054" y="6729058"/>
                  <a:pt x="4916680" y="6726932"/>
                  <a:pt x="4914888" y="6726128"/>
                </a:cubicBezTo>
                <a:cubicBezTo>
                  <a:pt x="4913301" y="6725669"/>
                  <a:pt x="4911851" y="6726690"/>
                  <a:pt x="4910747" y="6727523"/>
                </a:cubicBezTo>
                <a:cubicBezTo>
                  <a:pt x="4905454" y="6730889"/>
                  <a:pt x="4903938" y="6730163"/>
                  <a:pt x="4903153" y="6723892"/>
                </a:cubicBezTo>
                <a:cubicBezTo>
                  <a:pt x="4903004" y="6722410"/>
                  <a:pt x="4903040" y="6721270"/>
                  <a:pt x="4902551" y="6719977"/>
                </a:cubicBezTo>
                <a:cubicBezTo>
                  <a:pt x="4901953" y="6718076"/>
                  <a:pt x="4901264" y="6716441"/>
                  <a:pt x="4898303" y="6716736"/>
                </a:cubicBezTo>
                <a:cubicBezTo>
                  <a:pt x="4895530" y="6717375"/>
                  <a:pt x="4895224" y="6718438"/>
                  <a:pt x="4895135" y="6720716"/>
                </a:cubicBezTo>
                <a:lnTo>
                  <a:pt x="4894429" y="6724865"/>
                </a:lnTo>
                <a:lnTo>
                  <a:pt x="4879612" y="6698202"/>
                </a:lnTo>
                <a:lnTo>
                  <a:pt x="4881290" y="6696856"/>
                </a:lnTo>
                <a:cubicBezTo>
                  <a:pt x="4882512" y="6694619"/>
                  <a:pt x="4882174" y="6692794"/>
                  <a:pt x="4880350" y="6691118"/>
                </a:cubicBezTo>
                <a:cubicBezTo>
                  <a:pt x="4878991" y="6689861"/>
                  <a:pt x="4877541" y="6688868"/>
                  <a:pt x="4876180" y="6687611"/>
                </a:cubicBezTo>
                <a:cubicBezTo>
                  <a:pt x="4873903" y="6685515"/>
                  <a:pt x="4873378" y="6683347"/>
                  <a:pt x="4874830" y="6680312"/>
                </a:cubicBezTo>
                <a:cubicBezTo>
                  <a:pt x="4879187" y="6671208"/>
                  <a:pt x="4877642" y="6663567"/>
                  <a:pt x="4870364" y="6656859"/>
                </a:cubicBezTo>
                <a:cubicBezTo>
                  <a:pt x="4869268" y="6655679"/>
                  <a:pt x="4866267" y="6655101"/>
                  <a:pt x="4867493" y="6652862"/>
                </a:cubicBezTo>
                <a:cubicBezTo>
                  <a:pt x="4868446" y="6650548"/>
                  <a:pt x="4870992" y="6650706"/>
                  <a:pt x="4873462" y="6651131"/>
                </a:cubicBezTo>
                <a:cubicBezTo>
                  <a:pt x="4873725" y="6651208"/>
                  <a:pt x="4873996" y="6651286"/>
                  <a:pt x="4874260" y="6651362"/>
                </a:cubicBezTo>
                <a:cubicBezTo>
                  <a:pt x="4880949" y="6652140"/>
                  <a:pt x="4883651" y="6649755"/>
                  <a:pt x="4881927" y="6643785"/>
                </a:cubicBezTo>
                <a:cubicBezTo>
                  <a:pt x="4880373" y="6638158"/>
                  <a:pt x="4882247" y="6634669"/>
                  <a:pt x="4886057" y="6631450"/>
                </a:cubicBezTo>
                <a:cubicBezTo>
                  <a:pt x="4891041" y="6627133"/>
                  <a:pt x="4895315" y="6622320"/>
                  <a:pt x="4895644" y="6615217"/>
                </a:cubicBezTo>
                <a:cubicBezTo>
                  <a:pt x="4895683" y="6612063"/>
                  <a:pt x="4898992" y="6611579"/>
                  <a:pt x="4901004" y="6611586"/>
                </a:cubicBezTo>
                <a:cubicBezTo>
                  <a:pt x="4908609" y="6611188"/>
                  <a:pt x="4913110" y="6607592"/>
                  <a:pt x="4915899" y="6600914"/>
                </a:cubicBezTo>
                <a:cubicBezTo>
                  <a:pt x="4917660" y="6596816"/>
                  <a:pt x="4919479" y="6596479"/>
                  <a:pt x="4922971" y="6600364"/>
                </a:cubicBezTo>
                <a:cubicBezTo>
                  <a:pt x="4930391" y="6608553"/>
                  <a:pt x="4944832" y="6608404"/>
                  <a:pt x="4951506" y="6600255"/>
                </a:cubicBezTo>
                <a:cubicBezTo>
                  <a:pt x="4952846" y="6598626"/>
                  <a:pt x="4954597" y="6596541"/>
                  <a:pt x="4953203" y="6594410"/>
                </a:cubicBezTo>
                <a:cubicBezTo>
                  <a:pt x="4951797" y="6592278"/>
                  <a:pt x="4949365" y="6590713"/>
                  <a:pt x="4946514" y="6591616"/>
                </a:cubicBezTo>
                <a:cubicBezTo>
                  <a:pt x="4944688" y="6591954"/>
                  <a:pt x="4942714" y="6592822"/>
                  <a:pt x="4940812" y="6593424"/>
                </a:cubicBezTo>
                <a:cubicBezTo>
                  <a:pt x="4938832" y="6594293"/>
                  <a:pt x="4937001" y="6594629"/>
                  <a:pt x="4936136" y="6592651"/>
                </a:cubicBezTo>
                <a:cubicBezTo>
                  <a:pt x="4935079" y="6590330"/>
                  <a:pt x="4936601" y="6589043"/>
                  <a:pt x="4938313" y="6588099"/>
                </a:cubicBezTo>
                <a:cubicBezTo>
                  <a:pt x="4939762" y="6587077"/>
                  <a:pt x="4941666" y="6586474"/>
                  <a:pt x="4943032" y="6585718"/>
                </a:cubicBezTo>
                <a:cubicBezTo>
                  <a:pt x="4946118" y="6584018"/>
                  <a:pt x="4948369" y="6581213"/>
                  <a:pt x="4946749" y="6577865"/>
                </a:cubicBezTo>
                <a:cubicBezTo>
                  <a:pt x="4945226" y="6575125"/>
                  <a:pt x="4941685" y="6576407"/>
                  <a:pt x="4939096" y="6577387"/>
                </a:cubicBezTo>
                <a:cubicBezTo>
                  <a:pt x="4936864" y="6578179"/>
                  <a:pt x="4934838" y="6580187"/>
                  <a:pt x="4932218" y="6580293"/>
                </a:cubicBezTo>
                <a:cubicBezTo>
                  <a:pt x="4928381" y="6580624"/>
                  <a:pt x="4926398" y="6579478"/>
                  <a:pt x="4927898" y="6575304"/>
                </a:cubicBezTo>
                <a:cubicBezTo>
                  <a:pt x="4929850" y="6569535"/>
                  <a:pt x="4933625" y="6565443"/>
                  <a:pt x="4938115" y="6561846"/>
                </a:cubicBezTo>
                <a:cubicBezTo>
                  <a:pt x="4943795" y="6557151"/>
                  <a:pt x="4944980" y="6554039"/>
                  <a:pt x="4942336" y="6547231"/>
                </a:cubicBezTo>
                <a:cubicBezTo>
                  <a:pt x="4941623" y="6544722"/>
                  <a:pt x="4940034" y="6542248"/>
                  <a:pt x="4938701" y="6539851"/>
                </a:cubicBezTo>
                <a:cubicBezTo>
                  <a:pt x="4938147" y="6538824"/>
                  <a:pt x="4937034" y="6537643"/>
                  <a:pt x="4937950" y="6536468"/>
                </a:cubicBezTo>
                <a:cubicBezTo>
                  <a:pt x="4938945" y="6535027"/>
                  <a:pt x="4940345" y="6535145"/>
                  <a:pt x="4941338" y="6535718"/>
                </a:cubicBezTo>
                <a:cubicBezTo>
                  <a:pt x="4945820" y="6538162"/>
                  <a:pt x="4947499" y="6536343"/>
                  <a:pt x="4948454" y="6532015"/>
                </a:cubicBezTo>
                <a:cubicBezTo>
                  <a:pt x="4949723" y="6526624"/>
                  <a:pt x="4954256" y="6523902"/>
                  <a:pt x="4958819" y="6522053"/>
                </a:cubicBezTo>
                <a:cubicBezTo>
                  <a:pt x="4962440" y="6520505"/>
                  <a:pt x="4963247" y="6518722"/>
                  <a:pt x="4960934" y="6515752"/>
                </a:cubicBezTo>
                <a:cubicBezTo>
                  <a:pt x="4959640" y="6514229"/>
                  <a:pt x="4958890" y="6512859"/>
                  <a:pt x="4960028" y="6510887"/>
                </a:cubicBezTo>
                <a:cubicBezTo>
                  <a:pt x="4961403" y="6508117"/>
                  <a:pt x="4963380" y="6509263"/>
                  <a:pt x="4965395" y="6509268"/>
                </a:cubicBezTo>
                <a:cubicBezTo>
                  <a:pt x="4966532" y="6509309"/>
                  <a:pt x="4967868" y="6509693"/>
                  <a:pt x="4969266" y="6509811"/>
                </a:cubicBezTo>
                <a:cubicBezTo>
                  <a:pt x="4976672" y="6511086"/>
                  <a:pt x="4979421" y="6507560"/>
                  <a:pt x="4976925" y="6500221"/>
                </a:cubicBezTo>
                <a:cubicBezTo>
                  <a:pt x="4976629" y="6499270"/>
                  <a:pt x="4976252" y="6498586"/>
                  <a:pt x="4976219" y="6497712"/>
                </a:cubicBezTo>
                <a:cubicBezTo>
                  <a:pt x="4975888" y="6495887"/>
                  <a:pt x="4975966" y="6493607"/>
                  <a:pt x="4977857" y="6493005"/>
                </a:cubicBezTo>
                <a:close/>
                <a:moveTo>
                  <a:pt x="8180770" y="6476906"/>
                </a:moveTo>
                <a:cubicBezTo>
                  <a:pt x="8181792" y="6476412"/>
                  <a:pt x="8182844" y="6477378"/>
                  <a:pt x="8183378" y="6478227"/>
                </a:cubicBezTo>
                <a:cubicBezTo>
                  <a:pt x="8183912" y="6479077"/>
                  <a:pt x="8184274" y="6479886"/>
                  <a:pt x="8184596" y="6480868"/>
                </a:cubicBezTo>
                <a:cubicBezTo>
                  <a:pt x="8185357" y="6482314"/>
                  <a:pt x="8186315" y="6482896"/>
                  <a:pt x="8187935" y="6482174"/>
                </a:cubicBezTo>
                <a:cubicBezTo>
                  <a:pt x="8191732" y="6480676"/>
                  <a:pt x="8195441" y="6481158"/>
                  <a:pt x="8199112" y="6481812"/>
                </a:cubicBezTo>
                <a:cubicBezTo>
                  <a:pt x="8203512" y="6482452"/>
                  <a:pt x="8207889" y="6483994"/>
                  <a:pt x="8212447" y="6483942"/>
                </a:cubicBezTo>
                <a:cubicBezTo>
                  <a:pt x="8214082" y="6483951"/>
                  <a:pt x="8214710" y="6485185"/>
                  <a:pt x="8215204" y="6486207"/>
                </a:cubicBezTo>
                <a:cubicBezTo>
                  <a:pt x="8216995" y="6489522"/>
                  <a:pt x="8218613" y="6492800"/>
                  <a:pt x="8223250" y="6492403"/>
                </a:cubicBezTo>
                <a:cubicBezTo>
                  <a:pt x="8224154" y="6492426"/>
                  <a:pt x="8224515" y="6493235"/>
                  <a:pt x="8224703" y="6494006"/>
                </a:cubicBezTo>
                <a:cubicBezTo>
                  <a:pt x="8225818" y="6497896"/>
                  <a:pt x="8228300" y="6501368"/>
                  <a:pt x="8230223" y="6504898"/>
                </a:cubicBezTo>
                <a:cubicBezTo>
                  <a:pt x="8233176" y="6510297"/>
                  <a:pt x="8234281" y="6515819"/>
                  <a:pt x="8231348" y="6521513"/>
                </a:cubicBezTo>
                <a:cubicBezTo>
                  <a:pt x="8230278" y="6523814"/>
                  <a:pt x="8231306" y="6525684"/>
                  <a:pt x="8232375" y="6527381"/>
                </a:cubicBezTo>
                <a:cubicBezTo>
                  <a:pt x="8234738" y="6531374"/>
                  <a:pt x="8234172" y="6533063"/>
                  <a:pt x="8230124" y="6534866"/>
                </a:cubicBezTo>
                <a:cubicBezTo>
                  <a:pt x="8225729" y="6536592"/>
                  <a:pt x="8225729" y="6536592"/>
                  <a:pt x="8227975" y="6541103"/>
                </a:cubicBezTo>
                <a:cubicBezTo>
                  <a:pt x="8228470" y="6542124"/>
                  <a:pt x="8228830" y="6542933"/>
                  <a:pt x="8227557" y="6543734"/>
                </a:cubicBezTo>
                <a:cubicBezTo>
                  <a:pt x="8223194" y="6546920"/>
                  <a:pt x="8219176" y="6550185"/>
                  <a:pt x="8214679" y="6553160"/>
                </a:cubicBezTo>
                <a:cubicBezTo>
                  <a:pt x="8211417" y="6555507"/>
                  <a:pt x="8207698" y="6556659"/>
                  <a:pt x="8203698" y="6556656"/>
                </a:cubicBezTo>
                <a:cubicBezTo>
                  <a:pt x="8201121" y="6556795"/>
                  <a:pt x="8195035" y="6561952"/>
                  <a:pt x="8194272" y="6564505"/>
                </a:cubicBezTo>
                <a:cubicBezTo>
                  <a:pt x="8194075" y="6565369"/>
                  <a:pt x="8193917" y="6566060"/>
                  <a:pt x="8194875" y="6566642"/>
                </a:cubicBezTo>
                <a:cubicBezTo>
                  <a:pt x="8199685" y="6570282"/>
                  <a:pt x="8201214" y="6575539"/>
                  <a:pt x="8202320" y="6581063"/>
                </a:cubicBezTo>
                <a:cubicBezTo>
                  <a:pt x="8202602" y="6582217"/>
                  <a:pt x="8202751" y="6583160"/>
                  <a:pt x="8203073" y="6584142"/>
                </a:cubicBezTo>
                <a:cubicBezTo>
                  <a:pt x="8204172" y="6587301"/>
                  <a:pt x="8204485" y="6589917"/>
                  <a:pt x="8202487" y="6593098"/>
                </a:cubicBezTo>
                <a:cubicBezTo>
                  <a:pt x="8200490" y="6596278"/>
                  <a:pt x="8201604" y="6600167"/>
                  <a:pt x="8202624" y="6603671"/>
                </a:cubicBezTo>
                <a:cubicBezTo>
                  <a:pt x="8202961" y="6605384"/>
                  <a:pt x="8203071" y="6606500"/>
                  <a:pt x="8201507" y="6607779"/>
                </a:cubicBezTo>
                <a:cubicBezTo>
                  <a:pt x="8195169" y="6613242"/>
                  <a:pt x="8189885" y="6619672"/>
                  <a:pt x="8187264" y="6627982"/>
                </a:cubicBezTo>
                <a:cubicBezTo>
                  <a:pt x="8186815" y="6629152"/>
                  <a:pt x="8186351" y="6629592"/>
                  <a:pt x="8185220" y="6628970"/>
                </a:cubicBezTo>
                <a:cubicBezTo>
                  <a:pt x="8180615" y="6626831"/>
                  <a:pt x="8176912" y="6628713"/>
                  <a:pt x="8173532" y="6631578"/>
                </a:cubicBezTo>
                <a:cubicBezTo>
                  <a:pt x="8171967" y="6632857"/>
                  <a:pt x="8170734" y="6633485"/>
                  <a:pt x="8168722" y="6631937"/>
                </a:cubicBezTo>
                <a:cubicBezTo>
                  <a:pt x="8166310" y="6629751"/>
                  <a:pt x="8163402" y="6630542"/>
                  <a:pt x="8160721" y="6631931"/>
                </a:cubicBezTo>
                <a:cubicBezTo>
                  <a:pt x="8158465" y="6633053"/>
                  <a:pt x="8156130" y="6634520"/>
                  <a:pt x="8153874" y="6635643"/>
                </a:cubicBezTo>
                <a:cubicBezTo>
                  <a:pt x="8152765" y="6636117"/>
                  <a:pt x="8151770" y="6636299"/>
                  <a:pt x="8151069" y="6635980"/>
                </a:cubicBezTo>
                <a:cubicBezTo>
                  <a:pt x="8150369" y="6635662"/>
                  <a:pt x="8149964" y="6634842"/>
                  <a:pt x="8150040" y="6633314"/>
                </a:cubicBezTo>
                <a:cubicBezTo>
                  <a:pt x="8150198" y="6632624"/>
                  <a:pt x="8150182" y="6631893"/>
                  <a:pt x="8149993" y="6631122"/>
                </a:cubicBezTo>
                <a:cubicBezTo>
                  <a:pt x="8149845" y="6630180"/>
                  <a:pt x="8150161" y="6628797"/>
                  <a:pt x="8148989" y="6628349"/>
                </a:cubicBezTo>
                <a:cubicBezTo>
                  <a:pt x="8147952" y="6628113"/>
                  <a:pt x="8147063" y="6628819"/>
                  <a:pt x="8146387" y="6629391"/>
                </a:cubicBezTo>
                <a:cubicBezTo>
                  <a:pt x="8143125" y="6631739"/>
                  <a:pt x="8142127" y="6631329"/>
                  <a:pt x="8141397" y="6627346"/>
                </a:cubicBezTo>
                <a:cubicBezTo>
                  <a:pt x="8141249" y="6626403"/>
                  <a:pt x="8141233" y="6625672"/>
                  <a:pt x="8140872" y="6624863"/>
                </a:cubicBezTo>
                <a:cubicBezTo>
                  <a:pt x="8140416" y="6623669"/>
                  <a:pt x="8139922" y="6622647"/>
                  <a:pt x="8138036" y="6622944"/>
                </a:cubicBezTo>
                <a:cubicBezTo>
                  <a:pt x="8136283" y="6623455"/>
                  <a:pt x="8136126" y="6624145"/>
                  <a:pt x="8136156" y="6625607"/>
                </a:cubicBezTo>
                <a:lnTo>
                  <a:pt x="8135851" y="6628286"/>
                </a:lnTo>
                <a:lnTo>
                  <a:pt x="8125401" y="6611768"/>
                </a:lnTo>
                <a:lnTo>
                  <a:pt x="8126425" y="6610847"/>
                </a:lnTo>
                <a:cubicBezTo>
                  <a:pt x="8127125" y="6609370"/>
                  <a:pt x="8126843" y="6608216"/>
                  <a:pt x="8125617" y="6607210"/>
                </a:cubicBezTo>
                <a:cubicBezTo>
                  <a:pt x="8124698" y="6606455"/>
                  <a:pt x="8123739" y="6605873"/>
                  <a:pt x="8122820" y="6605117"/>
                </a:cubicBezTo>
                <a:cubicBezTo>
                  <a:pt x="8121288" y="6603860"/>
                  <a:pt x="8120872" y="6602493"/>
                  <a:pt x="8121691" y="6600498"/>
                </a:cubicBezTo>
                <a:cubicBezTo>
                  <a:pt x="8124146" y="6594514"/>
                  <a:pt x="8122883" y="6589681"/>
                  <a:pt x="8117980" y="6585656"/>
                </a:cubicBezTo>
                <a:cubicBezTo>
                  <a:pt x="8117234" y="6584940"/>
                  <a:pt x="8115293" y="6584680"/>
                  <a:pt x="8115992" y="6583203"/>
                </a:cubicBezTo>
                <a:cubicBezTo>
                  <a:pt x="8116520" y="6581688"/>
                  <a:pt x="8118155" y="6581697"/>
                  <a:pt x="8119750" y="6581879"/>
                </a:cubicBezTo>
                <a:cubicBezTo>
                  <a:pt x="8119923" y="6581919"/>
                  <a:pt x="8120096" y="6581958"/>
                  <a:pt x="8120268" y="6581997"/>
                </a:cubicBezTo>
                <a:cubicBezTo>
                  <a:pt x="8124575" y="6582251"/>
                  <a:pt x="8126219" y="6580627"/>
                  <a:pt x="8124892" y="6576871"/>
                </a:cubicBezTo>
                <a:cubicBezTo>
                  <a:pt x="8123699" y="6573326"/>
                  <a:pt x="8124769" y="6571026"/>
                  <a:pt x="8127089" y="6568828"/>
                </a:cubicBezTo>
                <a:cubicBezTo>
                  <a:pt x="8130124" y="6565884"/>
                  <a:pt x="8132679" y="6562649"/>
                  <a:pt x="8132626" y="6558093"/>
                </a:cubicBezTo>
                <a:cubicBezTo>
                  <a:pt x="8132541" y="6556073"/>
                  <a:pt x="8134640" y="6555644"/>
                  <a:pt x="8135928" y="6555573"/>
                </a:cubicBezTo>
                <a:cubicBezTo>
                  <a:pt x="8140778" y="6555042"/>
                  <a:pt x="8143522" y="6552578"/>
                  <a:pt x="8145064" y="6548203"/>
                </a:cubicBezTo>
                <a:cubicBezTo>
                  <a:pt x="8146040" y="6545518"/>
                  <a:pt x="8147196" y="6545235"/>
                  <a:pt x="8149568" y="6547593"/>
                </a:cubicBezTo>
                <a:cubicBezTo>
                  <a:pt x="8154619" y="6552562"/>
                  <a:pt x="8163854" y="6551939"/>
                  <a:pt x="8167826" y="6546482"/>
                </a:cubicBezTo>
                <a:cubicBezTo>
                  <a:pt x="8168620" y="6545391"/>
                  <a:pt x="8169665" y="6543993"/>
                  <a:pt x="8168692" y="6542680"/>
                </a:cubicBezTo>
                <a:cubicBezTo>
                  <a:pt x="8167718" y="6541368"/>
                  <a:pt x="8166107" y="6540455"/>
                  <a:pt x="8164314" y="6541138"/>
                </a:cubicBezTo>
                <a:cubicBezTo>
                  <a:pt x="8163160" y="6541420"/>
                  <a:pt x="8161925" y="6542048"/>
                  <a:pt x="8160731" y="6542503"/>
                </a:cubicBezTo>
                <a:cubicBezTo>
                  <a:pt x="8159496" y="6543130"/>
                  <a:pt x="8158340" y="6543412"/>
                  <a:pt x="8157712" y="6542178"/>
                </a:cubicBezTo>
                <a:cubicBezTo>
                  <a:pt x="8156950" y="6540732"/>
                  <a:pt x="8157878" y="6539853"/>
                  <a:pt x="8158940" y="6539186"/>
                </a:cubicBezTo>
                <a:cubicBezTo>
                  <a:pt x="8159829" y="6538479"/>
                  <a:pt x="8161023" y="6538026"/>
                  <a:pt x="8161872" y="6537492"/>
                </a:cubicBezTo>
                <a:cubicBezTo>
                  <a:pt x="8163783" y="6536290"/>
                  <a:pt x="8165120" y="6534415"/>
                  <a:pt x="8163957" y="6532332"/>
                </a:cubicBezTo>
                <a:cubicBezTo>
                  <a:pt x="8162889" y="6530634"/>
                  <a:pt x="8160673" y="6531584"/>
                  <a:pt x="8159053" y="6532305"/>
                </a:cubicBezTo>
                <a:cubicBezTo>
                  <a:pt x="8157646" y="6532893"/>
                  <a:pt x="8156427" y="6534251"/>
                  <a:pt x="8154753" y="6534415"/>
                </a:cubicBezTo>
                <a:cubicBezTo>
                  <a:pt x="8152308" y="6534767"/>
                  <a:pt x="8151005" y="6534106"/>
                  <a:pt x="8151807" y="6531380"/>
                </a:cubicBezTo>
                <a:cubicBezTo>
                  <a:pt x="8152847" y="6527619"/>
                  <a:pt x="8155111" y="6524863"/>
                  <a:pt x="8157855" y="6522398"/>
                </a:cubicBezTo>
                <a:cubicBezTo>
                  <a:pt x="8161315" y="6519187"/>
                  <a:pt x="8161960" y="6517153"/>
                  <a:pt x="8160021" y="6512895"/>
                </a:cubicBezTo>
                <a:cubicBezTo>
                  <a:pt x="8159471" y="6511315"/>
                  <a:pt x="8158364" y="6509790"/>
                  <a:pt x="8157430" y="6508305"/>
                </a:cubicBezTo>
                <a:cubicBezTo>
                  <a:pt x="8157028" y="6507668"/>
                  <a:pt x="8156283" y="6506953"/>
                  <a:pt x="8156825" y="6506168"/>
                </a:cubicBezTo>
                <a:cubicBezTo>
                  <a:pt x="8157407" y="6505210"/>
                  <a:pt x="8158312" y="6505234"/>
                  <a:pt x="8158963" y="6505565"/>
                </a:cubicBezTo>
                <a:cubicBezTo>
                  <a:pt x="8161917" y="6506965"/>
                  <a:pt x="8162924" y="6505739"/>
                  <a:pt x="8163381" y="6502936"/>
                </a:cubicBezTo>
                <a:cubicBezTo>
                  <a:pt x="8163996" y="6499440"/>
                  <a:pt x="8166794" y="6497533"/>
                  <a:pt x="8169648" y="6496183"/>
                </a:cubicBezTo>
                <a:cubicBezTo>
                  <a:pt x="8171904" y="6495062"/>
                  <a:pt x="8172352" y="6493892"/>
                  <a:pt x="8170766" y="6492076"/>
                </a:cubicBezTo>
                <a:cubicBezTo>
                  <a:pt x="8169886" y="6491149"/>
                  <a:pt x="8169352" y="6490300"/>
                  <a:pt x="8170013" y="6488997"/>
                </a:cubicBezTo>
                <a:cubicBezTo>
                  <a:pt x="8170792" y="6487174"/>
                  <a:pt x="8172096" y="6487835"/>
                  <a:pt x="8173385" y="6487765"/>
                </a:cubicBezTo>
                <a:cubicBezTo>
                  <a:pt x="8174116" y="6487751"/>
                  <a:pt x="8174981" y="6487948"/>
                  <a:pt x="8175884" y="6487971"/>
                </a:cubicBezTo>
                <a:cubicBezTo>
                  <a:pt x="8180670" y="6488516"/>
                  <a:pt x="8182298" y="6486160"/>
                  <a:pt x="8180438" y="6481557"/>
                </a:cubicBezTo>
                <a:cubicBezTo>
                  <a:pt x="8180210" y="6480959"/>
                  <a:pt x="8179943" y="6480535"/>
                  <a:pt x="8179888" y="6479977"/>
                </a:cubicBezTo>
                <a:cubicBezTo>
                  <a:pt x="8179605" y="6478821"/>
                  <a:pt x="8179575" y="6477361"/>
                  <a:pt x="8180770" y="6476906"/>
                </a:cubicBezTo>
                <a:close/>
                <a:moveTo>
                  <a:pt x="4424400" y="6472220"/>
                </a:moveTo>
                <a:cubicBezTo>
                  <a:pt x="4426357" y="6470323"/>
                  <a:pt x="4432061" y="6473728"/>
                  <a:pt x="4434889" y="6474897"/>
                </a:cubicBezTo>
                <a:cubicBezTo>
                  <a:pt x="4441432" y="6477839"/>
                  <a:pt x="4450775" y="6475965"/>
                  <a:pt x="4454051" y="6485348"/>
                </a:cubicBezTo>
                <a:cubicBezTo>
                  <a:pt x="4454652" y="6486928"/>
                  <a:pt x="4456130" y="6489113"/>
                  <a:pt x="4458729" y="6489863"/>
                </a:cubicBezTo>
                <a:cubicBezTo>
                  <a:pt x="4462398" y="6490571"/>
                  <a:pt x="4463789" y="6493080"/>
                  <a:pt x="4463406" y="6496838"/>
                </a:cubicBezTo>
                <a:cubicBezTo>
                  <a:pt x="4463401" y="6499297"/>
                  <a:pt x="4464653" y="6501064"/>
                  <a:pt x="4465807" y="6503156"/>
                </a:cubicBezTo>
                <a:cubicBezTo>
                  <a:pt x="4468908" y="6508269"/>
                  <a:pt x="4469546" y="6513375"/>
                  <a:pt x="4466236" y="6518747"/>
                </a:cubicBezTo>
                <a:cubicBezTo>
                  <a:pt x="4464319" y="6521711"/>
                  <a:pt x="4464269" y="6525564"/>
                  <a:pt x="4466959" y="6528448"/>
                </a:cubicBezTo>
                <a:cubicBezTo>
                  <a:pt x="4466580" y="6529746"/>
                  <a:pt x="4466209" y="6531044"/>
                  <a:pt x="4465832" y="6532342"/>
                </a:cubicBezTo>
                <a:cubicBezTo>
                  <a:pt x="4462442" y="6533120"/>
                  <a:pt x="4460579" y="6534693"/>
                  <a:pt x="4459683" y="6539005"/>
                </a:cubicBezTo>
                <a:cubicBezTo>
                  <a:pt x="4458320" y="6544941"/>
                  <a:pt x="4454414" y="6548734"/>
                  <a:pt x="4447538" y="6548156"/>
                </a:cubicBezTo>
                <a:cubicBezTo>
                  <a:pt x="4444516" y="6547637"/>
                  <a:pt x="4444514" y="6550095"/>
                  <a:pt x="4443954" y="6552043"/>
                </a:cubicBezTo>
                <a:cubicBezTo>
                  <a:pt x="4443018" y="6555288"/>
                  <a:pt x="4441531" y="6555562"/>
                  <a:pt x="4439583" y="6552540"/>
                </a:cubicBezTo>
                <a:cubicBezTo>
                  <a:pt x="4436625" y="6548170"/>
                  <a:pt x="4434025" y="6547420"/>
                  <a:pt x="4431458" y="6552655"/>
                </a:cubicBezTo>
                <a:cubicBezTo>
                  <a:pt x="4430752" y="6553859"/>
                  <a:pt x="4429316" y="6555200"/>
                  <a:pt x="4428482" y="6553203"/>
                </a:cubicBezTo>
                <a:cubicBezTo>
                  <a:pt x="4425477" y="6547765"/>
                  <a:pt x="4421803" y="6549517"/>
                  <a:pt x="4417710" y="6551499"/>
                </a:cubicBezTo>
                <a:cubicBezTo>
                  <a:pt x="4417196" y="6552055"/>
                  <a:pt x="4415899" y="6551679"/>
                  <a:pt x="4415248" y="6551492"/>
                </a:cubicBezTo>
                <a:cubicBezTo>
                  <a:pt x="4408760" y="6544698"/>
                  <a:pt x="4402784" y="6537348"/>
                  <a:pt x="4396388" y="6530229"/>
                </a:cubicBezTo>
                <a:cubicBezTo>
                  <a:pt x="4393470" y="6526926"/>
                  <a:pt x="4393307" y="6520197"/>
                  <a:pt x="4393078" y="6514860"/>
                </a:cubicBezTo>
                <a:cubicBezTo>
                  <a:pt x="4392993" y="6512726"/>
                  <a:pt x="4393878" y="6510872"/>
                  <a:pt x="4392400" y="6508687"/>
                </a:cubicBezTo>
                <a:cubicBezTo>
                  <a:pt x="4390918" y="6506502"/>
                  <a:pt x="4391804" y="6504648"/>
                  <a:pt x="4393666" y="6503076"/>
                </a:cubicBezTo>
                <a:cubicBezTo>
                  <a:pt x="4394689" y="6501966"/>
                  <a:pt x="4396461" y="6500718"/>
                  <a:pt x="4395858" y="6499139"/>
                </a:cubicBezTo>
                <a:cubicBezTo>
                  <a:pt x="4393731" y="6494306"/>
                  <a:pt x="4394251" y="6491292"/>
                  <a:pt x="4400009" y="6490845"/>
                </a:cubicBezTo>
                <a:cubicBezTo>
                  <a:pt x="4401406" y="6490896"/>
                  <a:pt x="4402295" y="6489043"/>
                  <a:pt x="4401274" y="6487694"/>
                </a:cubicBezTo>
                <a:cubicBezTo>
                  <a:pt x="4398082" y="6482905"/>
                  <a:pt x="4403096" y="6482595"/>
                  <a:pt x="4404500" y="6480186"/>
                </a:cubicBezTo>
                <a:cubicBezTo>
                  <a:pt x="4409302" y="6472081"/>
                  <a:pt x="4418626" y="6477585"/>
                  <a:pt x="4424400" y="6472220"/>
                </a:cubicBezTo>
                <a:close/>
                <a:moveTo>
                  <a:pt x="974144" y="6469245"/>
                </a:moveTo>
                <a:cubicBezTo>
                  <a:pt x="977850" y="6471264"/>
                  <a:pt x="981117" y="6473156"/>
                  <a:pt x="985077" y="6474298"/>
                </a:cubicBezTo>
                <a:cubicBezTo>
                  <a:pt x="989036" y="6475441"/>
                  <a:pt x="992238" y="6479212"/>
                  <a:pt x="992986" y="6483224"/>
                </a:cubicBezTo>
                <a:cubicBezTo>
                  <a:pt x="993421" y="6486671"/>
                  <a:pt x="994235" y="6488804"/>
                  <a:pt x="996496" y="6490880"/>
                </a:cubicBezTo>
                <a:cubicBezTo>
                  <a:pt x="994979" y="6496136"/>
                  <a:pt x="993462" y="6501391"/>
                  <a:pt x="991945" y="6506648"/>
                </a:cubicBezTo>
                <a:cubicBezTo>
                  <a:pt x="986913" y="6507567"/>
                  <a:pt x="982381" y="6510056"/>
                  <a:pt x="979484" y="6513489"/>
                </a:cubicBezTo>
                <a:cubicBezTo>
                  <a:pt x="976274" y="6516358"/>
                  <a:pt x="973375" y="6519791"/>
                  <a:pt x="970038" y="6523099"/>
                </a:cubicBezTo>
                <a:cubicBezTo>
                  <a:pt x="966827" y="6525967"/>
                  <a:pt x="963489" y="6529275"/>
                  <a:pt x="961786" y="6533528"/>
                </a:cubicBezTo>
                <a:cubicBezTo>
                  <a:pt x="959767" y="6537215"/>
                  <a:pt x="956622" y="6538206"/>
                  <a:pt x="952911" y="6539507"/>
                </a:cubicBezTo>
                <a:cubicBezTo>
                  <a:pt x="949199" y="6540808"/>
                  <a:pt x="944926" y="6539099"/>
                  <a:pt x="941841" y="6541531"/>
                </a:cubicBezTo>
                <a:cubicBezTo>
                  <a:pt x="938761" y="6540641"/>
                  <a:pt x="936122" y="6539880"/>
                  <a:pt x="933041" y="6538991"/>
                </a:cubicBezTo>
                <a:cubicBezTo>
                  <a:pt x="933420" y="6537677"/>
                  <a:pt x="933107" y="6537112"/>
                  <a:pt x="932228" y="6536858"/>
                </a:cubicBezTo>
                <a:cubicBezTo>
                  <a:pt x="925628" y="6534953"/>
                  <a:pt x="923372" y="6529558"/>
                  <a:pt x="922690" y="6523666"/>
                </a:cubicBezTo>
                <a:cubicBezTo>
                  <a:pt x="921881" y="6518214"/>
                  <a:pt x="920505" y="6513073"/>
                  <a:pt x="923029" y="6507633"/>
                </a:cubicBezTo>
                <a:cubicBezTo>
                  <a:pt x="926118" y="6501881"/>
                  <a:pt x="927575" y="6495184"/>
                  <a:pt x="934244" y="6491891"/>
                </a:cubicBezTo>
                <a:cubicBezTo>
                  <a:pt x="936510" y="6490647"/>
                  <a:pt x="938649" y="6489841"/>
                  <a:pt x="941981" y="6489854"/>
                </a:cubicBezTo>
                <a:cubicBezTo>
                  <a:pt x="946761" y="6489809"/>
                  <a:pt x="952672" y="6489143"/>
                  <a:pt x="953375" y="6481754"/>
                </a:cubicBezTo>
                <a:cubicBezTo>
                  <a:pt x="953693" y="6478999"/>
                  <a:pt x="956586" y="6478886"/>
                  <a:pt x="957405" y="6477699"/>
                </a:cubicBezTo>
                <a:cubicBezTo>
                  <a:pt x="961628" y="6471326"/>
                  <a:pt x="967792" y="6469784"/>
                  <a:pt x="974144" y="6469245"/>
                </a:cubicBezTo>
                <a:close/>
                <a:moveTo>
                  <a:pt x="7389842" y="6462321"/>
                </a:moveTo>
                <a:cubicBezTo>
                  <a:pt x="7391331" y="6460703"/>
                  <a:pt x="7396087" y="6463185"/>
                  <a:pt x="7398422" y="6463997"/>
                </a:cubicBezTo>
                <a:cubicBezTo>
                  <a:pt x="7403832" y="6466069"/>
                  <a:pt x="7411275" y="6464128"/>
                  <a:pt x="7414346" y="6471541"/>
                </a:cubicBezTo>
                <a:cubicBezTo>
                  <a:pt x="7414902" y="6472787"/>
                  <a:pt x="7416197" y="6474479"/>
                  <a:pt x="7418326" y="6474965"/>
                </a:cubicBezTo>
                <a:cubicBezTo>
                  <a:pt x="7421316" y="6475367"/>
                  <a:pt x="7422550" y="6477326"/>
                  <a:pt x="7422415" y="6480372"/>
                </a:cubicBezTo>
                <a:cubicBezTo>
                  <a:pt x="7422524" y="6482355"/>
                  <a:pt x="7423612" y="6483722"/>
                  <a:pt x="7424641" y="6485355"/>
                </a:cubicBezTo>
                <a:cubicBezTo>
                  <a:pt x="7427375" y="6489333"/>
                  <a:pt x="7428124" y="6493420"/>
                  <a:pt x="7425702" y="6497902"/>
                </a:cubicBezTo>
                <a:cubicBezTo>
                  <a:pt x="7424297" y="6500380"/>
                  <a:pt x="7424430" y="6503487"/>
                  <a:pt x="7426729" y="6505689"/>
                </a:cubicBezTo>
                <a:cubicBezTo>
                  <a:pt x="7426487" y="6506752"/>
                  <a:pt x="7426244" y="6507815"/>
                  <a:pt x="7426001" y="6508879"/>
                </a:cubicBezTo>
                <a:cubicBezTo>
                  <a:pt x="7423302" y="6509663"/>
                  <a:pt x="7421874" y="6511015"/>
                  <a:pt x="7421353" y="6514532"/>
                </a:cubicBezTo>
                <a:cubicBezTo>
                  <a:pt x="7420529" y="6519379"/>
                  <a:pt x="7417551" y="6522616"/>
                  <a:pt x="7411984" y="6522467"/>
                </a:cubicBezTo>
                <a:cubicBezTo>
                  <a:pt x="7409528" y="6522187"/>
                  <a:pt x="7409635" y="6524169"/>
                  <a:pt x="7409271" y="6525764"/>
                </a:cubicBezTo>
                <a:cubicBezTo>
                  <a:pt x="7408666" y="6528423"/>
                  <a:pt x="7407481" y="6528712"/>
                  <a:pt x="7405774" y="6526365"/>
                </a:cubicBezTo>
                <a:cubicBezTo>
                  <a:pt x="7403185" y="6522979"/>
                  <a:pt x="7401055" y="6522494"/>
                  <a:pt x="7399227" y="6526831"/>
                </a:cubicBezTo>
                <a:cubicBezTo>
                  <a:pt x="7398718" y="6527834"/>
                  <a:pt x="7397616" y="6528982"/>
                  <a:pt x="7396854" y="6527410"/>
                </a:cubicBezTo>
                <a:cubicBezTo>
                  <a:pt x="7394182" y="6523164"/>
                  <a:pt x="7391301" y="6524746"/>
                  <a:pt x="7388093" y="6526532"/>
                </a:cubicBezTo>
                <a:cubicBezTo>
                  <a:pt x="7387705" y="6527003"/>
                  <a:pt x="7386641" y="6526760"/>
                  <a:pt x="7386108" y="6526639"/>
                </a:cubicBezTo>
                <a:cubicBezTo>
                  <a:pt x="7380567" y="6521462"/>
                  <a:pt x="7375413" y="6515812"/>
                  <a:pt x="7369932" y="6510367"/>
                </a:cubicBezTo>
                <a:cubicBezTo>
                  <a:pt x="7367428" y="6507839"/>
                  <a:pt x="7366983" y="6502423"/>
                  <a:pt x="7366560" y="6498131"/>
                </a:cubicBezTo>
                <a:cubicBezTo>
                  <a:pt x="7366391" y="6496415"/>
                  <a:pt x="7367021" y="6494879"/>
                  <a:pt x="7365726" y="6493186"/>
                </a:cubicBezTo>
                <a:cubicBezTo>
                  <a:pt x="7364432" y="6491493"/>
                  <a:pt x="7365061" y="6489958"/>
                  <a:pt x="7366491" y="6488606"/>
                </a:cubicBezTo>
                <a:cubicBezTo>
                  <a:pt x="7367264" y="6487664"/>
                  <a:pt x="7368633" y="6486577"/>
                  <a:pt x="7368076" y="6485331"/>
                </a:cubicBezTo>
                <a:cubicBezTo>
                  <a:pt x="7366141" y="6481534"/>
                  <a:pt x="7366420" y="6479080"/>
                  <a:pt x="7371044" y="6478455"/>
                </a:cubicBezTo>
                <a:cubicBezTo>
                  <a:pt x="7372168" y="6478432"/>
                  <a:pt x="7372799" y="6476897"/>
                  <a:pt x="7371915" y="6475857"/>
                </a:cubicBezTo>
                <a:cubicBezTo>
                  <a:pt x="7369121" y="6472143"/>
                  <a:pt x="7373151" y="6471664"/>
                  <a:pt x="7374168" y="6469658"/>
                </a:cubicBezTo>
                <a:cubicBezTo>
                  <a:pt x="7377668" y="6462903"/>
                  <a:pt x="7385436" y="6466911"/>
                  <a:pt x="7389842" y="6462321"/>
                </a:cubicBezTo>
                <a:close/>
                <a:moveTo>
                  <a:pt x="2361652" y="6453824"/>
                </a:moveTo>
                <a:lnTo>
                  <a:pt x="2362300" y="6453855"/>
                </a:lnTo>
                <a:lnTo>
                  <a:pt x="2361885" y="6454244"/>
                </a:lnTo>
                <a:close/>
                <a:moveTo>
                  <a:pt x="9623413" y="6443737"/>
                </a:moveTo>
                <a:cubicBezTo>
                  <a:pt x="9625368" y="6441840"/>
                  <a:pt x="9631074" y="6445245"/>
                  <a:pt x="9633905" y="6446413"/>
                </a:cubicBezTo>
                <a:cubicBezTo>
                  <a:pt x="9640447" y="6449357"/>
                  <a:pt x="9649789" y="6447482"/>
                  <a:pt x="9653064" y="6456865"/>
                </a:cubicBezTo>
                <a:cubicBezTo>
                  <a:pt x="9653664" y="6458445"/>
                  <a:pt x="9655146" y="6460631"/>
                  <a:pt x="9657745" y="6461381"/>
                </a:cubicBezTo>
                <a:cubicBezTo>
                  <a:pt x="9661414" y="6462088"/>
                  <a:pt x="9662802" y="6464597"/>
                  <a:pt x="9662420" y="6468355"/>
                </a:cubicBezTo>
                <a:cubicBezTo>
                  <a:pt x="9662414" y="6470814"/>
                  <a:pt x="9663665" y="6472581"/>
                  <a:pt x="9664821" y="6474673"/>
                </a:cubicBezTo>
                <a:cubicBezTo>
                  <a:pt x="9667921" y="6479786"/>
                  <a:pt x="9668559" y="6484893"/>
                  <a:pt x="9665248" y="6490264"/>
                </a:cubicBezTo>
                <a:cubicBezTo>
                  <a:pt x="9663338" y="6493229"/>
                  <a:pt x="9663281" y="6497080"/>
                  <a:pt x="9665969" y="6499965"/>
                </a:cubicBezTo>
                <a:cubicBezTo>
                  <a:pt x="9665594" y="6501263"/>
                  <a:pt x="9665220" y="6502561"/>
                  <a:pt x="9664846" y="6503859"/>
                </a:cubicBezTo>
                <a:cubicBezTo>
                  <a:pt x="9661453" y="6504637"/>
                  <a:pt x="9659591" y="6506210"/>
                  <a:pt x="9658698" y="6510522"/>
                </a:cubicBezTo>
                <a:cubicBezTo>
                  <a:pt x="9657337" y="6516457"/>
                  <a:pt x="9653426" y="6520251"/>
                  <a:pt x="9646553" y="6519674"/>
                </a:cubicBezTo>
                <a:cubicBezTo>
                  <a:pt x="9643535" y="6519153"/>
                  <a:pt x="9643528" y="6521612"/>
                  <a:pt x="9642966" y="6523560"/>
                </a:cubicBezTo>
                <a:cubicBezTo>
                  <a:pt x="9642029" y="6526805"/>
                  <a:pt x="9640542" y="6527079"/>
                  <a:pt x="9638598" y="6524057"/>
                </a:cubicBezTo>
                <a:cubicBezTo>
                  <a:pt x="9635636" y="6519687"/>
                  <a:pt x="9633036" y="6518937"/>
                  <a:pt x="9630469" y="6524172"/>
                </a:cubicBezTo>
                <a:cubicBezTo>
                  <a:pt x="9629770" y="6525376"/>
                  <a:pt x="9628327" y="6526717"/>
                  <a:pt x="9627495" y="6524719"/>
                </a:cubicBezTo>
                <a:cubicBezTo>
                  <a:pt x="9624488" y="6519282"/>
                  <a:pt x="9620816" y="6521034"/>
                  <a:pt x="9616723" y="6523016"/>
                </a:cubicBezTo>
                <a:cubicBezTo>
                  <a:pt x="9616210" y="6523571"/>
                  <a:pt x="9614910" y="6523196"/>
                  <a:pt x="9614261" y="6523009"/>
                </a:cubicBezTo>
                <a:cubicBezTo>
                  <a:pt x="9607773" y="6516215"/>
                  <a:pt x="9601798" y="6508865"/>
                  <a:pt x="9595405" y="6501747"/>
                </a:cubicBezTo>
                <a:cubicBezTo>
                  <a:pt x="9592486" y="6498443"/>
                  <a:pt x="9592316" y="6491714"/>
                  <a:pt x="9592097" y="6486377"/>
                </a:cubicBezTo>
                <a:cubicBezTo>
                  <a:pt x="9592009" y="6484242"/>
                  <a:pt x="9592896" y="6482389"/>
                  <a:pt x="9591415" y="6480203"/>
                </a:cubicBezTo>
                <a:cubicBezTo>
                  <a:pt x="9589934" y="6478019"/>
                  <a:pt x="9590821" y="6476166"/>
                  <a:pt x="9592683" y="6474593"/>
                </a:cubicBezTo>
                <a:cubicBezTo>
                  <a:pt x="9593707" y="6473483"/>
                  <a:pt x="9595476" y="6472235"/>
                  <a:pt x="9594876" y="6470655"/>
                </a:cubicBezTo>
                <a:cubicBezTo>
                  <a:pt x="9592749" y="6465824"/>
                  <a:pt x="9593267" y="6462808"/>
                  <a:pt x="9599028" y="6462363"/>
                </a:cubicBezTo>
                <a:cubicBezTo>
                  <a:pt x="9600423" y="6462413"/>
                  <a:pt x="9601310" y="6460560"/>
                  <a:pt x="9600290" y="6459210"/>
                </a:cubicBezTo>
                <a:cubicBezTo>
                  <a:pt x="9597096" y="6454421"/>
                  <a:pt x="9602114" y="6454112"/>
                  <a:pt x="9603513" y="6451703"/>
                </a:cubicBezTo>
                <a:cubicBezTo>
                  <a:pt x="9608317" y="6443598"/>
                  <a:pt x="9617640" y="6449102"/>
                  <a:pt x="9623413" y="6443737"/>
                </a:cubicBezTo>
                <a:close/>
                <a:moveTo>
                  <a:pt x="9406510" y="6437496"/>
                </a:moveTo>
                <a:cubicBezTo>
                  <a:pt x="9410217" y="6439516"/>
                  <a:pt x="9413485" y="6441408"/>
                  <a:pt x="9417445" y="6442550"/>
                </a:cubicBezTo>
                <a:cubicBezTo>
                  <a:pt x="9421403" y="6443693"/>
                  <a:pt x="9424604" y="6447464"/>
                  <a:pt x="9425353" y="6451476"/>
                </a:cubicBezTo>
                <a:cubicBezTo>
                  <a:pt x="9425788" y="6454923"/>
                  <a:pt x="9426603" y="6457056"/>
                  <a:pt x="9428863" y="6459132"/>
                </a:cubicBezTo>
                <a:cubicBezTo>
                  <a:pt x="9427346" y="6464388"/>
                  <a:pt x="9425828" y="6469643"/>
                  <a:pt x="9424311" y="6474899"/>
                </a:cubicBezTo>
                <a:cubicBezTo>
                  <a:pt x="9419281" y="6475819"/>
                  <a:pt x="9414749" y="6478308"/>
                  <a:pt x="9411851" y="6481741"/>
                </a:cubicBezTo>
                <a:cubicBezTo>
                  <a:pt x="9408640" y="6484610"/>
                  <a:pt x="9405743" y="6488043"/>
                  <a:pt x="9402405" y="6491351"/>
                </a:cubicBezTo>
                <a:cubicBezTo>
                  <a:pt x="9399194" y="6494219"/>
                  <a:pt x="9395857" y="6497527"/>
                  <a:pt x="9394152" y="6501780"/>
                </a:cubicBezTo>
                <a:cubicBezTo>
                  <a:pt x="9392134" y="6505467"/>
                  <a:pt x="9388990" y="6506458"/>
                  <a:pt x="9385278" y="6507759"/>
                </a:cubicBezTo>
                <a:cubicBezTo>
                  <a:pt x="9381565" y="6509060"/>
                  <a:pt x="9377293" y="6507351"/>
                  <a:pt x="9374208" y="6509783"/>
                </a:cubicBezTo>
                <a:cubicBezTo>
                  <a:pt x="9371128" y="6508894"/>
                  <a:pt x="9368489" y="6508132"/>
                  <a:pt x="9365408" y="6507243"/>
                </a:cubicBezTo>
                <a:cubicBezTo>
                  <a:pt x="9365789" y="6505929"/>
                  <a:pt x="9365475" y="6505364"/>
                  <a:pt x="9364595" y="6505110"/>
                </a:cubicBezTo>
                <a:cubicBezTo>
                  <a:pt x="9357995" y="6503205"/>
                  <a:pt x="9355739" y="6497810"/>
                  <a:pt x="9355057" y="6491918"/>
                </a:cubicBezTo>
                <a:cubicBezTo>
                  <a:pt x="9354247" y="6486466"/>
                  <a:pt x="9352872" y="6481325"/>
                  <a:pt x="9355395" y="6475885"/>
                </a:cubicBezTo>
                <a:cubicBezTo>
                  <a:pt x="9358485" y="6470133"/>
                  <a:pt x="9359941" y="6463437"/>
                  <a:pt x="9366611" y="6460142"/>
                </a:cubicBezTo>
                <a:cubicBezTo>
                  <a:pt x="9368877" y="6458899"/>
                  <a:pt x="9371016" y="6458093"/>
                  <a:pt x="9374349" y="6458106"/>
                </a:cubicBezTo>
                <a:cubicBezTo>
                  <a:pt x="9379127" y="6458061"/>
                  <a:pt x="9385040" y="6457395"/>
                  <a:pt x="9385742" y="6450007"/>
                </a:cubicBezTo>
                <a:cubicBezTo>
                  <a:pt x="9386061" y="6447252"/>
                  <a:pt x="9388953" y="6447138"/>
                  <a:pt x="9389772" y="6445951"/>
                </a:cubicBezTo>
                <a:cubicBezTo>
                  <a:pt x="9393994" y="6439578"/>
                  <a:pt x="9400159" y="6438036"/>
                  <a:pt x="9406510" y="6437496"/>
                </a:cubicBezTo>
                <a:close/>
                <a:moveTo>
                  <a:pt x="5632863" y="6435786"/>
                </a:moveTo>
                <a:cubicBezTo>
                  <a:pt x="5635932" y="6437937"/>
                  <a:pt x="5638690" y="6438349"/>
                  <a:pt x="5642898" y="6437963"/>
                </a:cubicBezTo>
                <a:cubicBezTo>
                  <a:pt x="5647882" y="6437801"/>
                  <a:pt x="5653223" y="6440631"/>
                  <a:pt x="5655624" y="6445055"/>
                </a:cubicBezTo>
                <a:cubicBezTo>
                  <a:pt x="5658025" y="6449479"/>
                  <a:pt x="5661141" y="6452880"/>
                  <a:pt x="5664524" y="6456772"/>
                </a:cubicBezTo>
                <a:cubicBezTo>
                  <a:pt x="5665554" y="6464493"/>
                  <a:pt x="5665333" y="6472253"/>
                  <a:pt x="5658834" y="6478965"/>
                </a:cubicBezTo>
                <a:cubicBezTo>
                  <a:pt x="5657633" y="6480254"/>
                  <a:pt x="5658260" y="6483736"/>
                  <a:pt x="5655056" y="6484840"/>
                </a:cubicBezTo>
                <a:cubicBezTo>
                  <a:pt x="5646424" y="6487620"/>
                  <a:pt x="5647182" y="6494848"/>
                  <a:pt x="5648384" y="6500562"/>
                </a:cubicBezTo>
                <a:cubicBezTo>
                  <a:pt x="5649277" y="6504535"/>
                  <a:pt x="5648876" y="6507300"/>
                  <a:pt x="5647986" y="6510329"/>
                </a:cubicBezTo>
                <a:cubicBezTo>
                  <a:pt x="5645811" y="6519153"/>
                  <a:pt x="5638223" y="6522650"/>
                  <a:pt x="5632170" y="6527847"/>
                </a:cubicBezTo>
                <a:cubicBezTo>
                  <a:pt x="5626343" y="6532287"/>
                  <a:pt x="5619849" y="6531997"/>
                  <a:pt x="5613133" y="6532464"/>
                </a:cubicBezTo>
                <a:cubicBezTo>
                  <a:pt x="5605922" y="6533196"/>
                  <a:pt x="5598895" y="6531922"/>
                  <a:pt x="5594887" y="6524549"/>
                </a:cubicBezTo>
                <a:cubicBezTo>
                  <a:pt x="5594351" y="6523566"/>
                  <a:pt x="5593596" y="6523340"/>
                  <a:pt x="5592130" y="6524138"/>
                </a:cubicBezTo>
                <a:cubicBezTo>
                  <a:pt x="5590254" y="6520697"/>
                  <a:pt x="5588654" y="6517747"/>
                  <a:pt x="5586784" y="6514306"/>
                </a:cubicBezTo>
                <a:cubicBezTo>
                  <a:pt x="5588877" y="6509986"/>
                  <a:pt x="5585718" y="6505336"/>
                  <a:pt x="5586298" y="6500566"/>
                </a:cubicBezTo>
                <a:cubicBezTo>
                  <a:pt x="5586871" y="6495795"/>
                  <a:pt x="5587225" y="6491781"/>
                  <a:pt x="5591099" y="6488406"/>
                </a:cubicBezTo>
                <a:cubicBezTo>
                  <a:pt x="5595717" y="6485255"/>
                  <a:pt x="5598791" y="6480404"/>
                  <a:pt x="5601374" y="6475819"/>
                </a:cubicBezTo>
                <a:cubicBezTo>
                  <a:pt x="5604441" y="6470968"/>
                  <a:pt x="5607779" y="6466608"/>
                  <a:pt x="5610359" y="6462023"/>
                </a:cubicBezTo>
                <a:cubicBezTo>
                  <a:pt x="5613691" y="6457664"/>
                  <a:pt x="5615470" y="6451603"/>
                  <a:pt x="5615244" y="6445358"/>
                </a:cubicBezTo>
                <a:cubicBezTo>
                  <a:pt x="5621116" y="6442167"/>
                  <a:pt x="5626991" y="6438977"/>
                  <a:pt x="5632863" y="6435786"/>
                </a:cubicBezTo>
                <a:close/>
                <a:moveTo>
                  <a:pt x="8584726" y="6427979"/>
                </a:moveTo>
                <a:cubicBezTo>
                  <a:pt x="8588953" y="6428892"/>
                  <a:pt x="8593144" y="6430854"/>
                  <a:pt x="8597298" y="6431196"/>
                </a:cubicBezTo>
                <a:cubicBezTo>
                  <a:pt x="8600835" y="6431600"/>
                  <a:pt x="8608553" y="6431345"/>
                  <a:pt x="8609476" y="6434374"/>
                </a:cubicBezTo>
                <a:cubicBezTo>
                  <a:pt x="8612331" y="6443078"/>
                  <a:pt x="8624911" y="6442723"/>
                  <a:pt x="8625239" y="6453670"/>
                </a:cubicBezTo>
                <a:cubicBezTo>
                  <a:pt x="8625307" y="6456907"/>
                  <a:pt x="8630237" y="6460043"/>
                  <a:pt x="8624295" y="6463119"/>
                </a:cubicBezTo>
                <a:cubicBezTo>
                  <a:pt x="8622501" y="6463918"/>
                  <a:pt x="8622360" y="6466303"/>
                  <a:pt x="8623807" y="6467035"/>
                </a:cubicBezTo>
                <a:cubicBezTo>
                  <a:pt x="8629415" y="6470728"/>
                  <a:pt x="8628247" y="6474086"/>
                  <a:pt x="8623367" y="6477807"/>
                </a:cubicBezTo>
                <a:cubicBezTo>
                  <a:pt x="8621869" y="6479075"/>
                  <a:pt x="8622965" y="6481339"/>
                  <a:pt x="8623383" y="6483045"/>
                </a:cubicBezTo>
                <a:cubicBezTo>
                  <a:pt x="8624393" y="6485692"/>
                  <a:pt x="8624253" y="6488075"/>
                  <a:pt x="8621517" y="6489465"/>
                </a:cubicBezTo>
                <a:cubicBezTo>
                  <a:pt x="8618782" y="6490855"/>
                  <a:pt x="8618642" y="6493239"/>
                  <a:pt x="8617352" y="6495361"/>
                </a:cubicBezTo>
                <a:cubicBezTo>
                  <a:pt x="8614127" y="6500666"/>
                  <a:pt x="8610169" y="6507416"/>
                  <a:pt x="8605343" y="6509134"/>
                </a:cubicBezTo>
                <a:cubicBezTo>
                  <a:pt x="8594836" y="6512781"/>
                  <a:pt x="8584625" y="6516897"/>
                  <a:pt x="8574204" y="6520159"/>
                </a:cubicBezTo>
                <a:cubicBezTo>
                  <a:pt x="8573437" y="6519986"/>
                  <a:pt x="8571904" y="6519636"/>
                  <a:pt x="8571697" y="6518783"/>
                </a:cubicBezTo>
                <a:cubicBezTo>
                  <a:pt x="8568648" y="6514465"/>
                  <a:pt x="8565896" y="6510616"/>
                  <a:pt x="8559780" y="6514457"/>
                </a:cubicBezTo>
                <a:cubicBezTo>
                  <a:pt x="8557810" y="6516022"/>
                  <a:pt x="8557096" y="6513845"/>
                  <a:pt x="8557063" y="6512227"/>
                </a:cubicBezTo>
                <a:cubicBezTo>
                  <a:pt x="8557395" y="6505457"/>
                  <a:pt x="8554330" y="6504759"/>
                  <a:pt x="8548857" y="6507539"/>
                </a:cubicBezTo>
                <a:cubicBezTo>
                  <a:pt x="8545181" y="6509519"/>
                  <a:pt x="8543821" y="6508405"/>
                  <a:pt x="8544694" y="6504576"/>
                </a:cubicBezTo>
                <a:cubicBezTo>
                  <a:pt x="8545217" y="6502280"/>
                  <a:pt x="8546595" y="6499774"/>
                  <a:pt x="8543233" y="6498606"/>
                </a:cubicBezTo>
                <a:cubicBezTo>
                  <a:pt x="8535915" y="6495329"/>
                  <a:pt x="8534070" y="6489270"/>
                  <a:pt x="8536023" y="6482468"/>
                </a:cubicBezTo>
                <a:cubicBezTo>
                  <a:pt x="8537541" y="6477578"/>
                  <a:pt x="8536531" y="6474932"/>
                  <a:pt x="8533518" y="6472232"/>
                </a:cubicBezTo>
                <a:cubicBezTo>
                  <a:pt x="8533867" y="6470701"/>
                  <a:pt x="8534215" y="6469170"/>
                  <a:pt x="8534564" y="6467639"/>
                </a:cubicBezTo>
                <a:cubicBezTo>
                  <a:pt x="8538921" y="6466215"/>
                  <a:pt x="8541030" y="6462267"/>
                  <a:pt x="8540753" y="6458176"/>
                </a:cubicBezTo>
                <a:cubicBezTo>
                  <a:pt x="8540406" y="6450849"/>
                  <a:pt x="8543927" y="6446014"/>
                  <a:pt x="8549956" y="6442556"/>
                </a:cubicBezTo>
                <a:cubicBezTo>
                  <a:pt x="8552309" y="6441079"/>
                  <a:pt x="8554575" y="6439984"/>
                  <a:pt x="8555951" y="6437479"/>
                </a:cubicBezTo>
                <a:cubicBezTo>
                  <a:pt x="8557678" y="6433443"/>
                  <a:pt x="8560500" y="6431670"/>
                  <a:pt x="8564629" y="6433014"/>
                </a:cubicBezTo>
                <a:cubicBezTo>
                  <a:pt x="8567695" y="6433712"/>
                  <a:pt x="8570431" y="6432322"/>
                  <a:pt x="8571931" y="6431053"/>
                </a:cubicBezTo>
                <a:cubicBezTo>
                  <a:pt x="8576235" y="6427201"/>
                  <a:pt x="8580499" y="6427067"/>
                  <a:pt x="8584726" y="6427979"/>
                </a:cubicBezTo>
                <a:close/>
                <a:moveTo>
                  <a:pt x="10794010" y="6422076"/>
                </a:moveTo>
                <a:lnTo>
                  <a:pt x="10794660" y="6422108"/>
                </a:lnTo>
                <a:lnTo>
                  <a:pt x="10794243" y="6422496"/>
                </a:lnTo>
                <a:close/>
                <a:moveTo>
                  <a:pt x="2569200" y="6412508"/>
                </a:moveTo>
                <a:lnTo>
                  <a:pt x="2564152" y="6415073"/>
                </a:lnTo>
                <a:cubicBezTo>
                  <a:pt x="2563665" y="6416265"/>
                  <a:pt x="2564440" y="6418071"/>
                  <a:pt x="2565991" y="6421684"/>
                </a:cubicBezTo>
                <a:cubicBezTo>
                  <a:pt x="2566671" y="6423320"/>
                  <a:pt x="2567163" y="6424613"/>
                  <a:pt x="2565102" y="6425747"/>
                </a:cubicBezTo>
                <a:lnTo>
                  <a:pt x="2556553" y="6431288"/>
                </a:lnTo>
                <a:lnTo>
                  <a:pt x="2574707" y="6439157"/>
                </a:lnTo>
                <a:cubicBezTo>
                  <a:pt x="2590327" y="6445540"/>
                  <a:pt x="2606482" y="6450846"/>
                  <a:pt x="2623617" y="6452507"/>
                </a:cubicBezTo>
                <a:cubicBezTo>
                  <a:pt x="2628988" y="6432462"/>
                  <a:pt x="2611610" y="6431713"/>
                  <a:pt x="2601164" y="6426962"/>
                </a:cubicBezTo>
                <a:close/>
                <a:moveTo>
                  <a:pt x="1179321" y="6405005"/>
                </a:moveTo>
                <a:cubicBezTo>
                  <a:pt x="1181985" y="6405796"/>
                  <a:pt x="1184303" y="6406773"/>
                  <a:pt x="1187093" y="6406151"/>
                </a:cubicBezTo>
                <a:cubicBezTo>
                  <a:pt x="1191263" y="6404780"/>
                  <a:pt x="1194459" y="6405729"/>
                  <a:pt x="1196178" y="6409716"/>
                </a:cubicBezTo>
                <a:cubicBezTo>
                  <a:pt x="1197679" y="6412479"/>
                  <a:pt x="1200532" y="6413615"/>
                  <a:pt x="1202473" y="6413901"/>
                </a:cubicBezTo>
                <a:cubicBezTo>
                  <a:pt x="1213944" y="6415274"/>
                  <a:pt x="1214150" y="6426346"/>
                  <a:pt x="1219127" y="6433038"/>
                </a:cubicBezTo>
                <a:cubicBezTo>
                  <a:pt x="1221161" y="6435960"/>
                  <a:pt x="1226452" y="6441585"/>
                  <a:pt x="1224788" y="6444279"/>
                </a:cubicBezTo>
                <a:cubicBezTo>
                  <a:pt x="1220140" y="6452173"/>
                  <a:pt x="1228718" y="6461381"/>
                  <a:pt x="1220717" y="6468860"/>
                </a:cubicBezTo>
                <a:cubicBezTo>
                  <a:pt x="1218333" y="6471050"/>
                  <a:pt x="1219236" y="6476823"/>
                  <a:pt x="1213000" y="6474395"/>
                </a:cubicBezTo>
                <a:cubicBezTo>
                  <a:pt x="1211216" y="6473575"/>
                  <a:pt x="1209333" y="6475045"/>
                  <a:pt x="1209738" y="6476615"/>
                </a:cubicBezTo>
                <a:lnTo>
                  <a:pt x="1208876" y="6480071"/>
                </a:lnTo>
                <a:lnTo>
                  <a:pt x="1212341" y="6480973"/>
                </a:lnTo>
                <a:cubicBezTo>
                  <a:pt x="1215904" y="6482044"/>
                  <a:pt x="1219058" y="6483922"/>
                  <a:pt x="1220696" y="6488613"/>
                </a:cubicBezTo>
                <a:cubicBezTo>
                  <a:pt x="1221295" y="6490193"/>
                  <a:pt x="1222776" y="6492378"/>
                  <a:pt x="1225377" y="6493129"/>
                </a:cubicBezTo>
                <a:cubicBezTo>
                  <a:pt x="1229044" y="6493836"/>
                  <a:pt x="1230432" y="6496346"/>
                  <a:pt x="1230052" y="6500103"/>
                </a:cubicBezTo>
                <a:cubicBezTo>
                  <a:pt x="1230046" y="6502562"/>
                  <a:pt x="1231296" y="6504329"/>
                  <a:pt x="1232452" y="6506421"/>
                </a:cubicBezTo>
                <a:cubicBezTo>
                  <a:pt x="1235552" y="6511534"/>
                  <a:pt x="1236191" y="6516640"/>
                  <a:pt x="1232880" y="6522012"/>
                </a:cubicBezTo>
                <a:cubicBezTo>
                  <a:pt x="1230968" y="6524977"/>
                  <a:pt x="1230913" y="6528829"/>
                  <a:pt x="1233600" y="6531714"/>
                </a:cubicBezTo>
                <a:cubicBezTo>
                  <a:pt x="1233225" y="6533011"/>
                  <a:pt x="1232850" y="6534309"/>
                  <a:pt x="1232475" y="6535607"/>
                </a:cubicBezTo>
                <a:cubicBezTo>
                  <a:pt x="1229082" y="6536386"/>
                  <a:pt x="1227221" y="6537958"/>
                  <a:pt x="1226329" y="6542270"/>
                </a:cubicBezTo>
                <a:cubicBezTo>
                  <a:pt x="1224967" y="6548205"/>
                  <a:pt x="1221056" y="6551998"/>
                  <a:pt x="1214184" y="6551422"/>
                </a:cubicBezTo>
                <a:cubicBezTo>
                  <a:pt x="1211164" y="6550901"/>
                  <a:pt x="1211160" y="6553360"/>
                  <a:pt x="1210597" y="6555308"/>
                </a:cubicBezTo>
                <a:cubicBezTo>
                  <a:pt x="1209661" y="6558553"/>
                  <a:pt x="1208174" y="6558827"/>
                  <a:pt x="1206230" y="6555806"/>
                </a:cubicBezTo>
                <a:cubicBezTo>
                  <a:pt x="1203267" y="6551435"/>
                  <a:pt x="1200668" y="6550684"/>
                  <a:pt x="1198101" y="6555920"/>
                </a:cubicBezTo>
                <a:cubicBezTo>
                  <a:pt x="1197401" y="6557124"/>
                  <a:pt x="1195958" y="6558465"/>
                  <a:pt x="1195127" y="6556467"/>
                </a:cubicBezTo>
                <a:cubicBezTo>
                  <a:pt x="1192120" y="6551030"/>
                  <a:pt x="1188446" y="6552781"/>
                  <a:pt x="1184354" y="6554764"/>
                </a:cubicBezTo>
                <a:cubicBezTo>
                  <a:pt x="1183841" y="6555319"/>
                  <a:pt x="1182542" y="6554944"/>
                  <a:pt x="1181891" y="6554757"/>
                </a:cubicBezTo>
                <a:cubicBezTo>
                  <a:pt x="1175405" y="6547963"/>
                  <a:pt x="1169430" y="6540613"/>
                  <a:pt x="1163037" y="6533495"/>
                </a:cubicBezTo>
                <a:cubicBezTo>
                  <a:pt x="1160118" y="6530191"/>
                  <a:pt x="1159948" y="6523462"/>
                  <a:pt x="1159728" y="6518125"/>
                </a:cubicBezTo>
                <a:cubicBezTo>
                  <a:pt x="1159640" y="6515991"/>
                  <a:pt x="1160527" y="6514137"/>
                  <a:pt x="1159046" y="6511951"/>
                </a:cubicBezTo>
                <a:cubicBezTo>
                  <a:pt x="1157564" y="6509767"/>
                  <a:pt x="1158452" y="6507913"/>
                  <a:pt x="1160313" y="6506342"/>
                </a:cubicBezTo>
                <a:cubicBezTo>
                  <a:pt x="1161338" y="6505230"/>
                  <a:pt x="1163107" y="6503983"/>
                  <a:pt x="1162506" y="6502403"/>
                </a:cubicBezTo>
                <a:cubicBezTo>
                  <a:pt x="1160381" y="6497572"/>
                  <a:pt x="1160898" y="6494556"/>
                  <a:pt x="1166660" y="6494111"/>
                </a:cubicBezTo>
                <a:cubicBezTo>
                  <a:pt x="1168053" y="6494161"/>
                  <a:pt x="1168940" y="6492308"/>
                  <a:pt x="1167922" y="6490959"/>
                </a:cubicBezTo>
                <a:lnTo>
                  <a:pt x="1168093" y="6490561"/>
                </a:lnTo>
                <a:lnTo>
                  <a:pt x="1165937" y="6490571"/>
                </a:lnTo>
                <a:cubicBezTo>
                  <a:pt x="1156259" y="6485092"/>
                  <a:pt x="1146423" y="6480147"/>
                  <a:pt x="1137089" y="6474480"/>
                </a:cubicBezTo>
                <a:cubicBezTo>
                  <a:pt x="1136714" y="6473790"/>
                  <a:pt x="1135963" y="6472408"/>
                  <a:pt x="1136465" y="6471687"/>
                </a:cubicBezTo>
                <a:cubicBezTo>
                  <a:pt x="1137693" y="6466547"/>
                  <a:pt x="1138764" y="6461939"/>
                  <a:pt x="1131839" y="6459885"/>
                </a:cubicBezTo>
                <a:cubicBezTo>
                  <a:pt x="1129364" y="6459441"/>
                  <a:pt x="1130526" y="6457467"/>
                  <a:pt x="1131718" y="6456372"/>
                </a:cubicBezTo>
                <a:cubicBezTo>
                  <a:pt x="1137019" y="6452148"/>
                  <a:pt x="1135518" y="6449386"/>
                  <a:pt x="1129817" y="6447115"/>
                </a:cubicBezTo>
                <a:cubicBezTo>
                  <a:pt x="1125899" y="6445663"/>
                  <a:pt x="1125839" y="6443907"/>
                  <a:pt x="1129289" y="6442032"/>
                </a:cubicBezTo>
                <a:cubicBezTo>
                  <a:pt x="1131359" y="6440908"/>
                  <a:pt x="1134149" y="6440287"/>
                  <a:pt x="1132805" y="6436991"/>
                </a:cubicBezTo>
                <a:cubicBezTo>
                  <a:pt x="1130431" y="6429332"/>
                  <a:pt x="1133760" y="6423945"/>
                  <a:pt x="1140156" y="6420916"/>
                </a:cubicBezTo>
                <a:cubicBezTo>
                  <a:pt x="1144830" y="6418825"/>
                  <a:pt x="1146148" y="6416319"/>
                  <a:pt x="1146183" y="6412273"/>
                </a:cubicBezTo>
                <a:cubicBezTo>
                  <a:pt x="1147564" y="6411523"/>
                  <a:pt x="1148944" y="6410774"/>
                  <a:pt x="1150324" y="6410024"/>
                </a:cubicBezTo>
                <a:cubicBezTo>
                  <a:pt x="1154270" y="6412354"/>
                  <a:pt x="1158628" y="6411328"/>
                  <a:pt x="1161515" y="6408417"/>
                </a:cubicBezTo>
                <a:cubicBezTo>
                  <a:pt x="1166786" y="6403316"/>
                  <a:pt x="1172742" y="6402764"/>
                  <a:pt x="1179321" y="6405005"/>
                </a:cubicBezTo>
                <a:close/>
                <a:moveTo>
                  <a:pt x="2439253" y="6402313"/>
                </a:moveTo>
                <a:cubicBezTo>
                  <a:pt x="2437425" y="6402983"/>
                  <a:pt x="2435767" y="6404614"/>
                  <a:pt x="2434458" y="6407681"/>
                </a:cubicBezTo>
                <a:cubicBezTo>
                  <a:pt x="2427883" y="6417638"/>
                  <a:pt x="2440641" y="6421055"/>
                  <a:pt x="2447440" y="6424831"/>
                </a:cubicBezTo>
                <a:lnTo>
                  <a:pt x="2458847" y="6430446"/>
                </a:lnTo>
                <a:lnTo>
                  <a:pt x="2471799" y="6424723"/>
                </a:lnTo>
                <a:cubicBezTo>
                  <a:pt x="2473133" y="6423093"/>
                  <a:pt x="2474888" y="6421009"/>
                  <a:pt x="2473487" y="6418877"/>
                </a:cubicBezTo>
                <a:cubicBezTo>
                  <a:pt x="2472087" y="6416745"/>
                  <a:pt x="2469658" y="6415182"/>
                  <a:pt x="2466804" y="6416085"/>
                </a:cubicBezTo>
                <a:cubicBezTo>
                  <a:pt x="2464979" y="6416422"/>
                  <a:pt x="2463000" y="6417290"/>
                  <a:pt x="2461099" y="6417892"/>
                </a:cubicBezTo>
                <a:cubicBezTo>
                  <a:pt x="2459119" y="6418761"/>
                  <a:pt x="2457295" y="6419097"/>
                  <a:pt x="2456424" y="6417120"/>
                </a:cubicBezTo>
                <a:cubicBezTo>
                  <a:pt x="2455367" y="6414799"/>
                  <a:pt x="2456891" y="6413511"/>
                  <a:pt x="2458605" y="6412567"/>
                </a:cubicBezTo>
                <a:lnTo>
                  <a:pt x="2460774" y="6411472"/>
                </a:lnTo>
                <a:lnTo>
                  <a:pt x="2455478" y="6409407"/>
                </a:lnTo>
                <a:cubicBezTo>
                  <a:pt x="2451744" y="6406942"/>
                  <a:pt x="2444733" y="6400304"/>
                  <a:pt x="2439253" y="6402313"/>
                </a:cubicBezTo>
                <a:close/>
                <a:moveTo>
                  <a:pt x="2330398" y="6400383"/>
                </a:moveTo>
                <a:lnTo>
                  <a:pt x="2332104" y="6407896"/>
                </a:lnTo>
                <a:cubicBezTo>
                  <a:pt x="2331888" y="6412425"/>
                  <a:pt x="2330906" y="6416987"/>
                  <a:pt x="2330589" y="6421573"/>
                </a:cubicBezTo>
                <a:cubicBezTo>
                  <a:pt x="2329514" y="6429949"/>
                  <a:pt x="2324016" y="6435044"/>
                  <a:pt x="2318961" y="6440934"/>
                </a:cubicBezTo>
                <a:lnTo>
                  <a:pt x="2311179" y="6447534"/>
                </a:lnTo>
                <a:lnTo>
                  <a:pt x="2391252" y="6484433"/>
                </a:lnTo>
                <a:lnTo>
                  <a:pt x="2390661" y="6481327"/>
                </a:lnTo>
                <a:cubicBezTo>
                  <a:pt x="2389561" y="6480147"/>
                  <a:pt x="2386560" y="6479569"/>
                  <a:pt x="2387782" y="6477330"/>
                </a:cubicBezTo>
                <a:cubicBezTo>
                  <a:pt x="2388739" y="6475016"/>
                  <a:pt x="2391284" y="6475174"/>
                  <a:pt x="2393753" y="6475599"/>
                </a:cubicBezTo>
                <a:cubicBezTo>
                  <a:pt x="2394020" y="6475676"/>
                  <a:pt x="2394285" y="6475753"/>
                  <a:pt x="2394552" y="6475830"/>
                </a:cubicBezTo>
                <a:cubicBezTo>
                  <a:pt x="2401238" y="6476609"/>
                  <a:pt x="2403943" y="6474223"/>
                  <a:pt x="2402211" y="6468253"/>
                </a:cubicBezTo>
                <a:cubicBezTo>
                  <a:pt x="2400666" y="6462626"/>
                  <a:pt x="2402537" y="6459136"/>
                  <a:pt x="2406347" y="6455918"/>
                </a:cubicBezTo>
                <a:lnTo>
                  <a:pt x="2414571" y="6441983"/>
                </a:lnTo>
                <a:close/>
                <a:moveTo>
                  <a:pt x="10111327" y="6382824"/>
                </a:moveTo>
                <a:cubicBezTo>
                  <a:pt x="10113283" y="6380927"/>
                  <a:pt x="10118988" y="6384332"/>
                  <a:pt x="10121819" y="6385500"/>
                </a:cubicBezTo>
                <a:cubicBezTo>
                  <a:pt x="10128361" y="6388443"/>
                  <a:pt x="10137702" y="6386569"/>
                  <a:pt x="10140978" y="6395952"/>
                </a:cubicBezTo>
                <a:cubicBezTo>
                  <a:pt x="10141578" y="6397532"/>
                  <a:pt x="10143060" y="6399717"/>
                  <a:pt x="10145660" y="6400468"/>
                </a:cubicBezTo>
                <a:cubicBezTo>
                  <a:pt x="10149327" y="6401175"/>
                  <a:pt x="10150715" y="6403685"/>
                  <a:pt x="10150335" y="6407442"/>
                </a:cubicBezTo>
                <a:cubicBezTo>
                  <a:pt x="10150328" y="6409901"/>
                  <a:pt x="10151579" y="6411668"/>
                  <a:pt x="10152736" y="6413760"/>
                </a:cubicBezTo>
                <a:cubicBezTo>
                  <a:pt x="10155835" y="6418873"/>
                  <a:pt x="10156473" y="6423979"/>
                  <a:pt x="10153162" y="6429351"/>
                </a:cubicBezTo>
                <a:cubicBezTo>
                  <a:pt x="10151251" y="6432316"/>
                  <a:pt x="10151195" y="6436168"/>
                  <a:pt x="10153883" y="6439053"/>
                </a:cubicBezTo>
                <a:cubicBezTo>
                  <a:pt x="10153508" y="6440350"/>
                  <a:pt x="10153133" y="6441648"/>
                  <a:pt x="10152760" y="6442946"/>
                </a:cubicBezTo>
                <a:cubicBezTo>
                  <a:pt x="10149366" y="6443725"/>
                  <a:pt x="10147504" y="6445297"/>
                  <a:pt x="10146612" y="6449609"/>
                </a:cubicBezTo>
                <a:cubicBezTo>
                  <a:pt x="10145250" y="6455544"/>
                  <a:pt x="10141339" y="6459337"/>
                  <a:pt x="10134467" y="6458761"/>
                </a:cubicBezTo>
                <a:cubicBezTo>
                  <a:pt x="10131449" y="6458240"/>
                  <a:pt x="10131443" y="6460699"/>
                  <a:pt x="10130880" y="6462647"/>
                </a:cubicBezTo>
                <a:cubicBezTo>
                  <a:pt x="10129943" y="6465892"/>
                  <a:pt x="10128456" y="6466166"/>
                  <a:pt x="10126512" y="6463145"/>
                </a:cubicBezTo>
                <a:cubicBezTo>
                  <a:pt x="10123550" y="6458773"/>
                  <a:pt x="10120950" y="6458023"/>
                  <a:pt x="10118383" y="6463259"/>
                </a:cubicBezTo>
                <a:cubicBezTo>
                  <a:pt x="10117685" y="6464463"/>
                  <a:pt x="10116241" y="6465804"/>
                  <a:pt x="10115410" y="6463807"/>
                </a:cubicBezTo>
                <a:cubicBezTo>
                  <a:pt x="10112402" y="6458369"/>
                  <a:pt x="10108730" y="6460121"/>
                  <a:pt x="10104636" y="6462103"/>
                </a:cubicBezTo>
                <a:cubicBezTo>
                  <a:pt x="10104124" y="6462658"/>
                  <a:pt x="10102824" y="6462284"/>
                  <a:pt x="10102174" y="6462096"/>
                </a:cubicBezTo>
                <a:cubicBezTo>
                  <a:pt x="10095687" y="6455302"/>
                  <a:pt x="10089712" y="6447952"/>
                  <a:pt x="10083319" y="6440833"/>
                </a:cubicBezTo>
                <a:cubicBezTo>
                  <a:pt x="10080400" y="6437530"/>
                  <a:pt x="10080230" y="6430801"/>
                  <a:pt x="10080011" y="6425464"/>
                </a:cubicBezTo>
                <a:cubicBezTo>
                  <a:pt x="10079923" y="6423330"/>
                  <a:pt x="10080810" y="6421476"/>
                  <a:pt x="10079330" y="6419290"/>
                </a:cubicBezTo>
                <a:cubicBezTo>
                  <a:pt x="10077847" y="6417106"/>
                  <a:pt x="10078735" y="6415252"/>
                  <a:pt x="10080597" y="6413681"/>
                </a:cubicBezTo>
                <a:cubicBezTo>
                  <a:pt x="10081621" y="6412569"/>
                  <a:pt x="10083390" y="6411322"/>
                  <a:pt x="10082790" y="6409742"/>
                </a:cubicBezTo>
                <a:cubicBezTo>
                  <a:pt x="10080663" y="6404910"/>
                  <a:pt x="10081181" y="6401895"/>
                  <a:pt x="10086942" y="6401450"/>
                </a:cubicBezTo>
                <a:cubicBezTo>
                  <a:pt x="10088336" y="6401500"/>
                  <a:pt x="10089224" y="6399647"/>
                  <a:pt x="10088204" y="6398298"/>
                </a:cubicBezTo>
                <a:cubicBezTo>
                  <a:pt x="10085010" y="6393509"/>
                  <a:pt x="10090029" y="6393199"/>
                  <a:pt x="10091427" y="6390790"/>
                </a:cubicBezTo>
                <a:cubicBezTo>
                  <a:pt x="10096231" y="6382685"/>
                  <a:pt x="10105554" y="6388189"/>
                  <a:pt x="10111327" y="6382824"/>
                </a:cubicBezTo>
                <a:close/>
                <a:moveTo>
                  <a:pt x="7932612" y="6377269"/>
                </a:moveTo>
                <a:cubicBezTo>
                  <a:pt x="7934212" y="6375530"/>
                  <a:pt x="7939323" y="6378196"/>
                  <a:pt x="7941833" y="6379069"/>
                </a:cubicBezTo>
                <a:cubicBezTo>
                  <a:pt x="7947645" y="6381295"/>
                  <a:pt x="7955643" y="6379211"/>
                  <a:pt x="7958945" y="6387176"/>
                </a:cubicBezTo>
                <a:cubicBezTo>
                  <a:pt x="7959543" y="6388515"/>
                  <a:pt x="7960934" y="6390335"/>
                  <a:pt x="7963222" y="6390856"/>
                </a:cubicBezTo>
                <a:cubicBezTo>
                  <a:pt x="7966434" y="6391288"/>
                  <a:pt x="7967760" y="6393393"/>
                  <a:pt x="7967616" y="6396666"/>
                </a:cubicBezTo>
                <a:cubicBezTo>
                  <a:pt x="7967733" y="6398797"/>
                  <a:pt x="7968903" y="6400266"/>
                  <a:pt x="7970008" y="6402021"/>
                </a:cubicBezTo>
                <a:cubicBezTo>
                  <a:pt x="7972946" y="6406296"/>
                  <a:pt x="7973751" y="6410688"/>
                  <a:pt x="7971148" y="6415504"/>
                </a:cubicBezTo>
                <a:cubicBezTo>
                  <a:pt x="7969639" y="6418166"/>
                  <a:pt x="7969781" y="6421505"/>
                  <a:pt x="7972251" y="6423871"/>
                </a:cubicBezTo>
                <a:cubicBezTo>
                  <a:pt x="7971991" y="6425014"/>
                  <a:pt x="7971730" y="6426157"/>
                  <a:pt x="7971469" y="6427300"/>
                </a:cubicBezTo>
                <a:cubicBezTo>
                  <a:pt x="7968570" y="6428142"/>
                  <a:pt x="7967035" y="6429596"/>
                  <a:pt x="7966474" y="6433375"/>
                </a:cubicBezTo>
                <a:cubicBezTo>
                  <a:pt x="7965588" y="6438583"/>
                  <a:pt x="7962388" y="6442063"/>
                  <a:pt x="7956406" y="6441902"/>
                </a:cubicBezTo>
                <a:cubicBezTo>
                  <a:pt x="7953766" y="6441600"/>
                  <a:pt x="7953882" y="6443731"/>
                  <a:pt x="7953492" y="6445445"/>
                </a:cubicBezTo>
                <a:cubicBezTo>
                  <a:pt x="7952841" y="6448302"/>
                  <a:pt x="7951566" y="6448612"/>
                  <a:pt x="7949734" y="6446091"/>
                </a:cubicBezTo>
                <a:cubicBezTo>
                  <a:pt x="7946951" y="6442452"/>
                  <a:pt x="7944663" y="6441930"/>
                  <a:pt x="7942698" y="6446592"/>
                </a:cubicBezTo>
                <a:cubicBezTo>
                  <a:pt x="7942151" y="6447669"/>
                  <a:pt x="7940967" y="6448903"/>
                  <a:pt x="7940148" y="6447213"/>
                </a:cubicBezTo>
                <a:cubicBezTo>
                  <a:pt x="7937276" y="6442652"/>
                  <a:pt x="7934180" y="6444351"/>
                  <a:pt x="7930733" y="6446271"/>
                </a:cubicBezTo>
                <a:cubicBezTo>
                  <a:pt x="7930316" y="6446776"/>
                  <a:pt x="7929173" y="6446516"/>
                  <a:pt x="7928600" y="6446386"/>
                </a:cubicBezTo>
                <a:cubicBezTo>
                  <a:pt x="7922645" y="6440821"/>
                  <a:pt x="7917107" y="6434749"/>
                  <a:pt x="7911218" y="6428899"/>
                </a:cubicBezTo>
                <a:cubicBezTo>
                  <a:pt x="7908526" y="6426182"/>
                  <a:pt x="7908048" y="6420362"/>
                  <a:pt x="7907593" y="6415750"/>
                </a:cubicBezTo>
                <a:cubicBezTo>
                  <a:pt x="7907411" y="6413905"/>
                  <a:pt x="7908089" y="6412256"/>
                  <a:pt x="7906698" y="6410437"/>
                </a:cubicBezTo>
                <a:cubicBezTo>
                  <a:pt x="7905306" y="6408617"/>
                  <a:pt x="7905983" y="6406968"/>
                  <a:pt x="7907518" y="6405514"/>
                </a:cubicBezTo>
                <a:cubicBezTo>
                  <a:pt x="7908350" y="6404502"/>
                  <a:pt x="7909820" y="6403334"/>
                  <a:pt x="7909223" y="6401995"/>
                </a:cubicBezTo>
                <a:cubicBezTo>
                  <a:pt x="7907143" y="6397915"/>
                  <a:pt x="7907444" y="6395278"/>
                  <a:pt x="7912411" y="6394607"/>
                </a:cubicBezTo>
                <a:cubicBezTo>
                  <a:pt x="7913620" y="6394582"/>
                  <a:pt x="7914297" y="6392933"/>
                  <a:pt x="7913348" y="6391815"/>
                </a:cubicBezTo>
                <a:cubicBezTo>
                  <a:pt x="7910345" y="6387824"/>
                  <a:pt x="7914677" y="6387308"/>
                  <a:pt x="7915769" y="6385153"/>
                </a:cubicBezTo>
                <a:cubicBezTo>
                  <a:pt x="7919530" y="6377895"/>
                  <a:pt x="7927878" y="6382201"/>
                  <a:pt x="7932612" y="6377269"/>
                </a:cubicBezTo>
                <a:close/>
                <a:moveTo>
                  <a:pt x="11154450" y="6374057"/>
                </a:moveTo>
                <a:cubicBezTo>
                  <a:pt x="11155682" y="6374644"/>
                  <a:pt x="11157765" y="6375094"/>
                  <a:pt x="11159701" y="6374082"/>
                </a:cubicBezTo>
                <a:cubicBezTo>
                  <a:pt x="11162238" y="6372449"/>
                  <a:pt x="11164447" y="6373141"/>
                  <a:pt x="11166320" y="6375546"/>
                </a:cubicBezTo>
                <a:cubicBezTo>
                  <a:pt x="11167689" y="6376984"/>
                  <a:pt x="11169404" y="6377319"/>
                  <a:pt x="11171246" y="6377895"/>
                </a:cubicBezTo>
                <a:cubicBezTo>
                  <a:pt x="11175907" y="6379151"/>
                  <a:pt x="11179128" y="6381776"/>
                  <a:pt x="11180192" y="6386758"/>
                </a:cubicBezTo>
                <a:cubicBezTo>
                  <a:pt x="11180729" y="6389555"/>
                  <a:pt x="11182844" y="6391834"/>
                  <a:pt x="11186021" y="6392019"/>
                </a:cubicBezTo>
                <a:cubicBezTo>
                  <a:pt x="11186526" y="6392986"/>
                  <a:pt x="11187032" y="6393953"/>
                  <a:pt x="11187537" y="6394919"/>
                </a:cubicBezTo>
                <a:cubicBezTo>
                  <a:pt x="11185991" y="6397266"/>
                  <a:pt x="11185781" y="6399223"/>
                  <a:pt x="11187665" y="6402238"/>
                </a:cubicBezTo>
                <a:cubicBezTo>
                  <a:pt x="11190181" y="6406462"/>
                  <a:pt x="11190013" y="6410857"/>
                  <a:pt x="11185679" y="6414354"/>
                </a:cubicBezTo>
                <a:cubicBezTo>
                  <a:pt x="11183626" y="6415733"/>
                  <a:pt x="11184996" y="6417172"/>
                  <a:pt x="11185752" y="6418622"/>
                </a:cubicBezTo>
                <a:cubicBezTo>
                  <a:pt x="11187016" y="6421039"/>
                  <a:pt x="11186300" y="6422029"/>
                  <a:pt x="11183480" y="6421349"/>
                </a:cubicBezTo>
                <a:cubicBezTo>
                  <a:pt x="11179314" y="6420449"/>
                  <a:pt x="11177377" y="6421462"/>
                  <a:pt x="11178800" y="6425949"/>
                </a:cubicBezTo>
                <a:cubicBezTo>
                  <a:pt x="11179062" y="6427043"/>
                  <a:pt x="11178967" y="6428630"/>
                  <a:pt x="11177368" y="6427927"/>
                </a:cubicBezTo>
                <a:cubicBezTo>
                  <a:pt x="11172581" y="6426430"/>
                  <a:pt x="11171413" y="6429502"/>
                  <a:pt x="11170130" y="6432942"/>
                </a:cubicBezTo>
                <a:cubicBezTo>
                  <a:pt x="11170141" y="6433552"/>
                  <a:pt x="11169173" y="6434057"/>
                  <a:pt x="11168688" y="6434311"/>
                </a:cubicBezTo>
                <a:cubicBezTo>
                  <a:pt x="11161113" y="6433962"/>
                  <a:pt x="11153525" y="6433004"/>
                  <a:pt x="11145822" y="6432415"/>
                </a:cubicBezTo>
                <a:cubicBezTo>
                  <a:pt x="11142276" y="6432114"/>
                  <a:pt x="11138424" y="6428280"/>
                  <a:pt x="11135321" y="6425288"/>
                </a:cubicBezTo>
                <a:cubicBezTo>
                  <a:pt x="11134079" y="6424090"/>
                  <a:pt x="11133563" y="6422513"/>
                  <a:pt x="11131478" y="6422064"/>
                </a:cubicBezTo>
                <a:cubicBezTo>
                  <a:pt x="11129395" y="6421615"/>
                  <a:pt x="11128879" y="6420038"/>
                  <a:pt x="11129090" y="6418082"/>
                </a:cubicBezTo>
                <a:cubicBezTo>
                  <a:pt x="11129069" y="6416863"/>
                  <a:pt x="11129404" y="6415148"/>
                  <a:pt x="11128173" y="6414561"/>
                </a:cubicBezTo>
                <a:cubicBezTo>
                  <a:pt x="11124237" y="6412925"/>
                  <a:pt x="11122859" y="6410876"/>
                  <a:pt x="11125972" y="6407403"/>
                </a:cubicBezTo>
                <a:cubicBezTo>
                  <a:pt x="11126814" y="6406655"/>
                  <a:pt x="11126299" y="6405079"/>
                  <a:pt x="11124951" y="6404859"/>
                </a:cubicBezTo>
                <a:cubicBezTo>
                  <a:pt x="11120416" y="6403845"/>
                  <a:pt x="11123172" y="6400866"/>
                  <a:pt x="11122645" y="6398680"/>
                </a:cubicBezTo>
                <a:cubicBezTo>
                  <a:pt x="11120929" y="6391268"/>
                  <a:pt x="11129441" y="6389281"/>
                  <a:pt x="11129819" y="6382931"/>
                </a:cubicBezTo>
                <a:cubicBezTo>
                  <a:pt x="11129904" y="6380732"/>
                  <a:pt x="11135132" y="6379538"/>
                  <a:pt x="11137436" y="6378642"/>
                </a:cubicBezTo>
                <a:cubicBezTo>
                  <a:pt x="11142898" y="6376710"/>
                  <a:pt x="11147305" y="6370406"/>
                  <a:pt x="11154450" y="6374057"/>
                </a:cubicBezTo>
                <a:close/>
                <a:moveTo>
                  <a:pt x="5218909" y="6372328"/>
                </a:moveTo>
                <a:cubicBezTo>
                  <a:pt x="5220043" y="6372366"/>
                  <a:pt x="5221353" y="6372903"/>
                  <a:pt x="5222439" y="6372622"/>
                </a:cubicBezTo>
                <a:cubicBezTo>
                  <a:pt x="5229826" y="6370786"/>
                  <a:pt x="5231951" y="6379265"/>
                  <a:pt x="5238311" y="6379540"/>
                </a:cubicBezTo>
                <a:cubicBezTo>
                  <a:pt x="5240510" y="6379588"/>
                  <a:pt x="5241788" y="6384799"/>
                  <a:pt x="5242724" y="6387088"/>
                </a:cubicBezTo>
                <a:cubicBezTo>
                  <a:pt x="5244745" y="6392517"/>
                  <a:pt x="5251115" y="6396822"/>
                  <a:pt x="5247585" y="6404026"/>
                </a:cubicBezTo>
                <a:cubicBezTo>
                  <a:pt x="5247017" y="6405266"/>
                  <a:pt x="5246600" y="6407357"/>
                  <a:pt x="5247647" y="6409276"/>
                </a:cubicBezTo>
                <a:cubicBezTo>
                  <a:pt x="5249314" y="6411785"/>
                  <a:pt x="5248663" y="6414006"/>
                  <a:pt x="5246293" y="6415917"/>
                </a:cubicBezTo>
                <a:cubicBezTo>
                  <a:pt x="5244876" y="6417309"/>
                  <a:pt x="5244564" y="6419029"/>
                  <a:pt x="5244019" y="6420881"/>
                </a:cubicBezTo>
                <a:cubicBezTo>
                  <a:pt x="5242834" y="6425561"/>
                  <a:pt x="5240264" y="6428823"/>
                  <a:pt x="5235293" y="6429968"/>
                </a:cubicBezTo>
                <a:cubicBezTo>
                  <a:pt x="5232508" y="6430550"/>
                  <a:pt x="5230256" y="6432702"/>
                  <a:pt x="5230127" y="6435881"/>
                </a:cubicBezTo>
                <a:cubicBezTo>
                  <a:pt x="5229170" y="6436403"/>
                  <a:pt x="5228205" y="6436923"/>
                  <a:pt x="5227250" y="6437444"/>
                </a:cubicBezTo>
                <a:cubicBezTo>
                  <a:pt x="5224872" y="6435936"/>
                  <a:pt x="5222917" y="6435757"/>
                  <a:pt x="5219928" y="6437689"/>
                </a:cubicBezTo>
                <a:cubicBezTo>
                  <a:pt x="5215751" y="6440273"/>
                  <a:pt x="5211351" y="6440177"/>
                  <a:pt x="5207790" y="6435899"/>
                </a:cubicBezTo>
                <a:cubicBezTo>
                  <a:pt x="5206376" y="6433870"/>
                  <a:pt x="5204954" y="6435260"/>
                  <a:pt x="5203518" y="6436042"/>
                </a:cubicBezTo>
                <a:cubicBezTo>
                  <a:pt x="5201121" y="6437343"/>
                  <a:pt x="5200122" y="6436644"/>
                  <a:pt x="5200754" y="6433814"/>
                </a:cubicBezTo>
                <a:cubicBezTo>
                  <a:pt x="5201586" y="6429633"/>
                  <a:pt x="5200548" y="6427713"/>
                  <a:pt x="5196085" y="6429207"/>
                </a:cubicBezTo>
                <a:cubicBezTo>
                  <a:pt x="5194991" y="6429488"/>
                  <a:pt x="5193414" y="6429419"/>
                  <a:pt x="5194084" y="6427808"/>
                </a:cubicBezTo>
                <a:cubicBezTo>
                  <a:pt x="5195497" y="6422997"/>
                  <a:pt x="5192416" y="6421879"/>
                  <a:pt x="5188954" y="6420652"/>
                </a:cubicBezTo>
                <a:cubicBezTo>
                  <a:pt x="5188350" y="6420673"/>
                  <a:pt x="5187825" y="6419712"/>
                  <a:pt x="5187570" y="6419232"/>
                </a:cubicBezTo>
                <a:cubicBezTo>
                  <a:pt x="5187787" y="6411652"/>
                  <a:pt x="5188622" y="6404050"/>
                  <a:pt x="5189096" y="6396340"/>
                </a:cubicBezTo>
                <a:cubicBezTo>
                  <a:pt x="5189335" y="6392788"/>
                  <a:pt x="5193099" y="6388875"/>
                  <a:pt x="5196052" y="6385723"/>
                </a:cubicBezTo>
                <a:cubicBezTo>
                  <a:pt x="5197226" y="6384462"/>
                  <a:pt x="5198785" y="6383921"/>
                  <a:pt x="5199201" y="6381830"/>
                </a:cubicBezTo>
                <a:cubicBezTo>
                  <a:pt x="5199612" y="6379740"/>
                  <a:pt x="5201189" y="6379199"/>
                  <a:pt x="5203152" y="6379377"/>
                </a:cubicBezTo>
                <a:cubicBezTo>
                  <a:pt x="5204364" y="6379336"/>
                  <a:pt x="5206091" y="6379645"/>
                  <a:pt x="5206649" y="6378404"/>
                </a:cubicBezTo>
                <a:cubicBezTo>
                  <a:pt x="5208221" y="6374443"/>
                  <a:pt x="5210244" y="6373031"/>
                  <a:pt x="5213765" y="6376089"/>
                </a:cubicBezTo>
                <a:cubicBezTo>
                  <a:pt x="5214528" y="6376918"/>
                  <a:pt x="5216099" y="6376376"/>
                  <a:pt x="5216292" y="6375027"/>
                </a:cubicBezTo>
                <a:cubicBezTo>
                  <a:pt x="5216769" y="6372751"/>
                  <a:pt x="5217755" y="6372291"/>
                  <a:pt x="5218909" y="6372328"/>
                </a:cubicBezTo>
                <a:close/>
                <a:moveTo>
                  <a:pt x="1643973" y="6366244"/>
                </a:moveTo>
                <a:cubicBezTo>
                  <a:pt x="1646521" y="6365406"/>
                  <a:pt x="1647016" y="6367322"/>
                  <a:pt x="1648240" y="6368570"/>
                </a:cubicBezTo>
                <a:cubicBezTo>
                  <a:pt x="1648910" y="6369300"/>
                  <a:pt x="1649482" y="6370354"/>
                  <a:pt x="1650266" y="6371294"/>
                </a:cubicBezTo>
                <a:cubicBezTo>
                  <a:pt x="1653994" y="6376646"/>
                  <a:pt x="1657843" y="6376193"/>
                  <a:pt x="1660859" y="6370183"/>
                </a:cubicBezTo>
                <a:cubicBezTo>
                  <a:pt x="1661262" y="6369418"/>
                  <a:pt x="1661455" y="6368767"/>
                  <a:pt x="1661973" y="6368213"/>
                </a:cubicBezTo>
                <a:cubicBezTo>
                  <a:pt x="1662894" y="6366893"/>
                  <a:pt x="1664351" y="6365554"/>
                  <a:pt x="1665882" y="6366362"/>
                </a:cubicBezTo>
                <a:cubicBezTo>
                  <a:pt x="1667299" y="6366958"/>
                  <a:pt x="1667258" y="6368893"/>
                  <a:pt x="1666873" y="6370194"/>
                </a:cubicBezTo>
                <a:cubicBezTo>
                  <a:pt x="1666487" y="6371497"/>
                  <a:pt x="1665988" y="6372588"/>
                  <a:pt x="1665278" y="6373794"/>
                </a:cubicBezTo>
                <a:cubicBezTo>
                  <a:pt x="1664489" y="6375861"/>
                  <a:pt x="1664755" y="6377355"/>
                  <a:pt x="1666937" y="6378356"/>
                </a:cubicBezTo>
                <a:cubicBezTo>
                  <a:pt x="1671856" y="6380875"/>
                  <a:pt x="1674684" y="6385075"/>
                  <a:pt x="1677302" y="6389391"/>
                </a:cubicBezTo>
                <a:cubicBezTo>
                  <a:pt x="1680589" y="6394435"/>
                  <a:pt x="1682936" y="6400263"/>
                  <a:pt x="1687067" y="6404849"/>
                </a:cubicBezTo>
                <a:cubicBezTo>
                  <a:pt x="1688519" y="6406518"/>
                  <a:pt x="1687828" y="6408261"/>
                  <a:pt x="1687232" y="6409677"/>
                </a:cubicBezTo>
                <a:lnTo>
                  <a:pt x="1687677" y="6416457"/>
                </a:lnTo>
                <a:lnTo>
                  <a:pt x="1689449" y="6417248"/>
                </a:lnTo>
                <a:cubicBezTo>
                  <a:pt x="1695992" y="6420191"/>
                  <a:pt x="1705333" y="6418317"/>
                  <a:pt x="1708609" y="6427700"/>
                </a:cubicBezTo>
                <a:cubicBezTo>
                  <a:pt x="1709209" y="6429280"/>
                  <a:pt x="1710690" y="6431465"/>
                  <a:pt x="1713289" y="6432215"/>
                </a:cubicBezTo>
                <a:cubicBezTo>
                  <a:pt x="1716957" y="6432923"/>
                  <a:pt x="1718345" y="6435432"/>
                  <a:pt x="1717964" y="6439190"/>
                </a:cubicBezTo>
                <a:cubicBezTo>
                  <a:pt x="1717959" y="6441649"/>
                  <a:pt x="1719208" y="6443417"/>
                  <a:pt x="1720364" y="6445508"/>
                </a:cubicBezTo>
                <a:cubicBezTo>
                  <a:pt x="1723466" y="6450621"/>
                  <a:pt x="1724104" y="6455727"/>
                  <a:pt x="1720793" y="6461100"/>
                </a:cubicBezTo>
                <a:cubicBezTo>
                  <a:pt x="1718881" y="6464064"/>
                  <a:pt x="1718826" y="6467915"/>
                  <a:pt x="1721513" y="6470800"/>
                </a:cubicBezTo>
                <a:cubicBezTo>
                  <a:pt x="1721138" y="6472099"/>
                  <a:pt x="1720764" y="6473396"/>
                  <a:pt x="1720389" y="6474694"/>
                </a:cubicBezTo>
                <a:cubicBezTo>
                  <a:pt x="1716996" y="6475473"/>
                  <a:pt x="1715134" y="6477045"/>
                  <a:pt x="1714241" y="6481358"/>
                </a:cubicBezTo>
                <a:cubicBezTo>
                  <a:pt x="1712880" y="6487293"/>
                  <a:pt x="1708969" y="6491085"/>
                  <a:pt x="1702096" y="6490508"/>
                </a:cubicBezTo>
                <a:cubicBezTo>
                  <a:pt x="1699078" y="6489989"/>
                  <a:pt x="1699072" y="6492448"/>
                  <a:pt x="1698510" y="6494395"/>
                </a:cubicBezTo>
                <a:cubicBezTo>
                  <a:pt x="1697573" y="6497640"/>
                  <a:pt x="1696087" y="6497915"/>
                  <a:pt x="1694142" y="6494892"/>
                </a:cubicBezTo>
                <a:cubicBezTo>
                  <a:pt x="1691180" y="6490521"/>
                  <a:pt x="1688581" y="6489771"/>
                  <a:pt x="1686013" y="6495007"/>
                </a:cubicBezTo>
                <a:cubicBezTo>
                  <a:pt x="1685314" y="6496212"/>
                  <a:pt x="1683870" y="6497552"/>
                  <a:pt x="1683039" y="6495555"/>
                </a:cubicBezTo>
                <a:cubicBezTo>
                  <a:pt x="1680033" y="6490116"/>
                  <a:pt x="1676359" y="6491868"/>
                  <a:pt x="1672266" y="6493851"/>
                </a:cubicBezTo>
                <a:cubicBezTo>
                  <a:pt x="1671754" y="6494407"/>
                  <a:pt x="1670455" y="6494032"/>
                  <a:pt x="1669804" y="6493844"/>
                </a:cubicBezTo>
                <a:cubicBezTo>
                  <a:pt x="1663318" y="6487050"/>
                  <a:pt x="1657343" y="6479700"/>
                  <a:pt x="1650950" y="6472581"/>
                </a:cubicBezTo>
                <a:lnTo>
                  <a:pt x="1649958" y="6467976"/>
                </a:lnTo>
                <a:lnTo>
                  <a:pt x="1645828" y="6466598"/>
                </a:lnTo>
                <a:cubicBezTo>
                  <a:pt x="1644796" y="6467023"/>
                  <a:pt x="1644153" y="6468602"/>
                  <a:pt x="1642865" y="6471760"/>
                </a:cubicBezTo>
                <a:cubicBezTo>
                  <a:pt x="1642268" y="6473176"/>
                  <a:pt x="1641769" y="6474268"/>
                  <a:pt x="1639817" y="6473690"/>
                </a:cubicBezTo>
                <a:cubicBezTo>
                  <a:pt x="1632675" y="6472106"/>
                  <a:pt x="1625763" y="6470943"/>
                  <a:pt x="1618718" y="6469034"/>
                </a:cubicBezTo>
                <a:cubicBezTo>
                  <a:pt x="1613415" y="6467817"/>
                  <a:pt x="1608918" y="6465069"/>
                  <a:pt x="1605342" y="6461001"/>
                </a:cubicBezTo>
                <a:cubicBezTo>
                  <a:pt x="1602894" y="6458506"/>
                  <a:pt x="1592210" y="6456934"/>
                  <a:pt x="1588933" y="6458442"/>
                </a:cubicBezTo>
                <a:cubicBezTo>
                  <a:pt x="1587878" y="6459014"/>
                  <a:pt x="1587035" y="6459473"/>
                  <a:pt x="1587301" y="6460968"/>
                </a:cubicBezTo>
                <a:cubicBezTo>
                  <a:pt x="1587902" y="6469111"/>
                  <a:pt x="1583929" y="6475367"/>
                  <a:pt x="1579305" y="6481433"/>
                </a:cubicBezTo>
                <a:cubicBezTo>
                  <a:pt x="1578384" y="6482752"/>
                  <a:pt x="1577559" y="6483747"/>
                  <a:pt x="1576848" y="6484953"/>
                </a:cubicBezTo>
                <a:cubicBezTo>
                  <a:pt x="1574622" y="6488895"/>
                  <a:pt x="1572243" y="6491553"/>
                  <a:pt x="1567224" y="6492368"/>
                </a:cubicBezTo>
                <a:cubicBezTo>
                  <a:pt x="1562205" y="6493183"/>
                  <a:pt x="1559250" y="6497793"/>
                  <a:pt x="1556600" y="6501966"/>
                </a:cubicBezTo>
                <a:cubicBezTo>
                  <a:pt x="1555160" y="6503840"/>
                  <a:pt x="1554125" y="6504949"/>
                  <a:pt x="1551426" y="6504504"/>
                </a:cubicBezTo>
                <a:cubicBezTo>
                  <a:pt x="1540204" y="6502951"/>
                  <a:pt x="1528943" y="6503332"/>
                  <a:pt x="1518153" y="6508101"/>
                </a:cubicBezTo>
                <a:cubicBezTo>
                  <a:pt x="1516562" y="6508692"/>
                  <a:pt x="1515701" y="6508614"/>
                  <a:pt x="1515320" y="6506908"/>
                </a:cubicBezTo>
                <a:cubicBezTo>
                  <a:pt x="1513376" y="6500314"/>
                  <a:pt x="1508151" y="6498236"/>
                  <a:pt x="1502216" y="6497362"/>
                </a:cubicBezTo>
                <a:cubicBezTo>
                  <a:pt x="1499515" y="6496917"/>
                  <a:pt x="1497773" y="6496224"/>
                  <a:pt x="1497548" y="6492795"/>
                </a:cubicBezTo>
                <a:cubicBezTo>
                  <a:pt x="1497612" y="6488389"/>
                  <a:pt x="1494206" y="6486141"/>
                  <a:pt x="1490397" y="6484658"/>
                </a:cubicBezTo>
                <a:cubicBezTo>
                  <a:pt x="1487239" y="6483370"/>
                  <a:pt x="1483660" y="6482310"/>
                  <a:pt x="1480501" y="6481020"/>
                </a:cubicBezTo>
                <a:cubicBezTo>
                  <a:pt x="1479027" y="6480318"/>
                  <a:pt x="1477951" y="6479468"/>
                  <a:pt x="1477649" y="6478471"/>
                </a:cubicBezTo>
                <a:cubicBezTo>
                  <a:pt x="1477346" y="6477475"/>
                  <a:pt x="1477816" y="6476331"/>
                  <a:pt x="1479437" y="6475041"/>
                </a:cubicBezTo>
                <a:cubicBezTo>
                  <a:pt x="1480280" y="6474583"/>
                  <a:pt x="1481010" y="6473913"/>
                  <a:pt x="1481623" y="6473033"/>
                </a:cubicBezTo>
                <a:cubicBezTo>
                  <a:pt x="1482449" y="6472038"/>
                  <a:pt x="1484135" y="6471122"/>
                  <a:pt x="1483543" y="6469531"/>
                </a:cubicBezTo>
                <a:cubicBezTo>
                  <a:pt x="1482856" y="6468265"/>
                  <a:pt x="1481343" y="6467995"/>
                  <a:pt x="1480156" y="6467820"/>
                </a:cubicBezTo>
                <a:cubicBezTo>
                  <a:pt x="1474853" y="6466603"/>
                  <a:pt x="1474376" y="6465223"/>
                  <a:pt x="1477771" y="6460919"/>
                </a:cubicBezTo>
                <a:cubicBezTo>
                  <a:pt x="1478597" y="6459925"/>
                  <a:pt x="1479326" y="6459255"/>
                  <a:pt x="1479825" y="6458164"/>
                </a:cubicBezTo>
                <a:cubicBezTo>
                  <a:pt x="1480632" y="6456632"/>
                  <a:pt x="1481227" y="6455216"/>
                  <a:pt x="1479239" y="6453565"/>
                </a:cubicBezTo>
                <a:cubicBezTo>
                  <a:pt x="1477152" y="6452239"/>
                  <a:pt x="1476309" y="6452698"/>
                  <a:pt x="1474852" y="6454036"/>
                </a:cubicBezTo>
                <a:lnTo>
                  <a:pt x="1471856" y="6456123"/>
                </a:lnTo>
                <a:lnTo>
                  <a:pt x="1479295" y="6430729"/>
                </a:lnTo>
                <a:lnTo>
                  <a:pt x="1481146" y="6430944"/>
                </a:lnTo>
                <a:cubicBezTo>
                  <a:pt x="1483274" y="6430335"/>
                  <a:pt x="1484194" y="6429015"/>
                  <a:pt x="1484121" y="6426869"/>
                </a:cubicBezTo>
                <a:cubicBezTo>
                  <a:pt x="1484066" y="6425260"/>
                  <a:pt x="1483800" y="6423765"/>
                  <a:pt x="1483745" y="6422156"/>
                </a:cubicBezTo>
                <a:cubicBezTo>
                  <a:pt x="1483653" y="6419473"/>
                  <a:pt x="1484671" y="6417828"/>
                  <a:pt x="1487430" y="6416876"/>
                </a:cubicBezTo>
                <a:cubicBezTo>
                  <a:pt x="1495707" y="6414017"/>
                  <a:pt x="1499488" y="6408411"/>
                  <a:pt x="1499194" y="6399828"/>
                </a:cubicBezTo>
                <a:cubicBezTo>
                  <a:pt x="1499253" y="6398429"/>
                  <a:pt x="1497783" y="6396224"/>
                  <a:pt x="1499908" y="6395614"/>
                </a:cubicBezTo>
                <a:cubicBezTo>
                  <a:pt x="1501921" y="6394794"/>
                  <a:pt x="1503373" y="6396464"/>
                  <a:pt x="1504616" y="6398248"/>
                </a:cubicBezTo>
                <a:cubicBezTo>
                  <a:pt x="1504731" y="6398458"/>
                  <a:pt x="1504846" y="6398670"/>
                  <a:pt x="1504961" y="6398881"/>
                </a:cubicBezTo>
                <a:cubicBezTo>
                  <a:pt x="1508554" y="6403485"/>
                  <a:pt x="1511675" y="6403701"/>
                  <a:pt x="1514306" y="6398994"/>
                </a:cubicBezTo>
                <a:cubicBezTo>
                  <a:pt x="1516840" y="6394612"/>
                  <a:pt x="1520136" y="6393640"/>
                  <a:pt x="1524445" y="6394032"/>
                </a:cubicBezTo>
                <a:cubicBezTo>
                  <a:pt x="1530151" y="6394483"/>
                  <a:pt x="1535724" y="6394187"/>
                  <a:pt x="1540308" y="6390057"/>
                </a:cubicBezTo>
                <a:cubicBezTo>
                  <a:pt x="1542283" y="6388164"/>
                  <a:pt x="1544598" y="6389912"/>
                  <a:pt x="1545823" y="6391159"/>
                </a:cubicBezTo>
                <a:cubicBezTo>
                  <a:pt x="1550699" y="6395612"/>
                  <a:pt x="1555659" y="6396196"/>
                  <a:pt x="1561485" y="6393850"/>
                </a:cubicBezTo>
                <a:cubicBezTo>
                  <a:pt x="1565087" y="6392440"/>
                  <a:pt x="1566408" y="6393361"/>
                  <a:pt x="1566133" y="6397882"/>
                </a:cubicBezTo>
                <a:cubicBezTo>
                  <a:pt x="1565602" y="6407460"/>
                  <a:pt x="1574494" y="6416289"/>
                  <a:pt x="1583593" y="6415444"/>
                </a:cubicBezTo>
                <a:cubicBezTo>
                  <a:pt x="1585412" y="6415275"/>
                  <a:pt x="1587768" y="6415087"/>
                  <a:pt x="1588231" y="6412923"/>
                </a:cubicBezTo>
                <a:cubicBezTo>
                  <a:pt x="1588695" y="6410759"/>
                  <a:pt x="1588181" y="6408306"/>
                  <a:pt x="1585884" y="6407095"/>
                </a:cubicBezTo>
                <a:cubicBezTo>
                  <a:pt x="1584564" y="6406173"/>
                  <a:pt x="1582823" y="6405480"/>
                  <a:pt x="1581292" y="6404673"/>
                </a:cubicBezTo>
                <a:cubicBezTo>
                  <a:pt x="1579550" y="6403980"/>
                  <a:pt x="1578229" y="6403058"/>
                  <a:pt x="1578921" y="6401316"/>
                </a:cubicBezTo>
                <a:cubicBezTo>
                  <a:pt x="1579709" y="6399248"/>
                  <a:pt x="1581433" y="6399404"/>
                  <a:pt x="1583060" y="6399887"/>
                </a:cubicBezTo>
                <a:cubicBezTo>
                  <a:pt x="1584573" y="6400159"/>
                  <a:pt x="1586104" y="6400965"/>
                  <a:pt x="1587405" y="6401351"/>
                </a:cubicBezTo>
                <a:cubicBezTo>
                  <a:pt x="1590335" y="6402219"/>
                  <a:pt x="1593437" y="6401899"/>
                  <a:pt x="1594514" y="6398854"/>
                </a:cubicBezTo>
                <a:cubicBezTo>
                  <a:pt x="1595284" y="6396251"/>
                  <a:pt x="1592337" y="6394846"/>
                  <a:pt x="1590154" y="6393846"/>
                </a:cubicBezTo>
                <a:cubicBezTo>
                  <a:pt x="1588299" y="6392943"/>
                  <a:pt x="1585828" y="6392919"/>
                  <a:pt x="1584164" y="6391363"/>
                </a:cubicBezTo>
                <a:cubicBezTo>
                  <a:pt x="1581619" y="6389195"/>
                  <a:pt x="1581124" y="6387278"/>
                  <a:pt x="1584612" y="6385656"/>
                </a:cubicBezTo>
                <a:cubicBezTo>
                  <a:pt x="1589365" y="6383346"/>
                  <a:pt x="1594191" y="6383184"/>
                  <a:pt x="1599152" y="6383768"/>
                </a:cubicBezTo>
                <a:cubicBezTo>
                  <a:pt x="1605508" y="6384411"/>
                  <a:pt x="1608154" y="6383248"/>
                  <a:pt x="1610747" y="6377466"/>
                </a:cubicBezTo>
                <a:cubicBezTo>
                  <a:pt x="1611861" y="6375496"/>
                  <a:pt x="1612419" y="6373007"/>
                  <a:pt x="1613094" y="6370728"/>
                </a:cubicBezTo>
                <a:cubicBezTo>
                  <a:pt x="1613381" y="6369752"/>
                  <a:pt x="1613441" y="6368353"/>
                  <a:pt x="1614724" y="6368202"/>
                </a:cubicBezTo>
                <a:cubicBezTo>
                  <a:pt x="1616219" y="6367937"/>
                  <a:pt x="1617003" y="6368876"/>
                  <a:pt x="1617251" y="6369835"/>
                </a:cubicBezTo>
                <a:cubicBezTo>
                  <a:pt x="1618470" y="6374090"/>
                  <a:pt x="1620615" y="6374018"/>
                  <a:pt x="1623874" y="6371974"/>
                </a:cubicBezTo>
                <a:cubicBezTo>
                  <a:pt x="1627976" y="6369471"/>
                  <a:pt x="1632418" y="6370610"/>
                  <a:pt x="1636341" y="6372303"/>
                </a:cubicBezTo>
                <a:cubicBezTo>
                  <a:pt x="1639499" y="6373593"/>
                  <a:pt x="1641090" y="6373002"/>
                  <a:pt x="1641516" y="6369765"/>
                </a:cubicBezTo>
                <a:cubicBezTo>
                  <a:pt x="1641671" y="6368041"/>
                  <a:pt x="1642057" y="6366739"/>
                  <a:pt x="1643973" y="6366244"/>
                </a:cubicBezTo>
                <a:close/>
                <a:moveTo>
                  <a:pt x="1498502" y="6365153"/>
                </a:moveTo>
                <a:lnTo>
                  <a:pt x="1498879" y="6365575"/>
                </a:lnTo>
                <a:lnTo>
                  <a:pt x="1498385" y="6365554"/>
                </a:lnTo>
                <a:close/>
                <a:moveTo>
                  <a:pt x="5026133" y="6352014"/>
                </a:moveTo>
                <a:cubicBezTo>
                  <a:pt x="5028008" y="6351395"/>
                  <a:pt x="5028375" y="6352811"/>
                  <a:pt x="5029281" y="6353733"/>
                </a:cubicBezTo>
                <a:cubicBezTo>
                  <a:pt x="5029777" y="6354271"/>
                  <a:pt x="5030200" y="6355050"/>
                  <a:pt x="5030778" y="6355745"/>
                </a:cubicBezTo>
                <a:cubicBezTo>
                  <a:pt x="5033535" y="6359697"/>
                  <a:pt x="5036378" y="6359363"/>
                  <a:pt x="5038603" y="6354925"/>
                </a:cubicBezTo>
                <a:cubicBezTo>
                  <a:pt x="5038901" y="6354359"/>
                  <a:pt x="5039039" y="6353877"/>
                  <a:pt x="5039429" y="6353469"/>
                </a:cubicBezTo>
                <a:cubicBezTo>
                  <a:pt x="5040106" y="6352493"/>
                  <a:pt x="5041179" y="6351505"/>
                  <a:pt x="5042311" y="6352101"/>
                </a:cubicBezTo>
                <a:cubicBezTo>
                  <a:pt x="5043356" y="6352542"/>
                  <a:pt x="5043328" y="6353971"/>
                  <a:pt x="5043043" y="6354932"/>
                </a:cubicBezTo>
                <a:cubicBezTo>
                  <a:pt x="5042764" y="6355894"/>
                  <a:pt x="5042393" y="6356700"/>
                  <a:pt x="5041867" y="6357590"/>
                </a:cubicBezTo>
                <a:cubicBezTo>
                  <a:pt x="5041288" y="6359118"/>
                  <a:pt x="5041479" y="6360222"/>
                  <a:pt x="5043092" y="6360960"/>
                </a:cubicBezTo>
                <a:cubicBezTo>
                  <a:pt x="5046727" y="6362821"/>
                  <a:pt x="5048815" y="6365923"/>
                  <a:pt x="5050746" y="6369111"/>
                </a:cubicBezTo>
                <a:cubicBezTo>
                  <a:pt x="5053176" y="6372836"/>
                  <a:pt x="5054908" y="6377141"/>
                  <a:pt x="5057958" y="6380528"/>
                </a:cubicBezTo>
                <a:cubicBezTo>
                  <a:pt x="5059033" y="6381762"/>
                  <a:pt x="5058518" y="6383049"/>
                  <a:pt x="5058081" y="6384095"/>
                </a:cubicBezTo>
                <a:cubicBezTo>
                  <a:pt x="5056776" y="6387629"/>
                  <a:pt x="5055384" y="6391009"/>
                  <a:pt x="5058749" y="6394227"/>
                </a:cubicBezTo>
                <a:cubicBezTo>
                  <a:pt x="5059327" y="6394921"/>
                  <a:pt x="5058956" y="6395728"/>
                  <a:pt x="5058503" y="6396377"/>
                </a:cubicBezTo>
                <a:cubicBezTo>
                  <a:pt x="5056318" y="6399784"/>
                  <a:pt x="5055349" y="6403942"/>
                  <a:pt x="5053978" y="6407718"/>
                </a:cubicBezTo>
                <a:cubicBezTo>
                  <a:pt x="5051872" y="6413501"/>
                  <a:pt x="5048458" y="6417980"/>
                  <a:pt x="5042241" y="6419539"/>
                </a:cubicBezTo>
                <a:cubicBezTo>
                  <a:pt x="5039815" y="6420256"/>
                  <a:pt x="5039084" y="6422264"/>
                  <a:pt x="5038516" y="6424188"/>
                </a:cubicBezTo>
                <a:cubicBezTo>
                  <a:pt x="5037083" y="6428600"/>
                  <a:pt x="5035443" y="6429290"/>
                  <a:pt x="5031410" y="6427443"/>
                </a:cubicBezTo>
                <a:cubicBezTo>
                  <a:pt x="5027210" y="6425284"/>
                  <a:pt x="5027210" y="6425284"/>
                  <a:pt x="5025310" y="6429951"/>
                </a:cubicBezTo>
                <a:cubicBezTo>
                  <a:pt x="5024868" y="6430996"/>
                  <a:pt x="5024506" y="6431802"/>
                  <a:pt x="5023055" y="6431375"/>
                </a:cubicBezTo>
                <a:cubicBezTo>
                  <a:pt x="5017785" y="6430205"/>
                  <a:pt x="5012679" y="6429347"/>
                  <a:pt x="5007472" y="6427937"/>
                </a:cubicBezTo>
                <a:cubicBezTo>
                  <a:pt x="5003563" y="6427037"/>
                  <a:pt x="5000242" y="6425009"/>
                  <a:pt x="4997599" y="6422003"/>
                </a:cubicBezTo>
                <a:cubicBezTo>
                  <a:pt x="4995795" y="6420161"/>
                  <a:pt x="4987902" y="6418999"/>
                  <a:pt x="4985477" y="6420113"/>
                </a:cubicBezTo>
                <a:cubicBezTo>
                  <a:pt x="4984707" y="6420536"/>
                  <a:pt x="4984078" y="6420875"/>
                  <a:pt x="4984276" y="6421978"/>
                </a:cubicBezTo>
                <a:cubicBezTo>
                  <a:pt x="4984719" y="6427994"/>
                  <a:pt x="4981790" y="6432615"/>
                  <a:pt x="4978371" y="6437094"/>
                </a:cubicBezTo>
                <a:cubicBezTo>
                  <a:pt x="4977691" y="6438069"/>
                  <a:pt x="4977078" y="6438803"/>
                  <a:pt x="4976566" y="6439695"/>
                </a:cubicBezTo>
                <a:cubicBezTo>
                  <a:pt x="4974919" y="6442606"/>
                  <a:pt x="4973161" y="6444570"/>
                  <a:pt x="4969456" y="6445171"/>
                </a:cubicBezTo>
                <a:cubicBezTo>
                  <a:pt x="4965741" y="6445773"/>
                  <a:pt x="4963562" y="6449179"/>
                  <a:pt x="4961609" y="6452260"/>
                </a:cubicBezTo>
                <a:cubicBezTo>
                  <a:pt x="4960538" y="6453645"/>
                  <a:pt x="4959773" y="6454464"/>
                  <a:pt x="4957776" y="6454135"/>
                </a:cubicBezTo>
                <a:cubicBezTo>
                  <a:pt x="4949496" y="6452987"/>
                  <a:pt x="4941164" y="6453269"/>
                  <a:pt x="4933201" y="6456791"/>
                </a:cubicBezTo>
                <a:cubicBezTo>
                  <a:pt x="4932022" y="6457228"/>
                  <a:pt x="4931387" y="6457170"/>
                  <a:pt x="4931104" y="6455911"/>
                </a:cubicBezTo>
                <a:cubicBezTo>
                  <a:pt x="4929659" y="6451040"/>
                  <a:pt x="4925799" y="6449506"/>
                  <a:pt x="4921429" y="6448860"/>
                </a:cubicBezTo>
                <a:cubicBezTo>
                  <a:pt x="4919423" y="6448531"/>
                  <a:pt x="4918141" y="6448019"/>
                  <a:pt x="4917977" y="6445486"/>
                </a:cubicBezTo>
                <a:cubicBezTo>
                  <a:pt x="4918027" y="6442232"/>
                  <a:pt x="4915507" y="6440571"/>
                  <a:pt x="4912703" y="6439477"/>
                </a:cubicBezTo>
                <a:cubicBezTo>
                  <a:pt x="4910359" y="6438525"/>
                  <a:pt x="4907711" y="6437741"/>
                  <a:pt x="4905374" y="6436790"/>
                </a:cubicBezTo>
                <a:cubicBezTo>
                  <a:pt x="4904290" y="6436271"/>
                  <a:pt x="4903498" y="6435643"/>
                  <a:pt x="4903268" y="6434907"/>
                </a:cubicBezTo>
                <a:cubicBezTo>
                  <a:pt x="4903044" y="6434171"/>
                  <a:pt x="4903392" y="6433326"/>
                  <a:pt x="4904591" y="6432373"/>
                </a:cubicBezTo>
                <a:cubicBezTo>
                  <a:pt x="4905215" y="6432034"/>
                  <a:pt x="4905756" y="6431540"/>
                  <a:pt x="4906210" y="6430890"/>
                </a:cubicBezTo>
                <a:cubicBezTo>
                  <a:pt x="4906822" y="6430156"/>
                  <a:pt x="4908066" y="6429479"/>
                  <a:pt x="4907627" y="6428303"/>
                </a:cubicBezTo>
                <a:cubicBezTo>
                  <a:pt x="4907118" y="6427368"/>
                  <a:pt x="4906003" y="6427169"/>
                  <a:pt x="4905121" y="6427039"/>
                </a:cubicBezTo>
                <a:cubicBezTo>
                  <a:pt x="4901208" y="6426141"/>
                  <a:pt x="4900851" y="6425121"/>
                  <a:pt x="4903368" y="6421942"/>
                </a:cubicBezTo>
                <a:cubicBezTo>
                  <a:pt x="4903980" y="6421207"/>
                  <a:pt x="4904514" y="6420713"/>
                  <a:pt x="4904880" y="6419907"/>
                </a:cubicBezTo>
                <a:cubicBezTo>
                  <a:pt x="4905477" y="6418776"/>
                  <a:pt x="4905923" y="6417730"/>
                  <a:pt x="4904447" y="6416511"/>
                </a:cubicBezTo>
                <a:cubicBezTo>
                  <a:pt x="4902905" y="6415532"/>
                  <a:pt x="4902289" y="6415869"/>
                  <a:pt x="4901208" y="6416858"/>
                </a:cubicBezTo>
                <a:lnTo>
                  <a:pt x="4898991" y="6418400"/>
                </a:lnTo>
                <a:lnTo>
                  <a:pt x="4904482" y="6399643"/>
                </a:lnTo>
                <a:lnTo>
                  <a:pt x="4905855" y="6399802"/>
                </a:lnTo>
                <a:cubicBezTo>
                  <a:pt x="4907425" y="6399352"/>
                  <a:pt x="4908109" y="6398377"/>
                  <a:pt x="4908054" y="6396793"/>
                </a:cubicBezTo>
                <a:cubicBezTo>
                  <a:pt x="4908009" y="6395604"/>
                  <a:pt x="4907821" y="6394500"/>
                  <a:pt x="4907772" y="6393311"/>
                </a:cubicBezTo>
                <a:cubicBezTo>
                  <a:pt x="4907711" y="6391330"/>
                  <a:pt x="4908452" y="6390115"/>
                  <a:pt x="4910504" y="6389411"/>
                </a:cubicBezTo>
                <a:cubicBezTo>
                  <a:pt x="4916611" y="6387300"/>
                  <a:pt x="4919412" y="6383159"/>
                  <a:pt x="4919189" y="6376819"/>
                </a:cubicBezTo>
                <a:cubicBezTo>
                  <a:pt x="4919237" y="6375786"/>
                  <a:pt x="4918150" y="6374157"/>
                  <a:pt x="4919722" y="6373707"/>
                </a:cubicBezTo>
                <a:cubicBezTo>
                  <a:pt x="4921209" y="6373102"/>
                  <a:pt x="4922273" y="6374334"/>
                  <a:pt x="4923203" y="6375652"/>
                </a:cubicBezTo>
                <a:cubicBezTo>
                  <a:pt x="4923285" y="6375808"/>
                  <a:pt x="4923359" y="6375964"/>
                  <a:pt x="4923436" y="6376120"/>
                </a:cubicBezTo>
                <a:cubicBezTo>
                  <a:pt x="4926098" y="6379520"/>
                  <a:pt x="4928393" y="6379680"/>
                  <a:pt x="4930346" y="6376203"/>
                </a:cubicBezTo>
                <a:cubicBezTo>
                  <a:pt x="4932230" y="6372966"/>
                  <a:pt x="4934665" y="6372250"/>
                  <a:pt x="4937848" y="6372538"/>
                </a:cubicBezTo>
                <a:cubicBezTo>
                  <a:pt x="4942060" y="6372871"/>
                  <a:pt x="4946175" y="6372653"/>
                  <a:pt x="4949571" y="6369602"/>
                </a:cubicBezTo>
                <a:cubicBezTo>
                  <a:pt x="4951031" y="6368204"/>
                  <a:pt x="4952734" y="6369495"/>
                  <a:pt x="4953637" y="6370417"/>
                </a:cubicBezTo>
                <a:cubicBezTo>
                  <a:pt x="4957246" y="6373705"/>
                  <a:pt x="4960902" y="6374137"/>
                  <a:pt x="4965213" y="6372404"/>
                </a:cubicBezTo>
                <a:cubicBezTo>
                  <a:pt x="4967871" y="6371363"/>
                  <a:pt x="4968845" y="6372044"/>
                  <a:pt x="4968649" y="6375383"/>
                </a:cubicBezTo>
                <a:cubicBezTo>
                  <a:pt x="4968249" y="6382456"/>
                  <a:pt x="4974826" y="6388977"/>
                  <a:pt x="4981540" y="6388354"/>
                </a:cubicBezTo>
                <a:cubicBezTo>
                  <a:pt x="4982889" y="6388229"/>
                  <a:pt x="4984615" y="6388091"/>
                  <a:pt x="4984960" y="6386492"/>
                </a:cubicBezTo>
                <a:cubicBezTo>
                  <a:pt x="4985311" y="6384894"/>
                  <a:pt x="4984932" y="6383082"/>
                  <a:pt x="4983240" y="6382187"/>
                </a:cubicBezTo>
                <a:cubicBezTo>
                  <a:pt x="4982260" y="6381506"/>
                  <a:pt x="4980968" y="6380995"/>
                  <a:pt x="4979844" y="6380398"/>
                </a:cubicBezTo>
                <a:cubicBezTo>
                  <a:pt x="4978545" y="6379887"/>
                  <a:pt x="4977587" y="6379206"/>
                  <a:pt x="4978086" y="6377918"/>
                </a:cubicBezTo>
                <a:cubicBezTo>
                  <a:pt x="4978666" y="6376391"/>
                  <a:pt x="4979947" y="6376507"/>
                  <a:pt x="4981147" y="6376864"/>
                </a:cubicBezTo>
                <a:cubicBezTo>
                  <a:pt x="4982264" y="6377063"/>
                  <a:pt x="4983398" y="6377660"/>
                  <a:pt x="4984352" y="6377945"/>
                </a:cubicBezTo>
                <a:cubicBezTo>
                  <a:pt x="4986522" y="6378585"/>
                  <a:pt x="4988806" y="6378349"/>
                  <a:pt x="4989603" y="6376101"/>
                </a:cubicBezTo>
                <a:cubicBezTo>
                  <a:pt x="4990174" y="6374177"/>
                  <a:pt x="4987993" y="6373140"/>
                  <a:pt x="4986387" y="6372401"/>
                </a:cubicBezTo>
                <a:cubicBezTo>
                  <a:pt x="4985011" y="6371734"/>
                  <a:pt x="4983192" y="6371717"/>
                  <a:pt x="4981964" y="6370568"/>
                </a:cubicBezTo>
                <a:cubicBezTo>
                  <a:pt x="4980082" y="6368966"/>
                  <a:pt x="4979716" y="6367549"/>
                  <a:pt x="4982292" y="6366353"/>
                </a:cubicBezTo>
                <a:cubicBezTo>
                  <a:pt x="4985802" y="6364646"/>
                  <a:pt x="4989369" y="6364526"/>
                  <a:pt x="4993027" y="6364957"/>
                </a:cubicBezTo>
                <a:cubicBezTo>
                  <a:pt x="4997720" y="6365433"/>
                  <a:pt x="4999676" y="6364573"/>
                  <a:pt x="5001586" y="6360303"/>
                </a:cubicBezTo>
                <a:cubicBezTo>
                  <a:pt x="5002413" y="6358847"/>
                  <a:pt x="5002824" y="6357009"/>
                  <a:pt x="5003323" y="6355326"/>
                </a:cubicBezTo>
                <a:cubicBezTo>
                  <a:pt x="5003539" y="6354605"/>
                  <a:pt x="5003575" y="6353572"/>
                  <a:pt x="5004524" y="6353460"/>
                </a:cubicBezTo>
                <a:cubicBezTo>
                  <a:pt x="5005631" y="6353264"/>
                  <a:pt x="5006210" y="6353959"/>
                  <a:pt x="5006394" y="6354667"/>
                </a:cubicBezTo>
                <a:cubicBezTo>
                  <a:pt x="5007290" y="6357810"/>
                  <a:pt x="5008878" y="6357756"/>
                  <a:pt x="5011279" y="6356246"/>
                </a:cubicBezTo>
                <a:cubicBezTo>
                  <a:pt x="5014313" y="6354398"/>
                  <a:pt x="5017593" y="6355239"/>
                  <a:pt x="5020499" y="6356490"/>
                </a:cubicBezTo>
                <a:cubicBezTo>
                  <a:pt x="5022827" y="6357442"/>
                  <a:pt x="5024000" y="6357005"/>
                  <a:pt x="5024317" y="6354615"/>
                </a:cubicBezTo>
                <a:cubicBezTo>
                  <a:pt x="5024435" y="6353342"/>
                  <a:pt x="5024715" y="6352380"/>
                  <a:pt x="5026133" y="6352014"/>
                </a:cubicBezTo>
                <a:close/>
                <a:moveTo>
                  <a:pt x="4918672" y="6351208"/>
                </a:moveTo>
                <a:lnTo>
                  <a:pt x="4918959" y="6351519"/>
                </a:lnTo>
                <a:lnTo>
                  <a:pt x="4918591" y="6351503"/>
                </a:lnTo>
                <a:close/>
                <a:moveTo>
                  <a:pt x="8330861" y="6347911"/>
                </a:moveTo>
                <a:cubicBezTo>
                  <a:pt x="8332350" y="6346292"/>
                  <a:pt x="8337106" y="6348775"/>
                  <a:pt x="8339441" y="6349587"/>
                </a:cubicBezTo>
                <a:cubicBezTo>
                  <a:pt x="8344850" y="6351659"/>
                  <a:pt x="8352293" y="6349718"/>
                  <a:pt x="8355365" y="6357130"/>
                </a:cubicBezTo>
                <a:cubicBezTo>
                  <a:pt x="8355922" y="6358376"/>
                  <a:pt x="8357216" y="6360069"/>
                  <a:pt x="8359346" y="6360555"/>
                </a:cubicBezTo>
                <a:cubicBezTo>
                  <a:pt x="8362334" y="6360957"/>
                  <a:pt x="8363569" y="6362916"/>
                  <a:pt x="8363435" y="6365962"/>
                </a:cubicBezTo>
                <a:cubicBezTo>
                  <a:pt x="8363543" y="6367944"/>
                  <a:pt x="8364632" y="6369312"/>
                  <a:pt x="8365660" y="6370944"/>
                </a:cubicBezTo>
                <a:cubicBezTo>
                  <a:pt x="8368394" y="6374923"/>
                  <a:pt x="8369143" y="6379010"/>
                  <a:pt x="8366721" y="6383493"/>
                </a:cubicBezTo>
                <a:cubicBezTo>
                  <a:pt x="8365317" y="6385970"/>
                  <a:pt x="8365449" y="6389076"/>
                  <a:pt x="8367747" y="6391278"/>
                </a:cubicBezTo>
                <a:cubicBezTo>
                  <a:pt x="8367505" y="6392342"/>
                  <a:pt x="8367263" y="6393406"/>
                  <a:pt x="8367021" y="6394469"/>
                </a:cubicBezTo>
                <a:cubicBezTo>
                  <a:pt x="8364322" y="6395253"/>
                  <a:pt x="8362893" y="6396605"/>
                  <a:pt x="8362372" y="6400122"/>
                </a:cubicBezTo>
                <a:cubicBezTo>
                  <a:pt x="8361547" y="6404969"/>
                  <a:pt x="8358569" y="6408206"/>
                  <a:pt x="8353002" y="6408057"/>
                </a:cubicBezTo>
                <a:cubicBezTo>
                  <a:pt x="8350546" y="6407776"/>
                  <a:pt x="8350655" y="6409759"/>
                  <a:pt x="8350291" y="6411354"/>
                </a:cubicBezTo>
                <a:cubicBezTo>
                  <a:pt x="8349685" y="6414014"/>
                  <a:pt x="8348499" y="6414302"/>
                  <a:pt x="8346793" y="6411955"/>
                </a:cubicBezTo>
                <a:cubicBezTo>
                  <a:pt x="8344204" y="6408569"/>
                  <a:pt x="8342075" y="6408084"/>
                  <a:pt x="8340245" y="6412421"/>
                </a:cubicBezTo>
                <a:cubicBezTo>
                  <a:pt x="8339737" y="6413424"/>
                  <a:pt x="8338636" y="6414572"/>
                  <a:pt x="8337874" y="6413000"/>
                </a:cubicBezTo>
                <a:cubicBezTo>
                  <a:pt x="8335200" y="6408755"/>
                  <a:pt x="8332320" y="6410336"/>
                  <a:pt x="8329112" y="6412122"/>
                </a:cubicBezTo>
                <a:cubicBezTo>
                  <a:pt x="8328725" y="6412593"/>
                  <a:pt x="8327659" y="6412350"/>
                  <a:pt x="8327127" y="6412229"/>
                </a:cubicBezTo>
                <a:cubicBezTo>
                  <a:pt x="8321586" y="6407051"/>
                  <a:pt x="8316432" y="6401402"/>
                  <a:pt x="8310952" y="6395957"/>
                </a:cubicBezTo>
                <a:cubicBezTo>
                  <a:pt x="8308447" y="6393429"/>
                  <a:pt x="8308001" y="6388013"/>
                  <a:pt x="8307578" y="6383721"/>
                </a:cubicBezTo>
                <a:cubicBezTo>
                  <a:pt x="8307409" y="6382004"/>
                  <a:pt x="8308040" y="6380470"/>
                  <a:pt x="8306745" y="6378776"/>
                </a:cubicBezTo>
                <a:cubicBezTo>
                  <a:pt x="8305450" y="6377083"/>
                  <a:pt x="8306081" y="6375548"/>
                  <a:pt x="8307509" y="6374195"/>
                </a:cubicBezTo>
                <a:cubicBezTo>
                  <a:pt x="8308283" y="6373254"/>
                  <a:pt x="8309651" y="6372166"/>
                  <a:pt x="8309095" y="6370921"/>
                </a:cubicBezTo>
                <a:cubicBezTo>
                  <a:pt x="8307160" y="6367123"/>
                  <a:pt x="8307439" y="6364670"/>
                  <a:pt x="8312062" y="6364045"/>
                </a:cubicBezTo>
                <a:cubicBezTo>
                  <a:pt x="8313188" y="6364023"/>
                  <a:pt x="8313817" y="6362487"/>
                  <a:pt x="8312934" y="6361447"/>
                </a:cubicBezTo>
                <a:cubicBezTo>
                  <a:pt x="8310139" y="6357734"/>
                  <a:pt x="8314170" y="6357254"/>
                  <a:pt x="8315187" y="6355248"/>
                </a:cubicBezTo>
                <a:cubicBezTo>
                  <a:pt x="8318687" y="6348493"/>
                  <a:pt x="8326455" y="6352501"/>
                  <a:pt x="8330861" y="6347911"/>
                </a:cubicBezTo>
                <a:close/>
                <a:moveTo>
                  <a:pt x="2422289" y="6344213"/>
                </a:moveTo>
                <a:lnTo>
                  <a:pt x="2423151" y="6345497"/>
                </a:lnTo>
                <a:cubicBezTo>
                  <a:pt x="2423145" y="6347786"/>
                  <a:pt x="2424308" y="6349430"/>
                  <a:pt x="2425384" y="6351377"/>
                </a:cubicBezTo>
                <a:cubicBezTo>
                  <a:pt x="2428270" y="6356135"/>
                  <a:pt x="2428863" y="6360887"/>
                  <a:pt x="2425782" y="6365886"/>
                </a:cubicBezTo>
                <a:lnTo>
                  <a:pt x="2426016" y="6369016"/>
                </a:lnTo>
                <a:lnTo>
                  <a:pt x="2458776" y="6385027"/>
                </a:lnTo>
                <a:lnTo>
                  <a:pt x="2462623" y="6371700"/>
                </a:lnTo>
                <a:cubicBezTo>
                  <a:pt x="2461907" y="6369190"/>
                  <a:pt x="2460318" y="6366717"/>
                  <a:pt x="2458992" y="6364319"/>
                </a:cubicBezTo>
                <a:lnTo>
                  <a:pt x="2458588" y="6362492"/>
                </a:lnTo>
                <a:lnTo>
                  <a:pt x="2451593" y="6359329"/>
                </a:lnTo>
                <a:close/>
                <a:moveTo>
                  <a:pt x="1906981" y="6342342"/>
                </a:moveTo>
                <a:lnTo>
                  <a:pt x="1907473" y="6342619"/>
                </a:lnTo>
                <a:lnTo>
                  <a:pt x="1907107" y="6342819"/>
                </a:lnTo>
                <a:close/>
                <a:moveTo>
                  <a:pt x="7175276" y="6338259"/>
                </a:moveTo>
                <a:cubicBezTo>
                  <a:pt x="7176765" y="6336641"/>
                  <a:pt x="7181521" y="6339123"/>
                  <a:pt x="7183856" y="6339935"/>
                </a:cubicBezTo>
                <a:cubicBezTo>
                  <a:pt x="7189265" y="6342006"/>
                  <a:pt x="7196709" y="6340066"/>
                  <a:pt x="7199780" y="6347479"/>
                </a:cubicBezTo>
                <a:cubicBezTo>
                  <a:pt x="7200337" y="6348725"/>
                  <a:pt x="7201632" y="6350417"/>
                  <a:pt x="7203760" y="6350903"/>
                </a:cubicBezTo>
                <a:cubicBezTo>
                  <a:pt x="7206749" y="6351304"/>
                  <a:pt x="7207984" y="6353264"/>
                  <a:pt x="7207849" y="6356310"/>
                </a:cubicBezTo>
                <a:cubicBezTo>
                  <a:pt x="7207958" y="6358293"/>
                  <a:pt x="7209046" y="6359660"/>
                  <a:pt x="7210075" y="6361293"/>
                </a:cubicBezTo>
                <a:cubicBezTo>
                  <a:pt x="7212809" y="6365271"/>
                  <a:pt x="7213558" y="6369358"/>
                  <a:pt x="7211136" y="6373840"/>
                </a:cubicBezTo>
                <a:cubicBezTo>
                  <a:pt x="7209731" y="6376318"/>
                  <a:pt x="7209864" y="6379425"/>
                  <a:pt x="7212163" y="6381627"/>
                </a:cubicBezTo>
                <a:cubicBezTo>
                  <a:pt x="7211920" y="6382690"/>
                  <a:pt x="7211678" y="6383753"/>
                  <a:pt x="7211436" y="6384817"/>
                </a:cubicBezTo>
                <a:cubicBezTo>
                  <a:pt x="7208737" y="6385601"/>
                  <a:pt x="7207308" y="6386953"/>
                  <a:pt x="7206787" y="6390470"/>
                </a:cubicBezTo>
                <a:cubicBezTo>
                  <a:pt x="7205963" y="6395317"/>
                  <a:pt x="7202985" y="6398554"/>
                  <a:pt x="7197418" y="6398405"/>
                </a:cubicBezTo>
                <a:cubicBezTo>
                  <a:pt x="7194961" y="6398125"/>
                  <a:pt x="7195069" y="6400107"/>
                  <a:pt x="7194706" y="6401702"/>
                </a:cubicBezTo>
                <a:cubicBezTo>
                  <a:pt x="7194100" y="6404361"/>
                  <a:pt x="7192914" y="6404650"/>
                  <a:pt x="7191208" y="6402303"/>
                </a:cubicBezTo>
                <a:cubicBezTo>
                  <a:pt x="7188619" y="6398917"/>
                  <a:pt x="7186489" y="6398432"/>
                  <a:pt x="7184661" y="6402769"/>
                </a:cubicBezTo>
                <a:cubicBezTo>
                  <a:pt x="7184152" y="6403772"/>
                  <a:pt x="7183051" y="6404920"/>
                  <a:pt x="7182288" y="6403348"/>
                </a:cubicBezTo>
                <a:cubicBezTo>
                  <a:pt x="7179615" y="6399102"/>
                  <a:pt x="7176735" y="6400684"/>
                  <a:pt x="7173527" y="6402470"/>
                </a:cubicBezTo>
                <a:cubicBezTo>
                  <a:pt x="7173139" y="6402941"/>
                  <a:pt x="7172075" y="6402698"/>
                  <a:pt x="7171542" y="6402577"/>
                </a:cubicBezTo>
                <a:cubicBezTo>
                  <a:pt x="7166001" y="6397400"/>
                  <a:pt x="7160847" y="6391750"/>
                  <a:pt x="7155367" y="6386305"/>
                </a:cubicBezTo>
                <a:cubicBezTo>
                  <a:pt x="7152862" y="6383777"/>
                  <a:pt x="7152416" y="6378361"/>
                  <a:pt x="7151993" y="6374069"/>
                </a:cubicBezTo>
                <a:cubicBezTo>
                  <a:pt x="7151824" y="6372353"/>
                  <a:pt x="7152455" y="6370817"/>
                  <a:pt x="7151160" y="6369124"/>
                </a:cubicBezTo>
                <a:cubicBezTo>
                  <a:pt x="7149866" y="6367431"/>
                  <a:pt x="7150496" y="6365896"/>
                  <a:pt x="7151924" y="6364544"/>
                </a:cubicBezTo>
                <a:cubicBezTo>
                  <a:pt x="7152698" y="6363602"/>
                  <a:pt x="7154067" y="6362515"/>
                  <a:pt x="7153510" y="6361269"/>
                </a:cubicBezTo>
                <a:cubicBezTo>
                  <a:pt x="7151575" y="6357472"/>
                  <a:pt x="7151854" y="6355018"/>
                  <a:pt x="7156477" y="6354393"/>
                </a:cubicBezTo>
                <a:cubicBezTo>
                  <a:pt x="7157603" y="6354370"/>
                  <a:pt x="7158232" y="6352836"/>
                  <a:pt x="7157349" y="6351795"/>
                </a:cubicBezTo>
                <a:cubicBezTo>
                  <a:pt x="7154555" y="6348081"/>
                  <a:pt x="7158585" y="6347602"/>
                  <a:pt x="7159603" y="6345596"/>
                </a:cubicBezTo>
                <a:cubicBezTo>
                  <a:pt x="7163102" y="6338841"/>
                  <a:pt x="7170870" y="6342849"/>
                  <a:pt x="7175276" y="6338259"/>
                </a:cubicBezTo>
                <a:close/>
                <a:moveTo>
                  <a:pt x="2552774" y="6338132"/>
                </a:moveTo>
                <a:lnTo>
                  <a:pt x="2555173" y="6342282"/>
                </a:lnTo>
                <a:cubicBezTo>
                  <a:pt x="2556952" y="6344234"/>
                  <a:pt x="2559321" y="6345494"/>
                  <a:pt x="2562956" y="6345390"/>
                </a:cubicBezTo>
                <a:cubicBezTo>
                  <a:pt x="2564357" y="6345509"/>
                  <a:pt x="2564848" y="6346801"/>
                  <a:pt x="2565077" y="6348018"/>
                </a:cubicBezTo>
                <a:cubicBezTo>
                  <a:pt x="2566467" y="6354176"/>
                  <a:pt x="2570026" y="6359809"/>
                  <a:pt x="2572708" y="6365477"/>
                </a:cubicBezTo>
                <a:lnTo>
                  <a:pt x="2572820" y="6375849"/>
                </a:lnTo>
                <a:lnTo>
                  <a:pt x="2636723" y="6404509"/>
                </a:lnTo>
                <a:cubicBezTo>
                  <a:pt x="2779157" y="6462447"/>
                  <a:pt x="2925844" y="6509076"/>
                  <a:pt x="3079353" y="6537515"/>
                </a:cubicBezTo>
                <a:cubicBezTo>
                  <a:pt x="3257956" y="6570725"/>
                  <a:pt x="3438699" y="6583635"/>
                  <a:pt x="3619727" y="6583165"/>
                </a:cubicBezTo>
                <a:lnTo>
                  <a:pt x="3633124" y="6582820"/>
                </a:lnTo>
                <a:lnTo>
                  <a:pt x="3630512" y="6569093"/>
                </a:lnTo>
                <a:cubicBezTo>
                  <a:pt x="3629412" y="6567913"/>
                  <a:pt x="3626413" y="6567334"/>
                  <a:pt x="3627634" y="6565096"/>
                </a:cubicBezTo>
                <a:cubicBezTo>
                  <a:pt x="3628590" y="6562781"/>
                  <a:pt x="3631136" y="6562941"/>
                  <a:pt x="3633604" y="6563366"/>
                </a:cubicBezTo>
                <a:cubicBezTo>
                  <a:pt x="3633872" y="6563442"/>
                  <a:pt x="3634135" y="6563520"/>
                  <a:pt x="3634403" y="6563595"/>
                </a:cubicBezTo>
                <a:lnTo>
                  <a:pt x="3640843" y="6557225"/>
                </a:lnTo>
                <a:lnTo>
                  <a:pt x="3579037" y="6563261"/>
                </a:lnTo>
                <a:cubicBezTo>
                  <a:pt x="3556785" y="6563400"/>
                  <a:pt x="3534731" y="6561885"/>
                  <a:pt x="3512801" y="6559915"/>
                </a:cubicBezTo>
                <a:cubicBezTo>
                  <a:pt x="3208412" y="6536942"/>
                  <a:pt x="2911350" y="6486640"/>
                  <a:pt x="2627723" y="6371582"/>
                </a:cubicBezTo>
                <a:close/>
                <a:moveTo>
                  <a:pt x="8097965" y="6337619"/>
                </a:moveTo>
                <a:cubicBezTo>
                  <a:pt x="8105833" y="6335963"/>
                  <a:pt x="8120411" y="6342756"/>
                  <a:pt x="8137222" y="6352366"/>
                </a:cubicBezTo>
                <a:cubicBezTo>
                  <a:pt x="8151220" y="6364211"/>
                  <a:pt x="8168033" y="6373819"/>
                  <a:pt x="8178137" y="6374981"/>
                </a:cubicBezTo>
                <a:cubicBezTo>
                  <a:pt x="8187662" y="6381194"/>
                  <a:pt x="8192135" y="6386825"/>
                  <a:pt x="8198843" y="6395274"/>
                </a:cubicBezTo>
                <a:cubicBezTo>
                  <a:pt x="8230233" y="6411677"/>
                  <a:pt x="8242574" y="6415653"/>
                  <a:pt x="8269490" y="6426422"/>
                </a:cubicBezTo>
                <a:cubicBezTo>
                  <a:pt x="8261623" y="6428078"/>
                  <a:pt x="8281252" y="6435453"/>
                  <a:pt x="8290776" y="6441665"/>
                </a:cubicBezTo>
                <a:cubicBezTo>
                  <a:pt x="8295829" y="6442246"/>
                  <a:pt x="8310985" y="6443986"/>
                  <a:pt x="8296408" y="6437192"/>
                </a:cubicBezTo>
                <a:cubicBezTo>
                  <a:pt x="8323326" y="6447962"/>
                  <a:pt x="8357530" y="6462128"/>
                  <a:pt x="8393971" y="6479112"/>
                </a:cubicBezTo>
                <a:cubicBezTo>
                  <a:pt x="8425362" y="6495513"/>
                  <a:pt x="8464618" y="6510259"/>
                  <a:pt x="8498824" y="6524427"/>
                </a:cubicBezTo>
                <a:cubicBezTo>
                  <a:pt x="8498824" y="6524427"/>
                  <a:pt x="8506114" y="6527822"/>
                  <a:pt x="8500481" y="6532294"/>
                </a:cubicBezTo>
                <a:cubicBezTo>
                  <a:pt x="8544791" y="6547621"/>
                  <a:pt x="8566656" y="6557812"/>
                  <a:pt x="8592495" y="6555661"/>
                </a:cubicBezTo>
                <a:cubicBezTo>
                  <a:pt x="8614360" y="6565850"/>
                  <a:pt x="8629516" y="6567591"/>
                  <a:pt x="8644094" y="6574383"/>
                </a:cubicBezTo>
                <a:cubicBezTo>
                  <a:pt x="8654197" y="6575544"/>
                  <a:pt x="8641857" y="6571568"/>
                  <a:pt x="8644672" y="6569331"/>
                </a:cubicBezTo>
                <a:cubicBezTo>
                  <a:pt x="8662065" y="6573889"/>
                  <a:pt x="8679459" y="6578446"/>
                  <a:pt x="8696850" y="6583003"/>
                </a:cubicBezTo>
                <a:cubicBezTo>
                  <a:pt x="8688403" y="6589711"/>
                  <a:pt x="8703559" y="6591451"/>
                  <a:pt x="8710847" y="6594847"/>
                </a:cubicBezTo>
                <a:cubicBezTo>
                  <a:pt x="8712505" y="6602716"/>
                  <a:pt x="8694532" y="6603211"/>
                  <a:pt x="8678796" y="6606522"/>
                </a:cubicBezTo>
                <a:cubicBezTo>
                  <a:pt x="8692794" y="6618368"/>
                  <a:pt x="8753999" y="6620280"/>
                  <a:pt x="8776443" y="6625416"/>
                </a:cubicBezTo>
                <a:cubicBezTo>
                  <a:pt x="8774206" y="6622600"/>
                  <a:pt x="8774206" y="6622600"/>
                  <a:pt x="8774206" y="6622600"/>
                </a:cubicBezTo>
                <a:cubicBezTo>
                  <a:pt x="8769154" y="6622020"/>
                  <a:pt x="8766917" y="6619204"/>
                  <a:pt x="8766917" y="6619204"/>
                </a:cubicBezTo>
                <a:cubicBezTo>
                  <a:pt x="8771969" y="6619783"/>
                  <a:pt x="8774785" y="6617548"/>
                  <a:pt x="8777021" y="6620364"/>
                </a:cubicBezTo>
                <a:cubicBezTo>
                  <a:pt x="8777601" y="6615312"/>
                  <a:pt x="8810150" y="6621610"/>
                  <a:pt x="8804519" y="6626082"/>
                </a:cubicBezTo>
                <a:cubicBezTo>
                  <a:pt x="8807334" y="6623846"/>
                  <a:pt x="8807334" y="6623846"/>
                  <a:pt x="8812387" y="6624425"/>
                </a:cubicBezTo>
                <a:cubicBezTo>
                  <a:pt x="8812387" y="6624425"/>
                  <a:pt x="8812387" y="6624425"/>
                  <a:pt x="8814621" y="6627242"/>
                </a:cubicBezTo>
                <a:cubicBezTo>
                  <a:pt x="8814621" y="6627242"/>
                  <a:pt x="8816858" y="6630059"/>
                  <a:pt x="8816858" y="6630059"/>
                </a:cubicBezTo>
                <a:cubicBezTo>
                  <a:pt x="8816858" y="6630059"/>
                  <a:pt x="8816858" y="6630059"/>
                  <a:pt x="8811806" y="6629478"/>
                </a:cubicBezTo>
                <a:cubicBezTo>
                  <a:pt x="8844355" y="6635777"/>
                  <a:pt x="8819674" y="6627823"/>
                  <a:pt x="8820254" y="6622771"/>
                </a:cubicBezTo>
                <a:cubicBezTo>
                  <a:pt x="8820833" y="6617719"/>
                  <a:pt x="8830938" y="6618880"/>
                  <a:pt x="8830938" y="6618880"/>
                </a:cubicBezTo>
                <a:cubicBezTo>
                  <a:pt x="8831516" y="6613826"/>
                  <a:pt x="8804019" y="6608109"/>
                  <a:pt x="8816939" y="6607033"/>
                </a:cubicBezTo>
                <a:cubicBezTo>
                  <a:pt x="8829859" y="6605959"/>
                  <a:pt x="8842779" y="6604884"/>
                  <a:pt x="8857935" y="6606624"/>
                </a:cubicBezTo>
                <a:cubicBezTo>
                  <a:pt x="8870276" y="6610601"/>
                  <a:pt x="8883194" y="6609525"/>
                  <a:pt x="8900588" y="6614083"/>
                </a:cubicBezTo>
                <a:cubicBezTo>
                  <a:pt x="8902245" y="6621950"/>
                  <a:pt x="8876985" y="6619049"/>
                  <a:pt x="8869117" y="6620704"/>
                </a:cubicBezTo>
                <a:cubicBezTo>
                  <a:pt x="8865721" y="6627993"/>
                  <a:pt x="8883694" y="6627499"/>
                  <a:pt x="8885931" y="6630315"/>
                </a:cubicBezTo>
                <a:cubicBezTo>
                  <a:pt x="8893798" y="6628659"/>
                  <a:pt x="8906138" y="6632636"/>
                  <a:pt x="8908953" y="6630401"/>
                </a:cubicBezTo>
                <a:cubicBezTo>
                  <a:pt x="8984154" y="6644157"/>
                  <a:pt x="9041464" y="6635383"/>
                  <a:pt x="9103746" y="6650215"/>
                </a:cubicBezTo>
                <a:cubicBezTo>
                  <a:pt x="9113850" y="6651375"/>
                  <a:pt x="9126770" y="6650300"/>
                  <a:pt x="9136874" y="6651461"/>
                </a:cubicBezTo>
                <a:cubicBezTo>
                  <a:pt x="9162134" y="6654362"/>
                  <a:pt x="9157082" y="6653782"/>
                  <a:pt x="9185159" y="6654448"/>
                </a:cubicBezTo>
                <a:cubicBezTo>
                  <a:pt x="9190210" y="6655027"/>
                  <a:pt x="9193026" y="6652792"/>
                  <a:pt x="9190790" y="6649975"/>
                </a:cubicBezTo>
                <a:cubicBezTo>
                  <a:pt x="9226732" y="6648985"/>
                  <a:pt x="9249757" y="6649070"/>
                  <a:pt x="9272780" y="6649155"/>
                </a:cubicBezTo>
                <a:cubicBezTo>
                  <a:pt x="9295804" y="6649242"/>
                  <a:pt x="9316013" y="6651562"/>
                  <a:pt x="9344088" y="6652227"/>
                </a:cubicBezTo>
                <a:cubicBezTo>
                  <a:pt x="9354772" y="6648337"/>
                  <a:pt x="9339616" y="6646596"/>
                  <a:pt x="9337958" y="6638728"/>
                </a:cubicBezTo>
                <a:cubicBezTo>
                  <a:pt x="9345826" y="6637071"/>
                  <a:pt x="9345826" y="6637071"/>
                  <a:pt x="9348642" y="6634836"/>
                </a:cubicBezTo>
                <a:cubicBezTo>
                  <a:pt x="9374483" y="6632685"/>
                  <a:pt x="9381770" y="6636081"/>
                  <a:pt x="9407609" y="6633931"/>
                </a:cubicBezTo>
                <a:cubicBezTo>
                  <a:pt x="9409846" y="6636748"/>
                  <a:pt x="9407031" y="6638983"/>
                  <a:pt x="9412082" y="6639563"/>
                </a:cubicBezTo>
                <a:cubicBezTo>
                  <a:pt x="9409266" y="6641799"/>
                  <a:pt x="9408688" y="6646850"/>
                  <a:pt x="9390715" y="6647346"/>
                </a:cubicBezTo>
                <a:cubicBezTo>
                  <a:pt x="9410924" y="6649667"/>
                  <a:pt x="9441815" y="6648097"/>
                  <a:pt x="9467654" y="6645945"/>
                </a:cubicBezTo>
                <a:cubicBezTo>
                  <a:pt x="9496309" y="6641560"/>
                  <a:pt x="9522151" y="6639409"/>
                  <a:pt x="9539542" y="6643966"/>
                </a:cubicBezTo>
                <a:cubicBezTo>
                  <a:pt x="9589564" y="6631796"/>
                  <a:pt x="9622691" y="6633042"/>
                  <a:pt x="9672133" y="6625925"/>
                </a:cubicBezTo>
                <a:cubicBezTo>
                  <a:pt x="9693500" y="6618142"/>
                  <a:pt x="9654741" y="6621368"/>
                  <a:pt x="9671056" y="6613004"/>
                </a:cubicBezTo>
                <a:cubicBezTo>
                  <a:pt x="9681160" y="6614165"/>
                  <a:pt x="9681740" y="6609112"/>
                  <a:pt x="9694659" y="6608037"/>
                </a:cubicBezTo>
                <a:cubicBezTo>
                  <a:pt x="9691265" y="6615325"/>
                  <a:pt x="9709237" y="6614830"/>
                  <a:pt x="9697974" y="6623775"/>
                </a:cubicBezTo>
                <a:cubicBezTo>
                  <a:pt x="9713129" y="6625514"/>
                  <a:pt x="9752469" y="6617236"/>
                  <a:pt x="9771599" y="6606637"/>
                </a:cubicBezTo>
                <a:cubicBezTo>
                  <a:pt x="9841249" y="6601840"/>
                  <a:pt x="9912638" y="6581889"/>
                  <a:pt x="10008210" y="6551916"/>
                </a:cubicBezTo>
                <a:cubicBezTo>
                  <a:pt x="9993551" y="6568149"/>
                  <a:pt x="9964317" y="6577587"/>
                  <a:pt x="9937320" y="6589842"/>
                </a:cubicBezTo>
                <a:lnTo>
                  <a:pt x="9876365" y="6604215"/>
                </a:lnTo>
                <a:lnTo>
                  <a:pt x="9883482" y="6606067"/>
                </a:lnTo>
                <a:cubicBezTo>
                  <a:pt x="9887044" y="6607140"/>
                  <a:pt x="9890199" y="6609016"/>
                  <a:pt x="9891837" y="6613708"/>
                </a:cubicBezTo>
                <a:lnTo>
                  <a:pt x="9893849" y="6615650"/>
                </a:lnTo>
                <a:lnTo>
                  <a:pt x="9927133" y="6611706"/>
                </a:lnTo>
                <a:cubicBezTo>
                  <a:pt x="9951317" y="6601687"/>
                  <a:pt x="9986183" y="6587777"/>
                  <a:pt x="9990075" y="6598462"/>
                </a:cubicBezTo>
                <a:cubicBezTo>
                  <a:pt x="9963078" y="6610715"/>
                  <a:pt x="9946762" y="6619079"/>
                  <a:pt x="9912475" y="6627938"/>
                </a:cubicBezTo>
                <a:cubicBezTo>
                  <a:pt x="9912475" y="6627938"/>
                  <a:pt x="9910241" y="6625122"/>
                  <a:pt x="9915871" y="6620650"/>
                </a:cubicBezTo>
                <a:lnTo>
                  <a:pt x="9901507" y="6626026"/>
                </a:lnTo>
                <a:lnTo>
                  <a:pt x="9903594" y="6631516"/>
                </a:lnTo>
                <a:cubicBezTo>
                  <a:pt x="9906694" y="6636629"/>
                  <a:pt x="9907332" y="6641735"/>
                  <a:pt x="9904020" y="6647108"/>
                </a:cubicBezTo>
                <a:cubicBezTo>
                  <a:pt x="9902109" y="6650072"/>
                  <a:pt x="9902053" y="6653923"/>
                  <a:pt x="9904741" y="6656808"/>
                </a:cubicBezTo>
                <a:cubicBezTo>
                  <a:pt x="9904366" y="6658106"/>
                  <a:pt x="9903991" y="6659405"/>
                  <a:pt x="9903617" y="6660702"/>
                </a:cubicBezTo>
                <a:cubicBezTo>
                  <a:pt x="9900224" y="6661481"/>
                  <a:pt x="9898362" y="6663053"/>
                  <a:pt x="9897469" y="6667366"/>
                </a:cubicBezTo>
                <a:cubicBezTo>
                  <a:pt x="9896108" y="6673301"/>
                  <a:pt x="9892197" y="6677094"/>
                  <a:pt x="9885324" y="6676516"/>
                </a:cubicBezTo>
                <a:cubicBezTo>
                  <a:pt x="9882306" y="6675997"/>
                  <a:pt x="9882301" y="6678456"/>
                  <a:pt x="9881739" y="6680403"/>
                </a:cubicBezTo>
                <a:cubicBezTo>
                  <a:pt x="9880801" y="6683648"/>
                  <a:pt x="9879314" y="6683922"/>
                  <a:pt x="9877370" y="6680900"/>
                </a:cubicBezTo>
                <a:cubicBezTo>
                  <a:pt x="9874408" y="6676529"/>
                  <a:pt x="9871809" y="6675779"/>
                  <a:pt x="9869242" y="6681015"/>
                </a:cubicBezTo>
                <a:cubicBezTo>
                  <a:pt x="9868543" y="6682220"/>
                  <a:pt x="9867098" y="6683560"/>
                  <a:pt x="9866268" y="6681563"/>
                </a:cubicBezTo>
                <a:cubicBezTo>
                  <a:pt x="9863260" y="6676124"/>
                  <a:pt x="9859588" y="6677876"/>
                  <a:pt x="9855494" y="6679859"/>
                </a:cubicBezTo>
                <a:cubicBezTo>
                  <a:pt x="9854982" y="6680415"/>
                  <a:pt x="9853682" y="6680040"/>
                  <a:pt x="9853032" y="6679852"/>
                </a:cubicBezTo>
                <a:cubicBezTo>
                  <a:pt x="9846545" y="6673057"/>
                  <a:pt x="9840571" y="6665708"/>
                  <a:pt x="9834178" y="6658589"/>
                </a:cubicBezTo>
                <a:cubicBezTo>
                  <a:pt x="9831259" y="6655286"/>
                  <a:pt x="9831088" y="6648557"/>
                  <a:pt x="9830870" y="6643220"/>
                </a:cubicBezTo>
                <a:lnTo>
                  <a:pt x="9830678" y="6641488"/>
                </a:lnTo>
                <a:lnTo>
                  <a:pt x="9792224" y="6649956"/>
                </a:lnTo>
                <a:cubicBezTo>
                  <a:pt x="9784356" y="6651612"/>
                  <a:pt x="9781540" y="6653848"/>
                  <a:pt x="9773672" y="6655502"/>
                </a:cubicBezTo>
                <a:cubicBezTo>
                  <a:pt x="9712968" y="6671564"/>
                  <a:pt x="9646131" y="6674125"/>
                  <a:pt x="9586585" y="6680081"/>
                </a:cubicBezTo>
                <a:cubicBezTo>
                  <a:pt x="9565798" y="6682812"/>
                  <a:pt x="9528696" y="6693907"/>
                  <a:pt x="9529854" y="6683803"/>
                </a:cubicBezTo>
                <a:cubicBezTo>
                  <a:pt x="9514119" y="6687114"/>
                  <a:pt x="9501199" y="6688189"/>
                  <a:pt x="9495568" y="6692661"/>
                </a:cubicBezTo>
                <a:cubicBezTo>
                  <a:pt x="9480413" y="6690920"/>
                  <a:pt x="9486043" y="6686448"/>
                  <a:pt x="9488858" y="6684213"/>
                </a:cubicBezTo>
                <a:cubicBezTo>
                  <a:pt x="9531014" y="6673698"/>
                  <a:pt x="9584930" y="6672213"/>
                  <a:pt x="9618636" y="6668406"/>
                </a:cubicBezTo>
                <a:cubicBezTo>
                  <a:pt x="9623687" y="6668987"/>
                  <a:pt x="9626503" y="6666751"/>
                  <a:pt x="9624268" y="6663934"/>
                </a:cubicBezTo>
                <a:cubicBezTo>
                  <a:pt x="9621451" y="6666170"/>
                  <a:pt x="9621451" y="6666170"/>
                  <a:pt x="9616399" y="6665591"/>
                </a:cubicBezTo>
                <a:cubicBezTo>
                  <a:pt x="9613583" y="6667827"/>
                  <a:pt x="9608532" y="6667247"/>
                  <a:pt x="9606296" y="6664431"/>
                </a:cubicBezTo>
                <a:cubicBezTo>
                  <a:pt x="9606296" y="6664431"/>
                  <a:pt x="9609110" y="6662194"/>
                  <a:pt x="9614165" y="6662774"/>
                </a:cubicBezTo>
                <a:cubicBezTo>
                  <a:pt x="9614165" y="6662774"/>
                  <a:pt x="9614165" y="6662774"/>
                  <a:pt x="9616980" y="6660539"/>
                </a:cubicBezTo>
                <a:cubicBezTo>
                  <a:pt x="9570931" y="6660368"/>
                  <a:pt x="9524305" y="6665249"/>
                  <a:pt x="9472626" y="6669552"/>
                </a:cubicBezTo>
                <a:cubicBezTo>
                  <a:pt x="9425998" y="6674433"/>
                  <a:pt x="9377135" y="6676498"/>
                  <a:pt x="9326035" y="6675747"/>
                </a:cubicBezTo>
                <a:cubicBezTo>
                  <a:pt x="9315353" y="6679640"/>
                  <a:pt x="9307485" y="6681295"/>
                  <a:pt x="9297380" y="6680135"/>
                </a:cubicBezTo>
                <a:lnTo>
                  <a:pt x="9264680" y="6680328"/>
                </a:lnTo>
                <a:lnTo>
                  <a:pt x="9268313" y="6685750"/>
                </a:lnTo>
                <a:cubicBezTo>
                  <a:pt x="9268307" y="6688039"/>
                  <a:pt x="9269471" y="6689683"/>
                  <a:pt x="9270547" y="6691628"/>
                </a:cubicBezTo>
                <a:cubicBezTo>
                  <a:pt x="9273432" y="6696387"/>
                  <a:pt x="9274027" y="6701139"/>
                  <a:pt x="9270946" y="6706139"/>
                </a:cubicBezTo>
                <a:cubicBezTo>
                  <a:pt x="9269167" y="6708897"/>
                  <a:pt x="9269114" y="6712480"/>
                  <a:pt x="9271615" y="6715165"/>
                </a:cubicBezTo>
                <a:cubicBezTo>
                  <a:pt x="9271267" y="6716373"/>
                  <a:pt x="9270919" y="6717581"/>
                  <a:pt x="9270569" y="6718790"/>
                </a:cubicBezTo>
                <a:cubicBezTo>
                  <a:pt x="9267413" y="6719514"/>
                  <a:pt x="9265679" y="6720976"/>
                  <a:pt x="9264849" y="6724990"/>
                </a:cubicBezTo>
                <a:cubicBezTo>
                  <a:pt x="9263582" y="6730513"/>
                  <a:pt x="9259942" y="6734043"/>
                  <a:pt x="9253547" y="6733504"/>
                </a:cubicBezTo>
                <a:cubicBezTo>
                  <a:pt x="9250737" y="6733022"/>
                  <a:pt x="9250732" y="6735310"/>
                  <a:pt x="9250209" y="6737122"/>
                </a:cubicBezTo>
                <a:cubicBezTo>
                  <a:pt x="9249338" y="6740141"/>
                  <a:pt x="9247954" y="6740397"/>
                  <a:pt x="9246146" y="6737584"/>
                </a:cubicBezTo>
                <a:cubicBezTo>
                  <a:pt x="9243388" y="6733518"/>
                  <a:pt x="9240969" y="6732819"/>
                  <a:pt x="9238580" y="6737691"/>
                </a:cubicBezTo>
                <a:cubicBezTo>
                  <a:pt x="9237929" y="6738812"/>
                  <a:pt x="9236586" y="6740061"/>
                  <a:pt x="9235813" y="6738200"/>
                </a:cubicBezTo>
                <a:cubicBezTo>
                  <a:pt x="9233014" y="6733141"/>
                  <a:pt x="9229595" y="6734770"/>
                  <a:pt x="9225787" y="6736616"/>
                </a:cubicBezTo>
                <a:cubicBezTo>
                  <a:pt x="9225310" y="6737133"/>
                  <a:pt x="9224101" y="6736784"/>
                  <a:pt x="9223497" y="6736610"/>
                </a:cubicBezTo>
                <a:cubicBezTo>
                  <a:pt x="9217459" y="6730286"/>
                  <a:pt x="9211899" y="6723447"/>
                  <a:pt x="9205949" y="6716823"/>
                </a:cubicBezTo>
                <a:cubicBezTo>
                  <a:pt x="9203233" y="6713749"/>
                  <a:pt x="9203075" y="6707486"/>
                  <a:pt x="9202872" y="6702521"/>
                </a:cubicBezTo>
                <a:cubicBezTo>
                  <a:pt x="9202790" y="6700534"/>
                  <a:pt x="9203614" y="6698809"/>
                  <a:pt x="9202236" y="6696776"/>
                </a:cubicBezTo>
                <a:cubicBezTo>
                  <a:pt x="9200858" y="6694742"/>
                  <a:pt x="9201684" y="6693017"/>
                  <a:pt x="9203415" y="6691554"/>
                </a:cubicBezTo>
                <a:cubicBezTo>
                  <a:pt x="9204370" y="6690521"/>
                  <a:pt x="9206015" y="6689360"/>
                  <a:pt x="9205457" y="6687890"/>
                </a:cubicBezTo>
                <a:cubicBezTo>
                  <a:pt x="9203479" y="6683394"/>
                  <a:pt x="9203960" y="6680588"/>
                  <a:pt x="9209322" y="6680173"/>
                </a:cubicBezTo>
                <a:lnTo>
                  <a:pt x="9209850" y="6678851"/>
                </a:lnTo>
                <a:lnTo>
                  <a:pt x="9185078" y="6677473"/>
                </a:lnTo>
                <a:cubicBezTo>
                  <a:pt x="9182262" y="6679708"/>
                  <a:pt x="9178865" y="6686996"/>
                  <a:pt x="9178287" y="6692048"/>
                </a:cubicBezTo>
                <a:cubicBezTo>
                  <a:pt x="9165368" y="6693124"/>
                  <a:pt x="9157499" y="6694780"/>
                  <a:pt x="9154683" y="6697015"/>
                </a:cubicBezTo>
                <a:cubicBezTo>
                  <a:pt x="9154683" y="6697015"/>
                  <a:pt x="9159737" y="6697596"/>
                  <a:pt x="9159737" y="6697596"/>
                </a:cubicBezTo>
                <a:cubicBezTo>
                  <a:pt x="9161972" y="6700412"/>
                  <a:pt x="9161972" y="6700412"/>
                  <a:pt x="9161972" y="6700412"/>
                </a:cubicBezTo>
                <a:cubicBezTo>
                  <a:pt x="9159156" y="6702647"/>
                  <a:pt x="9154105" y="6702066"/>
                  <a:pt x="9151869" y="6699251"/>
                </a:cubicBezTo>
                <a:cubicBezTo>
                  <a:pt x="9151869" y="6699251"/>
                  <a:pt x="9149053" y="6701487"/>
                  <a:pt x="9146816" y="6698671"/>
                </a:cubicBezTo>
                <a:cubicBezTo>
                  <a:pt x="9145657" y="6708775"/>
                  <a:pt x="9127686" y="6709270"/>
                  <a:pt x="9102426" y="6706367"/>
                </a:cubicBezTo>
                <a:cubicBezTo>
                  <a:pt x="9077164" y="6703467"/>
                  <a:pt x="9046853" y="6699986"/>
                  <a:pt x="9021593" y="6697084"/>
                </a:cubicBezTo>
                <a:cubicBezTo>
                  <a:pt x="9012069" y="6690872"/>
                  <a:pt x="9039565" y="6696588"/>
                  <a:pt x="9037327" y="6693772"/>
                </a:cubicBezTo>
                <a:cubicBezTo>
                  <a:pt x="9037327" y="6693772"/>
                  <a:pt x="9032276" y="6693193"/>
                  <a:pt x="9032276" y="6693193"/>
                </a:cubicBezTo>
                <a:cubicBezTo>
                  <a:pt x="9027224" y="6692612"/>
                  <a:pt x="9024408" y="6694849"/>
                  <a:pt x="9024988" y="6689796"/>
                </a:cubicBezTo>
                <a:cubicBezTo>
                  <a:pt x="9024988" y="6689796"/>
                  <a:pt x="9024988" y="6689796"/>
                  <a:pt x="9030040" y="6690376"/>
                </a:cubicBezTo>
                <a:cubicBezTo>
                  <a:pt x="9030040" y="6690376"/>
                  <a:pt x="9030040" y="6690376"/>
                  <a:pt x="9032856" y="6688140"/>
                </a:cubicBezTo>
                <a:cubicBezTo>
                  <a:pt x="9017700" y="6686400"/>
                  <a:pt x="9002542" y="6684658"/>
                  <a:pt x="9003124" y="6679605"/>
                </a:cubicBezTo>
                <a:cubicBezTo>
                  <a:pt x="9013806" y="6675715"/>
                  <a:pt x="9039067" y="6678616"/>
                  <a:pt x="9046934" y="6676961"/>
                </a:cubicBezTo>
                <a:cubicBezTo>
                  <a:pt x="9046934" y="6676961"/>
                  <a:pt x="9046934" y="6676961"/>
                  <a:pt x="9041882" y="6676379"/>
                </a:cubicBezTo>
                <a:cubicBezTo>
                  <a:pt x="9036830" y="6675800"/>
                  <a:pt x="9036830" y="6675800"/>
                  <a:pt x="9031779" y="6675219"/>
                </a:cubicBezTo>
                <a:cubicBezTo>
                  <a:pt x="9031779" y="6675219"/>
                  <a:pt x="9034595" y="6672984"/>
                  <a:pt x="9034595" y="6672984"/>
                </a:cubicBezTo>
                <a:cubicBezTo>
                  <a:pt x="9036830" y="6675800"/>
                  <a:pt x="9039645" y="6673563"/>
                  <a:pt x="9039645" y="6673563"/>
                </a:cubicBezTo>
                <a:cubicBezTo>
                  <a:pt x="9031779" y="6675219"/>
                  <a:pt x="9022253" y="6669006"/>
                  <a:pt x="9012150" y="6667847"/>
                </a:cubicBezTo>
                <a:cubicBezTo>
                  <a:pt x="8966681" y="6662624"/>
                  <a:pt x="8915581" y="6661873"/>
                  <a:pt x="8867877" y="6653834"/>
                </a:cubicBezTo>
                <a:cubicBezTo>
                  <a:pt x="8852722" y="6652093"/>
                  <a:pt x="8845432" y="6648697"/>
                  <a:pt x="8828040" y="6644140"/>
                </a:cubicBezTo>
                <a:cubicBezTo>
                  <a:pt x="8785387" y="6636681"/>
                  <a:pt x="8735446" y="6625826"/>
                  <a:pt x="8692794" y="6618368"/>
                </a:cubicBezTo>
                <a:cubicBezTo>
                  <a:pt x="8652957" y="6608674"/>
                  <a:pt x="8620409" y="6602375"/>
                  <a:pt x="8613699" y="6593926"/>
                </a:cubicBezTo>
                <a:cubicBezTo>
                  <a:pt x="8613699" y="6593926"/>
                  <a:pt x="8613699" y="6593926"/>
                  <a:pt x="8611463" y="6591110"/>
                </a:cubicBezTo>
                <a:cubicBezTo>
                  <a:pt x="8611463" y="6591110"/>
                  <a:pt x="8611463" y="6591110"/>
                  <a:pt x="8606411" y="6590530"/>
                </a:cubicBezTo>
                <a:cubicBezTo>
                  <a:pt x="8603595" y="6592766"/>
                  <a:pt x="8601360" y="6589950"/>
                  <a:pt x="8599124" y="6587133"/>
                </a:cubicBezTo>
                <a:cubicBezTo>
                  <a:pt x="8599124" y="6587133"/>
                  <a:pt x="8599124" y="6587133"/>
                  <a:pt x="8604176" y="6587714"/>
                </a:cubicBezTo>
                <a:cubicBezTo>
                  <a:pt x="8604176" y="6587714"/>
                  <a:pt x="8604176" y="6587714"/>
                  <a:pt x="8609227" y="6588295"/>
                </a:cubicBezTo>
                <a:cubicBezTo>
                  <a:pt x="8594651" y="6581502"/>
                  <a:pt x="8577258" y="6576944"/>
                  <a:pt x="8564919" y="6572968"/>
                </a:cubicBezTo>
                <a:cubicBezTo>
                  <a:pt x="8565498" y="6567915"/>
                  <a:pt x="8550920" y="6561122"/>
                  <a:pt x="8556552" y="6556651"/>
                </a:cubicBezTo>
                <a:cubicBezTo>
                  <a:pt x="8474641" y="6534446"/>
                  <a:pt x="8424782" y="6500566"/>
                  <a:pt x="8364158" y="6493602"/>
                </a:cubicBezTo>
                <a:cubicBezTo>
                  <a:pt x="8318192" y="6470407"/>
                  <a:pt x="8298064" y="6445062"/>
                  <a:pt x="8246467" y="6426338"/>
                </a:cubicBezTo>
                <a:cubicBezTo>
                  <a:pt x="8244230" y="6423522"/>
                  <a:pt x="8234707" y="6417309"/>
                  <a:pt x="8229654" y="6416728"/>
                </a:cubicBezTo>
                <a:cubicBezTo>
                  <a:pt x="8207788" y="6406539"/>
                  <a:pt x="8178635" y="6392953"/>
                  <a:pt x="8154534" y="6379947"/>
                </a:cubicBezTo>
                <a:cubicBezTo>
                  <a:pt x="8130432" y="6366941"/>
                  <a:pt x="8106910" y="6348885"/>
                  <a:pt x="8097965" y="6337619"/>
                </a:cubicBezTo>
                <a:close/>
                <a:moveTo>
                  <a:pt x="7162037" y="6317881"/>
                </a:moveTo>
                <a:cubicBezTo>
                  <a:pt x="7146009" y="6329386"/>
                  <a:pt x="7122061" y="6349377"/>
                  <a:pt x="7092451" y="6364086"/>
                </a:cubicBezTo>
                <a:cubicBezTo>
                  <a:pt x="7062840" y="6378795"/>
                  <a:pt x="7038507" y="6387846"/>
                  <a:pt x="7027373" y="6382750"/>
                </a:cubicBezTo>
                <a:cubicBezTo>
                  <a:pt x="7030206" y="6385390"/>
                  <a:pt x="7030206" y="6385390"/>
                  <a:pt x="7027566" y="6388220"/>
                </a:cubicBezTo>
                <a:cubicBezTo>
                  <a:pt x="7022096" y="6388407"/>
                  <a:pt x="7016816" y="6394066"/>
                  <a:pt x="7013984" y="6391424"/>
                </a:cubicBezTo>
                <a:cubicBezTo>
                  <a:pt x="7013984" y="6391424"/>
                  <a:pt x="7011345" y="6394253"/>
                  <a:pt x="7008513" y="6391611"/>
                </a:cubicBezTo>
                <a:cubicBezTo>
                  <a:pt x="7008513" y="6391611"/>
                  <a:pt x="7008513" y="6391611"/>
                  <a:pt x="7011345" y="6394253"/>
                </a:cubicBezTo>
                <a:cubicBezTo>
                  <a:pt x="7011728" y="6405194"/>
                  <a:pt x="6984566" y="6411604"/>
                  <a:pt x="6954763" y="6420841"/>
                </a:cubicBezTo>
                <a:cubicBezTo>
                  <a:pt x="6954763" y="6420841"/>
                  <a:pt x="6954763" y="6420841"/>
                  <a:pt x="6952123" y="6423670"/>
                </a:cubicBezTo>
                <a:cubicBezTo>
                  <a:pt x="6954955" y="6426312"/>
                  <a:pt x="6954955" y="6426312"/>
                  <a:pt x="6949485" y="6426499"/>
                </a:cubicBezTo>
                <a:cubicBezTo>
                  <a:pt x="6949485" y="6426499"/>
                  <a:pt x="6946844" y="6429327"/>
                  <a:pt x="6946844" y="6429327"/>
                </a:cubicBezTo>
                <a:cubicBezTo>
                  <a:pt x="6944013" y="6426686"/>
                  <a:pt x="6944013" y="6426686"/>
                  <a:pt x="6944013" y="6426686"/>
                </a:cubicBezTo>
                <a:cubicBezTo>
                  <a:pt x="6944013" y="6426686"/>
                  <a:pt x="6944013" y="6426686"/>
                  <a:pt x="6944204" y="6432157"/>
                </a:cubicBezTo>
                <a:cubicBezTo>
                  <a:pt x="6936096" y="6435174"/>
                  <a:pt x="6936286" y="6440645"/>
                  <a:pt x="6917425" y="6449507"/>
                </a:cubicBezTo>
                <a:cubicBezTo>
                  <a:pt x="6923088" y="6454790"/>
                  <a:pt x="6944588" y="6443099"/>
                  <a:pt x="6939502" y="6454228"/>
                </a:cubicBezTo>
                <a:cubicBezTo>
                  <a:pt x="6935446" y="6455736"/>
                  <a:pt x="6934127" y="6457151"/>
                  <a:pt x="6932806" y="6458566"/>
                </a:cubicBezTo>
                <a:lnTo>
                  <a:pt x="6929459" y="6460735"/>
                </a:lnTo>
                <a:lnTo>
                  <a:pt x="6928752" y="6460075"/>
                </a:lnTo>
                <a:cubicBezTo>
                  <a:pt x="6926112" y="6462904"/>
                  <a:pt x="6926112" y="6462904"/>
                  <a:pt x="6926112" y="6462904"/>
                </a:cubicBezTo>
                <a:lnTo>
                  <a:pt x="6929459" y="6460735"/>
                </a:lnTo>
                <a:lnTo>
                  <a:pt x="6931583" y="6462716"/>
                </a:lnTo>
                <a:cubicBezTo>
                  <a:pt x="6931583" y="6462716"/>
                  <a:pt x="6928944" y="6465545"/>
                  <a:pt x="6928944" y="6465545"/>
                </a:cubicBezTo>
                <a:cubicBezTo>
                  <a:pt x="6926304" y="6468375"/>
                  <a:pt x="6926304" y="6468375"/>
                  <a:pt x="6926304" y="6468375"/>
                </a:cubicBezTo>
                <a:cubicBezTo>
                  <a:pt x="6920833" y="6468561"/>
                  <a:pt x="6912723" y="6471578"/>
                  <a:pt x="6904612" y="6474595"/>
                </a:cubicBezTo>
                <a:cubicBezTo>
                  <a:pt x="6904612" y="6474595"/>
                  <a:pt x="6899141" y="6474783"/>
                  <a:pt x="6899141" y="6474783"/>
                </a:cubicBezTo>
                <a:cubicBezTo>
                  <a:pt x="6899141" y="6474783"/>
                  <a:pt x="6896501" y="6477612"/>
                  <a:pt x="6891030" y="6477799"/>
                </a:cubicBezTo>
                <a:cubicBezTo>
                  <a:pt x="6891030" y="6477799"/>
                  <a:pt x="6888391" y="6480629"/>
                  <a:pt x="6885558" y="6477987"/>
                </a:cubicBezTo>
                <a:cubicBezTo>
                  <a:pt x="6888198" y="6475157"/>
                  <a:pt x="6888198" y="6475157"/>
                  <a:pt x="6893669" y="6474970"/>
                </a:cubicBezTo>
                <a:cubicBezTo>
                  <a:pt x="6893669" y="6474970"/>
                  <a:pt x="6896310" y="6472140"/>
                  <a:pt x="6901780" y="6471953"/>
                </a:cubicBezTo>
                <a:cubicBezTo>
                  <a:pt x="6890839" y="6472328"/>
                  <a:pt x="6882729" y="6475345"/>
                  <a:pt x="6874425" y="6472891"/>
                </a:cubicBezTo>
                <a:cubicBezTo>
                  <a:pt x="6874234" y="6467420"/>
                  <a:pt x="6884984" y="6461574"/>
                  <a:pt x="6873850" y="6456478"/>
                </a:cubicBezTo>
                <a:cubicBezTo>
                  <a:pt x="6814436" y="6480425"/>
                  <a:pt x="6768605" y="6501166"/>
                  <a:pt x="6703338" y="6514357"/>
                </a:cubicBezTo>
                <a:cubicBezTo>
                  <a:pt x="6700697" y="6517187"/>
                  <a:pt x="6700697" y="6517187"/>
                  <a:pt x="6695226" y="6517375"/>
                </a:cubicBezTo>
                <a:cubicBezTo>
                  <a:pt x="6692587" y="6520204"/>
                  <a:pt x="6689756" y="6517562"/>
                  <a:pt x="6689756" y="6517562"/>
                </a:cubicBezTo>
                <a:cubicBezTo>
                  <a:pt x="6670895" y="6526426"/>
                  <a:pt x="6643731" y="6532834"/>
                  <a:pt x="6619208" y="6536413"/>
                </a:cubicBezTo>
                <a:cubicBezTo>
                  <a:pt x="6600347" y="6545275"/>
                  <a:pt x="6567906" y="6557341"/>
                  <a:pt x="6532441" y="6561296"/>
                </a:cubicBezTo>
                <a:cubicBezTo>
                  <a:pt x="6497166" y="6570722"/>
                  <a:pt x="6461702" y="6574676"/>
                  <a:pt x="6439817" y="6575425"/>
                </a:cubicBezTo>
                <a:cubicBezTo>
                  <a:pt x="6396240" y="6582396"/>
                  <a:pt x="6347194" y="6589554"/>
                  <a:pt x="6303617" y="6596526"/>
                </a:cubicBezTo>
                <a:cubicBezTo>
                  <a:pt x="6262681" y="6600667"/>
                  <a:pt x="6224384" y="6601980"/>
                  <a:pt x="6196648" y="6591976"/>
                </a:cubicBezTo>
                <a:cubicBezTo>
                  <a:pt x="6202119" y="6591788"/>
                  <a:pt x="6207589" y="6591601"/>
                  <a:pt x="6213057" y="6591413"/>
                </a:cubicBezTo>
                <a:cubicBezTo>
                  <a:pt x="6213057" y="6591413"/>
                  <a:pt x="6213057" y="6591413"/>
                  <a:pt x="6204758" y="6588959"/>
                </a:cubicBezTo>
                <a:cubicBezTo>
                  <a:pt x="6202119" y="6591788"/>
                  <a:pt x="6199288" y="6589146"/>
                  <a:pt x="6199288" y="6589146"/>
                </a:cubicBezTo>
                <a:cubicBezTo>
                  <a:pt x="6201925" y="6586317"/>
                  <a:pt x="6201925" y="6586317"/>
                  <a:pt x="6207396" y="6586131"/>
                </a:cubicBezTo>
                <a:cubicBezTo>
                  <a:pt x="6207396" y="6586131"/>
                  <a:pt x="6207396" y="6586131"/>
                  <a:pt x="6210034" y="6583301"/>
                </a:cubicBezTo>
                <a:cubicBezTo>
                  <a:pt x="6171740" y="6584613"/>
                  <a:pt x="6127970" y="6586114"/>
                  <a:pt x="6089873" y="6592897"/>
                </a:cubicBezTo>
                <a:cubicBezTo>
                  <a:pt x="6062142" y="6582893"/>
                  <a:pt x="6012904" y="6584580"/>
                  <a:pt x="5971585" y="6577780"/>
                </a:cubicBezTo>
                <a:cubicBezTo>
                  <a:pt x="6034785" y="6583830"/>
                  <a:pt x="6105511" y="6570451"/>
                  <a:pt x="6171356" y="6573672"/>
                </a:cubicBezTo>
                <a:cubicBezTo>
                  <a:pt x="6190600" y="6575751"/>
                  <a:pt x="6182105" y="6567825"/>
                  <a:pt x="6195686" y="6564622"/>
                </a:cubicBezTo>
                <a:cubicBezTo>
                  <a:pt x="6223041" y="6563684"/>
                  <a:pt x="6236814" y="6565951"/>
                  <a:pt x="6250588" y="6568218"/>
                </a:cubicBezTo>
                <a:cubicBezTo>
                  <a:pt x="6272472" y="6567468"/>
                  <a:pt x="6274919" y="6559168"/>
                  <a:pt x="6293972" y="6555775"/>
                </a:cubicBezTo>
                <a:cubicBezTo>
                  <a:pt x="6313216" y="6557854"/>
                  <a:pt x="6332459" y="6559934"/>
                  <a:pt x="6351705" y="6562013"/>
                </a:cubicBezTo>
                <a:cubicBezTo>
                  <a:pt x="6351705" y="6562013"/>
                  <a:pt x="6351705" y="6562013"/>
                  <a:pt x="6352088" y="6572955"/>
                </a:cubicBezTo>
                <a:cubicBezTo>
                  <a:pt x="6363031" y="6572580"/>
                  <a:pt x="6379444" y="6572016"/>
                  <a:pt x="6393025" y="6568813"/>
                </a:cubicBezTo>
                <a:cubicBezTo>
                  <a:pt x="6393025" y="6568813"/>
                  <a:pt x="6393025" y="6568813"/>
                  <a:pt x="6390194" y="6566171"/>
                </a:cubicBezTo>
                <a:cubicBezTo>
                  <a:pt x="6387553" y="6569001"/>
                  <a:pt x="6382082" y="6569189"/>
                  <a:pt x="6384723" y="6566359"/>
                </a:cubicBezTo>
                <a:cubicBezTo>
                  <a:pt x="6384723" y="6566359"/>
                  <a:pt x="6387362" y="6563530"/>
                  <a:pt x="6387362" y="6563530"/>
                </a:cubicBezTo>
                <a:cubicBezTo>
                  <a:pt x="6384531" y="6560889"/>
                  <a:pt x="6370950" y="6564092"/>
                  <a:pt x="6376229" y="6558434"/>
                </a:cubicBezTo>
                <a:cubicBezTo>
                  <a:pt x="6392449" y="6552400"/>
                  <a:pt x="6392641" y="6557872"/>
                  <a:pt x="6406223" y="6554668"/>
                </a:cubicBezTo>
                <a:cubicBezTo>
                  <a:pt x="6406223" y="6554668"/>
                  <a:pt x="6406223" y="6554668"/>
                  <a:pt x="6408863" y="6551838"/>
                </a:cubicBezTo>
                <a:cubicBezTo>
                  <a:pt x="6408863" y="6551838"/>
                  <a:pt x="6408863" y="6551838"/>
                  <a:pt x="6411695" y="6554480"/>
                </a:cubicBezTo>
                <a:cubicBezTo>
                  <a:pt x="6414333" y="6551651"/>
                  <a:pt x="6419804" y="6551463"/>
                  <a:pt x="6419804" y="6551463"/>
                </a:cubicBezTo>
                <a:cubicBezTo>
                  <a:pt x="6422636" y="6554105"/>
                  <a:pt x="6422636" y="6554105"/>
                  <a:pt x="6422636" y="6554105"/>
                </a:cubicBezTo>
                <a:cubicBezTo>
                  <a:pt x="6433386" y="6548258"/>
                  <a:pt x="6455078" y="6542038"/>
                  <a:pt x="6474130" y="6538645"/>
                </a:cubicBezTo>
                <a:cubicBezTo>
                  <a:pt x="6496014" y="6537896"/>
                  <a:pt x="6512428" y="6537333"/>
                  <a:pt x="6518091" y="6542617"/>
                </a:cubicBezTo>
                <a:cubicBezTo>
                  <a:pt x="6520731" y="6539788"/>
                  <a:pt x="6523563" y="6542429"/>
                  <a:pt x="6523563" y="6542429"/>
                </a:cubicBezTo>
                <a:cubicBezTo>
                  <a:pt x="6526201" y="6539600"/>
                  <a:pt x="6531672" y="6539413"/>
                  <a:pt x="6534503" y="6542054"/>
                </a:cubicBezTo>
                <a:cubicBezTo>
                  <a:pt x="6534503" y="6542054"/>
                  <a:pt x="6534503" y="6542054"/>
                  <a:pt x="6531864" y="6544883"/>
                </a:cubicBezTo>
                <a:cubicBezTo>
                  <a:pt x="6526394" y="6545070"/>
                  <a:pt x="6526394" y="6545070"/>
                  <a:pt x="6526394" y="6545070"/>
                </a:cubicBezTo>
                <a:cubicBezTo>
                  <a:pt x="6526394" y="6545070"/>
                  <a:pt x="6526394" y="6545070"/>
                  <a:pt x="6523754" y="6547901"/>
                </a:cubicBezTo>
                <a:cubicBezTo>
                  <a:pt x="6542806" y="6544509"/>
                  <a:pt x="6539974" y="6541867"/>
                  <a:pt x="6553556" y="6538663"/>
                </a:cubicBezTo>
                <a:cubicBezTo>
                  <a:pt x="6553556" y="6538663"/>
                  <a:pt x="6548085" y="6538851"/>
                  <a:pt x="6548085" y="6538851"/>
                </a:cubicBezTo>
                <a:cubicBezTo>
                  <a:pt x="6548085" y="6538851"/>
                  <a:pt x="6548085" y="6538851"/>
                  <a:pt x="6550724" y="6536020"/>
                </a:cubicBezTo>
                <a:cubicBezTo>
                  <a:pt x="6550724" y="6536020"/>
                  <a:pt x="6550724" y="6536020"/>
                  <a:pt x="6553364" y="6533192"/>
                </a:cubicBezTo>
                <a:cubicBezTo>
                  <a:pt x="6553364" y="6533192"/>
                  <a:pt x="6545254" y="6536207"/>
                  <a:pt x="6545061" y="6530738"/>
                </a:cubicBezTo>
                <a:cubicBezTo>
                  <a:pt x="6558642" y="6527533"/>
                  <a:pt x="6572225" y="6524329"/>
                  <a:pt x="6572417" y="6529800"/>
                </a:cubicBezTo>
                <a:cubicBezTo>
                  <a:pt x="6572417" y="6529800"/>
                  <a:pt x="6575055" y="6526970"/>
                  <a:pt x="6577889" y="6529613"/>
                </a:cubicBezTo>
                <a:cubicBezTo>
                  <a:pt x="6579303" y="6530934"/>
                  <a:pt x="6580671" y="6530887"/>
                  <a:pt x="6581685" y="6530509"/>
                </a:cubicBezTo>
                <a:lnTo>
                  <a:pt x="6583303" y="6529462"/>
                </a:lnTo>
                <a:lnTo>
                  <a:pt x="6630900" y="6528138"/>
                </a:lnTo>
                <a:cubicBezTo>
                  <a:pt x="6649623" y="6525099"/>
                  <a:pt x="6669287" y="6519633"/>
                  <a:pt x="6689563" y="6512091"/>
                </a:cubicBezTo>
                <a:cubicBezTo>
                  <a:pt x="6689563" y="6512091"/>
                  <a:pt x="6692202" y="6509262"/>
                  <a:pt x="6695034" y="6511904"/>
                </a:cubicBezTo>
                <a:cubicBezTo>
                  <a:pt x="6697674" y="6509074"/>
                  <a:pt x="6703144" y="6508888"/>
                  <a:pt x="6703144" y="6508888"/>
                </a:cubicBezTo>
                <a:cubicBezTo>
                  <a:pt x="6703144" y="6508888"/>
                  <a:pt x="6703144" y="6508888"/>
                  <a:pt x="6700505" y="6511716"/>
                </a:cubicBezTo>
                <a:cubicBezTo>
                  <a:pt x="6711256" y="6505871"/>
                  <a:pt x="6730115" y="6497007"/>
                  <a:pt x="6735395" y="6491350"/>
                </a:cubicBezTo>
                <a:cubicBezTo>
                  <a:pt x="6732756" y="6494179"/>
                  <a:pt x="6732756" y="6494179"/>
                  <a:pt x="6727284" y="6494367"/>
                </a:cubicBezTo>
                <a:cubicBezTo>
                  <a:pt x="6727284" y="6494367"/>
                  <a:pt x="6724454" y="6491725"/>
                  <a:pt x="6724454" y="6491725"/>
                </a:cubicBezTo>
                <a:cubicBezTo>
                  <a:pt x="6727092" y="6488896"/>
                  <a:pt x="6727092" y="6488896"/>
                  <a:pt x="6732564" y="6488708"/>
                </a:cubicBezTo>
                <a:lnTo>
                  <a:pt x="6733523" y="6487679"/>
                </a:lnTo>
                <a:lnTo>
                  <a:pt x="6735936" y="6487223"/>
                </a:lnTo>
                <a:cubicBezTo>
                  <a:pt x="6737986" y="6487153"/>
                  <a:pt x="6739354" y="6487106"/>
                  <a:pt x="6740674" y="6485691"/>
                </a:cubicBezTo>
                <a:cubicBezTo>
                  <a:pt x="6738034" y="6488520"/>
                  <a:pt x="6735202" y="6485879"/>
                  <a:pt x="6735202" y="6485879"/>
                </a:cubicBezTo>
                <a:lnTo>
                  <a:pt x="6733523" y="6487679"/>
                </a:lnTo>
                <a:lnTo>
                  <a:pt x="6727092" y="6488896"/>
                </a:lnTo>
                <a:cubicBezTo>
                  <a:pt x="6772733" y="6462684"/>
                  <a:pt x="6840831" y="6452132"/>
                  <a:pt x="6889302" y="6428561"/>
                </a:cubicBezTo>
                <a:cubicBezTo>
                  <a:pt x="6892135" y="6431203"/>
                  <a:pt x="6908355" y="6425170"/>
                  <a:pt x="6913827" y="6424982"/>
                </a:cubicBezTo>
                <a:cubicBezTo>
                  <a:pt x="6910995" y="6422340"/>
                  <a:pt x="6910995" y="6422340"/>
                  <a:pt x="6916275" y="6416683"/>
                </a:cubicBezTo>
                <a:cubicBezTo>
                  <a:pt x="6916275" y="6416683"/>
                  <a:pt x="6919106" y="6419324"/>
                  <a:pt x="6921746" y="6416496"/>
                </a:cubicBezTo>
                <a:cubicBezTo>
                  <a:pt x="6924385" y="6413666"/>
                  <a:pt x="6927216" y="6416308"/>
                  <a:pt x="6929855" y="6413479"/>
                </a:cubicBezTo>
                <a:cubicBezTo>
                  <a:pt x="6948716" y="6404615"/>
                  <a:pt x="6961589" y="6400751"/>
                  <a:pt x="6972459" y="6398324"/>
                </a:cubicBezTo>
                <a:lnTo>
                  <a:pt x="6999750" y="6392500"/>
                </a:lnTo>
                <a:lnTo>
                  <a:pt x="7001369" y="6392882"/>
                </a:lnTo>
                <a:cubicBezTo>
                  <a:pt x="7002383" y="6392506"/>
                  <a:pt x="7003042" y="6391798"/>
                  <a:pt x="7003042" y="6391798"/>
                </a:cubicBezTo>
                <a:lnTo>
                  <a:pt x="6999750" y="6392500"/>
                </a:lnTo>
                <a:lnTo>
                  <a:pt x="6997571" y="6391986"/>
                </a:lnTo>
                <a:cubicBezTo>
                  <a:pt x="6997571" y="6391986"/>
                  <a:pt x="6994739" y="6389345"/>
                  <a:pt x="6997379" y="6386515"/>
                </a:cubicBezTo>
                <a:cubicBezTo>
                  <a:pt x="6997379" y="6386515"/>
                  <a:pt x="7002850" y="6386328"/>
                  <a:pt x="7002850" y="6386328"/>
                </a:cubicBezTo>
                <a:cubicBezTo>
                  <a:pt x="7005490" y="6383500"/>
                  <a:pt x="7005490" y="6383500"/>
                  <a:pt x="7005490" y="6383500"/>
                </a:cubicBezTo>
                <a:cubicBezTo>
                  <a:pt x="7018688" y="6369352"/>
                  <a:pt x="7067351" y="6351252"/>
                  <a:pt x="7073206" y="6362007"/>
                </a:cubicBezTo>
                <a:cubicBezTo>
                  <a:pt x="7097345" y="6347487"/>
                  <a:pt x="7134875" y="6324291"/>
                  <a:pt x="7162037" y="6317881"/>
                </a:cubicBezTo>
                <a:close/>
                <a:moveTo>
                  <a:pt x="10714022" y="6303541"/>
                </a:moveTo>
                <a:cubicBezTo>
                  <a:pt x="10719598" y="6305150"/>
                  <a:pt x="10724909" y="6305347"/>
                  <a:pt x="10730841" y="6305724"/>
                </a:cubicBezTo>
                <a:cubicBezTo>
                  <a:pt x="10738006" y="6311132"/>
                  <a:pt x="10744194" y="6317595"/>
                  <a:pt x="10744445" y="6328359"/>
                </a:cubicBezTo>
                <a:cubicBezTo>
                  <a:pt x="10744529" y="6330388"/>
                  <a:pt x="10747890" y="6332694"/>
                  <a:pt x="10746203" y="6336217"/>
                </a:cubicBezTo>
                <a:cubicBezTo>
                  <a:pt x="10741496" y="6345549"/>
                  <a:pt x="10748040" y="6350777"/>
                  <a:pt x="10753702" y="6354417"/>
                </a:cubicBezTo>
                <a:cubicBezTo>
                  <a:pt x="10757684" y="6356901"/>
                  <a:pt x="10759628" y="6359468"/>
                  <a:pt x="10761394" y="6362650"/>
                </a:cubicBezTo>
                <a:cubicBezTo>
                  <a:pt x="10766870" y="6371581"/>
                  <a:pt x="10763581" y="6380653"/>
                  <a:pt x="10762946" y="6389825"/>
                </a:cubicBezTo>
                <a:cubicBezTo>
                  <a:pt x="10761872" y="6398200"/>
                  <a:pt x="10756373" y="6403295"/>
                  <a:pt x="10751317" y="6409186"/>
                </a:cubicBezTo>
                <a:cubicBezTo>
                  <a:pt x="10746083" y="6415693"/>
                  <a:pt x="10739346" y="6420430"/>
                  <a:pt x="10730053" y="6417747"/>
                </a:cubicBezTo>
                <a:cubicBezTo>
                  <a:pt x="10728814" y="6417390"/>
                  <a:pt x="10728016" y="6417828"/>
                  <a:pt x="10727483" y="6419679"/>
                </a:cubicBezTo>
                <a:cubicBezTo>
                  <a:pt x="10723145" y="6418427"/>
                  <a:pt x="10719427" y="6417354"/>
                  <a:pt x="10715091" y="6416102"/>
                </a:cubicBezTo>
                <a:cubicBezTo>
                  <a:pt x="10713239" y="6410890"/>
                  <a:pt x="10706866" y="6409719"/>
                  <a:pt x="10703418" y="6405383"/>
                </a:cubicBezTo>
                <a:cubicBezTo>
                  <a:pt x="10699973" y="6401048"/>
                  <a:pt x="10696966" y="6397507"/>
                  <a:pt x="10697330" y="6391599"/>
                </a:cubicBezTo>
                <a:cubicBezTo>
                  <a:pt x="10698491" y="6385252"/>
                  <a:pt x="10696995" y="6378807"/>
                  <a:pt x="10695321" y="6372978"/>
                </a:cubicBezTo>
                <a:cubicBezTo>
                  <a:pt x="10693825" y="6366534"/>
                  <a:pt x="10692949" y="6360267"/>
                  <a:pt x="10691277" y="6354439"/>
                </a:cubicBezTo>
                <a:cubicBezTo>
                  <a:pt x="10690400" y="6348172"/>
                  <a:pt x="10686867" y="6341807"/>
                  <a:pt x="10681562" y="6336935"/>
                </a:cubicBezTo>
                <a:cubicBezTo>
                  <a:pt x="10683698" y="6329534"/>
                  <a:pt x="10685834" y="6322133"/>
                  <a:pt x="10687972" y="6314731"/>
                </a:cubicBezTo>
                <a:cubicBezTo>
                  <a:pt x="10692223" y="6313953"/>
                  <a:pt x="10694793" y="6312024"/>
                  <a:pt x="10697898" y="6308242"/>
                </a:cubicBezTo>
                <a:cubicBezTo>
                  <a:pt x="10701801" y="6304024"/>
                  <a:pt x="10708444" y="6301932"/>
                  <a:pt x="10714022" y="6303541"/>
                </a:cubicBezTo>
                <a:close/>
                <a:moveTo>
                  <a:pt x="10930506" y="6285725"/>
                </a:moveTo>
                <a:cubicBezTo>
                  <a:pt x="10932141" y="6285046"/>
                  <a:pt x="10933696" y="6286647"/>
                  <a:pt x="10934452" y="6288017"/>
                </a:cubicBezTo>
                <a:cubicBezTo>
                  <a:pt x="10935208" y="6289386"/>
                  <a:pt x="10935700" y="6290678"/>
                  <a:pt x="10936114" y="6292237"/>
                </a:cubicBezTo>
                <a:cubicBezTo>
                  <a:pt x="10937171" y="6294558"/>
                  <a:pt x="10938613" y="6295550"/>
                  <a:pt x="10941200" y="6294570"/>
                </a:cubicBezTo>
                <a:cubicBezTo>
                  <a:pt x="10947249" y="6292573"/>
                  <a:pt x="10952985" y="6293654"/>
                  <a:pt x="10958645" y="6294999"/>
                </a:cubicBezTo>
                <a:cubicBezTo>
                  <a:pt x="10965444" y="6296385"/>
                  <a:pt x="10972126" y="6299178"/>
                  <a:pt x="10979233" y="6299503"/>
                </a:cubicBezTo>
                <a:cubicBezTo>
                  <a:pt x="10981780" y="6299661"/>
                  <a:pt x="10982648" y="6301640"/>
                  <a:pt x="10983328" y="6303274"/>
                </a:cubicBezTo>
                <a:cubicBezTo>
                  <a:pt x="10985822" y="6308601"/>
                  <a:pt x="10988051" y="6313849"/>
                  <a:pt x="10995312" y="6313642"/>
                </a:cubicBezTo>
                <a:cubicBezTo>
                  <a:pt x="10996718" y="6313760"/>
                  <a:pt x="10997208" y="6315054"/>
                  <a:pt x="10997433" y="6316270"/>
                </a:cubicBezTo>
                <a:cubicBezTo>
                  <a:pt x="10998823" y="6322428"/>
                  <a:pt x="11002382" y="6328061"/>
                  <a:pt x="11005067" y="6333729"/>
                </a:cubicBezTo>
                <a:cubicBezTo>
                  <a:pt x="11009187" y="6342402"/>
                  <a:pt x="11010418" y="6351106"/>
                  <a:pt x="11005341" y="6359715"/>
                </a:cubicBezTo>
                <a:cubicBezTo>
                  <a:pt x="11003471" y="6363205"/>
                  <a:pt x="11004906" y="6366211"/>
                  <a:pt x="11006419" y="6368950"/>
                </a:cubicBezTo>
                <a:cubicBezTo>
                  <a:pt x="11009748" y="6375380"/>
                  <a:pt x="11008716" y="6377961"/>
                  <a:pt x="11002247" y="6380412"/>
                </a:cubicBezTo>
                <a:cubicBezTo>
                  <a:pt x="10995248" y="6382709"/>
                  <a:pt x="10995248" y="6382709"/>
                  <a:pt x="10998347" y="6389936"/>
                </a:cubicBezTo>
                <a:cubicBezTo>
                  <a:pt x="10999026" y="6391572"/>
                  <a:pt x="10999518" y="6392865"/>
                  <a:pt x="10997463" y="6393999"/>
                </a:cubicBezTo>
                <a:cubicBezTo>
                  <a:pt x="10990381" y="6398575"/>
                  <a:pt x="10983832" y="6403306"/>
                  <a:pt x="10976561" y="6407541"/>
                </a:cubicBezTo>
                <a:cubicBezTo>
                  <a:pt x="10971270" y="6410907"/>
                  <a:pt x="10965375" y="6412372"/>
                  <a:pt x="10959143" y="6412012"/>
                </a:cubicBezTo>
                <a:cubicBezTo>
                  <a:pt x="10955114" y="6412000"/>
                  <a:pt x="10945174" y="6419495"/>
                  <a:pt x="10943758" y="6423403"/>
                </a:cubicBezTo>
                <a:cubicBezTo>
                  <a:pt x="10943376" y="6424732"/>
                  <a:pt x="10943069" y="6425795"/>
                  <a:pt x="10944511" y="6426787"/>
                </a:cubicBezTo>
                <a:cubicBezTo>
                  <a:pt x="10951678" y="6432886"/>
                  <a:pt x="10953594" y="6441212"/>
                  <a:pt x="10954826" y="6449915"/>
                </a:cubicBezTo>
                <a:cubicBezTo>
                  <a:pt x="10955163" y="6451739"/>
                  <a:pt x="10955312" y="6453221"/>
                  <a:pt x="10955727" y="6454780"/>
                </a:cubicBezTo>
                <a:cubicBezTo>
                  <a:pt x="10957158" y="6459799"/>
                  <a:pt x="10957413" y="6463903"/>
                  <a:pt x="10954018" y="6468680"/>
                </a:cubicBezTo>
                <a:cubicBezTo>
                  <a:pt x="10950623" y="6473457"/>
                  <a:pt x="10952014" y="6479616"/>
                  <a:pt x="10953291" y="6485165"/>
                </a:cubicBezTo>
                <a:cubicBezTo>
                  <a:pt x="10953665" y="6487864"/>
                  <a:pt x="10953736" y="6489612"/>
                  <a:pt x="10951185" y="6491466"/>
                </a:cubicBezTo>
                <a:cubicBezTo>
                  <a:pt x="10940826" y="6499416"/>
                  <a:pt x="10932022" y="6508965"/>
                  <a:pt x="10927201" y="6521677"/>
                </a:cubicBezTo>
                <a:cubicBezTo>
                  <a:pt x="10926398" y="6523461"/>
                  <a:pt x="10925636" y="6524105"/>
                  <a:pt x="10923929" y="6523036"/>
                </a:cubicBezTo>
                <a:cubicBezTo>
                  <a:pt x="10916946" y="6519293"/>
                  <a:pt x="10911009" y="6521897"/>
                  <a:pt x="10905488" y="6526061"/>
                </a:cubicBezTo>
                <a:cubicBezTo>
                  <a:pt x="10902936" y="6527915"/>
                  <a:pt x="10900959" y="6528783"/>
                  <a:pt x="10897962" y="6526191"/>
                </a:cubicBezTo>
                <a:cubicBezTo>
                  <a:pt x="10894399" y="6522572"/>
                  <a:pt x="10889798" y="6523547"/>
                  <a:pt x="10885497" y="6525472"/>
                </a:cubicBezTo>
                <a:cubicBezTo>
                  <a:pt x="10881883" y="6527020"/>
                  <a:pt x="10878115" y="6529098"/>
                  <a:pt x="10874500" y="6530645"/>
                </a:cubicBezTo>
                <a:cubicBezTo>
                  <a:pt x="10872731" y="6531286"/>
                  <a:pt x="10871164" y="6531482"/>
                  <a:pt x="10870101" y="6530923"/>
                </a:cubicBezTo>
                <a:cubicBezTo>
                  <a:pt x="10869038" y="6530364"/>
                  <a:pt x="10868480" y="6529052"/>
                  <a:pt x="10868734" y="6526678"/>
                </a:cubicBezTo>
                <a:cubicBezTo>
                  <a:pt x="10869041" y="6525616"/>
                  <a:pt x="10869081" y="6524475"/>
                  <a:pt x="10868856" y="6523259"/>
                </a:cubicBezTo>
                <a:cubicBezTo>
                  <a:pt x="10868709" y="6521778"/>
                  <a:pt x="10869322" y="6519652"/>
                  <a:pt x="10867538" y="6518848"/>
                </a:cubicBezTo>
                <a:cubicBezTo>
                  <a:pt x="10865942" y="6518388"/>
                  <a:pt x="10864495" y="6519410"/>
                  <a:pt x="10863391" y="6520243"/>
                </a:cubicBezTo>
                <a:cubicBezTo>
                  <a:pt x="10858099" y="6523609"/>
                  <a:pt x="10856582" y="6522883"/>
                  <a:pt x="10855799" y="6516612"/>
                </a:cubicBezTo>
                <a:cubicBezTo>
                  <a:pt x="10855650" y="6515130"/>
                  <a:pt x="10855691" y="6513991"/>
                  <a:pt x="10855202" y="6512697"/>
                </a:cubicBezTo>
                <a:cubicBezTo>
                  <a:pt x="10854598" y="6510796"/>
                  <a:pt x="10853917" y="6509160"/>
                  <a:pt x="10850952" y="6509456"/>
                </a:cubicBezTo>
                <a:cubicBezTo>
                  <a:pt x="10848176" y="6510094"/>
                  <a:pt x="10847869" y="6511157"/>
                  <a:pt x="10847787" y="6513436"/>
                </a:cubicBezTo>
                <a:lnTo>
                  <a:pt x="10847076" y="6517585"/>
                </a:lnTo>
                <a:lnTo>
                  <a:pt x="10832262" y="6490922"/>
                </a:lnTo>
                <a:lnTo>
                  <a:pt x="10833938" y="6489576"/>
                </a:lnTo>
                <a:cubicBezTo>
                  <a:pt x="10835161" y="6487339"/>
                  <a:pt x="10834822" y="6485514"/>
                  <a:pt x="10833002" y="6483838"/>
                </a:cubicBezTo>
                <a:cubicBezTo>
                  <a:pt x="10831637" y="6482581"/>
                  <a:pt x="10830196" y="6481589"/>
                  <a:pt x="10828832" y="6480331"/>
                </a:cubicBezTo>
                <a:cubicBezTo>
                  <a:pt x="10826556" y="6478234"/>
                  <a:pt x="10826029" y="6476068"/>
                  <a:pt x="10827481" y="6473032"/>
                </a:cubicBezTo>
                <a:cubicBezTo>
                  <a:pt x="10831837" y="6463927"/>
                  <a:pt x="10830299" y="6456286"/>
                  <a:pt x="10823019" y="6449579"/>
                </a:cubicBezTo>
                <a:cubicBezTo>
                  <a:pt x="10821919" y="6448399"/>
                  <a:pt x="10818918" y="6447820"/>
                  <a:pt x="10820141" y="6445582"/>
                </a:cubicBezTo>
                <a:cubicBezTo>
                  <a:pt x="10821097" y="6443268"/>
                  <a:pt x="10823642" y="6443427"/>
                  <a:pt x="10826112" y="6443852"/>
                </a:cubicBezTo>
                <a:cubicBezTo>
                  <a:pt x="10826378" y="6443928"/>
                  <a:pt x="10826643" y="6444006"/>
                  <a:pt x="10826909" y="6444082"/>
                </a:cubicBezTo>
                <a:cubicBezTo>
                  <a:pt x="10833597" y="6444860"/>
                  <a:pt x="10836301" y="6442475"/>
                  <a:pt x="10834569" y="6436505"/>
                </a:cubicBezTo>
                <a:cubicBezTo>
                  <a:pt x="10833025" y="6430878"/>
                  <a:pt x="10834896" y="6427389"/>
                  <a:pt x="10838706" y="6424170"/>
                </a:cubicBezTo>
                <a:cubicBezTo>
                  <a:pt x="10843695" y="6419853"/>
                  <a:pt x="10847964" y="6415040"/>
                  <a:pt x="10848286" y="6407938"/>
                </a:cubicBezTo>
                <a:cubicBezTo>
                  <a:pt x="10848332" y="6404783"/>
                  <a:pt x="10851640" y="6404299"/>
                  <a:pt x="10853655" y="6404305"/>
                </a:cubicBezTo>
                <a:cubicBezTo>
                  <a:pt x="10861258" y="6403908"/>
                  <a:pt x="10865751" y="6400313"/>
                  <a:pt x="10868543" y="6393634"/>
                </a:cubicBezTo>
                <a:cubicBezTo>
                  <a:pt x="10870302" y="6389536"/>
                  <a:pt x="10872126" y="6389199"/>
                  <a:pt x="10875613" y="6393084"/>
                </a:cubicBezTo>
                <a:cubicBezTo>
                  <a:pt x="10883042" y="6401273"/>
                  <a:pt x="10897485" y="6401124"/>
                  <a:pt x="10904157" y="6392975"/>
                </a:cubicBezTo>
                <a:cubicBezTo>
                  <a:pt x="10905491" y="6391345"/>
                  <a:pt x="10907245" y="6389261"/>
                  <a:pt x="10905844" y="6387129"/>
                </a:cubicBezTo>
                <a:cubicBezTo>
                  <a:pt x="10904444" y="6384997"/>
                  <a:pt x="10902015" y="6383433"/>
                  <a:pt x="10899163" y="6384336"/>
                </a:cubicBezTo>
                <a:cubicBezTo>
                  <a:pt x="10897337" y="6384674"/>
                  <a:pt x="10895358" y="6385541"/>
                  <a:pt x="10893456" y="6386144"/>
                </a:cubicBezTo>
                <a:cubicBezTo>
                  <a:pt x="10891479" y="6387013"/>
                  <a:pt x="10889653" y="6387350"/>
                  <a:pt x="10888784" y="6385371"/>
                </a:cubicBezTo>
                <a:cubicBezTo>
                  <a:pt x="10887725" y="6383051"/>
                  <a:pt x="10889249" y="6381763"/>
                  <a:pt x="10890962" y="6380819"/>
                </a:cubicBezTo>
                <a:cubicBezTo>
                  <a:pt x="10892409" y="6379797"/>
                  <a:pt x="10894311" y="6379194"/>
                  <a:pt x="10895682" y="6378439"/>
                </a:cubicBezTo>
                <a:cubicBezTo>
                  <a:pt x="10898765" y="6376737"/>
                  <a:pt x="10901013" y="6373933"/>
                  <a:pt x="10899388" y="6370585"/>
                </a:cubicBezTo>
                <a:cubicBezTo>
                  <a:pt x="10897874" y="6367845"/>
                  <a:pt x="10894336" y="6369126"/>
                  <a:pt x="10891750" y="6370107"/>
                </a:cubicBezTo>
                <a:cubicBezTo>
                  <a:pt x="10889506" y="6370899"/>
                  <a:pt x="10887486" y="6372907"/>
                  <a:pt x="10884863" y="6373014"/>
                </a:cubicBezTo>
                <a:cubicBezTo>
                  <a:pt x="10881023" y="6373345"/>
                  <a:pt x="10879049" y="6372198"/>
                  <a:pt x="10880543" y="6368024"/>
                </a:cubicBezTo>
                <a:cubicBezTo>
                  <a:pt x="10882496" y="6362255"/>
                  <a:pt x="10886270" y="6358163"/>
                  <a:pt x="10890763" y="6354566"/>
                </a:cubicBezTo>
                <a:cubicBezTo>
                  <a:pt x="10896439" y="6349871"/>
                  <a:pt x="10897624" y="6346760"/>
                  <a:pt x="10894981" y="6339952"/>
                </a:cubicBezTo>
                <a:cubicBezTo>
                  <a:pt x="10894266" y="6337442"/>
                  <a:pt x="10892675" y="6334968"/>
                  <a:pt x="10891351" y="6332572"/>
                </a:cubicBezTo>
                <a:cubicBezTo>
                  <a:pt x="10890784" y="6331544"/>
                  <a:pt x="10889685" y="6330363"/>
                  <a:pt x="10890600" y="6329188"/>
                </a:cubicBezTo>
                <a:cubicBezTo>
                  <a:pt x="10891592" y="6327747"/>
                  <a:pt x="10892998" y="6327865"/>
                  <a:pt x="10893984" y="6328437"/>
                </a:cubicBezTo>
                <a:cubicBezTo>
                  <a:pt x="10898463" y="6330882"/>
                  <a:pt x="10900140" y="6329062"/>
                  <a:pt x="10901102" y="6324735"/>
                </a:cubicBezTo>
                <a:cubicBezTo>
                  <a:pt x="10902369" y="6319344"/>
                  <a:pt x="10906900" y="6316621"/>
                  <a:pt x="10911465" y="6314773"/>
                </a:cubicBezTo>
                <a:cubicBezTo>
                  <a:pt x="10915079" y="6313226"/>
                  <a:pt x="10915882" y="6311441"/>
                  <a:pt x="10913572" y="6308472"/>
                </a:cubicBezTo>
                <a:cubicBezTo>
                  <a:pt x="10912284" y="6306949"/>
                  <a:pt x="10911527" y="6305579"/>
                  <a:pt x="10912673" y="6303606"/>
                </a:cubicBezTo>
                <a:cubicBezTo>
                  <a:pt x="10914047" y="6300837"/>
                  <a:pt x="10916021" y="6301982"/>
                  <a:pt x="10918036" y="6301988"/>
                </a:cubicBezTo>
                <a:cubicBezTo>
                  <a:pt x="10919175" y="6302029"/>
                  <a:pt x="10920505" y="6302413"/>
                  <a:pt x="10921910" y="6302530"/>
                </a:cubicBezTo>
                <a:cubicBezTo>
                  <a:pt x="10929318" y="6303805"/>
                  <a:pt x="10932065" y="6300280"/>
                  <a:pt x="10929575" y="6292941"/>
                </a:cubicBezTo>
                <a:cubicBezTo>
                  <a:pt x="10929273" y="6291990"/>
                  <a:pt x="10928894" y="6291305"/>
                  <a:pt x="10928858" y="6290432"/>
                </a:cubicBezTo>
                <a:cubicBezTo>
                  <a:pt x="10928522" y="6288608"/>
                  <a:pt x="10928604" y="6286327"/>
                  <a:pt x="10930506" y="6285725"/>
                </a:cubicBezTo>
                <a:close/>
                <a:moveTo>
                  <a:pt x="2103880" y="6280946"/>
                </a:moveTo>
                <a:lnTo>
                  <a:pt x="2107977" y="6287982"/>
                </a:lnTo>
                <a:cubicBezTo>
                  <a:pt x="2107844" y="6291712"/>
                  <a:pt x="2113312" y="6295645"/>
                  <a:pt x="2106271" y="6298794"/>
                </a:cubicBezTo>
                <a:cubicBezTo>
                  <a:pt x="2104153" y="6299596"/>
                  <a:pt x="2103835" y="6302330"/>
                  <a:pt x="2105452" y="6303268"/>
                </a:cubicBezTo>
                <a:cubicBezTo>
                  <a:pt x="2111663" y="6307886"/>
                  <a:pt x="2110099" y="6311674"/>
                  <a:pt x="2104240" y="6315635"/>
                </a:cubicBezTo>
                <a:cubicBezTo>
                  <a:pt x="2102433" y="6316997"/>
                  <a:pt x="2103546" y="6319674"/>
                  <a:pt x="2103914" y="6321664"/>
                </a:cubicBezTo>
                <a:lnTo>
                  <a:pt x="2101883" y="6327409"/>
                </a:lnTo>
                <a:lnTo>
                  <a:pt x="2264908" y="6422757"/>
                </a:lnTo>
                <a:lnTo>
                  <a:pt x="2262963" y="6404727"/>
                </a:lnTo>
                <a:cubicBezTo>
                  <a:pt x="2261469" y="6398282"/>
                  <a:pt x="2260593" y="6392015"/>
                  <a:pt x="2258919" y="6386187"/>
                </a:cubicBezTo>
                <a:cubicBezTo>
                  <a:pt x="2258043" y="6379921"/>
                  <a:pt x="2254511" y="6373555"/>
                  <a:pt x="2249206" y="6368683"/>
                </a:cubicBezTo>
                <a:lnTo>
                  <a:pt x="2251459" y="6360877"/>
                </a:lnTo>
                <a:lnTo>
                  <a:pt x="2159578" y="6314529"/>
                </a:lnTo>
                <a:close/>
                <a:moveTo>
                  <a:pt x="7529861" y="6258515"/>
                </a:moveTo>
                <a:cubicBezTo>
                  <a:pt x="7533172" y="6260080"/>
                  <a:pt x="7536094" y="6261558"/>
                  <a:pt x="7539581" y="6262352"/>
                </a:cubicBezTo>
                <a:cubicBezTo>
                  <a:pt x="7543067" y="6263147"/>
                  <a:pt x="7546026" y="6266255"/>
                  <a:pt x="7546873" y="6269693"/>
                </a:cubicBezTo>
                <a:cubicBezTo>
                  <a:pt x="7547420" y="6272657"/>
                  <a:pt x="7548230" y="6274464"/>
                  <a:pt x="7550290" y="6276150"/>
                </a:cubicBezTo>
                <a:cubicBezTo>
                  <a:pt x="7549237" y="6280779"/>
                  <a:pt x="7548182" y="6285406"/>
                  <a:pt x="7547127" y="6290033"/>
                </a:cubicBezTo>
                <a:cubicBezTo>
                  <a:pt x="7542815" y="6291078"/>
                  <a:pt x="7539012" y="6293457"/>
                  <a:pt x="7536672" y="6296575"/>
                </a:cubicBezTo>
                <a:cubicBezTo>
                  <a:pt x="7534033" y="6299218"/>
                  <a:pt x="7531693" y="6302336"/>
                  <a:pt x="7528965" y="6305365"/>
                </a:cubicBezTo>
                <a:cubicBezTo>
                  <a:pt x="7526325" y="6308008"/>
                  <a:pt x="7523598" y="6311038"/>
                  <a:pt x="7522331" y="6314806"/>
                </a:cubicBezTo>
                <a:cubicBezTo>
                  <a:pt x="7520766" y="6318100"/>
                  <a:pt x="7518090" y="6319114"/>
                  <a:pt x="7514939" y="6320424"/>
                </a:cubicBezTo>
                <a:cubicBezTo>
                  <a:pt x="7511789" y="6321734"/>
                  <a:pt x="7508002" y="6320466"/>
                  <a:pt x="7505451" y="6322723"/>
                </a:cubicBezTo>
                <a:cubicBezTo>
                  <a:pt x="7502739" y="6322105"/>
                  <a:pt x="7500415" y="6321576"/>
                  <a:pt x="7497703" y="6320958"/>
                </a:cubicBezTo>
                <a:cubicBezTo>
                  <a:pt x="7497967" y="6319801"/>
                  <a:pt x="7497667" y="6319327"/>
                  <a:pt x="7496894" y="6319151"/>
                </a:cubicBezTo>
                <a:cubicBezTo>
                  <a:pt x="7491083" y="6317827"/>
                  <a:pt x="7488863" y="6313264"/>
                  <a:pt x="7487980" y="6308196"/>
                </a:cubicBezTo>
                <a:cubicBezTo>
                  <a:pt x="7487010" y="6303512"/>
                  <a:pt x="7485565" y="6299127"/>
                  <a:pt x="7487482" y="6294290"/>
                </a:cubicBezTo>
                <a:cubicBezTo>
                  <a:pt x="7489874" y="6289157"/>
                  <a:pt x="7490804" y="6283284"/>
                  <a:pt x="7496419" y="6280100"/>
                </a:cubicBezTo>
                <a:cubicBezTo>
                  <a:pt x="7498320" y="6278911"/>
                  <a:pt x="7500133" y="6278108"/>
                  <a:pt x="7503021" y="6277954"/>
                </a:cubicBezTo>
                <a:cubicBezTo>
                  <a:pt x="7507157" y="6277680"/>
                  <a:pt x="7512246" y="6276812"/>
                  <a:pt x="7512489" y="6270376"/>
                </a:cubicBezTo>
                <a:cubicBezTo>
                  <a:pt x="7512629" y="6267975"/>
                  <a:pt x="7515129" y="6267733"/>
                  <a:pt x="7515780" y="6266665"/>
                </a:cubicBezTo>
                <a:cubicBezTo>
                  <a:pt x="7519123" y="6260936"/>
                  <a:pt x="7524386" y="6259296"/>
                  <a:pt x="7529861" y="6258515"/>
                </a:cubicBezTo>
                <a:close/>
                <a:moveTo>
                  <a:pt x="11340656" y="6256183"/>
                </a:moveTo>
                <a:cubicBezTo>
                  <a:pt x="11346150" y="6255544"/>
                  <a:pt x="11351657" y="6255790"/>
                  <a:pt x="11356349" y="6260477"/>
                </a:cubicBezTo>
                <a:cubicBezTo>
                  <a:pt x="11357250" y="6261345"/>
                  <a:pt x="11359730" y="6260942"/>
                  <a:pt x="11360476" y="6263228"/>
                </a:cubicBezTo>
                <a:cubicBezTo>
                  <a:pt x="11362351" y="6269389"/>
                  <a:pt x="11367492" y="6268934"/>
                  <a:pt x="11371564" y="6268145"/>
                </a:cubicBezTo>
                <a:cubicBezTo>
                  <a:pt x="11374395" y="6267558"/>
                  <a:pt x="11376352" y="6267874"/>
                  <a:pt x="11378493" y="6268539"/>
                </a:cubicBezTo>
                <a:cubicBezTo>
                  <a:pt x="11384733" y="6270187"/>
                  <a:pt x="11387129" y="6275629"/>
                  <a:pt x="11390751" y="6279983"/>
                </a:cubicBezTo>
                <a:cubicBezTo>
                  <a:pt x="11393836" y="6284173"/>
                  <a:pt x="11393556" y="6288782"/>
                  <a:pt x="11393810" y="6293558"/>
                </a:cubicBezTo>
                <a:cubicBezTo>
                  <a:pt x="11394249" y="6298684"/>
                  <a:pt x="11393263" y="6303661"/>
                  <a:pt x="11387982" y="6306421"/>
                </a:cubicBezTo>
                <a:cubicBezTo>
                  <a:pt x="11387277" y="6306790"/>
                  <a:pt x="11387108" y="6307324"/>
                  <a:pt x="11387658" y="6308376"/>
                </a:cubicBezTo>
                <a:cubicBezTo>
                  <a:pt x="11385194" y="6309664"/>
                  <a:pt x="11383081" y="6310769"/>
                  <a:pt x="11380617" y="6312056"/>
                </a:cubicBezTo>
                <a:cubicBezTo>
                  <a:pt x="11377573" y="6310523"/>
                  <a:pt x="11374235" y="6312714"/>
                  <a:pt x="11370855" y="6312248"/>
                </a:cubicBezTo>
                <a:cubicBezTo>
                  <a:pt x="11367474" y="6311785"/>
                  <a:pt x="11364629" y="6311487"/>
                  <a:pt x="11362276" y="6308699"/>
                </a:cubicBezTo>
                <a:cubicBezTo>
                  <a:pt x="11360092" y="6305379"/>
                  <a:pt x="11356682" y="6303144"/>
                  <a:pt x="11353456" y="6301260"/>
                </a:cubicBezTo>
                <a:cubicBezTo>
                  <a:pt x="11350047" y="6299025"/>
                  <a:pt x="11346990" y="6296606"/>
                  <a:pt x="11343764" y="6294723"/>
                </a:cubicBezTo>
                <a:cubicBezTo>
                  <a:pt x="11340707" y="6292305"/>
                  <a:pt x="11336424" y="6290972"/>
                  <a:pt x="11331987" y="6291060"/>
                </a:cubicBezTo>
                <a:cubicBezTo>
                  <a:pt x="11329790" y="6286853"/>
                  <a:pt x="11327592" y="6282647"/>
                  <a:pt x="11325393" y="6278441"/>
                </a:cubicBezTo>
                <a:cubicBezTo>
                  <a:pt x="11326956" y="6276285"/>
                  <a:pt x="11327279" y="6274331"/>
                  <a:pt x="11327054" y="6271326"/>
                </a:cubicBezTo>
                <a:cubicBezTo>
                  <a:pt x="11326996" y="6267785"/>
                  <a:pt x="11329065" y="6264026"/>
                  <a:pt x="11332234" y="6262370"/>
                </a:cubicBezTo>
                <a:cubicBezTo>
                  <a:pt x="11335404" y="6260713"/>
                  <a:pt x="11337853" y="6258541"/>
                  <a:pt x="11340656" y="6256183"/>
                </a:cubicBezTo>
                <a:close/>
                <a:moveTo>
                  <a:pt x="667131" y="6254575"/>
                </a:moveTo>
                <a:lnTo>
                  <a:pt x="667623" y="6254852"/>
                </a:lnTo>
                <a:lnTo>
                  <a:pt x="667257" y="6255054"/>
                </a:lnTo>
                <a:close/>
                <a:moveTo>
                  <a:pt x="7718045" y="6253207"/>
                </a:moveTo>
                <a:cubicBezTo>
                  <a:pt x="7719645" y="6251468"/>
                  <a:pt x="7724756" y="6254134"/>
                  <a:pt x="7727266" y="6255007"/>
                </a:cubicBezTo>
                <a:cubicBezTo>
                  <a:pt x="7733078" y="6257233"/>
                  <a:pt x="7741077" y="6255149"/>
                  <a:pt x="7744378" y="6263115"/>
                </a:cubicBezTo>
                <a:cubicBezTo>
                  <a:pt x="7744976" y="6264453"/>
                  <a:pt x="7746367" y="6266273"/>
                  <a:pt x="7748655" y="6266794"/>
                </a:cubicBezTo>
                <a:cubicBezTo>
                  <a:pt x="7751867" y="6267226"/>
                  <a:pt x="7753193" y="6269331"/>
                  <a:pt x="7753049" y="6272605"/>
                </a:cubicBezTo>
                <a:cubicBezTo>
                  <a:pt x="7753166" y="6274735"/>
                  <a:pt x="7754336" y="6276204"/>
                  <a:pt x="7755441" y="6277959"/>
                </a:cubicBezTo>
                <a:cubicBezTo>
                  <a:pt x="7758379" y="6282234"/>
                  <a:pt x="7759183" y="6286626"/>
                  <a:pt x="7756581" y="6291443"/>
                </a:cubicBezTo>
                <a:cubicBezTo>
                  <a:pt x="7755071" y="6294105"/>
                  <a:pt x="7755214" y="6297443"/>
                  <a:pt x="7757684" y="6299809"/>
                </a:cubicBezTo>
                <a:cubicBezTo>
                  <a:pt x="7757424" y="6300952"/>
                  <a:pt x="7757163" y="6302095"/>
                  <a:pt x="7756903" y="6303238"/>
                </a:cubicBezTo>
                <a:cubicBezTo>
                  <a:pt x="7754003" y="6304080"/>
                  <a:pt x="7752467" y="6305533"/>
                  <a:pt x="7751907" y="6309313"/>
                </a:cubicBezTo>
                <a:cubicBezTo>
                  <a:pt x="7751021" y="6314521"/>
                  <a:pt x="7747821" y="6318000"/>
                  <a:pt x="7741840" y="6317840"/>
                </a:cubicBezTo>
                <a:cubicBezTo>
                  <a:pt x="7739199" y="6317539"/>
                  <a:pt x="7739316" y="6319669"/>
                  <a:pt x="7738925" y="6321383"/>
                </a:cubicBezTo>
                <a:cubicBezTo>
                  <a:pt x="7738274" y="6324240"/>
                  <a:pt x="7736999" y="6324550"/>
                  <a:pt x="7735166" y="6322029"/>
                </a:cubicBezTo>
                <a:cubicBezTo>
                  <a:pt x="7732384" y="6318390"/>
                  <a:pt x="7730096" y="6317868"/>
                  <a:pt x="7728130" y="6322530"/>
                </a:cubicBezTo>
                <a:cubicBezTo>
                  <a:pt x="7727584" y="6323607"/>
                  <a:pt x="7726400" y="6324841"/>
                  <a:pt x="7725581" y="6323151"/>
                </a:cubicBezTo>
                <a:cubicBezTo>
                  <a:pt x="7722709" y="6318590"/>
                  <a:pt x="7719613" y="6320289"/>
                  <a:pt x="7716166" y="6322208"/>
                </a:cubicBezTo>
                <a:cubicBezTo>
                  <a:pt x="7715749" y="6322714"/>
                  <a:pt x="7714605" y="6322454"/>
                  <a:pt x="7714033" y="6322323"/>
                </a:cubicBezTo>
                <a:cubicBezTo>
                  <a:pt x="7708079" y="6316759"/>
                  <a:pt x="7702540" y="6310687"/>
                  <a:pt x="7696651" y="6304837"/>
                </a:cubicBezTo>
                <a:cubicBezTo>
                  <a:pt x="7693960" y="6302121"/>
                  <a:pt x="7693480" y="6296300"/>
                  <a:pt x="7693026" y="6291688"/>
                </a:cubicBezTo>
                <a:cubicBezTo>
                  <a:pt x="7692845" y="6289843"/>
                  <a:pt x="7693522" y="6288195"/>
                  <a:pt x="7692130" y="6286374"/>
                </a:cubicBezTo>
                <a:cubicBezTo>
                  <a:pt x="7690740" y="6284555"/>
                  <a:pt x="7691416" y="6282905"/>
                  <a:pt x="7692951" y="6281452"/>
                </a:cubicBezTo>
                <a:cubicBezTo>
                  <a:pt x="7693783" y="6280440"/>
                  <a:pt x="7695253" y="6279272"/>
                  <a:pt x="7694655" y="6277933"/>
                </a:cubicBezTo>
                <a:cubicBezTo>
                  <a:pt x="7692576" y="6273853"/>
                  <a:pt x="7692876" y="6271217"/>
                  <a:pt x="7697844" y="6270545"/>
                </a:cubicBezTo>
                <a:cubicBezTo>
                  <a:pt x="7699054" y="6270520"/>
                  <a:pt x="7699730" y="6268871"/>
                  <a:pt x="7698781" y="6267752"/>
                </a:cubicBezTo>
                <a:cubicBezTo>
                  <a:pt x="7695778" y="6263762"/>
                  <a:pt x="7700109" y="6263246"/>
                  <a:pt x="7701202" y="6261091"/>
                </a:cubicBezTo>
                <a:cubicBezTo>
                  <a:pt x="7704962" y="6253833"/>
                  <a:pt x="7713310" y="6258139"/>
                  <a:pt x="7718045" y="6253207"/>
                </a:cubicBezTo>
                <a:close/>
                <a:moveTo>
                  <a:pt x="1146984" y="6234822"/>
                </a:moveTo>
                <a:lnTo>
                  <a:pt x="1146985" y="6234822"/>
                </a:lnTo>
                <a:lnTo>
                  <a:pt x="1146986" y="6234822"/>
                </a:lnTo>
                <a:cubicBezTo>
                  <a:pt x="1148805" y="6233057"/>
                  <a:pt x="1154116" y="6236226"/>
                  <a:pt x="1156749" y="6237313"/>
                </a:cubicBezTo>
                <a:cubicBezTo>
                  <a:pt x="1162838" y="6240052"/>
                  <a:pt x="1171530" y="6238308"/>
                  <a:pt x="1174579" y="6247040"/>
                </a:cubicBezTo>
                <a:cubicBezTo>
                  <a:pt x="1175138" y="6248509"/>
                  <a:pt x="1176515" y="6250543"/>
                  <a:pt x="1178934" y="6251241"/>
                </a:cubicBezTo>
                <a:cubicBezTo>
                  <a:pt x="1182348" y="6251899"/>
                  <a:pt x="1183640" y="6254235"/>
                  <a:pt x="1183285" y="6257732"/>
                </a:cubicBezTo>
                <a:cubicBezTo>
                  <a:pt x="1183279" y="6260020"/>
                  <a:pt x="1184443" y="6261664"/>
                  <a:pt x="1185519" y="6263610"/>
                </a:cubicBezTo>
                <a:cubicBezTo>
                  <a:pt x="1188404" y="6268369"/>
                  <a:pt x="1188998" y="6273121"/>
                  <a:pt x="1185917" y="6278120"/>
                </a:cubicBezTo>
                <a:cubicBezTo>
                  <a:pt x="1184139" y="6280878"/>
                  <a:pt x="1184087" y="6284463"/>
                  <a:pt x="1186588" y="6287147"/>
                </a:cubicBezTo>
                <a:cubicBezTo>
                  <a:pt x="1186239" y="6288355"/>
                  <a:pt x="1185890" y="6289563"/>
                  <a:pt x="1185541" y="6290771"/>
                </a:cubicBezTo>
                <a:cubicBezTo>
                  <a:pt x="1182385" y="6291496"/>
                  <a:pt x="1180652" y="6292958"/>
                  <a:pt x="1179820" y="6296972"/>
                </a:cubicBezTo>
                <a:cubicBezTo>
                  <a:pt x="1178554" y="6302495"/>
                  <a:pt x="1174915" y="6306025"/>
                  <a:pt x="1168519" y="6305487"/>
                </a:cubicBezTo>
                <a:cubicBezTo>
                  <a:pt x="1165710" y="6305003"/>
                  <a:pt x="1165705" y="6307292"/>
                  <a:pt x="1165181" y="6309104"/>
                </a:cubicBezTo>
                <a:cubicBezTo>
                  <a:pt x="1164310" y="6312123"/>
                  <a:pt x="1162927" y="6312378"/>
                  <a:pt x="1161117" y="6309566"/>
                </a:cubicBezTo>
                <a:lnTo>
                  <a:pt x="1161117" y="6309566"/>
                </a:lnTo>
                <a:lnTo>
                  <a:pt x="1161115" y="6309567"/>
                </a:lnTo>
                <a:lnTo>
                  <a:pt x="1157196" y="6306268"/>
                </a:lnTo>
                <a:lnTo>
                  <a:pt x="1153552" y="6309673"/>
                </a:lnTo>
                <a:cubicBezTo>
                  <a:pt x="1152901" y="6310793"/>
                  <a:pt x="1151558" y="6312042"/>
                  <a:pt x="1150785" y="6310183"/>
                </a:cubicBezTo>
                <a:lnTo>
                  <a:pt x="1150784" y="6310183"/>
                </a:lnTo>
                <a:lnTo>
                  <a:pt x="1146150" y="6306802"/>
                </a:lnTo>
                <a:lnTo>
                  <a:pt x="1140760" y="6308598"/>
                </a:lnTo>
                <a:lnTo>
                  <a:pt x="1140758" y="6308598"/>
                </a:lnTo>
                <a:cubicBezTo>
                  <a:pt x="1140281" y="6309115"/>
                  <a:pt x="1139072" y="6308766"/>
                  <a:pt x="1138468" y="6308591"/>
                </a:cubicBezTo>
                <a:cubicBezTo>
                  <a:pt x="1132430" y="6302268"/>
                  <a:pt x="1126870" y="6295429"/>
                  <a:pt x="1120920" y="6288804"/>
                </a:cubicBezTo>
                <a:cubicBezTo>
                  <a:pt x="1118205" y="6285730"/>
                  <a:pt x="1118046" y="6279469"/>
                  <a:pt x="1117843" y="6274503"/>
                </a:cubicBezTo>
                <a:cubicBezTo>
                  <a:pt x="1117761" y="6272516"/>
                  <a:pt x="1118586" y="6270791"/>
                  <a:pt x="1117208" y="6268758"/>
                </a:cubicBezTo>
                <a:cubicBezTo>
                  <a:pt x="1115828" y="6266724"/>
                  <a:pt x="1116654" y="6264999"/>
                  <a:pt x="1118387" y="6263536"/>
                </a:cubicBezTo>
                <a:cubicBezTo>
                  <a:pt x="1119341" y="6262503"/>
                  <a:pt x="1120985" y="6261343"/>
                  <a:pt x="1120428" y="6259873"/>
                </a:cubicBezTo>
                <a:cubicBezTo>
                  <a:pt x="1118449" y="6255375"/>
                  <a:pt x="1118932" y="6252570"/>
                  <a:pt x="1124293" y="6252155"/>
                </a:cubicBezTo>
                <a:cubicBezTo>
                  <a:pt x="1125589" y="6252203"/>
                  <a:pt x="1126414" y="6250478"/>
                  <a:pt x="1125467" y="6249222"/>
                </a:cubicBezTo>
                <a:cubicBezTo>
                  <a:pt x="1122494" y="6244766"/>
                  <a:pt x="1127164" y="6244478"/>
                  <a:pt x="1128466" y="6242236"/>
                </a:cubicBezTo>
                <a:cubicBezTo>
                  <a:pt x="1132937" y="6234693"/>
                  <a:pt x="1141613" y="6239814"/>
                  <a:pt x="1146984" y="6234822"/>
                </a:cubicBezTo>
                <a:close/>
                <a:moveTo>
                  <a:pt x="1500181" y="6234254"/>
                </a:moveTo>
                <a:cubicBezTo>
                  <a:pt x="1503252" y="6236407"/>
                  <a:pt x="1506010" y="6236818"/>
                  <a:pt x="1510237" y="6236431"/>
                </a:cubicBezTo>
                <a:cubicBezTo>
                  <a:pt x="1515221" y="6236270"/>
                  <a:pt x="1520561" y="6239099"/>
                  <a:pt x="1522965" y="6243523"/>
                </a:cubicBezTo>
                <a:cubicBezTo>
                  <a:pt x="1525369" y="6247948"/>
                  <a:pt x="1528484" y="6251349"/>
                  <a:pt x="1531868" y="6255242"/>
                </a:cubicBezTo>
                <a:cubicBezTo>
                  <a:pt x="1532893" y="6262962"/>
                  <a:pt x="1532673" y="6270722"/>
                  <a:pt x="1526177" y="6277435"/>
                </a:cubicBezTo>
                <a:cubicBezTo>
                  <a:pt x="1524976" y="6278724"/>
                  <a:pt x="1525600" y="6282205"/>
                  <a:pt x="1522397" y="6283309"/>
                </a:cubicBezTo>
                <a:cubicBezTo>
                  <a:pt x="1513765" y="6286089"/>
                  <a:pt x="1514524" y="6293317"/>
                  <a:pt x="1515726" y="6299031"/>
                </a:cubicBezTo>
                <a:cubicBezTo>
                  <a:pt x="1516617" y="6303004"/>
                  <a:pt x="1516217" y="6305768"/>
                  <a:pt x="1515328" y="6308798"/>
                </a:cubicBezTo>
                <a:cubicBezTo>
                  <a:pt x="1513150" y="6317622"/>
                  <a:pt x="1505542" y="6321119"/>
                  <a:pt x="1499492" y="6326316"/>
                </a:cubicBezTo>
                <a:cubicBezTo>
                  <a:pt x="1493664" y="6330756"/>
                  <a:pt x="1487168" y="6330466"/>
                  <a:pt x="1480449" y="6330933"/>
                </a:cubicBezTo>
                <a:cubicBezTo>
                  <a:pt x="1473241" y="6331665"/>
                  <a:pt x="1466211" y="6330392"/>
                  <a:pt x="1462205" y="6323018"/>
                </a:cubicBezTo>
                <a:cubicBezTo>
                  <a:pt x="1461670" y="6322035"/>
                  <a:pt x="1460913" y="6321808"/>
                  <a:pt x="1459445" y="6322606"/>
                </a:cubicBezTo>
                <a:cubicBezTo>
                  <a:pt x="1457575" y="6319166"/>
                  <a:pt x="1455972" y="6316216"/>
                  <a:pt x="1454104" y="6312774"/>
                </a:cubicBezTo>
                <a:cubicBezTo>
                  <a:pt x="1456194" y="6308455"/>
                  <a:pt x="1453033" y="6303805"/>
                  <a:pt x="1453610" y="6299035"/>
                </a:cubicBezTo>
                <a:cubicBezTo>
                  <a:pt x="1454187" y="6294264"/>
                  <a:pt x="1454542" y="6290251"/>
                  <a:pt x="1458412" y="6286875"/>
                </a:cubicBezTo>
                <a:cubicBezTo>
                  <a:pt x="1463040" y="6283724"/>
                  <a:pt x="1466109" y="6278873"/>
                  <a:pt x="1468688" y="6274287"/>
                </a:cubicBezTo>
                <a:cubicBezTo>
                  <a:pt x="1471758" y="6269437"/>
                  <a:pt x="1475094" y="6265077"/>
                  <a:pt x="1477674" y="6260492"/>
                </a:cubicBezTo>
                <a:cubicBezTo>
                  <a:pt x="1481009" y="6256132"/>
                  <a:pt x="1482787" y="6250072"/>
                  <a:pt x="1482564" y="6243827"/>
                </a:cubicBezTo>
                <a:cubicBezTo>
                  <a:pt x="1488436" y="6240636"/>
                  <a:pt x="1494309" y="6237445"/>
                  <a:pt x="1500181" y="6234254"/>
                </a:cubicBezTo>
                <a:close/>
                <a:moveTo>
                  <a:pt x="5453324" y="6205687"/>
                </a:moveTo>
                <a:cubicBezTo>
                  <a:pt x="5454555" y="6205728"/>
                  <a:pt x="5455949" y="6206304"/>
                  <a:pt x="5457123" y="6206003"/>
                </a:cubicBezTo>
                <a:cubicBezTo>
                  <a:pt x="5465052" y="6204030"/>
                  <a:pt x="5467333" y="6213141"/>
                  <a:pt x="5474169" y="6213437"/>
                </a:cubicBezTo>
                <a:cubicBezTo>
                  <a:pt x="5476530" y="6213489"/>
                  <a:pt x="5477906" y="6219087"/>
                  <a:pt x="5478907" y="6221547"/>
                </a:cubicBezTo>
                <a:cubicBezTo>
                  <a:pt x="5481073" y="6227382"/>
                  <a:pt x="5487923" y="6232009"/>
                  <a:pt x="5484127" y="6239750"/>
                </a:cubicBezTo>
                <a:cubicBezTo>
                  <a:pt x="5483515" y="6241082"/>
                  <a:pt x="5483069" y="6243329"/>
                  <a:pt x="5484190" y="6245391"/>
                </a:cubicBezTo>
                <a:cubicBezTo>
                  <a:pt x="5485989" y="6248088"/>
                  <a:pt x="5485286" y="6250474"/>
                  <a:pt x="5482728" y="6252528"/>
                </a:cubicBezTo>
                <a:cubicBezTo>
                  <a:pt x="5481207" y="6254023"/>
                  <a:pt x="5480879" y="6255872"/>
                  <a:pt x="5480292" y="6257860"/>
                </a:cubicBezTo>
                <a:cubicBezTo>
                  <a:pt x="5479027" y="6262891"/>
                  <a:pt x="5476261" y="6266397"/>
                  <a:pt x="5470927" y="6267626"/>
                </a:cubicBezTo>
                <a:cubicBezTo>
                  <a:pt x="5467931" y="6268252"/>
                  <a:pt x="5465519" y="6270564"/>
                  <a:pt x="5465373" y="6273982"/>
                </a:cubicBezTo>
                <a:cubicBezTo>
                  <a:pt x="5464343" y="6274542"/>
                  <a:pt x="5463313" y="6275102"/>
                  <a:pt x="5462283" y="6275660"/>
                </a:cubicBezTo>
                <a:cubicBezTo>
                  <a:pt x="5459737" y="6274040"/>
                  <a:pt x="5457631" y="6273848"/>
                  <a:pt x="5454427" y="6275925"/>
                </a:cubicBezTo>
                <a:cubicBezTo>
                  <a:pt x="5449931" y="6278701"/>
                  <a:pt x="5445206" y="6278596"/>
                  <a:pt x="5441372" y="6274000"/>
                </a:cubicBezTo>
                <a:cubicBezTo>
                  <a:pt x="5439858" y="6271819"/>
                  <a:pt x="5438333" y="6273315"/>
                  <a:pt x="5436788" y="6274155"/>
                </a:cubicBezTo>
                <a:cubicBezTo>
                  <a:pt x="5434214" y="6275553"/>
                  <a:pt x="5433136" y="6274801"/>
                  <a:pt x="5433819" y="6271760"/>
                </a:cubicBezTo>
                <a:cubicBezTo>
                  <a:pt x="5434717" y="6267267"/>
                  <a:pt x="5433593" y="6265204"/>
                  <a:pt x="5428800" y="6266809"/>
                </a:cubicBezTo>
                <a:cubicBezTo>
                  <a:pt x="5427629" y="6267111"/>
                  <a:pt x="5425924" y="6267037"/>
                  <a:pt x="5426644" y="6265306"/>
                </a:cubicBezTo>
                <a:cubicBezTo>
                  <a:pt x="5428176" y="6260136"/>
                  <a:pt x="5424851" y="6258934"/>
                  <a:pt x="5421138" y="6257616"/>
                </a:cubicBezTo>
                <a:cubicBezTo>
                  <a:pt x="5420478" y="6257637"/>
                  <a:pt x="5419918" y="6256606"/>
                  <a:pt x="5419638" y="6256090"/>
                </a:cubicBezTo>
                <a:cubicBezTo>
                  <a:pt x="5419884" y="6247944"/>
                  <a:pt x="5420780" y="6239776"/>
                  <a:pt x="5421283" y="6231489"/>
                </a:cubicBezTo>
                <a:cubicBezTo>
                  <a:pt x="5421543" y="6227673"/>
                  <a:pt x="5425590" y="6223468"/>
                  <a:pt x="5428754" y="6220081"/>
                </a:cubicBezTo>
                <a:cubicBezTo>
                  <a:pt x="5430023" y="6218725"/>
                  <a:pt x="5431705" y="6218144"/>
                  <a:pt x="5432152" y="6215898"/>
                </a:cubicBezTo>
                <a:cubicBezTo>
                  <a:pt x="5432601" y="6213651"/>
                  <a:pt x="5434282" y="6213070"/>
                  <a:pt x="5436390" y="6213262"/>
                </a:cubicBezTo>
                <a:cubicBezTo>
                  <a:pt x="5437697" y="6213218"/>
                  <a:pt x="5439547" y="6213549"/>
                  <a:pt x="5440157" y="6212216"/>
                </a:cubicBezTo>
                <a:cubicBezTo>
                  <a:pt x="5441843" y="6207959"/>
                  <a:pt x="5444021" y="6206442"/>
                  <a:pt x="5447808" y="6209728"/>
                </a:cubicBezTo>
                <a:cubicBezTo>
                  <a:pt x="5448628" y="6210619"/>
                  <a:pt x="5450309" y="6210038"/>
                  <a:pt x="5450528" y="6208587"/>
                </a:cubicBezTo>
                <a:cubicBezTo>
                  <a:pt x="5451032" y="6206142"/>
                  <a:pt x="5452091" y="6205647"/>
                  <a:pt x="5453324" y="6205687"/>
                </a:cubicBezTo>
                <a:close/>
                <a:moveTo>
                  <a:pt x="11645733" y="6195621"/>
                </a:moveTo>
                <a:cubicBezTo>
                  <a:pt x="11647506" y="6196466"/>
                  <a:pt x="11650506" y="6197113"/>
                  <a:pt x="11653293" y="6195656"/>
                </a:cubicBezTo>
                <a:cubicBezTo>
                  <a:pt x="11656944" y="6193306"/>
                  <a:pt x="11660126" y="6194301"/>
                  <a:pt x="11662822" y="6197764"/>
                </a:cubicBezTo>
                <a:cubicBezTo>
                  <a:pt x="11664792" y="6199836"/>
                  <a:pt x="11667261" y="6200317"/>
                  <a:pt x="11669912" y="6201146"/>
                </a:cubicBezTo>
                <a:cubicBezTo>
                  <a:pt x="11676625" y="6202955"/>
                  <a:pt x="11681261" y="6206733"/>
                  <a:pt x="11682791" y="6213907"/>
                </a:cubicBezTo>
                <a:cubicBezTo>
                  <a:pt x="11683565" y="6217932"/>
                  <a:pt x="11686610" y="6221214"/>
                  <a:pt x="11691185" y="6221481"/>
                </a:cubicBezTo>
                <a:cubicBezTo>
                  <a:pt x="11691913" y="6222873"/>
                  <a:pt x="11692640" y="6224264"/>
                  <a:pt x="11693368" y="6225656"/>
                </a:cubicBezTo>
                <a:cubicBezTo>
                  <a:pt x="11691141" y="6229035"/>
                  <a:pt x="11690839" y="6231851"/>
                  <a:pt x="11693552" y="6236193"/>
                </a:cubicBezTo>
                <a:cubicBezTo>
                  <a:pt x="11697173" y="6242273"/>
                  <a:pt x="11696933" y="6248601"/>
                  <a:pt x="11690692" y="6253635"/>
                </a:cubicBezTo>
                <a:cubicBezTo>
                  <a:pt x="11687738" y="6255621"/>
                  <a:pt x="11689708" y="6257693"/>
                  <a:pt x="11690799" y="6259781"/>
                </a:cubicBezTo>
                <a:cubicBezTo>
                  <a:pt x="11692617" y="6263260"/>
                  <a:pt x="11691588" y="6264685"/>
                  <a:pt x="11687527" y="6263706"/>
                </a:cubicBezTo>
                <a:cubicBezTo>
                  <a:pt x="11681529" y="6262412"/>
                  <a:pt x="11678741" y="6263868"/>
                  <a:pt x="11680788" y="6270329"/>
                </a:cubicBezTo>
                <a:cubicBezTo>
                  <a:pt x="11681166" y="6271904"/>
                  <a:pt x="11681031" y="6274189"/>
                  <a:pt x="11678727" y="6273178"/>
                </a:cubicBezTo>
                <a:cubicBezTo>
                  <a:pt x="11671834" y="6271022"/>
                  <a:pt x="11670154" y="6275444"/>
                  <a:pt x="11668306" y="6280396"/>
                </a:cubicBezTo>
                <a:cubicBezTo>
                  <a:pt x="11668322" y="6281274"/>
                  <a:pt x="11666929" y="6282003"/>
                  <a:pt x="11666232" y="6282367"/>
                </a:cubicBezTo>
                <a:cubicBezTo>
                  <a:pt x="11655323" y="6281866"/>
                  <a:pt x="11644402" y="6280487"/>
                  <a:pt x="11633312" y="6279637"/>
                </a:cubicBezTo>
                <a:cubicBezTo>
                  <a:pt x="11628206" y="6279204"/>
                  <a:pt x="11622660" y="6273685"/>
                  <a:pt x="11618191" y="6269376"/>
                </a:cubicBezTo>
                <a:cubicBezTo>
                  <a:pt x="11616403" y="6267653"/>
                  <a:pt x="11615660" y="6265384"/>
                  <a:pt x="11612661" y="6264736"/>
                </a:cubicBezTo>
                <a:cubicBezTo>
                  <a:pt x="11609661" y="6264088"/>
                  <a:pt x="11608919" y="6261819"/>
                  <a:pt x="11609220" y="6259004"/>
                </a:cubicBezTo>
                <a:cubicBezTo>
                  <a:pt x="11609190" y="6257247"/>
                  <a:pt x="11609674" y="6254779"/>
                  <a:pt x="11607902" y="6253934"/>
                </a:cubicBezTo>
                <a:cubicBezTo>
                  <a:pt x="11602236" y="6251578"/>
                  <a:pt x="11600251" y="6248629"/>
                  <a:pt x="11604734" y="6243628"/>
                </a:cubicBezTo>
                <a:cubicBezTo>
                  <a:pt x="11605945" y="6242552"/>
                  <a:pt x="11605202" y="6240282"/>
                  <a:pt x="11603264" y="6239967"/>
                </a:cubicBezTo>
                <a:cubicBezTo>
                  <a:pt x="11596734" y="6238506"/>
                  <a:pt x="11600703" y="6234217"/>
                  <a:pt x="11599944" y="6231069"/>
                </a:cubicBezTo>
                <a:cubicBezTo>
                  <a:pt x="11597473" y="6220400"/>
                  <a:pt x="11609728" y="6217539"/>
                  <a:pt x="11610271" y="6208395"/>
                </a:cubicBezTo>
                <a:cubicBezTo>
                  <a:pt x="11610392" y="6205231"/>
                  <a:pt x="11617921" y="6203511"/>
                  <a:pt x="11621238" y="6202220"/>
                </a:cubicBezTo>
                <a:cubicBezTo>
                  <a:pt x="11629100" y="6199440"/>
                  <a:pt x="11635446" y="6190365"/>
                  <a:pt x="11645733" y="6195621"/>
                </a:cubicBezTo>
                <a:close/>
                <a:moveTo>
                  <a:pt x="10783451" y="6186207"/>
                </a:moveTo>
                <a:lnTo>
                  <a:pt x="10783342" y="6186553"/>
                </a:lnTo>
                <a:lnTo>
                  <a:pt x="10782978" y="6186328"/>
                </a:lnTo>
                <a:close/>
                <a:moveTo>
                  <a:pt x="8137660" y="6176348"/>
                </a:moveTo>
                <a:cubicBezTo>
                  <a:pt x="8139260" y="6174609"/>
                  <a:pt x="8144371" y="6177275"/>
                  <a:pt x="8146879" y="6178148"/>
                </a:cubicBezTo>
                <a:cubicBezTo>
                  <a:pt x="8152693" y="6180374"/>
                  <a:pt x="8160691" y="6178290"/>
                  <a:pt x="8163991" y="6186256"/>
                </a:cubicBezTo>
                <a:cubicBezTo>
                  <a:pt x="8164589" y="6187594"/>
                  <a:pt x="8165981" y="6189414"/>
                  <a:pt x="8168269" y="6189935"/>
                </a:cubicBezTo>
                <a:cubicBezTo>
                  <a:pt x="8171482" y="6190367"/>
                  <a:pt x="8172807" y="6192472"/>
                  <a:pt x="8172663" y="6195745"/>
                </a:cubicBezTo>
                <a:cubicBezTo>
                  <a:pt x="8172780" y="6197876"/>
                  <a:pt x="8173949" y="6199345"/>
                  <a:pt x="8175054" y="6201100"/>
                </a:cubicBezTo>
                <a:cubicBezTo>
                  <a:pt x="8177993" y="6205375"/>
                  <a:pt x="8178797" y="6209767"/>
                  <a:pt x="8176195" y="6214584"/>
                </a:cubicBezTo>
                <a:cubicBezTo>
                  <a:pt x="8174686" y="6217245"/>
                  <a:pt x="8174828" y="6220584"/>
                  <a:pt x="8177299" y="6222950"/>
                </a:cubicBezTo>
                <a:cubicBezTo>
                  <a:pt x="8177038" y="6224093"/>
                  <a:pt x="8176777" y="6225236"/>
                  <a:pt x="8176517" y="6226379"/>
                </a:cubicBezTo>
                <a:cubicBezTo>
                  <a:pt x="8173616" y="6227221"/>
                  <a:pt x="8172081" y="6228674"/>
                  <a:pt x="8171521" y="6232454"/>
                </a:cubicBezTo>
                <a:cubicBezTo>
                  <a:pt x="8170636" y="6237662"/>
                  <a:pt x="8167435" y="6241142"/>
                  <a:pt x="8161453" y="6240981"/>
                </a:cubicBezTo>
                <a:cubicBezTo>
                  <a:pt x="8158813" y="6240679"/>
                  <a:pt x="8158930" y="6242810"/>
                  <a:pt x="8158538" y="6244524"/>
                </a:cubicBezTo>
                <a:cubicBezTo>
                  <a:pt x="8157888" y="6247381"/>
                  <a:pt x="8156614" y="6247691"/>
                  <a:pt x="8154780" y="6245170"/>
                </a:cubicBezTo>
                <a:cubicBezTo>
                  <a:pt x="8151998" y="6241531"/>
                  <a:pt x="8149709" y="6241009"/>
                  <a:pt x="8147744" y="6245671"/>
                </a:cubicBezTo>
                <a:cubicBezTo>
                  <a:pt x="8147198" y="6246748"/>
                  <a:pt x="8146014" y="6247982"/>
                  <a:pt x="8145196" y="6246292"/>
                </a:cubicBezTo>
                <a:cubicBezTo>
                  <a:pt x="8142323" y="6241731"/>
                  <a:pt x="8139227" y="6243430"/>
                  <a:pt x="8135780" y="6245350"/>
                </a:cubicBezTo>
                <a:cubicBezTo>
                  <a:pt x="8135364" y="6245855"/>
                  <a:pt x="8134219" y="6245595"/>
                  <a:pt x="8133647" y="6245465"/>
                </a:cubicBezTo>
                <a:cubicBezTo>
                  <a:pt x="8127693" y="6239900"/>
                  <a:pt x="8122154" y="6233828"/>
                  <a:pt x="8116265" y="6227978"/>
                </a:cubicBezTo>
                <a:cubicBezTo>
                  <a:pt x="8113574" y="6225262"/>
                  <a:pt x="8113094" y="6219441"/>
                  <a:pt x="8112640" y="6214829"/>
                </a:cubicBezTo>
                <a:cubicBezTo>
                  <a:pt x="8112459" y="6212984"/>
                  <a:pt x="8113135" y="6211335"/>
                  <a:pt x="8111745" y="6209515"/>
                </a:cubicBezTo>
                <a:cubicBezTo>
                  <a:pt x="8110354" y="6207696"/>
                  <a:pt x="8111030" y="6206047"/>
                  <a:pt x="8112565" y="6204593"/>
                </a:cubicBezTo>
                <a:cubicBezTo>
                  <a:pt x="8113398" y="6203581"/>
                  <a:pt x="8114868" y="6202413"/>
                  <a:pt x="8114269" y="6201074"/>
                </a:cubicBezTo>
                <a:cubicBezTo>
                  <a:pt x="8112190" y="6196994"/>
                  <a:pt x="8112490" y="6194357"/>
                  <a:pt x="8117458" y="6193686"/>
                </a:cubicBezTo>
                <a:cubicBezTo>
                  <a:pt x="8118668" y="6193661"/>
                  <a:pt x="8119344" y="6192012"/>
                  <a:pt x="8118395" y="6190894"/>
                </a:cubicBezTo>
                <a:cubicBezTo>
                  <a:pt x="8115392" y="6186903"/>
                  <a:pt x="8119723" y="6186387"/>
                  <a:pt x="8120816" y="6184232"/>
                </a:cubicBezTo>
                <a:cubicBezTo>
                  <a:pt x="8124576" y="6176974"/>
                  <a:pt x="8132924" y="6181280"/>
                  <a:pt x="8137660" y="6176348"/>
                </a:cubicBezTo>
                <a:close/>
                <a:moveTo>
                  <a:pt x="1086212" y="6170798"/>
                </a:moveTo>
                <a:cubicBezTo>
                  <a:pt x="1087358" y="6170836"/>
                  <a:pt x="1088659" y="6171371"/>
                  <a:pt x="1089748" y="6171090"/>
                </a:cubicBezTo>
                <a:cubicBezTo>
                  <a:pt x="1097129" y="6169255"/>
                  <a:pt x="1099254" y="6177734"/>
                  <a:pt x="1105610" y="6178009"/>
                </a:cubicBezTo>
                <a:cubicBezTo>
                  <a:pt x="1107810" y="6178058"/>
                  <a:pt x="1109088" y="6183267"/>
                  <a:pt x="1110021" y="6185557"/>
                </a:cubicBezTo>
                <a:cubicBezTo>
                  <a:pt x="1112040" y="6190986"/>
                  <a:pt x="1118414" y="6195291"/>
                  <a:pt x="1114879" y="6202495"/>
                </a:cubicBezTo>
                <a:cubicBezTo>
                  <a:pt x="1114313" y="6203735"/>
                  <a:pt x="1113896" y="6205826"/>
                  <a:pt x="1114939" y="6207745"/>
                </a:cubicBezTo>
                <a:cubicBezTo>
                  <a:pt x="1116613" y="6210254"/>
                  <a:pt x="1115957" y="6212475"/>
                  <a:pt x="1113582" y="6214387"/>
                </a:cubicBezTo>
                <a:cubicBezTo>
                  <a:pt x="1112165" y="6215778"/>
                  <a:pt x="1111859" y="6217498"/>
                  <a:pt x="1111312" y="6219349"/>
                </a:cubicBezTo>
                <a:cubicBezTo>
                  <a:pt x="1110132" y="6224030"/>
                  <a:pt x="1107559" y="6227293"/>
                  <a:pt x="1102595" y="6228436"/>
                </a:cubicBezTo>
                <a:cubicBezTo>
                  <a:pt x="1099807" y="6229019"/>
                  <a:pt x="1097562" y="6231171"/>
                  <a:pt x="1097429" y="6234351"/>
                </a:cubicBezTo>
                <a:cubicBezTo>
                  <a:pt x="1096470" y="6234872"/>
                  <a:pt x="1095511" y="6235392"/>
                  <a:pt x="1094553" y="6235913"/>
                </a:cubicBezTo>
                <a:cubicBezTo>
                  <a:pt x="1092181" y="6234405"/>
                  <a:pt x="1090223" y="6234226"/>
                  <a:pt x="1087238" y="6236158"/>
                </a:cubicBezTo>
                <a:cubicBezTo>
                  <a:pt x="1083055" y="6238743"/>
                  <a:pt x="1078657" y="6238645"/>
                  <a:pt x="1075092" y="6234367"/>
                </a:cubicBezTo>
                <a:cubicBezTo>
                  <a:pt x="1073679" y="6232339"/>
                  <a:pt x="1072262" y="6233729"/>
                  <a:pt x="1070824" y="6234511"/>
                </a:cubicBezTo>
                <a:cubicBezTo>
                  <a:pt x="1068428" y="6235813"/>
                  <a:pt x="1067428" y="6235114"/>
                  <a:pt x="1068062" y="6232283"/>
                </a:cubicBezTo>
                <a:cubicBezTo>
                  <a:pt x="1068893" y="6228102"/>
                  <a:pt x="1067851" y="6226183"/>
                  <a:pt x="1063387" y="6227677"/>
                </a:cubicBezTo>
                <a:cubicBezTo>
                  <a:pt x="1062297" y="6227957"/>
                  <a:pt x="1060709" y="6227888"/>
                  <a:pt x="1061385" y="6226277"/>
                </a:cubicBezTo>
                <a:cubicBezTo>
                  <a:pt x="1062806" y="6221465"/>
                  <a:pt x="1059716" y="6220348"/>
                  <a:pt x="1056255" y="6219120"/>
                </a:cubicBezTo>
                <a:cubicBezTo>
                  <a:pt x="1055645" y="6219141"/>
                  <a:pt x="1055124" y="6218181"/>
                  <a:pt x="1054863" y="6217702"/>
                </a:cubicBezTo>
                <a:cubicBezTo>
                  <a:pt x="1055089" y="6210121"/>
                  <a:pt x="1055925" y="6202519"/>
                  <a:pt x="1056390" y="6194808"/>
                </a:cubicBezTo>
                <a:cubicBezTo>
                  <a:pt x="1056634" y="6191257"/>
                  <a:pt x="1060405" y="6187345"/>
                  <a:pt x="1063348" y="6184192"/>
                </a:cubicBezTo>
                <a:cubicBezTo>
                  <a:pt x="1064524" y="6182931"/>
                  <a:pt x="1066092" y="6182389"/>
                  <a:pt x="1066509" y="6180299"/>
                </a:cubicBezTo>
                <a:cubicBezTo>
                  <a:pt x="1066925" y="6178208"/>
                  <a:pt x="1068493" y="6177668"/>
                  <a:pt x="1070451" y="6177846"/>
                </a:cubicBezTo>
                <a:cubicBezTo>
                  <a:pt x="1071670" y="6177805"/>
                  <a:pt x="1073390" y="6178114"/>
                  <a:pt x="1073958" y="6176873"/>
                </a:cubicBezTo>
                <a:cubicBezTo>
                  <a:pt x="1075530" y="6172912"/>
                  <a:pt x="1077555" y="6171500"/>
                  <a:pt x="1081079" y="6174557"/>
                </a:cubicBezTo>
                <a:cubicBezTo>
                  <a:pt x="1081840" y="6175387"/>
                  <a:pt x="1083409" y="6174845"/>
                  <a:pt x="1083605" y="6173496"/>
                </a:cubicBezTo>
                <a:cubicBezTo>
                  <a:pt x="1084076" y="6171220"/>
                  <a:pt x="1085067" y="6170760"/>
                  <a:pt x="1086212" y="6170798"/>
                </a:cubicBezTo>
                <a:close/>
                <a:moveTo>
                  <a:pt x="893435" y="6150484"/>
                </a:moveTo>
                <a:cubicBezTo>
                  <a:pt x="895317" y="6149864"/>
                  <a:pt x="895683" y="6151280"/>
                  <a:pt x="896587" y="6152201"/>
                </a:cubicBezTo>
                <a:cubicBezTo>
                  <a:pt x="897082" y="6152741"/>
                  <a:pt x="897504" y="6153520"/>
                  <a:pt x="898084" y="6154214"/>
                </a:cubicBezTo>
                <a:cubicBezTo>
                  <a:pt x="900836" y="6158167"/>
                  <a:pt x="903680" y="6157832"/>
                  <a:pt x="905907" y="6153393"/>
                </a:cubicBezTo>
                <a:cubicBezTo>
                  <a:pt x="906205" y="6152828"/>
                  <a:pt x="906347" y="6152346"/>
                  <a:pt x="906730" y="6151937"/>
                </a:cubicBezTo>
                <a:cubicBezTo>
                  <a:pt x="907410" y="6150962"/>
                  <a:pt x="908487" y="6149974"/>
                  <a:pt x="909617" y="6150571"/>
                </a:cubicBezTo>
                <a:cubicBezTo>
                  <a:pt x="910664" y="6151011"/>
                  <a:pt x="910633" y="6152440"/>
                  <a:pt x="910349" y="6153402"/>
                </a:cubicBezTo>
                <a:cubicBezTo>
                  <a:pt x="910065" y="6154363"/>
                  <a:pt x="909696" y="6155168"/>
                  <a:pt x="909172" y="6156059"/>
                </a:cubicBezTo>
                <a:cubicBezTo>
                  <a:pt x="908589" y="6157587"/>
                  <a:pt x="908786" y="6158690"/>
                  <a:pt x="910397" y="6159429"/>
                </a:cubicBezTo>
                <a:cubicBezTo>
                  <a:pt x="914030" y="6161290"/>
                  <a:pt x="916119" y="6164392"/>
                  <a:pt x="918052" y="6167580"/>
                </a:cubicBezTo>
                <a:cubicBezTo>
                  <a:pt x="920480" y="6171306"/>
                  <a:pt x="922214" y="6175610"/>
                  <a:pt x="925264" y="6178998"/>
                </a:cubicBezTo>
                <a:cubicBezTo>
                  <a:pt x="926338" y="6180231"/>
                  <a:pt x="925827" y="6181518"/>
                  <a:pt x="925388" y="6182564"/>
                </a:cubicBezTo>
                <a:cubicBezTo>
                  <a:pt x="924080" y="6186099"/>
                  <a:pt x="922690" y="6189478"/>
                  <a:pt x="926052" y="6192696"/>
                </a:cubicBezTo>
                <a:cubicBezTo>
                  <a:pt x="926631" y="6193391"/>
                  <a:pt x="926262" y="6194197"/>
                  <a:pt x="925808" y="6194847"/>
                </a:cubicBezTo>
                <a:cubicBezTo>
                  <a:pt x="923625" y="6198252"/>
                  <a:pt x="922657" y="6202411"/>
                  <a:pt x="921280" y="6206186"/>
                </a:cubicBezTo>
                <a:cubicBezTo>
                  <a:pt x="919178" y="6211969"/>
                  <a:pt x="915762" y="6216448"/>
                  <a:pt x="909550" y="6218008"/>
                </a:cubicBezTo>
                <a:cubicBezTo>
                  <a:pt x="907116" y="6218725"/>
                  <a:pt x="906391" y="6220734"/>
                  <a:pt x="905822" y="6222657"/>
                </a:cubicBezTo>
                <a:cubicBezTo>
                  <a:pt x="904388" y="6227068"/>
                  <a:pt x="902746" y="6227758"/>
                  <a:pt x="898717" y="6225912"/>
                </a:cubicBezTo>
                <a:cubicBezTo>
                  <a:pt x="894519" y="6223753"/>
                  <a:pt x="894519" y="6223753"/>
                  <a:pt x="892617" y="6228419"/>
                </a:cubicBezTo>
                <a:cubicBezTo>
                  <a:pt x="892177" y="6229465"/>
                  <a:pt x="891808" y="6230271"/>
                  <a:pt x="890365" y="6229844"/>
                </a:cubicBezTo>
                <a:cubicBezTo>
                  <a:pt x="885090" y="6228674"/>
                  <a:pt x="879985" y="6227816"/>
                  <a:pt x="874782" y="6226406"/>
                </a:cubicBezTo>
                <a:lnTo>
                  <a:pt x="865093" y="6220587"/>
                </a:lnTo>
                <a:lnTo>
                  <a:pt x="864378" y="6227868"/>
                </a:lnTo>
                <a:cubicBezTo>
                  <a:pt x="862571" y="6229231"/>
                  <a:pt x="863685" y="6231908"/>
                  <a:pt x="864054" y="6233898"/>
                </a:cubicBezTo>
                <a:cubicBezTo>
                  <a:pt x="865041" y="6237009"/>
                  <a:pt x="864724" y="6239744"/>
                  <a:pt x="861485" y="6241164"/>
                </a:cubicBezTo>
                <a:cubicBezTo>
                  <a:pt x="858245" y="6242584"/>
                  <a:pt x="857928" y="6245318"/>
                  <a:pt x="856304" y="6247675"/>
                </a:cubicBezTo>
                <a:cubicBezTo>
                  <a:pt x="852245" y="6253569"/>
                  <a:pt x="847249" y="6261076"/>
                  <a:pt x="841581" y="6262737"/>
                </a:cubicBezTo>
                <a:cubicBezTo>
                  <a:pt x="829251" y="6266243"/>
                  <a:pt x="817230" y="6270309"/>
                  <a:pt x="805025" y="6273380"/>
                </a:cubicBezTo>
                <a:cubicBezTo>
                  <a:pt x="804154" y="6273130"/>
                  <a:pt x="802413" y="6272626"/>
                  <a:pt x="802229" y="6271631"/>
                </a:cubicBezTo>
                <a:cubicBezTo>
                  <a:pt x="799005" y="6266462"/>
                  <a:pt x="796090" y="6261853"/>
                  <a:pt x="788800" y="6265871"/>
                </a:cubicBezTo>
                <a:cubicBezTo>
                  <a:pt x="786431" y="6267543"/>
                  <a:pt x="785752" y="6264992"/>
                  <a:pt x="785819" y="6263127"/>
                </a:cubicBezTo>
                <a:cubicBezTo>
                  <a:pt x="786646" y="6255359"/>
                  <a:pt x="783164" y="6254354"/>
                  <a:pt x="776685" y="6257194"/>
                </a:cubicBezTo>
                <a:cubicBezTo>
                  <a:pt x="772324" y="6259232"/>
                  <a:pt x="770834" y="6257860"/>
                  <a:pt x="772088" y="6253512"/>
                </a:cubicBezTo>
                <a:cubicBezTo>
                  <a:pt x="772841" y="6250904"/>
                  <a:pt x="774590" y="6248111"/>
                  <a:pt x="770798" y="6246545"/>
                </a:cubicBezTo>
                <a:cubicBezTo>
                  <a:pt x="762593" y="6242293"/>
                  <a:pt x="760867" y="6235201"/>
                  <a:pt x="763562" y="6227500"/>
                </a:cubicBezTo>
                <a:cubicBezTo>
                  <a:pt x="765628" y="6221974"/>
                  <a:pt x="764640" y="6218862"/>
                  <a:pt x="761349" y="6215558"/>
                </a:cubicBezTo>
                <a:cubicBezTo>
                  <a:pt x="761851" y="6213818"/>
                  <a:pt x="762353" y="6212079"/>
                  <a:pt x="762855" y="6210341"/>
                </a:cubicBezTo>
                <a:cubicBezTo>
                  <a:pt x="767962" y="6208989"/>
                  <a:pt x="770648" y="6204583"/>
                  <a:pt x="770597" y="6199858"/>
                </a:cubicBezTo>
                <a:lnTo>
                  <a:pt x="775186" y="6192996"/>
                </a:lnTo>
                <a:lnTo>
                  <a:pt x="775089" y="6191780"/>
                </a:lnTo>
                <a:cubicBezTo>
                  <a:pt x="775021" y="6189799"/>
                  <a:pt x="775773" y="6188583"/>
                  <a:pt x="777811" y="6187879"/>
                </a:cubicBezTo>
                <a:cubicBezTo>
                  <a:pt x="783925" y="6185768"/>
                  <a:pt x="786717" y="6181627"/>
                  <a:pt x="786499" y="6175288"/>
                </a:cubicBezTo>
                <a:cubicBezTo>
                  <a:pt x="786544" y="6174255"/>
                  <a:pt x="785457" y="6172627"/>
                  <a:pt x="787027" y="6172176"/>
                </a:cubicBezTo>
                <a:cubicBezTo>
                  <a:pt x="788513" y="6171570"/>
                  <a:pt x="789587" y="6172804"/>
                  <a:pt x="790505" y="6174121"/>
                </a:cubicBezTo>
                <a:cubicBezTo>
                  <a:pt x="790589" y="6174278"/>
                  <a:pt x="790673" y="6174433"/>
                  <a:pt x="790759" y="6174589"/>
                </a:cubicBezTo>
                <a:lnTo>
                  <a:pt x="794845" y="6174638"/>
                </a:lnTo>
                <a:lnTo>
                  <a:pt x="799724" y="6172469"/>
                </a:lnTo>
                <a:lnTo>
                  <a:pt x="803969" y="6171584"/>
                </a:lnTo>
                <a:lnTo>
                  <a:pt x="805150" y="6171007"/>
                </a:lnTo>
                <a:cubicBezTo>
                  <a:pt x="809365" y="6171340"/>
                  <a:pt x="813481" y="6171121"/>
                  <a:pt x="816866" y="6168071"/>
                </a:cubicBezTo>
                <a:lnTo>
                  <a:pt x="819663" y="6168631"/>
                </a:lnTo>
                <a:lnTo>
                  <a:pt x="823181" y="6167995"/>
                </a:lnTo>
                <a:lnTo>
                  <a:pt x="831941" y="6170776"/>
                </a:lnTo>
                <a:lnTo>
                  <a:pt x="832508" y="6170874"/>
                </a:lnTo>
                <a:lnTo>
                  <a:pt x="832658" y="6171004"/>
                </a:lnTo>
                <a:lnTo>
                  <a:pt x="837438" y="6172522"/>
                </a:lnTo>
                <a:lnTo>
                  <a:pt x="847334" y="6175716"/>
                </a:lnTo>
                <a:lnTo>
                  <a:pt x="848445" y="6175333"/>
                </a:lnTo>
                <a:cubicBezTo>
                  <a:pt x="849562" y="6175533"/>
                  <a:pt x="850692" y="6176128"/>
                  <a:pt x="851653" y="6176414"/>
                </a:cubicBezTo>
                <a:cubicBezTo>
                  <a:pt x="853817" y="6177054"/>
                  <a:pt x="856109" y="6176818"/>
                  <a:pt x="856904" y="6174569"/>
                </a:cubicBezTo>
                <a:cubicBezTo>
                  <a:pt x="857473" y="6172646"/>
                  <a:pt x="855296" y="6171610"/>
                  <a:pt x="853684" y="6170870"/>
                </a:cubicBezTo>
                <a:cubicBezTo>
                  <a:pt x="852313" y="6170203"/>
                  <a:pt x="850488" y="6170185"/>
                  <a:pt x="849260" y="6169038"/>
                </a:cubicBezTo>
                <a:cubicBezTo>
                  <a:pt x="847380" y="6167435"/>
                  <a:pt x="847015" y="6166018"/>
                  <a:pt x="849591" y="6164822"/>
                </a:cubicBezTo>
                <a:cubicBezTo>
                  <a:pt x="853101" y="6163115"/>
                  <a:pt x="856666" y="6162995"/>
                  <a:pt x="860329" y="6163426"/>
                </a:cubicBezTo>
                <a:cubicBezTo>
                  <a:pt x="865025" y="6163901"/>
                  <a:pt x="866979" y="6163042"/>
                  <a:pt x="868893" y="6158772"/>
                </a:cubicBezTo>
                <a:cubicBezTo>
                  <a:pt x="869716" y="6157316"/>
                  <a:pt x="870129" y="6155478"/>
                  <a:pt x="870627" y="6153795"/>
                </a:cubicBezTo>
                <a:cubicBezTo>
                  <a:pt x="870840" y="6153074"/>
                  <a:pt x="870884" y="6152041"/>
                  <a:pt x="871832" y="6151929"/>
                </a:cubicBezTo>
                <a:cubicBezTo>
                  <a:pt x="872936" y="6151733"/>
                  <a:pt x="873514" y="6152427"/>
                  <a:pt x="873698" y="6153135"/>
                </a:cubicBezTo>
                <a:cubicBezTo>
                  <a:pt x="874599" y="6156278"/>
                  <a:pt x="876183" y="6156225"/>
                  <a:pt x="878590" y="6154715"/>
                </a:cubicBezTo>
                <a:cubicBezTo>
                  <a:pt x="881619" y="6152867"/>
                  <a:pt x="884900" y="6153708"/>
                  <a:pt x="887799" y="6154959"/>
                </a:cubicBezTo>
                <a:cubicBezTo>
                  <a:pt x="890131" y="6155910"/>
                  <a:pt x="891306" y="6155475"/>
                  <a:pt x="891621" y="6153084"/>
                </a:cubicBezTo>
                <a:cubicBezTo>
                  <a:pt x="891736" y="6151811"/>
                  <a:pt x="892019" y="6150849"/>
                  <a:pt x="893435" y="6150484"/>
                </a:cubicBezTo>
                <a:close/>
                <a:moveTo>
                  <a:pt x="785989" y="6149678"/>
                </a:moveTo>
                <a:lnTo>
                  <a:pt x="786267" y="6149988"/>
                </a:lnTo>
                <a:lnTo>
                  <a:pt x="785902" y="6149972"/>
                </a:lnTo>
                <a:close/>
                <a:moveTo>
                  <a:pt x="11114116" y="6133606"/>
                </a:moveTo>
                <a:cubicBezTo>
                  <a:pt x="11117286" y="6131951"/>
                  <a:pt x="11121553" y="6132397"/>
                  <a:pt x="11124427" y="6134465"/>
                </a:cubicBezTo>
                <a:cubicBezTo>
                  <a:pt x="11126765" y="6136367"/>
                  <a:pt x="11128556" y="6137217"/>
                  <a:pt x="11131217" y="6137164"/>
                </a:cubicBezTo>
                <a:cubicBezTo>
                  <a:pt x="11133415" y="6141370"/>
                  <a:pt x="11135613" y="6145576"/>
                  <a:pt x="11137812" y="6149783"/>
                </a:cubicBezTo>
                <a:cubicBezTo>
                  <a:pt x="11135207" y="6153376"/>
                  <a:pt x="11133855" y="6157652"/>
                  <a:pt x="11134096" y="6161543"/>
                </a:cubicBezTo>
                <a:cubicBezTo>
                  <a:pt x="11133802" y="6165267"/>
                  <a:pt x="11134041" y="6169158"/>
                  <a:pt x="11133930" y="6173233"/>
                </a:cubicBezTo>
                <a:cubicBezTo>
                  <a:pt x="11133635" y="6176957"/>
                  <a:pt x="11133523" y="6181032"/>
                  <a:pt x="11135004" y="6184721"/>
                </a:cubicBezTo>
                <a:cubicBezTo>
                  <a:pt x="11135947" y="6188244"/>
                  <a:pt x="11134567" y="6190749"/>
                  <a:pt x="11133019" y="6193790"/>
                </a:cubicBezTo>
                <a:cubicBezTo>
                  <a:pt x="11131470" y="6196832"/>
                  <a:pt x="11127766" y="6198321"/>
                  <a:pt x="11127288" y="6201695"/>
                </a:cubicBezTo>
                <a:cubicBezTo>
                  <a:pt x="11124824" y="6202983"/>
                  <a:pt x="11122711" y="6204086"/>
                  <a:pt x="11120246" y="6205376"/>
                </a:cubicBezTo>
                <a:cubicBezTo>
                  <a:pt x="11119696" y="6204324"/>
                  <a:pt x="11119161" y="6204158"/>
                  <a:pt x="11118457" y="6204525"/>
                </a:cubicBezTo>
                <a:cubicBezTo>
                  <a:pt x="11113175" y="6207285"/>
                  <a:pt x="11108527" y="6205252"/>
                  <a:pt x="11104569" y="6201966"/>
                </a:cubicBezTo>
                <a:cubicBezTo>
                  <a:pt x="11100792" y="6199030"/>
                  <a:pt x="11096847" y="6196630"/>
                  <a:pt x="11095170" y="6191704"/>
                </a:cubicBezTo>
                <a:cubicBezTo>
                  <a:pt x="11093662" y="6186245"/>
                  <a:pt x="11090562" y="6181172"/>
                  <a:pt x="11092772" y="6175107"/>
                </a:cubicBezTo>
                <a:cubicBezTo>
                  <a:pt x="11093447" y="6172969"/>
                  <a:pt x="11094307" y="6171182"/>
                  <a:pt x="11096404" y="6169193"/>
                </a:cubicBezTo>
                <a:cubicBezTo>
                  <a:pt x="11099377" y="6166301"/>
                  <a:pt x="11102686" y="6162340"/>
                  <a:pt x="11098698" y="6157284"/>
                </a:cubicBezTo>
                <a:cubicBezTo>
                  <a:pt x="11097246" y="6155365"/>
                  <a:pt x="11098992" y="6153559"/>
                  <a:pt x="11098796" y="6152324"/>
                </a:cubicBezTo>
                <a:cubicBezTo>
                  <a:pt x="11097625" y="6145796"/>
                  <a:pt x="11100567" y="6141133"/>
                  <a:pt x="11104228" y="6136989"/>
                </a:cubicBezTo>
                <a:cubicBezTo>
                  <a:pt x="11107765" y="6136034"/>
                  <a:pt x="11110947" y="6135262"/>
                  <a:pt x="11114116" y="6133606"/>
                </a:cubicBezTo>
                <a:close/>
                <a:moveTo>
                  <a:pt x="1546784" y="6118317"/>
                </a:moveTo>
                <a:cubicBezTo>
                  <a:pt x="1552003" y="6121161"/>
                  <a:pt x="1556605" y="6123825"/>
                  <a:pt x="1562181" y="6125434"/>
                </a:cubicBezTo>
                <a:cubicBezTo>
                  <a:pt x="1567756" y="6127043"/>
                  <a:pt x="1572264" y="6132353"/>
                  <a:pt x="1573318" y="6138003"/>
                </a:cubicBezTo>
                <a:cubicBezTo>
                  <a:pt x="1573930" y="6142858"/>
                  <a:pt x="1575077" y="6145861"/>
                  <a:pt x="1578261" y="6148785"/>
                </a:cubicBezTo>
                <a:cubicBezTo>
                  <a:pt x="1576124" y="6156185"/>
                  <a:pt x="1573988" y="6163587"/>
                  <a:pt x="1571852" y="6170988"/>
                </a:cubicBezTo>
                <a:cubicBezTo>
                  <a:pt x="1564766" y="6172284"/>
                  <a:pt x="1558386" y="6175787"/>
                  <a:pt x="1554305" y="6180623"/>
                </a:cubicBezTo>
                <a:cubicBezTo>
                  <a:pt x="1549783" y="6184663"/>
                  <a:pt x="1545702" y="6189499"/>
                  <a:pt x="1541003" y="6194155"/>
                </a:cubicBezTo>
                <a:cubicBezTo>
                  <a:pt x="1536480" y="6198196"/>
                  <a:pt x="1531780" y="6202852"/>
                  <a:pt x="1529380" y="6208841"/>
                </a:cubicBezTo>
                <a:cubicBezTo>
                  <a:pt x="1526540" y="6214035"/>
                  <a:pt x="1522110" y="6215429"/>
                  <a:pt x="1516883" y="6217262"/>
                </a:cubicBezTo>
                <a:cubicBezTo>
                  <a:pt x="1511655" y="6219094"/>
                  <a:pt x="1505638" y="6216688"/>
                  <a:pt x="1501294" y="6220112"/>
                </a:cubicBezTo>
                <a:cubicBezTo>
                  <a:pt x="1496957" y="6218861"/>
                  <a:pt x="1493239" y="6217787"/>
                  <a:pt x="1488903" y="6216535"/>
                </a:cubicBezTo>
                <a:cubicBezTo>
                  <a:pt x="1489436" y="6214685"/>
                  <a:pt x="1488995" y="6213889"/>
                  <a:pt x="1487756" y="6213531"/>
                </a:cubicBezTo>
                <a:cubicBezTo>
                  <a:pt x="1478463" y="6210850"/>
                  <a:pt x="1475286" y="6203250"/>
                  <a:pt x="1474325" y="6194955"/>
                </a:cubicBezTo>
                <a:cubicBezTo>
                  <a:pt x="1473186" y="6187277"/>
                  <a:pt x="1471249" y="6180036"/>
                  <a:pt x="1474802" y="6172376"/>
                </a:cubicBezTo>
                <a:cubicBezTo>
                  <a:pt x="1479153" y="6164277"/>
                  <a:pt x="1481204" y="6154847"/>
                  <a:pt x="1490597" y="6150208"/>
                </a:cubicBezTo>
                <a:cubicBezTo>
                  <a:pt x="1493786" y="6148456"/>
                  <a:pt x="1496799" y="6147321"/>
                  <a:pt x="1501492" y="6147338"/>
                </a:cubicBezTo>
                <a:cubicBezTo>
                  <a:pt x="1508222" y="6147277"/>
                  <a:pt x="1516546" y="6146339"/>
                  <a:pt x="1517537" y="6135933"/>
                </a:cubicBezTo>
                <a:cubicBezTo>
                  <a:pt x="1517985" y="6132054"/>
                  <a:pt x="1522059" y="6131893"/>
                  <a:pt x="1523212" y="6130222"/>
                </a:cubicBezTo>
                <a:cubicBezTo>
                  <a:pt x="1529158" y="6121248"/>
                  <a:pt x="1537839" y="6119076"/>
                  <a:pt x="1546784" y="6118317"/>
                </a:cubicBezTo>
                <a:close/>
                <a:moveTo>
                  <a:pt x="2020447" y="6105797"/>
                </a:moveTo>
                <a:lnTo>
                  <a:pt x="2018465" y="6107814"/>
                </a:lnTo>
                <a:cubicBezTo>
                  <a:pt x="2015253" y="6110683"/>
                  <a:pt x="2011916" y="6113990"/>
                  <a:pt x="2010212" y="6118243"/>
                </a:cubicBezTo>
                <a:lnTo>
                  <a:pt x="2005737" y="6121257"/>
                </a:lnTo>
                <a:lnTo>
                  <a:pt x="2103452" y="6187855"/>
                </a:lnTo>
                <a:cubicBezTo>
                  <a:pt x="2185151" y="6239760"/>
                  <a:pt x="2268659" y="6288753"/>
                  <a:pt x="2354403" y="6334019"/>
                </a:cubicBezTo>
                <a:lnTo>
                  <a:pt x="2364537" y="6338972"/>
                </a:lnTo>
                <a:lnTo>
                  <a:pt x="2365331" y="6336988"/>
                </a:lnTo>
                <a:cubicBezTo>
                  <a:pt x="2362358" y="6332532"/>
                  <a:pt x="2367029" y="6332244"/>
                  <a:pt x="2368331" y="6330002"/>
                </a:cubicBezTo>
                <a:cubicBezTo>
                  <a:pt x="2370566" y="6326230"/>
                  <a:pt x="2373852" y="6325625"/>
                  <a:pt x="2377252" y="6325339"/>
                </a:cubicBezTo>
                <a:lnTo>
                  <a:pt x="2382683" y="6323782"/>
                </a:lnTo>
                <a:lnTo>
                  <a:pt x="2305710" y="6284079"/>
                </a:lnTo>
                <a:cubicBezTo>
                  <a:pt x="2209751" y="6231269"/>
                  <a:pt x="2116457" y="6173071"/>
                  <a:pt x="2026223" y="6108861"/>
                </a:cubicBezTo>
                <a:close/>
                <a:moveTo>
                  <a:pt x="9958716" y="6095819"/>
                </a:moveTo>
                <a:lnTo>
                  <a:pt x="9957760" y="6096084"/>
                </a:lnTo>
                <a:cubicBezTo>
                  <a:pt x="9936809" y="6101814"/>
                  <a:pt x="9916662" y="6108207"/>
                  <a:pt x="9901208" y="6117114"/>
                </a:cubicBezTo>
                <a:cubicBezTo>
                  <a:pt x="9910025" y="6116263"/>
                  <a:pt x="9920310" y="6115270"/>
                  <a:pt x="9928866" y="6115556"/>
                </a:cubicBezTo>
                <a:lnTo>
                  <a:pt x="9931050" y="6116331"/>
                </a:lnTo>
                <a:lnTo>
                  <a:pt x="9933860" y="6115590"/>
                </a:lnTo>
                <a:cubicBezTo>
                  <a:pt x="9940591" y="6115529"/>
                  <a:pt x="9948915" y="6114591"/>
                  <a:pt x="9949905" y="6104185"/>
                </a:cubicBezTo>
                <a:cubicBezTo>
                  <a:pt x="9950353" y="6100306"/>
                  <a:pt x="9954427" y="6100145"/>
                  <a:pt x="9955581" y="6098474"/>
                </a:cubicBezTo>
                <a:close/>
                <a:moveTo>
                  <a:pt x="7253326" y="6087735"/>
                </a:moveTo>
                <a:lnTo>
                  <a:pt x="7253765" y="6087951"/>
                </a:lnTo>
                <a:lnTo>
                  <a:pt x="7253459" y="6088142"/>
                </a:lnTo>
                <a:close/>
                <a:moveTo>
                  <a:pt x="7667994" y="6046925"/>
                </a:moveTo>
                <a:cubicBezTo>
                  <a:pt x="7669483" y="6045306"/>
                  <a:pt x="7674239" y="6047789"/>
                  <a:pt x="7676574" y="6048601"/>
                </a:cubicBezTo>
                <a:cubicBezTo>
                  <a:pt x="7681983" y="6050673"/>
                  <a:pt x="7689426" y="6048732"/>
                  <a:pt x="7692498" y="6056144"/>
                </a:cubicBezTo>
                <a:cubicBezTo>
                  <a:pt x="7693055" y="6057390"/>
                  <a:pt x="7694349" y="6059083"/>
                  <a:pt x="7696478" y="6059569"/>
                </a:cubicBezTo>
                <a:cubicBezTo>
                  <a:pt x="7699467" y="6059971"/>
                  <a:pt x="7700702" y="6061930"/>
                  <a:pt x="7700568" y="6064976"/>
                </a:cubicBezTo>
                <a:cubicBezTo>
                  <a:pt x="7700676" y="6066958"/>
                  <a:pt x="7701765" y="6068326"/>
                  <a:pt x="7702793" y="6069958"/>
                </a:cubicBezTo>
                <a:cubicBezTo>
                  <a:pt x="7705527" y="6073938"/>
                  <a:pt x="7706276" y="6078024"/>
                  <a:pt x="7703854" y="6082507"/>
                </a:cubicBezTo>
                <a:cubicBezTo>
                  <a:pt x="7702450" y="6084984"/>
                  <a:pt x="7702582" y="6088090"/>
                  <a:pt x="7704880" y="6090292"/>
                </a:cubicBezTo>
                <a:cubicBezTo>
                  <a:pt x="7704638" y="6091355"/>
                  <a:pt x="7704396" y="6092420"/>
                  <a:pt x="7704154" y="6093483"/>
                </a:cubicBezTo>
                <a:cubicBezTo>
                  <a:pt x="7701455" y="6094267"/>
                  <a:pt x="7700027" y="6095619"/>
                  <a:pt x="7699506" y="6099136"/>
                </a:cubicBezTo>
                <a:cubicBezTo>
                  <a:pt x="7698680" y="6103983"/>
                  <a:pt x="7695703" y="6107220"/>
                  <a:pt x="7690136" y="6107070"/>
                </a:cubicBezTo>
                <a:cubicBezTo>
                  <a:pt x="7687679" y="6106790"/>
                  <a:pt x="7687787" y="6108773"/>
                  <a:pt x="7687424" y="6110368"/>
                </a:cubicBezTo>
                <a:cubicBezTo>
                  <a:pt x="7686818" y="6113028"/>
                  <a:pt x="7685632" y="6113316"/>
                  <a:pt x="7683926" y="6110969"/>
                </a:cubicBezTo>
                <a:cubicBezTo>
                  <a:pt x="7681337" y="6107583"/>
                  <a:pt x="7679208" y="6107097"/>
                  <a:pt x="7677378" y="6111435"/>
                </a:cubicBezTo>
                <a:cubicBezTo>
                  <a:pt x="7676871" y="6112438"/>
                  <a:pt x="7675769" y="6113586"/>
                  <a:pt x="7675007" y="6112014"/>
                </a:cubicBezTo>
                <a:cubicBezTo>
                  <a:pt x="7672333" y="6107769"/>
                  <a:pt x="7669453" y="6109350"/>
                  <a:pt x="7666245" y="6111136"/>
                </a:cubicBezTo>
                <a:cubicBezTo>
                  <a:pt x="7665857" y="6111607"/>
                  <a:pt x="7664793" y="6111364"/>
                  <a:pt x="7664260" y="6111244"/>
                </a:cubicBezTo>
                <a:cubicBezTo>
                  <a:pt x="7658719" y="6106065"/>
                  <a:pt x="7653565" y="6100416"/>
                  <a:pt x="7648085" y="6094971"/>
                </a:cubicBezTo>
                <a:cubicBezTo>
                  <a:pt x="7645580" y="6092443"/>
                  <a:pt x="7645134" y="6087027"/>
                  <a:pt x="7644711" y="6082735"/>
                </a:cubicBezTo>
                <a:cubicBezTo>
                  <a:pt x="7644542" y="6081018"/>
                  <a:pt x="7645173" y="6079484"/>
                  <a:pt x="7643878" y="6077790"/>
                </a:cubicBezTo>
                <a:cubicBezTo>
                  <a:pt x="7642583" y="6076097"/>
                  <a:pt x="7643214" y="6074563"/>
                  <a:pt x="7644642" y="6073209"/>
                </a:cubicBezTo>
                <a:cubicBezTo>
                  <a:pt x="7645416" y="6072267"/>
                  <a:pt x="7646784" y="6071180"/>
                  <a:pt x="7646228" y="6069935"/>
                </a:cubicBezTo>
                <a:cubicBezTo>
                  <a:pt x="7644293" y="6066137"/>
                  <a:pt x="7644572" y="6063684"/>
                  <a:pt x="7649195" y="6063060"/>
                </a:cubicBezTo>
                <a:cubicBezTo>
                  <a:pt x="7650321" y="6063037"/>
                  <a:pt x="7650950" y="6061501"/>
                  <a:pt x="7650067" y="6060461"/>
                </a:cubicBezTo>
                <a:cubicBezTo>
                  <a:pt x="7647273" y="6056748"/>
                  <a:pt x="7651303" y="6056268"/>
                  <a:pt x="7652320" y="6054262"/>
                </a:cubicBezTo>
                <a:cubicBezTo>
                  <a:pt x="7655820" y="6047507"/>
                  <a:pt x="7663588" y="6051515"/>
                  <a:pt x="7667994" y="6046925"/>
                </a:cubicBezTo>
                <a:close/>
                <a:moveTo>
                  <a:pt x="552329" y="6014419"/>
                </a:moveTo>
                <a:cubicBezTo>
                  <a:pt x="553978" y="6014473"/>
                  <a:pt x="555850" y="6015246"/>
                  <a:pt x="557417" y="6014841"/>
                </a:cubicBezTo>
                <a:cubicBezTo>
                  <a:pt x="568045" y="6012199"/>
                  <a:pt x="571103" y="6024407"/>
                  <a:pt x="580255" y="6024802"/>
                </a:cubicBezTo>
                <a:cubicBezTo>
                  <a:pt x="583420" y="6024871"/>
                  <a:pt x="585261" y="6032372"/>
                  <a:pt x="586605" y="6035668"/>
                </a:cubicBezTo>
                <a:cubicBezTo>
                  <a:pt x="589512" y="6043484"/>
                  <a:pt x="598688" y="6049683"/>
                  <a:pt x="593599" y="6060054"/>
                </a:cubicBezTo>
                <a:cubicBezTo>
                  <a:pt x="592783" y="6061840"/>
                  <a:pt x="592184" y="6064850"/>
                  <a:pt x="593685" y="6067613"/>
                </a:cubicBezTo>
                <a:cubicBezTo>
                  <a:pt x="596094" y="6071225"/>
                  <a:pt x="595151" y="6074421"/>
                  <a:pt x="591731" y="6077175"/>
                </a:cubicBezTo>
                <a:lnTo>
                  <a:pt x="590375" y="6080141"/>
                </a:lnTo>
                <a:lnTo>
                  <a:pt x="605575" y="6085633"/>
                </a:lnTo>
                <a:cubicBezTo>
                  <a:pt x="610347" y="6087259"/>
                  <a:pt x="615052" y="6089116"/>
                  <a:pt x="618566" y="6093373"/>
                </a:cubicBezTo>
                <a:cubicBezTo>
                  <a:pt x="620011" y="6095287"/>
                  <a:pt x="621526" y="6095225"/>
                  <a:pt x="623373" y="6094013"/>
                </a:cubicBezTo>
                <a:cubicBezTo>
                  <a:pt x="624397" y="6093061"/>
                  <a:pt x="625354" y="6092339"/>
                  <a:pt x="626542" y="6091684"/>
                </a:cubicBezTo>
                <a:cubicBezTo>
                  <a:pt x="627729" y="6091028"/>
                  <a:pt x="629607" y="6090573"/>
                  <a:pt x="630494" y="6091827"/>
                </a:cubicBezTo>
                <a:cubicBezTo>
                  <a:pt x="631610" y="6093148"/>
                  <a:pt x="630618" y="6094857"/>
                  <a:pt x="629528" y="6096039"/>
                </a:cubicBezTo>
                <a:cubicBezTo>
                  <a:pt x="629097" y="6096663"/>
                  <a:pt x="628504" y="6096990"/>
                  <a:pt x="627844" y="6097548"/>
                </a:cubicBezTo>
                <a:cubicBezTo>
                  <a:pt x="622629" y="6101781"/>
                  <a:pt x="623015" y="6105633"/>
                  <a:pt x="629035" y="6108121"/>
                </a:cubicBezTo>
                <a:cubicBezTo>
                  <a:pt x="630120" y="6108682"/>
                  <a:pt x="631273" y="6109015"/>
                  <a:pt x="632128" y="6109512"/>
                </a:cubicBezTo>
                <a:cubicBezTo>
                  <a:pt x="633608" y="6110437"/>
                  <a:pt x="635584" y="6110509"/>
                  <a:pt x="635314" y="6113176"/>
                </a:cubicBezTo>
                <a:cubicBezTo>
                  <a:pt x="635242" y="6115150"/>
                  <a:pt x="634056" y="6115805"/>
                  <a:pt x="632407" y="6116327"/>
                </a:cubicBezTo>
                <a:cubicBezTo>
                  <a:pt x="629340" y="6117439"/>
                  <a:pt x="629106" y="6119117"/>
                  <a:pt x="631042" y="6121921"/>
                </a:cubicBezTo>
                <a:cubicBezTo>
                  <a:pt x="633537" y="6125386"/>
                  <a:pt x="635602" y="6129474"/>
                  <a:pt x="634041" y="6134013"/>
                </a:cubicBezTo>
                <a:cubicBezTo>
                  <a:pt x="632748" y="6137631"/>
                  <a:pt x="633137" y="6139740"/>
                  <a:pt x="637551" y="6140015"/>
                </a:cubicBezTo>
                <a:cubicBezTo>
                  <a:pt x="638538" y="6140050"/>
                  <a:pt x="639624" y="6140613"/>
                  <a:pt x="639686" y="6142129"/>
                </a:cubicBezTo>
                <a:cubicBezTo>
                  <a:pt x="639814" y="6143413"/>
                  <a:pt x="638464" y="6143771"/>
                  <a:pt x="637573" y="6144262"/>
                </a:cubicBezTo>
                <a:cubicBezTo>
                  <a:pt x="635494" y="6145409"/>
                  <a:pt x="633186" y="6146488"/>
                  <a:pt x="631503" y="6147998"/>
                </a:cubicBezTo>
                <a:cubicBezTo>
                  <a:pt x="626421" y="6151770"/>
                  <a:pt x="625853" y="6154600"/>
                  <a:pt x="627847" y="6160663"/>
                </a:cubicBezTo>
                <a:cubicBezTo>
                  <a:pt x="629482" y="6165377"/>
                  <a:pt x="630358" y="6170121"/>
                  <a:pt x="629127" y="6175253"/>
                </a:cubicBezTo>
                <a:cubicBezTo>
                  <a:pt x="628294" y="6179004"/>
                  <a:pt x="626318" y="6178933"/>
                  <a:pt x="623655" y="6176917"/>
                </a:cubicBezTo>
                <a:cubicBezTo>
                  <a:pt x="621781" y="6175627"/>
                  <a:pt x="621227" y="6173223"/>
                  <a:pt x="619947" y="6171605"/>
                </a:cubicBezTo>
                <a:cubicBezTo>
                  <a:pt x="618502" y="6169691"/>
                  <a:pt x="616499" y="6167118"/>
                  <a:pt x="614124" y="6168428"/>
                </a:cubicBezTo>
                <a:cubicBezTo>
                  <a:pt x="611386" y="6170132"/>
                  <a:pt x="611740" y="6173228"/>
                  <a:pt x="613216" y="6175899"/>
                </a:cubicBezTo>
                <a:cubicBezTo>
                  <a:pt x="613872" y="6177086"/>
                  <a:pt x="614988" y="6178406"/>
                  <a:pt x="615577" y="6179823"/>
                </a:cubicBezTo>
                <a:cubicBezTo>
                  <a:pt x="616398" y="6181308"/>
                  <a:pt x="616920" y="6182955"/>
                  <a:pt x="615072" y="6184168"/>
                </a:cubicBezTo>
                <a:cubicBezTo>
                  <a:pt x="613522" y="6185218"/>
                  <a:pt x="612339" y="6184127"/>
                  <a:pt x="611289" y="6182577"/>
                </a:cubicBezTo>
                <a:cubicBezTo>
                  <a:pt x="610172" y="6181257"/>
                  <a:pt x="609122" y="6179707"/>
                  <a:pt x="607939" y="6178617"/>
                </a:cubicBezTo>
                <a:cubicBezTo>
                  <a:pt x="606264" y="6176637"/>
                  <a:pt x="603761" y="6176663"/>
                  <a:pt x="601749" y="6177579"/>
                </a:cubicBezTo>
                <a:cubicBezTo>
                  <a:pt x="599738" y="6178495"/>
                  <a:pt x="600061" y="6180833"/>
                  <a:pt x="600286" y="6182645"/>
                </a:cubicBezTo>
                <a:cubicBezTo>
                  <a:pt x="601417" y="6191702"/>
                  <a:pt x="611940" y="6198481"/>
                  <a:pt x="621169" y="6195906"/>
                </a:cubicBezTo>
                <a:cubicBezTo>
                  <a:pt x="625520" y="6194668"/>
                  <a:pt x="626703" y="6195758"/>
                  <a:pt x="626100" y="6199576"/>
                </a:cubicBezTo>
                <a:cubicBezTo>
                  <a:pt x="625063" y="6205762"/>
                  <a:pt x="626698" y="6210475"/>
                  <a:pt x="632090" y="6214276"/>
                </a:cubicBezTo>
                <a:cubicBezTo>
                  <a:pt x="633570" y="6215202"/>
                  <a:pt x="635772" y="6217085"/>
                  <a:pt x="634350" y="6219419"/>
                </a:cubicBezTo>
                <a:cubicBezTo>
                  <a:pt x="631305" y="6224776"/>
                  <a:pt x="632213" y="6230278"/>
                  <a:pt x="633879" y="6235748"/>
                </a:cubicBezTo>
                <a:cubicBezTo>
                  <a:pt x="635186" y="6239867"/>
                  <a:pt x="634947" y="6243291"/>
                  <a:pt x="631217" y="6246704"/>
                </a:cubicBezTo>
                <a:cubicBezTo>
                  <a:pt x="627189" y="6250281"/>
                  <a:pt x="628071" y="6253280"/>
                  <a:pt x="633333" y="6255798"/>
                </a:cubicBezTo>
                <a:cubicBezTo>
                  <a:pt x="633565" y="6255863"/>
                  <a:pt x="633795" y="6255930"/>
                  <a:pt x="634025" y="6255996"/>
                </a:cubicBezTo>
                <a:cubicBezTo>
                  <a:pt x="636032" y="6256825"/>
                  <a:pt x="637973" y="6257884"/>
                  <a:pt x="637605" y="6260023"/>
                </a:cubicBezTo>
                <a:cubicBezTo>
                  <a:pt x="637468" y="6262229"/>
                  <a:pt x="635000" y="6261267"/>
                  <a:pt x="633648" y="6261625"/>
                </a:cubicBezTo>
                <a:cubicBezTo>
                  <a:pt x="625212" y="6263181"/>
                  <a:pt x="620556" y="6268074"/>
                  <a:pt x="619545" y="6276764"/>
                </a:cubicBezTo>
                <a:cubicBezTo>
                  <a:pt x="619209" y="6279660"/>
                  <a:pt x="617821" y="6281006"/>
                  <a:pt x="615185" y="6281493"/>
                </a:cubicBezTo>
                <a:cubicBezTo>
                  <a:pt x="613604" y="6281784"/>
                  <a:pt x="612088" y="6281846"/>
                  <a:pt x="610506" y="6282138"/>
                </a:cubicBezTo>
                <a:cubicBezTo>
                  <a:pt x="608397" y="6282527"/>
                  <a:pt x="607307" y="6283708"/>
                  <a:pt x="607170" y="6285914"/>
                </a:cubicBezTo>
                <a:lnTo>
                  <a:pt x="607778" y="6287675"/>
                </a:lnTo>
                <a:lnTo>
                  <a:pt x="584602" y="6300386"/>
                </a:lnTo>
                <a:lnTo>
                  <a:pt x="585995" y="6297015"/>
                </a:lnTo>
                <a:cubicBezTo>
                  <a:pt x="586987" y="6295307"/>
                  <a:pt x="587253" y="6294386"/>
                  <a:pt x="585512" y="6292635"/>
                </a:cubicBezTo>
                <a:cubicBezTo>
                  <a:pt x="583474" y="6291049"/>
                  <a:pt x="582219" y="6291935"/>
                  <a:pt x="580900" y="6293050"/>
                </a:cubicBezTo>
                <a:cubicBezTo>
                  <a:pt x="579943" y="6293772"/>
                  <a:pt x="579447" y="6294626"/>
                  <a:pt x="578654" y="6295645"/>
                </a:cubicBezTo>
                <a:cubicBezTo>
                  <a:pt x="575184" y="6299882"/>
                  <a:pt x="573735" y="6299713"/>
                  <a:pt x="571409" y="6294802"/>
                </a:cubicBezTo>
                <a:cubicBezTo>
                  <a:pt x="570983" y="6293681"/>
                  <a:pt x="570395" y="6292263"/>
                  <a:pt x="569012" y="6291864"/>
                </a:cubicBezTo>
                <a:cubicBezTo>
                  <a:pt x="567333" y="6291630"/>
                  <a:pt x="566801" y="6293472"/>
                  <a:pt x="566008" y="6294490"/>
                </a:cubicBezTo>
                <a:cubicBezTo>
                  <a:pt x="565282" y="6295278"/>
                  <a:pt x="564784" y="6296132"/>
                  <a:pt x="564519" y="6297053"/>
                </a:cubicBezTo>
                <a:cubicBezTo>
                  <a:pt x="563609" y="6298912"/>
                  <a:pt x="562594" y="6299616"/>
                  <a:pt x="561556" y="6299535"/>
                </a:cubicBezTo>
                <a:cubicBezTo>
                  <a:pt x="560520" y="6299454"/>
                  <a:pt x="559459" y="6298586"/>
                  <a:pt x="558458" y="6297300"/>
                </a:cubicBezTo>
                <a:cubicBezTo>
                  <a:pt x="556521" y="6294495"/>
                  <a:pt x="554719" y="6291231"/>
                  <a:pt x="552782" y="6288427"/>
                </a:cubicBezTo>
                <a:cubicBezTo>
                  <a:pt x="550518" y="6285029"/>
                  <a:pt x="547594" y="6282190"/>
                  <a:pt x="543309" y="6283199"/>
                </a:cubicBezTo>
                <a:cubicBezTo>
                  <a:pt x="539916" y="6283716"/>
                  <a:pt x="538866" y="6282165"/>
                  <a:pt x="537851" y="6279627"/>
                </a:cubicBezTo>
                <a:cubicBezTo>
                  <a:pt x="535725" y="6274024"/>
                  <a:pt x="532575" y="6269372"/>
                  <a:pt x="525724" y="6268893"/>
                </a:cubicBezTo>
                <a:cubicBezTo>
                  <a:pt x="523978" y="6268888"/>
                  <a:pt x="523717" y="6268064"/>
                  <a:pt x="523952" y="6266386"/>
                </a:cubicBezTo>
                <a:cubicBezTo>
                  <a:pt x="526288" y="6254836"/>
                  <a:pt x="524240" y="6243767"/>
                  <a:pt x="520315" y="6233154"/>
                </a:cubicBezTo>
                <a:cubicBezTo>
                  <a:pt x="519301" y="6230616"/>
                  <a:pt x="520160" y="6229368"/>
                  <a:pt x="521680" y="6227562"/>
                </a:cubicBezTo>
                <a:cubicBezTo>
                  <a:pt x="525181" y="6224081"/>
                  <a:pt x="529044" y="6220207"/>
                  <a:pt x="528760" y="6215135"/>
                </a:cubicBezTo>
                <a:cubicBezTo>
                  <a:pt x="528477" y="6210065"/>
                  <a:pt x="530559" y="6207173"/>
                  <a:pt x="533927" y="6204154"/>
                </a:cubicBezTo>
                <a:cubicBezTo>
                  <a:pt x="534951" y="6203202"/>
                  <a:pt x="535744" y="6202184"/>
                  <a:pt x="536835" y="6201001"/>
                </a:cubicBezTo>
                <a:cubicBezTo>
                  <a:pt x="541757" y="6195187"/>
                  <a:pt x="547007" y="6189967"/>
                  <a:pt x="555081" y="6188805"/>
                </a:cubicBezTo>
                <a:cubicBezTo>
                  <a:pt x="556595" y="6188744"/>
                  <a:pt x="556861" y="6187823"/>
                  <a:pt x="557194" y="6186671"/>
                </a:cubicBezTo>
                <a:cubicBezTo>
                  <a:pt x="557960" y="6183150"/>
                  <a:pt x="554133" y="6173065"/>
                  <a:pt x="551173" y="6171213"/>
                </a:cubicBezTo>
                <a:cubicBezTo>
                  <a:pt x="546436" y="6168599"/>
                  <a:pt x="542789" y="6164801"/>
                  <a:pt x="540463" y="6159889"/>
                </a:cubicBezTo>
                <a:cubicBezTo>
                  <a:pt x="537088" y="6153427"/>
                  <a:pt x="534469" y="6146933"/>
                  <a:pt x="531390" y="6140307"/>
                </a:cubicBezTo>
                <a:cubicBezTo>
                  <a:pt x="530407" y="6138526"/>
                  <a:pt x="531364" y="6137804"/>
                  <a:pt x="532618" y="6136919"/>
                </a:cubicBezTo>
                <a:cubicBezTo>
                  <a:pt x="538227" y="6133049"/>
                  <a:pt x="538227" y="6133049"/>
                  <a:pt x="534155" y="6128133"/>
                </a:cubicBezTo>
                <a:cubicBezTo>
                  <a:pt x="530544" y="6123349"/>
                  <a:pt x="530978" y="6120979"/>
                  <a:pt x="536388" y="6117801"/>
                </a:cubicBezTo>
                <a:cubicBezTo>
                  <a:pt x="538763" y="6116490"/>
                  <a:pt x="541205" y="6114950"/>
                  <a:pt x="541444" y="6111527"/>
                </a:cubicBezTo>
                <a:lnTo>
                  <a:pt x="542629" y="6109689"/>
                </a:lnTo>
                <a:lnTo>
                  <a:pt x="536317" y="6105942"/>
                </a:lnTo>
                <a:cubicBezTo>
                  <a:pt x="534283" y="6103019"/>
                  <a:pt x="532244" y="6105023"/>
                  <a:pt x="530173" y="6106147"/>
                </a:cubicBezTo>
                <a:cubicBezTo>
                  <a:pt x="526723" y="6108021"/>
                  <a:pt x="525284" y="6107014"/>
                  <a:pt x="526197" y="6102940"/>
                </a:cubicBezTo>
                <a:cubicBezTo>
                  <a:pt x="527394" y="6096921"/>
                  <a:pt x="525893" y="6094156"/>
                  <a:pt x="519465" y="6096306"/>
                </a:cubicBezTo>
                <a:cubicBezTo>
                  <a:pt x="517898" y="6096712"/>
                  <a:pt x="515610" y="6096612"/>
                  <a:pt x="516584" y="6094293"/>
                </a:cubicBezTo>
                <a:cubicBezTo>
                  <a:pt x="518629" y="6087366"/>
                  <a:pt x="514180" y="6085757"/>
                  <a:pt x="509199" y="6083989"/>
                </a:cubicBezTo>
                <a:cubicBezTo>
                  <a:pt x="508321" y="6084019"/>
                  <a:pt x="507569" y="6082637"/>
                  <a:pt x="507195" y="6081947"/>
                </a:cubicBezTo>
                <a:cubicBezTo>
                  <a:pt x="507520" y="6071033"/>
                  <a:pt x="508724" y="6060089"/>
                  <a:pt x="509394" y="6048987"/>
                </a:cubicBezTo>
                <a:cubicBezTo>
                  <a:pt x="509744" y="6043875"/>
                  <a:pt x="515173" y="6038242"/>
                  <a:pt x="519409" y="6033703"/>
                </a:cubicBezTo>
                <a:cubicBezTo>
                  <a:pt x="521103" y="6031888"/>
                  <a:pt x="523361" y="6031109"/>
                  <a:pt x="523960" y="6028098"/>
                </a:cubicBezTo>
                <a:cubicBezTo>
                  <a:pt x="524559" y="6025089"/>
                  <a:pt x="526816" y="6024310"/>
                  <a:pt x="529637" y="6024568"/>
                </a:cubicBezTo>
                <a:cubicBezTo>
                  <a:pt x="531392" y="6024508"/>
                  <a:pt x="533868" y="6024953"/>
                  <a:pt x="534684" y="6023167"/>
                </a:cubicBezTo>
                <a:cubicBezTo>
                  <a:pt x="536948" y="6017463"/>
                  <a:pt x="539864" y="6015431"/>
                  <a:pt x="544937" y="6019833"/>
                </a:cubicBezTo>
                <a:cubicBezTo>
                  <a:pt x="546033" y="6021027"/>
                  <a:pt x="548291" y="6020248"/>
                  <a:pt x="548575" y="6018304"/>
                </a:cubicBezTo>
                <a:cubicBezTo>
                  <a:pt x="549252" y="6015028"/>
                  <a:pt x="550679" y="6014364"/>
                  <a:pt x="552329" y="6014419"/>
                </a:cubicBezTo>
                <a:close/>
                <a:moveTo>
                  <a:pt x="9283161" y="6013625"/>
                </a:moveTo>
                <a:lnTo>
                  <a:pt x="9283853" y="6014195"/>
                </a:lnTo>
                <a:lnTo>
                  <a:pt x="9277283" y="6014191"/>
                </a:lnTo>
                <a:cubicBezTo>
                  <a:pt x="9277283" y="6014191"/>
                  <a:pt x="9283161" y="6013625"/>
                  <a:pt x="9283161" y="6013625"/>
                </a:cubicBezTo>
                <a:close/>
                <a:moveTo>
                  <a:pt x="11738761" y="6004428"/>
                </a:moveTo>
                <a:lnTo>
                  <a:pt x="11738740" y="6004792"/>
                </a:lnTo>
                <a:lnTo>
                  <a:pt x="11738446" y="6004701"/>
                </a:lnTo>
                <a:close/>
                <a:moveTo>
                  <a:pt x="1320630" y="6004156"/>
                </a:moveTo>
                <a:cubicBezTo>
                  <a:pt x="1321861" y="6004197"/>
                  <a:pt x="1323258" y="6004773"/>
                  <a:pt x="1324428" y="6004471"/>
                </a:cubicBezTo>
                <a:cubicBezTo>
                  <a:pt x="1332361" y="6002499"/>
                  <a:pt x="1334644" y="6011611"/>
                  <a:pt x="1341475" y="6011906"/>
                </a:cubicBezTo>
                <a:cubicBezTo>
                  <a:pt x="1343838" y="6011958"/>
                  <a:pt x="1345212" y="6017556"/>
                  <a:pt x="1346214" y="6020017"/>
                </a:cubicBezTo>
                <a:cubicBezTo>
                  <a:pt x="1348384" y="6025851"/>
                  <a:pt x="1355234" y="6030478"/>
                  <a:pt x="1351435" y="6038218"/>
                </a:cubicBezTo>
                <a:cubicBezTo>
                  <a:pt x="1350826" y="6039551"/>
                  <a:pt x="1350378" y="6041798"/>
                  <a:pt x="1351499" y="6043861"/>
                </a:cubicBezTo>
                <a:cubicBezTo>
                  <a:pt x="1353297" y="6046556"/>
                  <a:pt x="1352593" y="6048943"/>
                  <a:pt x="1350040" y="6050998"/>
                </a:cubicBezTo>
                <a:cubicBezTo>
                  <a:pt x="1348519" y="6052493"/>
                  <a:pt x="1348189" y="6054341"/>
                  <a:pt x="1347602" y="6056329"/>
                </a:cubicBezTo>
                <a:cubicBezTo>
                  <a:pt x="1346334" y="6061360"/>
                  <a:pt x="1343569" y="6064866"/>
                  <a:pt x="1338233" y="6066095"/>
                </a:cubicBezTo>
                <a:cubicBezTo>
                  <a:pt x="1335238" y="6066721"/>
                  <a:pt x="1332825" y="6069033"/>
                  <a:pt x="1332681" y="6072451"/>
                </a:cubicBezTo>
                <a:cubicBezTo>
                  <a:pt x="1331652" y="6073011"/>
                  <a:pt x="1330621" y="6073570"/>
                  <a:pt x="1329592" y="6074129"/>
                </a:cubicBezTo>
                <a:cubicBezTo>
                  <a:pt x="1327043" y="6072509"/>
                  <a:pt x="1324938" y="6072318"/>
                  <a:pt x="1321731" y="6074394"/>
                </a:cubicBezTo>
                <a:cubicBezTo>
                  <a:pt x="1317236" y="6077169"/>
                  <a:pt x="1312510" y="6077066"/>
                  <a:pt x="1308678" y="6072469"/>
                </a:cubicBezTo>
                <a:cubicBezTo>
                  <a:pt x="1307161" y="6070289"/>
                  <a:pt x="1305638" y="6071783"/>
                  <a:pt x="1304094" y="6072623"/>
                </a:cubicBezTo>
                <a:cubicBezTo>
                  <a:pt x="1301518" y="6074023"/>
                  <a:pt x="1300444" y="6073271"/>
                  <a:pt x="1301125" y="6070228"/>
                </a:cubicBezTo>
                <a:cubicBezTo>
                  <a:pt x="1302019" y="6065736"/>
                  <a:pt x="1300898" y="6063673"/>
                  <a:pt x="1296101" y="6065278"/>
                </a:cubicBezTo>
                <a:cubicBezTo>
                  <a:pt x="1294931" y="6065580"/>
                  <a:pt x="1293223" y="6065506"/>
                  <a:pt x="1293950" y="6063775"/>
                </a:cubicBezTo>
                <a:cubicBezTo>
                  <a:pt x="1295476" y="6058604"/>
                  <a:pt x="1292156" y="6057403"/>
                  <a:pt x="1288437" y="6056085"/>
                </a:cubicBezTo>
                <a:cubicBezTo>
                  <a:pt x="1287782" y="6056106"/>
                  <a:pt x="1287222" y="6055075"/>
                  <a:pt x="1286942" y="6054559"/>
                </a:cubicBezTo>
                <a:cubicBezTo>
                  <a:pt x="1287185" y="6046413"/>
                  <a:pt x="1288083" y="6038244"/>
                  <a:pt x="1288583" y="6029958"/>
                </a:cubicBezTo>
                <a:cubicBezTo>
                  <a:pt x="1288845" y="6026143"/>
                  <a:pt x="1292897" y="6021938"/>
                  <a:pt x="1296059" y="6018550"/>
                </a:cubicBezTo>
                <a:cubicBezTo>
                  <a:pt x="1297323" y="6017195"/>
                  <a:pt x="1299008" y="6016613"/>
                  <a:pt x="1299455" y="6014367"/>
                </a:cubicBezTo>
                <a:cubicBezTo>
                  <a:pt x="1299902" y="6012121"/>
                  <a:pt x="1301587" y="6011538"/>
                  <a:pt x="1303694" y="6011730"/>
                </a:cubicBezTo>
                <a:cubicBezTo>
                  <a:pt x="1305003" y="6011687"/>
                  <a:pt x="1306850" y="6012018"/>
                  <a:pt x="1307461" y="6010685"/>
                </a:cubicBezTo>
                <a:cubicBezTo>
                  <a:pt x="1309149" y="6006428"/>
                  <a:pt x="1311327" y="6004911"/>
                  <a:pt x="1315113" y="6008197"/>
                </a:cubicBezTo>
                <a:cubicBezTo>
                  <a:pt x="1315931" y="6009089"/>
                  <a:pt x="1317616" y="6008507"/>
                  <a:pt x="1317828" y="6007056"/>
                </a:cubicBezTo>
                <a:cubicBezTo>
                  <a:pt x="1318334" y="6004611"/>
                  <a:pt x="1319399" y="6004115"/>
                  <a:pt x="1320630" y="6004156"/>
                </a:cubicBezTo>
                <a:close/>
                <a:moveTo>
                  <a:pt x="11270502" y="6001372"/>
                </a:moveTo>
                <a:cubicBezTo>
                  <a:pt x="11271825" y="6002004"/>
                  <a:pt x="11274063" y="6002487"/>
                  <a:pt x="11276144" y="6001399"/>
                </a:cubicBezTo>
                <a:cubicBezTo>
                  <a:pt x="11278870" y="5999645"/>
                  <a:pt x="11281244" y="6000387"/>
                  <a:pt x="11283258" y="6002972"/>
                </a:cubicBezTo>
                <a:cubicBezTo>
                  <a:pt x="11284727" y="6004518"/>
                  <a:pt x="11286571" y="6004878"/>
                  <a:pt x="11288549" y="6005497"/>
                </a:cubicBezTo>
                <a:cubicBezTo>
                  <a:pt x="11293559" y="6006847"/>
                  <a:pt x="11297020" y="6009667"/>
                  <a:pt x="11298162" y="6015021"/>
                </a:cubicBezTo>
                <a:cubicBezTo>
                  <a:pt x="11298740" y="6018026"/>
                  <a:pt x="11301014" y="6020476"/>
                  <a:pt x="11304427" y="6020675"/>
                </a:cubicBezTo>
                <a:cubicBezTo>
                  <a:pt x="11304970" y="6021714"/>
                  <a:pt x="11305513" y="6022752"/>
                  <a:pt x="11306056" y="6023791"/>
                </a:cubicBezTo>
                <a:cubicBezTo>
                  <a:pt x="11304395" y="6026313"/>
                  <a:pt x="11304170" y="6028416"/>
                  <a:pt x="11306194" y="6031655"/>
                </a:cubicBezTo>
                <a:cubicBezTo>
                  <a:pt x="11308898" y="6036194"/>
                  <a:pt x="11308717" y="6040918"/>
                  <a:pt x="11304059" y="6044675"/>
                </a:cubicBezTo>
                <a:cubicBezTo>
                  <a:pt x="11301855" y="6046157"/>
                  <a:pt x="11303324" y="6047705"/>
                  <a:pt x="11304140" y="6049262"/>
                </a:cubicBezTo>
                <a:cubicBezTo>
                  <a:pt x="11305496" y="6051860"/>
                  <a:pt x="11304728" y="6052922"/>
                  <a:pt x="11301697" y="6052191"/>
                </a:cubicBezTo>
                <a:cubicBezTo>
                  <a:pt x="11297219" y="6051225"/>
                  <a:pt x="11295139" y="6052313"/>
                  <a:pt x="11296666" y="6057136"/>
                </a:cubicBezTo>
                <a:cubicBezTo>
                  <a:pt x="11296950" y="6058311"/>
                  <a:pt x="11296848" y="6060017"/>
                  <a:pt x="11295130" y="6059263"/>
                </a:cubicBezTo>
                <a:cubicBezTo>
                  <a:pt x="11289983" y="6057653"/>
                  <a:pt x="11288729" y="6060953"/>
                  <a:pt x="11287350" y="6064650"/>
                </a:cubicBezTo>
                <a:cubicBezTo>
                  <a:pt x="11287361" y="6065305"/>
                  <a:pt x="11286321" y="6065849"/>
                  <a:pt x="11285801" y="6066120"/>
                </a:cubicBezTo>
                <a:cubicBezTo>
                  <a:pt x="11277660" y="6065747"/>
                  <a:pt x="11269508" y="6064718"/>
                  <a:pt x="11261231" y="6064083"/>
                </a:cubicBezTo>
                <a:cubicBezTo>
                  <a:pt x="11257419" y="6063760"/>
                  <a:pt x="11253280" y="6059642"/>
                  <a:pt x="11249944" y="6056425"/>
                </a:cubicBezTo>
                <a:cubicBezTo>
                  <a:pt x="11248610" y="6055138"/>
                  <a:pt x="11248054" y="6053445"/>
                  <a:pt x="11245815" y="6052961"/>
                </a:cubicBezTo>
                <a:cubicBezTo>
                  <a:pt x="11243577" y="6052478"/>
                  <a:pt x="11243022" y="6050783"/>
                  <a:pt x="11243248" y="6048682"/>
                </a:cubicBezTo>
                <a:cubicBezTo>
                  <a:pt x="11243226" y="6047371"/>
                  <a:pt x="11243586" y="6045528"/>
                  <a:pt x="11242263" y="6044897"/>
                </a:cubicBezTo>
                <a:cubicBezTo>
                  <a:pt x="11238034" y="6043140"/>
                  <a:pt x="11236552" y="6040939"/>
                  <a:pt x="11239899" y="6037206"/>
                </a:cubicBezTo>
                <a:cubicBezTo>
                  <a:pt x="11240804" y="6036402"/>
                  <a:pt x="11240249" y="6034708"/>
                  <a:pt x="11238801" y="6034472"/>
                </a:cubicBezTo>
                <a:cubicBezTo>
                  <a:pt x="11233928" y="6033383"/>
                  <a:pt x="11236889" y="6030181"/>
                  <a:pt x="11236325" y="6027832"/>
                </a:cubicBezTo>
                <a:cubicBezTo>
                  <a:pt x="11234479" y="6019869"/>
                  <a:pt x="11243626" y="6017733"/>
                  <a:pt x="11244032" y="6010907"/>
                </a:cubicBezTo>
                <a:cubicBezTo>
                  <a:pt x="11244122" y="6008545"/>
                  <a:pt x="11249742" y="6007262"/>
                  <a:pt x="11252219" y="6006298"/>
                </a:cubicBezTo>
                <a:cubicBezTo>
                  <a:pt x="11258087" y="6004223"/>
                  <a:pt x="11262823" y="5997449"/>
                  <a:pt x="11270502" y="6001372"/>
                </a:cubicBezTo>
                <a:close/>
                <a:moveTo>
                  <a:pt x="9822375" y="5976414"/>
                </a:moveTo>
                <a:cubicBezTo>
                  <a:pt x="9822375" y="5976414"/>
                  <a:pt x="9825598" y="5979069"/>
                  <a:pt x="9825598" y="5979069"/>
                </a:cubicBezTo>
                <a:cubicBezTo>
                  <a:pt x="9825598" y="5979069"/>
                  <a:pt x="9822942" y="5982293"/>
                  <a:pt x="9819719" y="5979637"/>
                </a:cubicBezTo>
                <a:cubicBezTo>
                  <a:pt x="9822375" y="5976414"/>
                  <a:pt x="9822375" y="5976414"/>
                  <a:pt x="9822375" y="5976414"/>
                </a:cubicBezTo>
                <a:close/>
                <a:moveTo>
                  <a:pt x="782721" y="5966194"/>
                </a:moveTo>
                <a:cubicBezTo>
                  <a:pt x="786427" y="5968212"/>
                  <a:pt x="789694" y="5970104"/>
                  <a:pt x="793653" y="5971247"/>
                </a:cubicBezTo>
                <a:cubicBezTo>
                  <a:pt x="797614" y="5972391"/>
                  <a:pt x="800814" y="5976162"/>
                  <a:pt x="801562" y="5980172"/>
                </a:cubicBezTo>
                <a:cubicBezTo>
                  <a:pt x="801998" y="5983620"/>
                  <a:pt x="802812" y="5985752"/>
                  <a:pt x="805072" y="5987829"/>
                </a:cubicBezTo>
                <a:cubicBezTo>
                  <a:pt x="803555" y="5993084"/>
                  <a:pt x="802038" y="5998341"/>
                  <a:pt x="800521" y="6003596"/>
                </a:cubicBezTo>
                <a:cubicBezTo>
                  <a:pt x="795490" y="6004517"/>
                  <a:pt x="790959" y="6007004"/>
                  <a:pt x="788062" y="6010438"/>
                </a:cubicBezTo>
                <a:cubicBezTo>
                  <a:pt x="784850" y="6013307"/>
                  <a:pt x="781952" y="6016741"/>
                  <a:pt x="778615" y="6020047"/>
                </a:cubicBezTo>
                <a:cubicBezTo>
                  <a:pt x="775403" y="6022917"/>
                  <a:pt x="772066" y="6026223"/>
                  <a:pt x="770362" y="6030477"/>
                </a:cubicBezTo>
                <a:cubicBezTo>
                  <a:pt x="768344" y="6034165"/>
                  <a:pt x="765199" y="6035154"/>
                  <a:pt x="761487" y="6036455"/>
                </a:cubicBezTo>
                <a:cubicBezTo>
                  <a:pt x="757775" y="6037756"/>
                  <a:pt x="753502" y="6036049"/>
                  <a:pt x="750417" y="6038480"/>
                </a:cubicBezTo>
                <a:cubicBezTo>
                  <a:pt x="747338" y="6037591"/>
                  <a:pt x="744698" y="6036828"/>
                  <a:pt x="741619" y="6035940"/>
                </a:cubicBezTo>
                <a:cubicBezTo>
                  <a:pt x="741997" y="6034626"/>
                  <a:pt x="741684" y="6034062"/>
                  <a:pt x="740804" y="6033807"/>
                </a:cubicBezTo>
                <a:cubicBezTo>
                  <a:pt x="734204" y="6031902"/>
                  <a:pt x="731949" y="6026507"/>
                  <a:pt x="731266" y="6020616"/>
                </a:cubicBezTo>
                <a:cubicBezTo>
                  <a:pt x="730458" y="6015162"/>
                  <a:pt x="729082" y="6010021"/>
                  <a:pt x="731606" y="6004581"/>
                </a:cubicBezTo>
                <a:cubicBezTo>
                  <a:pt x="734694" y="5998830"/>
                  <a:pt x="736152" y="5992134"/>
                  <a:pt x="742822" y="5988839"/>
                </a:cubicBezTo>
                <a:cubicBezTo>
                  <a:pt x="745088" y="5987595"/>
                  <a:pt x="747227" y="5986789"/>
                  <a:pt x="750558" y="5986802"/>
                </a:cubicBezTo>
                <a:cubicBezTo>
                  <a:pt x="755338" y="5986758"/>
                  <a:pt x="761249" y="5986092"/>
                  <a:pt x="761951" y="5978704"/>
                </a:cubicBezTo>
                <a:cubicBezTo>
                  <a:pt x="762270" y="5975949"/>
                  <a:pt x="765163" y="5975834"/>
                  <a:pt x="765982" y="5974648"/>
                </a:cubicBezTo>
                <a:cubicBezTo>
                  <a:pt x="770205" y="5968275"/>
                  <a:pt x="776369" y="5966733"/>
                  <a:pt x="782721" y="5966194"/>
                </a:cubicBezTo>
                <a:close/>
                <a:moveTo>
                  <a:pt x="9812142" y="5962571"/>
                </a:moveTo>
                <a:cubicBezTo>
                  <a:pt x="9809486" y="5965794"/>
                  <a:pt x="9809486" y="5965794"/>
                  <a:pt x="9809486" y="5965794"/>
                </a:cubicBezTo>
                <a:cubicBezTo>
                  <a:pt x="9800953" y="5969584"/>
                  <a:pt x="9800953" y="5969584"/>
                  <a:pt x="9806264" y="5963138"/>
                </a:cubicBezTo>
                <a:cubicBezTo>
                  <a:pt x="9812142" y="5962571"/>
                  <a:pt x="9812142" y="5962571"/>
                  <a:pt x="9812142" y="5962571"/>
                </a:cubicBezTo>
                <a:close/>
                <a:moveTo>
                  <a:pt x="11514286" y="5956658"/>
                </a:moveTo>
                <a:cubicBezTo>
                  <a:pt x="11515609" y="5957289"/>
                  <a:pt x="11517848" y="5957772"/>
                  <a:pt x="11519930" y="5956685"/>
                </a:cubicBezTo>
                <a:cubicBezTo>
                  <a:pt x="11522654" y="5954930"/>
                  <a:pt x="11525028" y="5955673"/>
                  <a:pt x="11527042" y="5958258"/>
                </a:cubicBezTo>
                <a:cubicBezTo>
                  <a:pt x="11528513" y="5959804"/>
                  <a:pt x="11530355" y="5960164"/>
                  <a:pt x="11532334" y="5960782"/>
                </a:cubicBezTo>
                <a:cubicBezTo>
                  <a:pt x="11537343" y="5962133"/>
                  <a:pt x="11540804" y="5964953"/>
                  <a:pt x="11541947" y="5970308"/>
                </a:cubicBezTo>
                <a:cubicBezTo>
                  <a:pt x="11542524" y="5973313"/>
                  <a:pt x="11544798" y="5975761"/>
                  <a:pt x="11548212" y="5975961"/>
                </a:cubicBezTo>
                <a:cubicBezTo>
                  <a:pt x="11548755" y="5977000"/>
                  <a:pt x="11549298" y="5978039"/>
                  <a:pt x="11549841" y="5979077"/>
                </a:cubicBezTo>
                <a:cubicBezTo>
                  <a:pt x="11548181" y="5981599"/>
                  <a:pt x="11547954" y="5983701"/>
                  <a:pt x="11549978" y="5986942"/>
                </a:cubicBezTo>
                <a:cubicBezTo>
                  <a:pt x="11552682" y="5991481"/>
                  <a:pt x="11552502" y="5996203"/>
                  <a:pt x="11547845" y="5999961"/>
                </a:cubicBezTo>
                <a:cubicBezTo>
                  <a:pt x="11545639" y="6001444"/>
                  <a:pt x="11547110" y="6002990"/>
                  <a:pt x="11547924" y="6004548"/>
                </a:cubicBezTo>
                <a:cubicBezTo>
                  <a:pt x="11549282" y="6007145"/>
                  <a:pt x="11548512" y="6008209"/>
                  <a:pt x="11545483" y="6007478"/>
                </a:cubicBezTo>
                <a:cubicBezTo>
                  <a:pt x="11541005" y="6006512"/>
                  <a:pt x="11538925" y="6007599"/>
                  <a:pt x="11540451" y="6012421"/>
                </a:cubicBezTo>
                <a:cubicBezTo>
                  <a:pt x="11540734" y="6013597"/>
                  <a:pt x="11540632" y="6015303"/>
                  <a:pt x="11538914" y="6014548"/>
                </a:cubicBezTo>
                <a:cubicBezTo>
                  <a:pt x="11533769" y="6012939"/>
                  <a:pt x="11532514" y="6016240"/>
                  <a:pt x="11531135" y="6019936"/>
                </a:cubicBezTo>
                <a:cubicBezTo>
                  <a:pt x="11531146" y="6020592"/>
                  <a:pt x="11530106" y="6021136"/>
                  <a:pt x="11529586" y="6021407"/>
                </a:cubicBezTo>
                <a:cubicBezTo>
                  <a:pt x="11521446" y="6021033"/>
                  <a:pt x="11513292" y="6020003"/>
                  <a:pt x="11505015" y="6019370"/>
                </a:cubicBezTo>
                <a:cubicBezTo>
                  <a:pt x="11501205" y="6019046"/>
                  <a:pt x="11497065" y="6014927"/>
                  <a:pt x="11493728" y="6011711"/>
                </a:cubicBezTo>
                <a:cubicBezTo>
                  <a:pt x="11492394" y="6010425"/>
                  <a:pt x="11491839" y="6008730"/>
                  <a:pt x="11489600" y="6008247"/>
                </a:cubicBezTo>
                <a:cubicBezTo>
                  <a:pt x="11487361" y="6007763"/>
                  <a:pt x="11486808" y="6006070"/>
                  <a:pt x="11487033" y="6003968"/>
                </a:cubicBezTo>
                <a:cubicBezTo>
                  <a:pt x="11487010" y="6002657"/>
                  <a:pt x="11487371" y="6000815"/>
                  <a:pt x="11486048" y="6000184"/>
                </a:cubicBezTo>
                <a:cubicBezTo>
                  <a:pt x="11481820" y="5998426"/>
                  <a:pt x="11480338" y="5996224"/>
                  <a:pt x="11483685" y="5992491"/>
                </a:cubicBezTo>
                <a:cubicBezTo>
                  <a:pt x="11484588" y="5991689"/>
                  <a:pt x="11484035" y="5989994"/>
                  <a:pt x="11482586" y="5989759"/>
                </a:cubicBezTo>
                <a:cubicBezTo>
                  <a:pt x="11477713" y="5988668"/>
                  <a:pt x="11480675" y="5985467"/>
                  <a:pt x="11480109" y="5983117"/>
                </a:cubicBezTo>
                <a:cubicBezTo>
                  <a:pt x="11478265" y="5975154"/>
                  <a:pt x="11487411" y="5973019"/>
                  <a:pt x="11487818" y="5966193"/>
                </a:cubicBezTo>
                <a:cubicBezTo>
                  <a:pt x="11487908" y="5963832"/>
                  <a:pt x="11493528" y="5962548"/>
                  <a:pt x="11496003" y="5961584"/>
                </a:cubicBezTo>
                <a:cubicBezTo>
                  <a:pt x="11501871" y="5959509"/>
                  <a:pt x="11506608" y="5952735"/>
                  <a:pt x="11514286" y="5956658"/>
                </a:cubicBezTo>
                <a:close/>
                <a:moveTo>
                  <a:pt x="9991148" y="5926814"/>
                </a:moveTo>
                <a:lnTo>
                  <a:pt x="9975596" y="5928335"/>
                </a:lnTo>
                <a:lnTo>
                  <a:pt x="9978232" y="5931710"/>
                </a:lnTo>
                <a:close/>
                <a:moveTo>
                  <a:pt x="10023063" y="5923690"/>
                </a:moveTo>
                <a:lnTo>
                  <a:pt x="9995354" y="5926402"/>
                </a:lnTo>
                <a:lnTo>
                  <a:pt x="10001741" y="5929442"/>
                </a:lnTo>
                <a:cubicBezTo>
                  <a:pt x="10014542" y="5923757"/>
                  <a:pt x="10024674" y="5925004"/>
                  <a:pt x="10023740" y="5923982"/>
                </a:cubicBezTo>
                <a:close/>
                <a:moveTo>
                  <a:pt x="10084246" y="5912296"/>
                </a:moveTo>
                <a:lnTo>
                  <a:pt x="10066843" y="5916828"/>
                </a:lnTo>
                <a:lnTo>
                  <a:pt x="10065828" y="5917325"/>
                </a:lnTo>
                <a:lnTo>
                  <a:pt x="10063600" y="5917673"/>
                </a:lnTo>
                <a:lnTo>
                  <a:pt x="10059679" y="5918693"/>
                </a:lnTo>
                <a:lnTo>
                  <a:pt x="10059749" y="5919162"/>
                </a:lnTo>
                <a:cubicBezTo>
                  <a:pt x="10061028" y="5919456"/>
                  <a:pt x="10063837" y="5919741"/>
                  <a:pt x="10069052" y="5919979"/>
                </a:cubicBezTo>
                <a:cubicBezTo>
                  <a:pt x="10066112" y="5920263"/>
                  <a:pt x="10062510" y="5921352"/>
                  <a:pt x="10060780" y="5922631"/>
                </a:cubicBezTo>
                <a:lnTo>
                  <a:pt x="10063661" y="5926324"/>
                </a:lnTo>
                <a:lnTo>
                  <a:pt x="10063965" y="5926270"/>
                </a:lnTo>
                <a:close/>
                <a:moveTo>
                  <a:pt x="1085900" y="5911880"/>
                </a:moveTo>
                <a:cubicBezTo>
                  <a:pt x="1087131" y="5911920"/>
                  <a:pt x="1088529" y="5912497"/>
                  <a:pt x="1089698" y="5912195"/>
                </a:cubicBezTo>
                <a:cubicBezTo>
                  <a:pt x="1097631" y="5910223"/>
                  <a:pt x="1099914" y="5919334"/>
                  <a:pt x="1106745" y="5919630"/>
                </a:cubicBezTo>
                <a:cubicBezTo>
                  <a:pt x="1109108" y="5919682"/>
                  <a:pt x="1110482" y="5925280"/>
                  <a:pt x="1111485" y="5927741"/>
                </a:cubicBezTo>
                <a:cubicBezTo>
                  <a:pt x="1113655" y="5933575"/>
                  <a:pt x="1120504" y="5938202"/>
                  <a:pt x="1116706" y="5945942"/>
                </a:cubicBezTo>
                <a:cubicBezTo>
                  <a:pt x="1116095" y="5947275"/>
                  <a:pt x="1115649" y="5949521"/>
                  <a:pt x="1116769" y="5951584"/>
                </a:cubicBezTo>
                <a:cubicBezTo>
                  <a:pt x="1118568" y="5954280"/>
                  <a:pt x="1117864" y="5956667"/>
                  <a:pt x="1115311" y="5958721"/>
                </a:cubicBezTo>
                <a:cubicBezTo>
                  <a:pt x="1113789" y="5960216"/>
                  <a:pt x="1113459" y="5962065"/>
                  <a:pt x="1112873" y="5964054"/>
                </a:cubicBezTo>
                <a:cubicBezTo>
                  <a:pt x="1111603" y="5969085"/>
                  <a:pt x="1108839" y="5972591"/>
                  <a:pt x="1103504" y="5973820"/>
                </a:cubicBezTo>
                <a:cubicBezTo>
                  <a:pt x="1100508" y="5974444"/>
                  <a:pt x="1098096" y="5976758"/>
                  <a:pt x="1097952" y="5980176"/>
                </a:cubicBezTo>
                <a:cubicBezTo>
                  <a:pt x="1096923" y="5980734"/>
                  <a:pt x="1095892" y="5981294"/>
                  <a:pt x="1094862" y="5981854"/>
                </a:cubicBezTo>
                <a:cubicBezTo>
                  <a:pt x="1092314" y="5980233"/>
                  <a:pt x="1090209" y="5980041"/>
                  <a:pt x="1087001" y="5982117"/>
                </a:cubicBezTo>
                <a:cubicBezTo>
                  <a:pt x="1082506" y="5984894"/>
                  <a:pt x="1077781" y="5984790"/>
                  <a:pt x="1073949" y="5980193"/>
                </a:cubicBezTo>
                <a:cubicBezTo>
                  <a:pt x="1072430" y="5978012"/>
                  <a:pt x="1070909" y="5979507"/>
                  <a:pt x="1069363" y="5980347"/>
                </a:cubicBezTo>
                <a:cubicBezTo>
                  <a:pt x="1066789" y="5981746"/>
                  <a:pt x="1065713" y="5980995"/>
                  <a:pt x="1066395" y="5977952"/>
                </a:cubicBezTo>
                <a:cubicBezTo>
                  <a:pt x="1067289" y="5973459"/>
                  <a:pt x="1066168" y="5971397"/>
                  <a:pt x="1061371" y="5973003"/>
                </a:cubicBezTo>
                <a:cubicBezTo>
                  <a:pt x="1060201" y="5973304"/>
                  <a:pt x="1058494" y="5973230"/>
                  <a:pt x="1059221" y="5971500"/>
                </a:cubicBezTo>
                <a:cubicBezTo>
                  <a:pt x="1060747" y="5966329"/>
                  <a:pt x="1057427" y="5965127"/>
                  <a:pt x="1053708" y="5963808"/>
                </a:cubicBezTo>
                <a:cubicBezTo>
                  <a:pt x="1053053" y="5963830"/>
                  <a:pt x="1052492" y="5962799"/>
                  <a:pt x="1052212" y="5962283"/>
                </a:cubicBezTo>
                <a:cubicBezTo>
                  <a:pt x="1052455" y="5954137"/>
                  <a:pt x="1053353" y="5945968"/>
                  <a:pt x="1053854" y="5937682"/>
                </a:cubicBezTo>
                <a:cubicBezTo>
                  <a:pt x="1054115" y="5933867"/>
                  <a:pt x="1058167" y="5929662"/>
                  <a:pt x="1061329" y="5926273"/>
                </a:cubicBezTo>
                <a:cubicBezTo>
                  <a:pt x="1062594" y="5924918"/>
                  <a:pt x="1064278" y="5924337"/>
                  <a:pt x="1064725" y="5922091"/>
                </a:cubicBezTo>
                <a:cubicBezTo>
                  <a:pt x="1065172" y="5919844"/>
                  <a:pt x="1066858" y="5919262"/>
                  <a:pt x="1068963" y="5919455"/>
                </a:cubicBezTo>
                <a:cubicBezTo>
                  <a:pt x="1070273" y="5919410"/>
                  <a:pt x="1072121" y="5919742"/>
                  <a:pt x="1072731" y="5918410"/>
                </a:cubicBezTo>
                <a:cubicBezTo>
                  <a:pt x="1074420" y="5914152"/>
                  <a:pt x="1076597" y="5912636"/>
                  <a:pt x="1080383" y="5915921"/>
                </a:cubicBezTo>
                <a:cubicBezTo>
                  <a:pt x="1081201" y="5916812"/>
                  <a:pt x="1082887" y="5916230"/>
                  <a:pt x="1083099" y="5914780"/>
                </a:cubicBezTo>
                <a:cubicBezTo>
                  <a:pt x="1083604" y="5912334"/>
                  <a:pt x="1084669" y="5911839"/>
                  <a:pt x="1085900" y="5911880"/>
                </a:cubicBezTo>
                <a:close/>
                <a:moveTo>
                  <a:pt x="9132277" y="5899042"/>
                </a:moveTo>
                <a:lnTo>
                  <a:pt x="9141942" y="5902676"/>
                </a:lnTo>
                <a:lnTo>
                  <a:pt x="9146325" y="5901942"/>
                </a:lnTo>
                <a:close/>
                <a:moveTo>
                  <a:pt x="10141842" y="5897299"/>
                </a:moveTo>
                <a:lnTo>
                  <a:pt x="10118708" y="5903323"/>
                </a:lnTo>
                <a:lnTo>
                  <a:pt x="10120814" y="5903119"/>
                </a:lnTo>
                <a:cubicBezTo>
                  <a:pt x="10124036" y="5905774"/>
                  <a:pt x="10132569" y="5901985"/>
                  <a:pt x="10141103" y="5898194"/>
                </a:cubicBezTo>
                <a:close/>
                <a:moveTo>
                  <a:pt x="799605" y="5890711"/>
                </a:moveTo>
                <a:cubicBezTo>
                  <a:pt x="800836" y="5890752"/>
                  <a:pt x="802232" y="5891328"/>
                  <a:pt x="803403" y="5891026"/>
                </a:cubicBezTo>
                <a:cubicBezTo>
                  <a:pt x="811336" y="5889053"/>
                  <a:pt x="813618" y="5898165"/>
                  <a:pt x="820449" y="5898462"/>
                </a:cubicBezTo>
                <a:cubicBezTo>
                  <a:pt x="822812" y="5898513"/>
                  <a:pt x="824186" y="5904111"/>
                  <a:pt x="825190" y="5906572"/>
                </a:cubicBezTo>
                <a:cubicBezTo>
                  <a:pt x="827358" y="5912405"/>
                  <a:pt x="834208" y="5917033"/>
                  <a:pt x="830409" y="5924773"/>
                </a:cubicBezTo>
                <a:cubicBezTo>
                  <a:pt x="829800" y="5926107"/>
                  <a:pt x="829353" y="5928353"/>
                  <a:pt x="830475" y="5930415"/>
                </a:cubicBezTo>
                <a:cubicBezTo>
                  <a:pt x="832271" y="5933112"/>
                  <a:pt x="831567" y="5935497"/>
                  <a:pt x="829016" y="5937553"/>
                </a:cubicBezTo>
                <a:cubicBezTo>
                  <a:pt x="827493" y="5939048"/>
                  <a:pt x="827164" y="5940896"/>
                  <a:pt x="826577" y="5942885"/>
                </a:cubicBezTo>
                <a:cubicBezTo>
                  <a:pt x="825308" y="5947915"/>
                  <a:pt x="822543" y="5951421"/>
                  <a:pt x="817207" y="5952650"/>
                </a:cubicBezTo>
                <a:cubicBezTo>
                  <a:pt x="814212" y="5953276"/>
                  <a:pt x="811801" y="5955588"/>
                  <a:pt x="811656" y="5959006"/>
                </a:cubicBezTo>
                <a:cubicBezTo>
                  <a:pt x="810626" y="5959566"/>
                  <a:pt x="809596" y="5960125"/>
                  <a:pt x="808566" y="5960685"/>
                </a:cubicBezTo>
                <a:cubicBezTo>
                  <a:pt x="806019" y="5959064"/>
                  <a:pt x="803913" y="5958872"/>
                  <a:pt x="800705" y="5960949"/>
                </a:cubicBezTo>
                <a:cubicBezTo>
                  <a:pt x="796211" y="5963725"/>
                  <a:pt x="791485" y="5963620"/>
                  <a:pt x="787654" y="5959024"/>
                </a:cubicBezTo>
                <a:cubicBezTo>
                  <a:pt x="786135" y="5956844"/>
                  <a:pt x="784613" y="5958339"/>
                  <a:pt x="783068" y="5959179"/>
                </a:cubicBezTo>
                <a:cubicBezTo>
                  <a:pt x="780493" y="5960577"/>
                  <a:pt x="779418" y="5959826"/>
                  <a:pt x="780099" y="5956784"/>
                </a:cubicBezTo>
                <a:cubicBezTo>
                  <a:pt x="780993" y="5952291"/>
                  <a:pt x="779873" y="5950228"/>
                  <a:pt x="775075" y="5951833"/>
                </a:cubicBezTo>
                <a:cubicBezTo>
                  <a:pt x="773906" y="5952135"/>
                  <a:pt x="772197" y="5952060"/>
                  <a:pt x="772925" y="5950330"/>
                </a:cubicBezTo>
                <a:cubicBezTo>
                  <a:pt x="774451" y="5945160"/>
                  <a:pt x="771130" y="5943958"/>
                  <a:pt x="767411" y="5942639"/>
                </a:cubicBezTo>
                <a:cubicBezTo>
                  <a:pt x="766757" y="5942661"/>
                  <a:pt x="766196" y="5941630"/>
                  <a:pt x="765916" y="5941114"/>
                </a:cubicBezTo>
                <a:cubicBezTo>
                  <a:pt x="766159" y="5932968"/>
                  <a:pt x="767057" y="5924800"/>
                  <a:pt x="767558" y="5916513"/>
                </a:cubicBezTo>
                <a:cubicBezTo>
                  <a:pt x="767819" y="5912697"/>
                  <a:pt x="771871" y="5908492"/>
                  <a:pt x="775033" y="5905105"/>
                </a:cubicBezTo>
                <a:cubicBezTo>
                  <a:pt x="776297" y="5903750"/>
                  <a:pt x="777983" y="5903168"/>
                  <a:pt x="778429" y="5900922"/>
                </a:cubicBezTo>
                <a:cubicBezTo>
                  <a:pt x="778877" y="5898675"/>
                  <a:pt x="780562" y="5898094"/>
                  <a:pt x="782668" y="5898286"/>
                </a:cubicBezTo>
                <a:cubicBezTo>
                  <a:pt x="783977" y="5898242"/>
                  <a:pt x="785825" y="5898573"/>
                  <a:pt x="786435" y="5897240"/>
                </a:cubicBezTo>
                <a:cubicBezTo>
                  <a:pt x="788124" y="5892984"/>
                  <a:pt x="790302" y="5891466"/>
                  <a:pt x="794087" y="5894752"/>
                </a:cubicBezTo>
                <a:cubicBezTo>
                  <a:pt x="794905" y="5895643"/>
                  <a:pt x="796591" y="5895062"/>
                  <a:pt x="796802" y="5893611"/>
                </a:cubicBezTo>
                <a:cubicBezTo>
                  <a:pt x="797309" y="5891165"/>
                  <a:pt x="798374" y="5890670"/>
                  <a:pt x="799605" y="5890711"/>
                </a:cubicBezTo>
                <a:close/>
                <a:moveTo>
                  <a:pt x="10169971" y="5889974"/>
                </a:moveTo>
                <a:lnTo>
                  <a:pt x="10154906" y="5893897"/>
                </a:lnTo>
                <a:lnTo>
                  <a:pt x="10161390" y="5893271"/>
                </a:lnTo>
                <a:cubicBezTo>
                  <a:pt x="10161390" y="5893271"/>
                  <a:pt x="10164613" y="5895927"/>
                  <a:pt x="10164613" y="5895927"/>
                </a:cubicBezTo>
                <a:cubicBezTo>
                  <a:pt x="10170490" y="5895358"/>
                  <a:pt x="10170490" y="5895358"/>
                  <a:pt x="10170490" y="5895358"/>
                </a:cubicBezTo>
                <a:close/>
                <a:moveTo>
                  <a:pt x="11783717" y="5865349"/>
                </a:moveTo>
                <a:cubicBezTo>
                  <a:pt x="11784421" y="5864782"/>
                  <a:pt x="11785221" y="5865163"/>
                  <a:pt x="11785862" y="5865627"/>
                </a:cubicBezTo>
                <a:cubicBezTo>
                  <a:pt x="11789234" y="5867865"/>
                  <a:pt x="11793376" y="5868899"/>
                  <a:pt x="11797128" y="5870338"/>
                </a:cubicBezTo>
                <a:cubicBezTo>
                  <a:pt x="11802877" y="5872533"/>
                  <a:pt x="11807300" y="5876020"/>
                  <a:pt x="11808759" y="5882257"/>
                </a:cubicBezTo>
                <a:cubicBezTo>
                  <a:pt x="11809437" y="5884702"/>
                  <a:pt x="11811433" y="5885459"/>
                  <a:pt x="11813347" y="5886058"/>
                </a:cubicBezTo>
                <a:cubicBezTo>
                  <a:pt x="11817735" y="5887564"/>
                  <a:pt x="11818399" y="5889216"/>
                  <a:pt x="11816488" y="5893216"/>
                </a:cubicBezTo>
                <a:cubicBezTo>
                  <a:pt x="11814262" y="5897378"/>
                  <a:pt x="11814262" y="5897378"/>
                  <a:pt x="11818897" y="5899356"/>
                </a:cubicBezTo>
                <a:cubicBezTo>
                  <a:pt x="11819935" y="5899812"/>
                  <a:pt x="11820735" y="5900193"/>
                  <a:pt x="11820284" y="5901630"/>
                </a:cubicBezTo>
                <a:cubicBezTo>
                  <a:pt x="11819029" y="5906884"/>
                  <a:pt x="11818089" y="5911975"/>
                  <a:pt x="11816596" y="5917155"/>
                </a:cubicBezTo>
                <a:cubicBezTo>
                  <a:pt x="11815633" y="5921058"/>
                  <a:pt x="11813551" y="5924346"/>
                  <a:pt x="11810503" y="5926938"/>
                </a:cubicBezTo>
                <a:cubicBezTo>
                  <a:pt x="11808633" y="5928716"/>
                  <a:pt x="11807345" y="5936588"/>
                  <a:pt x="11808419" y="5939026"/>
                </a:cubicBezTo>
                <a:cubicBezTo>
                  <a:pt x="11808828" y="5939812"/>
                  <a:pt x="11809157" y="5940440"/>
                  <a:pt x="11810265" y="5940261"/>
                </a:cubicBezTo>
                <a:cubicBezTo>
                  <a:pt x="11816285" y="5939914"/>
                  <a:pt x="11820858" y="5942923"/>
                  <a:pt x="11825282" y="5946411"/>
                </a:cubicBezTo>
                <a:cubicBezTo>
                  <a:pt x="11826246" y="5947107"/>
                  <a:pt x="11826972" y="5947727"/>
                  <a:pt x="11827853" y="5948266"/>
                </a:cubicBezTo>
                <a:cubicBezTo>
                  <a:pt x="11830738" y="5949958"/>
                  <a:pt x="11832674" y="5951746"/>
                  <a:pt x="11833215" y="5955463"/>
                </a:cubicBezTo>
                <a:cubicBezTo>
                  <a:pt x="11833757" y="5959179"/>
                  <a:pt x="11837127" y="5961417"/>
                  <a:pt x="11840176" y="5963423"/>
                </a:cubicBezTo>
                <a:cubicBezTo>
                  <a:pt x="11841543" y="5964508"/>
                  <a:pt x="11842350" y="5965286"/>
                  <a:pt x="11841989" y="5967275"/>
                </a:cubicBezTo>
                <a:cubicBezTo>
                  <a:pt x="11840708" y="5975543"/>
                  <a:pt x="11840857" y="5983865"/>
                  <a:pt x="11844249" y="5991889"/>
                </a:cubicBezTo>
                <a:cubicBezTo>
                  <a:pt x="11844667" y="5993071"/>
                  <a:pt x="11844600" y="5993707"/>
                  <a:pt x="11843335" y="5993967"/>
                </a:cubicBezTo>
                <a:cubicBezTo>
                  <a:pt x="11838443" y="5995325"/>
                  <a:pt x="11836845" y="5999160"/>
                  <a:pt x="11836129" y="6003532"/>
                </a:cubicBezTo>
                <a:cubicBezTo>
                  <a:pt x="11835769" y="6005521"/>
                  <a:pt x="11835236" y="6006800"/>
                  <a:pt x="11832700" y="6006924"/>
                </a:cubicBezTo>
                <a:cubicBezTo>
                  <a:pt x="11829447" y="6006825"/>
                  <a:pt x="11827746" y="6009313"/>
                  <a:pt x="11826606" y="6012109"/>
                </a:cubicBezTo>
                <a:cubicBezTo>
                  <a:pt x="11825617" y="6014426"/>
                  <a:pt x="11824791" y="6017057"/>
                  <a:pt x="11823801" y="6019374"/>
                </a:cubicBezTo>
                <a:cubicBezTo>
                  <a:pt x="11823266" y="6020454"/>
                  <a:pt x="11822626" y="6021239"/>
                  <a:pt x="11821886" y="6021450"/>
                </a:cubicBezTo>
                <a:cubicBezTo>
                  <a:pt x="11821145" y="6021662"/>
                  <a:pt x="11820306" y="6021301"/>
                  <a:pt x="11819374" y="6020089"/>
                </a:cubicBezTo>
                <a:cubicBezTo>
                  <a:pt x="11819044" y="6019461"/>
                  <a:pt x="11818559" y="6018914"/>
                  <a:pt x="11817917" y="6018450"/>
                </a:cubicBezTo>
                <a:cubicBezTo>
                  <a:pt x="11817191" y="6017829"/>
                  <a:pt x="11816536" y="6016573"/>
                  <a:pt x="11815354" y="6016990"/>
                </a:cubicBezTo>
                <a:cubicBezTo>
                  <a:pt x="11814410" y="6017483"/>
                  <a:pt x="11814192" y="6018597"/>
                  <a:pt x="11814049" y="6019472"/>
                </a:cubicBezTo>
                <a:cubicBezTo>
                  <a:pt x="11813088" y="6023374"/>
                  <a:pt x="11812062" y="6023710"/>
                  <a:pt x="11808924" y="6021150"/>
                </a:cubicBezTo>
                <a:cubicBezTo>
                  <a:pt x="11808200" y="6020529"/>
                  <a:pt x="11807714" y="6019983"/>
                  <a:pt x="11806915" y="6019602"/>
                </a:cubicBezTo>
                <a:cubicBezTo>
                  <a:pt x="11805792" y="6018988"/>
                  <a:pt x="11804754" y="6018531"/>
                  <a:pt x="11803510" y="6019980"/>
                </a:cubicBezTo>
                <a:cubicBezTo>
                  <a:pt x="11802506" y="6021506"/>
                  <a:pt x="11802836" y="6022133"/>
                  <a:pt x="11803807" y="6023225"/>
                </a:cubicBezTo>
                <a:lnTo>
                  <a:pt x="11805313" y="6025463"/>
                </a:lnTo>
                <a:lnTo>
                  <a:pt x="11786645" y="6019666"/>
                </a:lnTo>
                <a:lnTo>
                  <a:pt x="11786827" y="6018301"/>
                </a:lnTo>
                <a:cubicBezTo>
                  <a:pt x="11786403" y="6016724"/>
                  <a:pt x="11785438" y="6016028"/>
                  <a:pt x="11783853" y="6016056"/>
                </a:cubicBezTo>
                <a:cubicBezTo>
                  <a:pt x="11782664" y="6016078"/>
                  <a:pt x="11781557" y="6016257"/>
                  <a:pt x="11780368" y="6016279"/>
                </a:cubicBezTo>
                <a:cubicBezTo>
                  <a:pt x="11778386" y="6016314"/>
                  <a:pt x="11777182" y="6015543"/>
                  <a:pt x="11776511" y="6013494"/>
                </a:cubicBezTo>
                <a:cubicBezTo>
                  <a:pt x="11774499" y="6007346"/>
                  <a:pt x="11770404" y="6004488"/>
                  <a:pt x="11764062" y="6004603"/>
                </a:cubicBezTo>
                <a:cubicBezTo>
                  <a:pt x="11763031" y="6004542"/>
                  <a:pt x="11761383" y="6005603"/>
                  <a:pt x="11760960" y="6004025"/>
                </a:cubicBezTo>
                <a:cubicBezTo>
                  <a:pt x="11760378" y="6002529"/>
                  <a:pt x="11761627" y="6001476"/>
                  <a:pt x="11762960" y="6000579"/>
                </a:cubicBezTo>
                <a:cubicBezTo>
                  <a:pt x="11763116" y="6000497"/>
                  <a:pt x="11763275" y="6000415"/>
                  <a:pt x="11763431" y="6000333"/>
                </a:cubicBezTo>
                <a:cubicBezTo>
                  <a:pt x="11766874" y="5997734"/>
                  <a:pt x="11767072" y="5995431"/>
                  <a:pt x="11763625" y="5993432"/>
                </a:cubicBezTo>
                <a:cubicBezTo>
                  <a:pt x="11760420" y="5991509"/>
                  <a:pt x="11759742" y="5989063"/>
                  <a:pt x="11760083" y="5985885"/>
                </a:cubicBezTo>
                <a:cubicBezTo>
                  <a:pt x="11760483" y="5981677"/>
                  <a:pt x="11760330" y="5977557"/>
                  <a:pt x="11757335" y="5974123"/>
                </a:cubicBezTo>
                <a:cubicBezTo>
                  <a:pt x="11755961" y="5972642"/>
                  <a:pt x="11757279" y="5970953"/>
                  <a:pt x="11758216" y="5970064"/>
                </a:cubicBezTo>
                <a:cubicBezTo>
                  <a:pt x="11761562" y="5966515"/>
                  <a:pt x="11762053" y="5962859"/>
                  <a:pt x="11760389" y="5958529"/>
                </a:cubicBezTo>
                <a:cubicBezTo>
                  <a:pt x="11759390" y="5955852"/>
                  <a:pt x="11760088" y="5954888"/>
                  <a:pt x="11763423" y="5955144"/>
                </a:cubicBezTo>
                <a:cubicBezTo>
                  <a:pt x="11770489" y="5955650"/>
                  <a:pt x="11777115" y="5949187"/>
                  <a:pt x="11776599" y="5942459"/>
                </a:cubicBezTo>
                <a:cubicBezTo>
                  <a:pt x="11776496" y="5941112"/>
                  <a:pt x="11776387" y="5939370"/>
                  <a:pt x="11774794" y="5939002"/>
                </a:cubicBezTo>
                <a:cubicBezTo>
                  <a:pt x="11773201" y="5938635"/>
                  <a:pt x="11771383" y="5938985"/>
                  <a:pt x="11770461" y="5940667"/>
                </a:cubicBezTo>
                <a:cubicBezTo>
                  <a:pt x="11769764" y="5941631"/>
                  <a:pt x="11769233" y="5942909"/>
                  <a:pt x="11768618" y="5944031"/>
                </a:cubicBezTo>
                <a:cubicBezTo>
                  <a:pt x="11768085" y="5945308"/>
                  <a:pt x="11767389" y="5946273"/>
                  <a:pt x="11766111" y="5945741"/>
                </a:cubicBezTo>
                <a:cubicBezTo>
                  <a:pt x="11764592" y="5945134"/>
                  <a:pt x="11764728" y="5943863"/>
                  <a:pt x="11765104" y="5942667"/>
                </a:cubicBezTo>
                <a:cubicBezTo>
                  <a:pt x="11765322" y="5941552"/>
                  <a:pt x="11765937" y="5940432"/>
                  <a:pt x="11766237" y="5939475"/>
                </a:cubicBezTo>
                <a:cubicBezTo>
                  <a:pt x="11766913" y="5937322"/>
                  <a:pt x="11766713" y="5935027"/>
                  <a:pt x="11764479" y="5934195"/>
                </a:cubicBezTo>
                <a:cubicBezTo>
                  <a:pt x="11762564" y="5933596"/>
                  <a:pt x="11761493" y="5935756"/>
                  <a:pt x="11760727" y="5937355"/>
                </a:cubicBezTo>
                <a:cubicBezTo>
                  <a:pt x="11760038" y="5938715"/>
                  <a:pt x="11759991" y="5940540"/>
                  <a:pt x="11758823" y="5941750"/>
                </a:cubicBezTo>
                <a:cubicBezTo>
                  <a:pt x="11757190" y="5943603"/>
                  <a:pt x="11755770" y="5943947"/>
                  <a:pt x="11754613" y="5941352"/>
                </a:cubicBezTo>
                <a:cubicBezTo>
                  <a:pt x="11752965" y="5937813"/>
                  <a:pt x="11752900" y="5934247"/>
                  <a:pt x="11753391" y="5930591"/>
                </a:cubicBezTo>
                <a:cubicBezTo>
                  <a:pt x="11753942" y="5925903"/>
                  <a:pt x="11753114" y="5923936"/>
                  <a:pt x="11748876" y="5921952"/>
                </a:cubicBezTo>
                <a:cubicBezTo>
                  <a:pt x="11747434" y="5921106"/>
                  <a:pt x="11745601" y="5920664"/>
                  <a:pt x="11743927" y="5920140"/>
                </a:cubicBezTo>
                <a:cubicBezTo>
                  <a:pt x="11743210" y="5919915"/>
                  <a:pt x="11742177" y="5919854"/>
                  <a:pt x="11742081" y="5918905"/>
                </a:cubicBezTo>
                <a:cubicBezTo>
                  <a:pt x="11741903" y="5917798"/>
                  <a:pt x="11742606" y="5917230"/>
                  <a:pt x="11743317" y="5917059"/>
                </a:cubicBezTo>
                <a:cubicBezTo>
                  <a:pt x="11746474" y="5916209"/>
                  <a:pt x="11746447" y="5914624"/>
                  <a:pt x="11744976" y="5912192"/>
                </a:cubicBezTo>
                <a:cubicBezTo>
                  <a:pt x="11743176" y="5909133"/>
                  <a:pt x="11744071" y="5905867"/>
                  <a:pt x="11745367" y="5902989"/>
                </a:cubicBezTo>
                <a:cubicBezTo>
                  <a:pt x="11746357" y="5900672"/>
                  <a:pt x="11745940" y="5899491"/>
                  <a:pt x="11743555" y="5899137"/>
                </a:cubicBezTo>
                <a:cubicBezTo>
                  <a:pt x="11742284" y="5899002"/>
                  <a:pt x="11741326" y="5898702"/>
                  <a:pt x="11740983" y="5897281"/>
                </a:cubicBezTo>
                <a:cubicBezTo>
                  <a:pt x="11740395" y="5895389"/>
                  <a:pt x="11741816" y="5895046"/>
                  <a:pt x="11742753" y="5894157"/>
                </a:cubicBezTo>
                <a:cubicBezTo>
                  <a:pt x="11743298" y="5893671"/>
                  <a:pt x="11744084" y="5893261"/>
                  <a:pt x="11744788" y="5892693"/>
                </a:cubicBezTo>
                <a:cubicBezTo>
                  <a:pt x="11748785" y="5890004"/>
                  <a:pt x="11748496" y="5887156"/>
                  <a:pt x="11744094" y="5884857"/>
                </a:cubicBezTo>
                <a:cubicBezTo>
                  <a:pt x="11743533" y="5884550"/>
                  <a:pt x="11743056" y="5884400"/>
                  <a:pt x="11742651" y="5884011"/>
                </a:cubicBezTo>
                <a:cubicBezTo>
                  <a:pt x="11741688" y="5883315"/>
                  <a:pt x="11740717" y="5882223"/>
                  <a:pt x="11741332" y="5881102"/>
                </a:cubicBezTo>
                <a:cubicBezTo>
                  <a:pt x="11741788" y="5880063"/>
                  <a:pt x="11743218" y="5880116"/>
                  <a:pt x="11744174" y="5880416"/>
                </a:cubicBezTo>
                <a:cubicBezTo>
                  <a:pt x="11745130" y="5880716"/>
                  <a:pt x="11745930" y="5881097"/>
                  <a:pt x="11746812" y="5881637"/>
                </a:cubicBezTo>
                <a:cubicBezTo>
                  <a:pt x="11748331" y="5882243"/>
                  <a:pt x="11749437" y="5882065"/>
                  <a:pt x="11750201" y="5880465"/>
                </a:cubicBezTo>
                <a:cubicBezTo>
                  <a:pt x="11752120" y="5876862"/>
                  <a:pt x="11755257" y="5874823"/>
                  <a:pt x="11758474" y="5872942"/>
                </a:cubicBezTo>
                <a:cubicBezTo>
                  <a:pt x="11762239" y="5870575"/>
                  <a:pt x="11766572" y="5868910"/>
                  <a:pt x="11770007" y="5865915"/>
                </a:cubicBezTo>
                <a:cubicBezTo>
                  <a:pt x="11771257" y="5864861"/>
                  <a:pt x="11772535" y="5865394"/>
                  <a:pt x="11773574" y="5865850"/>
                </a:cubicBezTo>
                <a:cubicBezTo>
                  <a:pt x="11777089" y="5867213"/>
                  <a:pt x="11780444" y="5868659"/>
                  <a:pt x="11783717" y="5865349"/>
                </a:cubicBezTo>
                <a:close/>
                <a:moveTo>
                  <a:pt x="1182581" y="5811483"/>
                </a:moveTo>
                <a:cubicBezTo>
                  <a:pt x="1187384" y="5812811"/>
                  <a:pt x="1192077" y="5815343"/>
                  <a:pt x="1196837" y="5816009"/>
                </a:cubicBezTo>
                <a:cubicBezTo>
                  <a:pt x="1200880" y="5816706"/>
                  <a:pt x="1209779" y="5816919"/>
                  <a:pt x="1210642" y="5820465"/>
                </a:cubicBezTo>
                <a:cubicBezTo>
                  <a:pt x="1213357" y="5830669"/>
                  <a:pt x="1227856" y="5831086"/>
                  <a:pt x="1227515" y="5843705"/>
                </a:cubicBezTo>
                <a:cubicBezTo>
                  <a:pt x="1227382" y="5847434"/>
                  <a:pt x="1232849" y="5851368"/>
                  <a:pt x="1225809" y="5854516"/>
                </a:cubicBezTo>
                <a:cubicBezTo>
                  <a:pt x="1223691" y="5855317"/>
                  <a:pt x="1223373" y="5858052"/>
                  <a:pt x="1224989" y="5858990"/>
                </a:cubicBezTo>
                <a:cubicBezTo>
                  <a:pt x="1231202" y="5863609"/>
                  <a:pt x="1229637" y="5867396"/>
                  <a:pt x="1223778" y="5871357"/>
                </a:cubicBezTo>
                <a:cubicBezTo>
                  <a:pt x="1221969" y="5872719"/>
                  <a:pt x="1223084" y="5875396"/>
                  <a:pt x="1223452" y="5877386"/>
                </a:cubicBezTo>
                <a:cubicBezTo>
                  <a:pt x="1224441" y="5880497"/>
                  <a:pt x="1224123" y="5883231"/>
                  <a:pt x="1220884" y="5884651"/>
                </a:cubicBezTo>
                <a:cubicBezTo>
                  <a:pt x="1217644" y="5886071"/>
                  <a:pt x="1217327" y="5888806"/>
                  <a:pt x="1215703" y="5891163"/>
                </a:cubicBezTo>
                <a:cubicBezTo>
                  <a:pt x="1211644" y="5897057"/>
                  <a:pt x="1206647" y="5904563"/>
                  <a:pt x="1200980" y="5906225"/>
                </a:cubicBezTo>
                <a:cubicBezTo>
                  <a:pt x="1188650" y="5909731"/>
                  <a:pt x="1176629" y="5913797"/>
                  <a:pt x="1164424" y="5916869"/>
                </a:cubicBezTo>
                <a:cubicBezTo>
                  <a:pt x="1163553" y="5916617"/>
                  <a:pt x="1161812" y="5916115"/>
                  <a:pt x="1161628" y="5915119"/>
                </a:cubicBezTo>
                <a:cubicBezTo>
                  <a:pt x="1158404" y="5909950"/>
                  <a:pt x="1155490" y="5905341"/>
                  <a:pt x="1148199" y="5909359"/>
                </a:cubicBezTo>
                <a:cubicBezTo>
                  <a:pt x="1145830" y="5911031"/>
                  <a:pt x="1145152" y="5908479"/>
                  <a:pt x="1145217" y="5906615"/>
                </a:cubicBezTo>
                <a:cubicBezTo>
                  <a:pt x="1146046" y="5898846"/>
                  <a:pt x="1142563" y="5897842"/>
                  <a:pt x="1136084" y="5900682"/>
                </a:cubicBezTo>
                <a:cubicBezTo>
                  <a:pt x="1131723" y="5902720"/>
                  <a:pt x="1130233" y="5901347"/>
                  <a:pt x="1131487" y="5897000"/>
                </a:cubicBezTo>
                <a:cubicBezTo>
                  <a:pt x="1132240" y="5894391"/>
                  <a:pt x="1133989" y="5891598"/>
                  <a:pt x="1130197" y="5890033"/>
                </a:cubicBezTo>
                <a:cubicBezTo>
                  <a:pt x="1121992" y="5885782"/>
                  <a:pt x="1120267" y="5878688"/>
                  <a:pt x="1122960" y="5870989"/>
                </a:cubicBezTo>
                <a:cubicBezTo>
                  <a:pt x="1125027" y="5865462"/>
                  <a:pt x="1124039" y="5862351"/>
                  <a:pt x="1120749" y="5859046"/>
                </a:cubicBezTo>
                <a:cubicBezTo>
                  <a:pt x="1121251" y="5857307"/>
                  <a:pt x="1121752" y="5855568"/>
                  <a:pt x="1122254" y="5853829"/>
                </a:cubicBezTo>
                <a:cubicBezTo>
                  <a:pt x="1127360" y="5852477"/>
                  <a:pt x="1130047" y="5848071"/>
                  <a:pt x="1129996" y="5843346"/>
                </a:cubicBezTo>
                <a:cubicBezTo>
                  <a:pt x="1130078" y="5834892"/>
                  <a:pt x="1134447" y="5829558"/>
                  <a:pt x="1141612" y="5825975"/>
                </a:cubicBezTo>
                <a:cubicBezTo>
                  <a:pt x="1144417" y="5824429"/>
                  <a:pt x="1147095" y="5823318"/>
                  <a:pt x="1148844" y="5820526"/>
                </a:cubicBezTo>
                <a:cubicBezTo>
                  <a:pt x="1151095" y="5815995"/>
                  <a:pt x="1154460" y="5814140"/>
                  <a:pt x="1159123" y="5815957"/>
                </a:cubicBezTo>
                <a:cubicBezTo>
                  <a:pt x="1162606" y="5816963"/>
                  <a:pt x="1165845" y="5815543"/>
                  <a:pt x="1167654" y="5814180"/>
                </a:cubicBezTo>
                <a:cubicBezTo>
                  <a:pt x="1172860" y="5810031"/>
                  <a:pt x="1177776" y="5810155"/>
                  <a:pt x="1182581" y="5811483"/>
                </a:cubicBezTo>
                <a:close/>
                <a:moveTo>
                  <a:pt x="8493760" y="5763534"/>
                </a:moveTo>
                <a:cubicBezTo>
                  <a:pt x="8494326" y="5769412"/>
                  <a:pt x="8484660" y="5761446"/>
                  <a:pt x="8482005" y="5764669"/>
                </a:cubicBezTo>
                <a:cubicBezTo>
                  <a:pt x="8500204" y="5768845"/>
                  <a:pt x="8525417" y="5784208"/>
                  <a:pt x="8533948" y="5780419"/>
                </a:cubicBezTo>
                <a:cubicBezTo>
                  <a:pt x="8533948" y="5780419"/>
                  <a:pt x="8537172" y="5783075"/>
                  <a:pt x="8540394" y="5785730"/>
                </a:cubicBezTo>
                <a:cubicBezTo>
                  <a:pt x="8540394" y="5785730"/>
                  <a:pt x="8543616" y="5788384"/>
                  <a:pt x="8546271" y="5785162"/>
                </a:cubicBezTo>
                <a:cubicBezTo>
                  <a:pt x="8565605" y="5801093"/>
                  <a:pt x="8589683" y="5804701"/>
                  <a:pt x="8611105" y="5811533"/>
                </a:cubicBezTo>
                <a:cubicBezTo>
                  <a:pt x="8666272" y="5829938"/>
                  <a:pt x="8718783" y="5851565"/>
                  <a:pt x="8767507" y="5864660"/>
                </a:cubicBezTo>
                <a:cubicBezTo>
                  <a:pt x="8807129" y="5875668"/>
                  <a:pt x="8862861" y="5899948"/>
                  <a:pt x="8920116" y="5909254"/>
                </a:cubicBezTo>
                <a:cubicBezTo>
                  <a:pt x="8929217" y="5911342"/>
                  <a:pt x="8937749" y="5907552"/>
                  <a:pt x="8944193" y="5912863"/>
                </a:cubicBezTo>
                <a:cubicBezTo>
                  <a:pt x="8986471" y="5920646"/>
                  <a:pt x="9023437" y="5934875"/>
                  <a:pt x="9056615" y="5940572"/>
                </a:cubicBezTo>
                <a:cubicBezTo>
                  <a:pt x="9083349" y="5940958"/>
                  <a:pt x="9068371" y="5939438"/>
                  <a:pt x="9095670" y="5945702"/>
                </a:cubicBezTo>
                <a:cubicBezTo>
                  <a:pt x="9126192" y="5954619"/>
                  <a:pt x="9156148" y="5957662"/>
                  <a:pt x="9179659" y="5955392"/>
                </a:cubicBezTo>
                <a:lnTo>
                  <a:pt x="9180953" y="5955573"/>
                </a:lnTo>
                <a:lnTo>
                  <a:pt x="9182923" y="5955055"/>
                </a:lnTo>
                <a:cubicBezTo>
                  <a:pt x="9187703" y="5955011"/>
                  <a:pt x="9193614" y="5954344"/>
                  <a:pt x="9194318" y="5946956"/>
                </a:cubicBezTo>
                <a:cubicBezTo>
                  <a:pt x="9194635" y="5944201"/>
                  <a:pt x="9197528" y="5944086"/>
                  <a:pt x="9198347" y="5942900"/>
                </a:cubicBezTo>
                <a:lnTo>
                  <a:pt x="9212737" y="5935632"/>
                </a:lnTo>
                <a:lnTo>
                  <a:pt x="9129234" y="5924665"/>
                </a:lnTo>
                <a:cubicBezTo>
                  <a:pt x="9126011" y="5922010"/>
                  <a:pt x="9126011" y="5922010"/>
                  <a:pt x="9126011" y="5922010"/>
                </a:cubicBezTo>
                <a:cubicBezTo>
                  <a:pt x="9122791" y="5919356"/>
                  <a:pt x="9120136" y="5922577"/>
                  <a:pt x="9120136" y="5922577"/>
                </a:cubicBezTo>
                <a:cubicBezTo>
                  <a:pt x="9102501" y="5924279"/>
                  <a:pt x="9105158" y="5921057"/>
                  <a:pt x="9090179" y="5919535"/>
                </a:cubicBezTo>
                <a:cubicBezTo>
                  <a:pt x="9086957" y="5916880"/>
                  <a:pt x="9083734" y="5914225"/>
                  <a:pt x="9077857" y="5914792"/>
                </a:cubicBezTo>
                <a:cubicBezTo>
                  <a:pt x="9074636" y="5912138"/>
                  <a:pt x="9071980" y="5915361"/>
                  <a:pt x="9071980" y="5915361"/>
                </a:cubicBezTo>
                <a:cubicBezTo>
                  <a:pt x="9057003" y="5913839"/>
                  <a:pt x="9044679" y="5909097"/>
                  <a:pt x="9036147" y="5912885"/>
                </a:cubicBezTo>
                <a:cubicBezTo>
                  <a:pt x="9036147" y="5912885"/>
                  <a:pt x="9030269" y="5913454"/>
                  <a:pt x="9030269" y="5913454"/>
                </a:cubicBezTo>
                <a:cubicBezTo>
                  <a:pt x="9027046" y="5910798"/>
                  <a:pt x="9023825" y="5908143"/>
                  <a:pt x="9020602" y="5905488"/>
                </a:cubicBezTo>
                <a:cubicBezTo>
                  <a:pt x="9017948" y="5908710"/>
                  <a:pt x="8996525" y="5901879"/>
                  <a:pt x="8984771" y="5903014"/>
                </a:cubicBezTo>
                <a:cubicBezTo>
                  <a:pt x="8984771" y="5903014"/>
                  <a:pt x="8981548" y="5900359"/>
                  <a:pt x="8978893" y="5903582"/>
                </a:cubicBezTo>
                <a:cubicBezTo>
                  <a:pt x="8975671" y="5900926"/>
                  <a:pt x="8975671" y="5900926"/>
                  <a:pt x="8975671" y="5900926"/>
                </a:cubicBezTo>
                <a:cubicBezTo>
                  <a:pt x="8936048" y="5889919"/>
                  <a:pt x="8893204" y="5876257"/>
                  <a:pt x="8850925" y="5868473"/>
                </a:cubicBezTo>
                <a:cubicBezTo>
                  <a:pt x="8847705" y="5865819"/>
                  <a:pt x="8841827" y="5866385"/>
                  <a:pt x="8835949" y="5866952"/>
                </a:cubicBezTo>
                <a:cubicBezTo>
                  <a:pt x="8832726" y="5864297"/>
                  <a:pt x="8829503" y="5861642"/>
                  <a:pt x="8826280" y="5858987"/>
                </a:cubicBezTo>
                <a:cubicBezTo>
                  <a:pt x="8829503" y="5861642"/>
                  <a:pt x="8823626" y="5862209"/>
                  <a:pt x="8820970" y="5865432"/>
                </a:cubicBezTo>
                <a:cubicBezTo>
                  <a:pt x="8817749" y="5862777"/>
                  <a:pt x="8811871" y="5863343"/>
                  <a:pt x="8811871" y="5863343"/>
                </a:cubicBezTo>
                <a:cubicBezTo>
                  <a:pt x="8790448" y="5856512"/>
                  <a:pt x="8771682" y="5846459"/>
                  <a:pt x="8753480" y="5842284"/>
                </a:cubicBezTo>
                <a:cubicBezTo>
                  <a:pt x="8753480" y="5842284"/>
                  <a:pt x="8750259" y="5839629"/>
                  <a:pt x="8750259" y="5839629"/>
                </a:cubicBezTo>
                <a:cubicBezTo>
                  <a:pt x="8747038" y="5836973"/>
                  <a:pt x="8747038" y="5836973"/>
                  <a:pt x="8743815" y="5834319"/>
                </a:cubicBezTo>
                <a:cubicBezTo>
                  <a:pt x="8741160" y="5837541"/>
                  <a:pt x="8741160" y="5837541"/>
                  <a:pt x="8741160" y="5837541"/>
                </a:cubicBezTo>
                <a:cubicBezTo>
                  <a:pt x="8713860" y="5831277"/>
                  <a:pt x="8689781" y="5827668"/>
                  <a:pt x="8674238" y="5820270"/>
                </a:cubicBezTo>
                <a:cubicBezTo>
                  <a:pt x="8656605" y="5821973"/>
                  <a:pt x="8622293" y="5804520"/>
                  <a:pt x="8588548" y="5792947"/>
                </a:cubicBezTo>
                <a:cubicBezTo>
                  <a:pt x="8576794" y="5794081"/>
                  <a:pt x="8551581" y="5778718"/>
                  <a:pt x="8542481" y="5776629"/>
                </a:cubicBezTo>
                <a:cubicBezTo>
                  <a:pt x="8542481" y="5776629"/>
                  <a:pt x="8539258" y="5773974"/>
                  <a:pt x="8539258" y="5773974"/>
                </a:cubicBezTo>
                <a:cubicBezTo>
                  <a:pt x="8539258" y="5773974"/>
                  <a:pt x="8536036" y="5771320"/>
                  <a:pt x="8536036" y="5771320"/>
                </a:cubicBezTo>
                <a:cubicBezTo>
                  <a:pt x="8532815" y="5768664"/>
                  <a:pt x="8532815" y="5768664"/>
                  <a:pt x="8532815" y="5768664"/>
                </a:cubicBezTo>
                <a:cubicBezTo>
                  <a:pt x="8526938" y="5769231"/>
                  <a:pt x="8526938" y="5769231"/>
                  <a:pt x="8530159" y="5771886"/>
                </a:cubicBezTo>
                <a:cubicBezTo>
                  <a:pt x="8517836" y="5767144"/>
                  <a:pt x="8524282" y="5772453"/>
                  <a:pt x="8521626" y="5775676"/>
                </a:cubicBezTo>
                <a:cubicBezTo>
                  <a:pt x="8514614" y="5764487"/>
                  <a:pt x="8506649" y="5774154"/>
                  <a:pt x="8493760" y="5763534"/>
                </a:cubicBezTo>
                <a:close/>
                <a:moveTo>
                  <a:pt x="8394795" y="5752323"/>
                </a:moveTo>
                <a:cubicBezTo>
                  <a:pt x="8398584" y="5760855"/>
                  <a:pt x="8373940" y="5751369"/>
                  <a:pt x="8389484" y="5758768"/>
                </a:cubicBezTo>
                <a:cubicBezTo>
                  <a:pt x="8392139" y="5755545"/>
                  <a:pt x="8401807" y="5763511"/>
                  <a:pt x="8401807" y="5763511"/>
                </a:cubicBezTo>
                <a:cubicBezTo>
                  <a:pt x="8392706" y="5761423"/>
                  <a:pt x="8395929" y="5764078"/>
                  <a:pt x="8399152" y="5766733"/>
                </a:cubicBezTo>
                <a:cubicBezTo>
                  <a:pt x="8407685" y="5762944"/>
                  <a:pt x="8420573" y="5773565"/>
                  <a:pt x="8435552" y="5775084"/>
                </a:cubicBezTo>
                <a:cubicBezTo>
                  <a:pt x="8435552" y="5775084"/>
                  <a:pt x="8438773" y="5777740"/>
                  <a:pt x="8441996" y="5780395"/>
                </a:cubicBezTo>
                <a:cubicBezTo>
                  <a:pt x="8441996" y="5780395"/>
                  <a:pt x="8445218" y="5783049"/>
                  <a:pt x="8445218" y="5783049"/>
                </a:cubicBezTo>
                <a:cubicBezTo>
                  <a:pt x="8448442" y="5785706"/>
                  <a:pt x="8448442" y="5785706"/>
                  <a:pt x="8448442" y="5785706"/>
                </a:cubicBezTo>
                <a:cubicBezTo>
                  <a:pt x="8448442" y="5785706"/>
                  <a:pt x="8451097" y="5782482"/>
                  <a:pt x="8451097" y="5782482"/>
                </a:cubicBezTo>
                <a:cubicBezTo>
                  <a:pt x="8454320" y="5785138"/>
                  <a:pt x="8454320" y="5785138"/>
                  <a:pt x="8457542" y="5787794"/>
                </a:cubicBezTo>
                <a:cubicBezTo>
                  <a:pt x="8458108" y="5793672"/>
                  <a:pt x="8451664" y="5788360"/>
                  <a:pt x="8449007" y="5791583"/>
                </a:cubicBezTo>
                <a:cubicBezTo>
                  <a:pt x="8455452" y="5796893"/>
                  <a:pt x="8458108" y="5793672"/>
                  <a:pt x="8461330" y="5796325"/>
                </a:cubicBezTo>
                <a:cubicBezTo>
                  <a:pt x="8461330" y="5796325"/>
                  <a:pt x="8461330" y="5796325"/>
                  <a:pt x="8464554" y="5798981"/>
                </a:cubicBezTo>
                <a:cubicBezTo>
                  <a:pt x="8464554" y="5798981"/>
                  <a:pt x="8467776" y="5801636"/>
                  <a:pt x="8467776" y="5801636"/>
                </a:cubicBezTo>
                <a:cubicBezTo>
                  <a:pt x="8470997" y="5804291"/>
                  <a:pt x="8470997" y="5804291"/>
                  <a:pt x="8470997" y="5804291"/>
                </a:cubicBezTo>
                <a:cubicBezTo>
                  <a:pt x="8486544" y="5811688"/>
                  <a:pt x="8486544" y="5811688"/>
                  <a:pt x="8486544" y="5811688"/>
                </a:cubicBezTo>
                <a:cubicBezTo>
                  <a:pt x="8492420" y="5811122"/>
                  <a:pt x="8492420" y="5811122"/>
                  <a:pt x="8492420" y="5811122"/>
                </a:cubicBezTo>
                <a:cubicBezTo>
                  <a:pt x="8492987" y="5817000"/>
                  <a:pt x="8495642" y="5813778"/>
                  <a:pt x="8495642" y="5813778"/>
                </a:cubicBezTo>
                <a:lnTo>
                  <a:pt x="8492420" y="5811122"/>
                </a:lnTo>
                <a:cubicBezTo>
                  <a:pt x="8517066" y="5820608"/>
                  <a:pt x="8510619" y="5815298"/>
                  <a:pt x="8532608" y="5828007"/>
                </a:cubicBezTo>
                <a:cubicBezTo>
                  <a:pt x="8535831" y="5830662"/>
                  <a:pt x="8535831" y="5830662"/>
                  <a:pt x="8539055" y="5833316"/>
                </a:cubicBezTo>
                <a:cubicBezTo>
                  <a:pt x="8544932" y="5832750"/>
                  <a:pt x="8544932" y="5832750"/>
                  <a:pt x="8541709" y="5830095"/>
                </a:cubicBezTo>
                <a:cubicBezTo>
                  <a:pt x="8551376" y="5838061"/>
                  <a:pt x="8570142" y="5848113"/>
                  <a:pt x="8578675" y="5844324"/>
                </a:cubicBezTo>
                <a:cubicBezTo>
                  <a:pt x="8569577" y="5842236"/>
                  <a:pt x="8572232" y="5839012"/>
                  <a:pt x="8581332" y="5841101"/>
                </a:cubicBezTo>
                <a:lnTo>
                  <a:pt x="8584553" y="5843757"/>
                </a:lnTo>
                <a:cubicBezTo>
                  <a:pt x="8581898" y="5846978"/>
                  <a:pt x="8581898" y="5846978"/>
                  <a:pt x="8581898" y="5846978"/>
                </a:cubicBezTo>
                <a:cubicBezTo>
                  <a:pt x="8581898" y="5846978"/>
                  <a:pt x="8581898" y="5846978"/>
                  <a:pt x="8585121" y="5849635"/>
                </a:cubicBezTo>
                <a:cubicBezTo>
                  <a:pt x="8585121" y="5849635"/>
                  <a:pt x="8585121" y="5849635"/>
                  <a:pt x="8590998" y="5849066"/>
                </a:cubicBezTo>
                <a:cubicBezTo>
                  <a:pt x="8610333" y="5864997"/>
                  <a:pt x="8677256" y="5882268"/>
                  <a:pt x="8705122" y="5894409"/>
                </a:cubicBezTo>
                <a:cubicBezTo>
                  <a:pt x="8720666" y="5901807"/>
                  <a:pt x="8721234" y="5907685"/>
                  <a:pt x="8736210" y="5909205"/>
                </a:cubicBezTo>
                <a:cubicBezTo>
                  <a:pt x="8742655" y="5914516"/>
                  <a:pt x="8751188" y="5910725"/>
                  <a:pt x="8760288" y="5912815"/>
                </a:cubicBezTo>
                <a:cubicBezTo>
                  <a:pt x="8775833" y="5920213"/>
                  <a:pt x="8785501" y="5928179"/>
                  <a:pt x="8796688" y="5921166"/>
                </a:cubicBezTo>
                <a:cubicBezTo>
                  <a:pt x="8873844" y="5952280"/>
                  <a:pt x="8970722" y="5972592"/>
                  <a:pt x="9057931" y="5984938"/>
                </a:cubicBezTo>
                <a:cubicBezTo>
                  <a:pt x="9058498" y="5990816"/>
                  <a:pt x="9058498" y="5990816"/>
                  <a:pt x="9061721" y="5993470"/>
                </a:cubicBezTo>
                <a:cubicBezTo>
                  <a:pt x="9061721" y="5993470"/>
                  <a:pt x="9058498" y="5990816"/>
                  <a:pt x="9058498" y="5990816"/>
                </a:cubicBezTo>
                <a:cubicBezTo>
                  <a:pt x="9055843" y="5994037"/>
                  <a:pt x="9055843" y="5994037"/>
                  <a:pt x="9055843" y="5994037"/>
                </a:cubicBezTo>
                <a:cubicBezTo>
                  <a:pt x="9055843" y="5994037"/>
                  <a:pt x="9059065" y="5996693"/>
                  <a:pt x="9064944" y="5996125"/>
                </a:cubicBezTo>
                <a:cubicBezTo>
                  <a:pt x="9068166" y="5998780"/>
                  <a:pt x="9065510" y="6002003"/>
                  <a:pt x="9074610" y="6004090"/>
                </a:cubicBezTo>
                <a:cubicBezTo>
                  <a:pt x="9074044" y="5998213"/>
                  <a:pt x="9079920" y="5997646"/>
                  <a:pt x="9094898" y="5999167"/>
                </a:cubicBezTo>
                <a:cubicBezTo>
                  <a:pt x="9098119" y="6001821"/>
                  <a:pt x="9098119" y="6001821"/>
                  <a:pt x="9098119" y="6001821"/>
                </a:cubicBezTo>
                <a:cubicBezTo>
                  <a:pt x="9098119" y="6001821"/>
                  <a:pt x="9100774" y="5998599"/>
                  <a:pt x="9103998" y="6001254"/>
                </a:cubicBezTo>
                <a:cubicBezTo>
                  <a:pt x="9103998" y="6001254"/>
                  <a:pt x="9107220" y="6003909"/>
                  <a:pt x="9107220" y="6003909"/>
                </a:cubicBezTo>
                <a:cubicBezTo>
                  <a:pt x="9109875" y="6000687"/>
                  <a:pt x="9109875" y="6000687"/>
                  <a:pt x="9109875" y="6000687"/>
                </a:cubicBezTo>
                <a:cubicBezTo>
                  <a:pt x="9113098" y="6003343"/>
                  <a:pt x="9113098" y="6003343"/>
                  <a:pt x="9118976" y="6002774"/>
                </a:cubicBezTo>
                <a:cubicBezTo>
                  <a:pt x="9122764" y="6011308"/>
                  <a:pt x="9143052" y="6006383"/>
                  <a:pt x="9140396" y="6009607"/>
                </a:cubicBezTo>
                <a:cubicBezTo>
                  <a:pt x="9140396" y="6009607"/>
                  <a:pt x="9137743" y="6012828"/>
                  <a:pt x="9137743" y="6012828"/>
                </a:cubicBezTo>
                <a:cubicBezTo>
                  <a:pt x="9134520" y="6010175"/>
                  <a:pt x="9131865" y="6013396"/>
                  <a:pt x="9131865" y="6013396"/>
                </a:cubicBezTo>
                <a:cubicBezTo>
                  <a:pt x="9135088" y="6016051"/>
                  <a:pt x="9137743" y="6012828"/>
                  <a:pt x="9140965" y="6015484"/>
                </a:cubicBezTo>
                <a:cubicBezTo>
                  <a:pt x="9140965" y="6015484"/>
                  <a:pt x="9146843" y="6014917"/>
                  <a:pt x="9146843" y="6014917"/>
                </a:cubicBezTo>
                <a:cubicBezTo>
                  <a:pt x="9155942" y="6017004"/>
                  <a:pt x="9165042" y="6019091"/>
                  <a:pt x="9167696" y="6015869"/>
                </a:cubicBezTo>
                <a:cubicBezTo>
                  <a:pt x="9167696" y="6015869"/>
                  <a:pt x="9167696" y="6015869"/>
                  <a:pt x="9170919" y="6018524"/>
                </a:cubicBezTo>
                <a:cubicBezTo>
                  <a:pt x="9170919" y="6018524"/>
                  <a:pt x="9174143" y="6021180"/>
                  <a:pt x="9180020" y="6020613"/>
                </a:cubicBezTo>
                <a:cubicBezTo>
                  <a:pt x="9180020" y="6020613"/>
                  <a:pt x="9182675" y="6017390"/>
                  <a:pt x="9182675" y="6017390"/>
                </a:cubicBezTo>
                <a:cubicBezTo>
                  <a:pt x="9182675" y="6017390"/>
                  <a:pt x="9179452" y="6014735"/>
                  <a:pt x="9179452" y="6014735"/>
                </a:cubicBezTo>
                <a:cubicBezTo>
                  <a:pt x="9182675" y="6017390"/>
                  <a:pt x="9185897" y="6020044"/>
                  <a:pt x="9191775" y="6019479"/>
                </a:cubicBezTo>
                <a:cubicBezTo>
                  <a:pt x="9188553" y="6016822"/>
                  <a:pt x="9191207" y="6013601"/>
                  <a:pt x="9197085" y="6013033"/>
                </a:cubicBezTo>
                <a:cubicBezTo>
                  <a:pt x="9194430" y="6016257"/>
                  <a:pt x="9200307" y="6015689"/>
                  <a:pt x="9203530" y="6018343"/>
                </a:cubicBezTo>
                <a:cubicBezTo>
                  <a:pt x="9209408" y="6017776"/>
                  <a:pt x="9209408" y="6017776"/>
                  <a:pt x="9209408" y="6017776"/>
                </a:cubicBezTo>
                <a:cubicBezTo>
                  <a:pt x="9212630" y="6020431"/>
                  <a:pt x="9212630" y="6020431"/>
                  <a:pt x="9212630" y="6020431"/>
                </a:cubicBezTo>
                <a:cubicBezTo>
                  <a:pt x="9215286" y="6017210"/>
                  <a:pt x="9215286" y="6017210"/>
                  <a:pt x="9215286" y="6017210"/>
                </a:cubicBezTo>
                <a:cubicBezTo>
                  <a:pt x="9215286" y="6017210"/>
                  <a:pt x="9215286" y="6017210"/>
                  <a:pt x="9212063" y="6014554"/>
                </a:cubicBezTo>
                <a:cubicBezTo>
                  <a:pt x="9236140" y="6018161"/>
                  <a:pt x="9260218" y="6021772"/>
                  <a:pt x="9268750" y="6017981"/>
                </a:cubicBezTo>
                <a:cubicBezTo>
                  <a:pt x="9274628" y="6017414"/>
                  <a:pt x="9274628" y="6017414"/>
                  <a:pt x="9277850" y="6020069"/>
                </a:cubicBezTo>
                <a:cubicBezTo>
                  <a:pt x="9283728" y="6019503"/>
                  <a:pt x="9283728" y="6019503"/>
                  <a:pt x="9286383" y="6016280"/>
                </a:cubicBezTo>
                <a:lnTo>
                  <a:pt x="9283853" y="6014195"/>
                </a:lnTo>
                <a:lnTo>
                  <a:pt x="9300688" y="6014205"/>
                </a:lnTo>
                <a:cubicBezTo>
                  <a:pt x="9319786" y="6014725"/>
                  <a:pt x="9329421" y="6016575"/>
                  <a:pt x="9360702" y="6018005"/>
                </a:cubicBezTo>
                <a:cubicBezTo>
                  <a:pt x="9375114" y="6013648"/>
                  <a:pt x="9380991" y="6013083"/>
                  <a:pt x="9383647" y="6009858"/>
                </a:cubicBezTo>
                <a:cubicBezTo>
                  <a:pt x="9386868" y="6012513"/>
                  <a:pt x="9384212" y="6015736"/>
                  <a:pt x="9393313" y="6017824"/>
                </a:cubicBezTo>
                <a:cubicBezTo>
                  <a:pt x="9398623" y="6011379"/>
                  <a:pt x="9408292" y="6019345"/>
                  <a:pt x="9425924" y="6017643"/>
                </a:cubicBezTo>
                <a:cubicBezTo>
                  <a:pt x="9443557" y="6015941"/>
                  <a:pt x="9422133" y="6009111"/>
                  <a:pt x="9442988" y="6010064"/>
                </a:cubicBezTo>
                <a:cubicBezTo>
                  <a:pt x="9428579" y="6014421"/>
                  <a:pt x="9449433" y="6015374"/>
                  <a:pt x="9467067" y="6013672"/>
                </a:cubicBezTo>
                <a:cubicBezTo>
                  <a:pt x="9464411" y="6016895"/>
                  <a:pt x="9464411" y="6016895"/>
                  <a:pt x="9464411" y="6016895"/>
                </a:cubicBezTo>
                <a:cubicBezTo>
                  <a:pt x="9458533" y="6017462"/>
                  <a:pt x="9452655" y="6018030"/>
                  <a:pt x="9455878" y="6020685"/>
                </a:cubicBezTo>
                <a:cubicBezTo>
                  <a:pt x="9455878" y="6020685"/>
                  <a:pt x="9459101" y="6023340"/>
                  <a:pt x="9464978" y="6022773"/>
                </a:cubicBezTo>
                <a:cubicBezTo>
                  <a:pt x="9470857" y="6022205"/>
                  <a:pt x="9470857" y="6022205"/>
                  <a:pt x="9470857" y="6022205"/>
                </a:cubicBezTo>
                <a:cubicBezTo>
                  <a:pt x="9468201" y="6025428"/>
                  <a:pt x="9455878" y="6020685"/>
                  <a:pt x="9456447" y="6026562"/>
                </a:cubicBezTo>
                <a:cubicBezTo>
                  <a:pt x="9468201" y="6025428"/>
                  <a:pt x="9477300" y="6027515"/>
                  <a:pt x="9479956" y="6024292"/>
                </a:cubicBezTo>
                <a:cubicBezTo>
                  <a:pt x="9482611" y="6021072"/>
                  <a:pt x="9482611" y="6021072"/>
                  <a:pt x="9485833" y="6023725"/>
                </a:cubicBezTo>
                <a:cubicBezTo>
                  <a:pt x="9491710" y="6023159"/>
                  <a:pt x="9497588" y="6022591"/>
                  <a:pt x="9500244" y="6019369"/>
                </a:cubicBezTo>
                <a:cubicBezTo>
                  <a:pt x="9500244" y="6019369"/>
                  <a:pt x="9497022" y="6016714"/>
                  <a:pt x="9491144" y="6017280"/>
                </a:cubicBezTo>
                <a:cubicBezTo>
                  <a:pt x="9487921" y="6014625"/>
                  <a:pt x="9487921" y="6014625"/>
                  <a:pt x="9487921" y="6014625"/>
                </a:cubicBezTo>
                <a:cubicBezTo>
                  <a:pt x="9496453" y="6010837"/>
                  <a:pt x="9490010" y="6005526"/>
                  <a:pt x="9505555" y="6012923"/>
                </a:cubicBezTo>
                <a:cubicBezTo>
                  <a:pt x="9504987" y="6007046"/>
                  <a:pt x="9493231" y="6008181"/>
                  <a:pt x="9490010" y="6005526"/>
                </a:cubicBezTo>
                <a:cubicBezTo>
                  <a:pt x="9510863" y="6006480"/>
                  <a:pt x="9511432" y="6012356"/>
                  <a:pt x="9523187" y="6011222"/>
                </a:cubicBezTo>
                <a:cubicBezTo>
                  <a:pt x="9520531" y="6014445"/>
                  <a:pt x="9517308" y="6011790"/>
                  <a:pt x="9517308" y="6011790"/>
                </a:cubicBezTo>
                <a:cubicBezTo>
                  <a:pt x="9511432" y="6012356"/>
                  <a:pt x="9511432" y="6012356"/>
                  <a:pt x="9511999" y="6018234"/>
                </a:cubicBezTo>
                <a:cubicBezTo>
                  <a:pt x="9511999" y="6018234"/>
                  <a:pt x="9517876" y="6017666"/>
                  <a:pt x="9523752" y="6017099"/>
                </a:cubicBezTo>
                <a:cubicBezTo>
                  <a:pt x="9515220" y="6020889"/>
                  <a:pt x="9518443" y="6023544"/>
                  <a:pt x="9526976" y="6019755"/>
                </a:cubicBezTo>
                <a:cubicBezTo>
                  <a:pt x="9530198" y="6022411"/>
                  <a:pt x="9530198" y="6022411"/>
                  <a:pt x="9530198" y="6022411"/>
                </a:cubicBezTo>
                <a:cubicBezTo>
                  <a:pt x="9524321" y="6022977"/>
                  <a:pt x="9527545" y="6025632"/>
                  <a:pt x="9527545" y="6025632"/>
                </a:cubicBezTo>
                <a:cubicBezTo>
                  <a:pt x="9533422" y="6025066"/>
                  <a:pt x="9533422" y="6025066"/>
                  <a:pt x="9536076" y="6021842"/>
                </a:cubicBezTo>
                <a:cubicBezTo>
                  <a:pt x="9539299" y="6024497"/>
                  <a:pt x="9539299" y="6024497"/>
                  <a:pt x="9541955" y="6021275"/>
                </a:cubicBezTo>
                <a:cubicBezTo>
                  <a:pt x="9551054" y="6023363"/>
                  <a:pt x="9551054" y="6023363"/>
                  <a:pt x="9560153" y="6025452"/>
                </a:cubicBezTo>
                <a:cubicBezTo>
                  <a:pt x="9554276" y="6026018"/>
                  <a:pt x="9554276" y="6026018"/>
                  <a:pt x="9554276" y="6026018"/>
                </a:cubicBezTo>
                <a:cubicBezTo>
                  <a:pt x="9548398" y="6026586"/>
                  <a:pt x="9545743" y="6029808"/>
                  <a:pt x="9545743" y="6029808"/>
                </a:cubicBezTo>
                <a:cubicBezTo>
                  <a:pt x="9548965" y="6032463"/>
                  <a:pt x="9554843" y="6031896"/>
                  <a:pt x="9560720" y="6031328"/>
                </a:cubicBezTo>
                <a:cubicBezTo>
                  <a:pt x="9566598" y="6030762"/>
                  <a:pt x="9566598" y="6030762"/>
                  <a:pt x="9566598" y="6030762"/>
                </a:cubicBezTo>
                <a:cubicBezTo>
                  <a:pt x="9572476" y="6030194"/>
                  <a:pt x="9572476" y="6030194"/>
                  <a:pt x="9572476" y="6030194"/>
                </a:cubicBezTo>
                <a:cubicBezTo>
                  <a:pt x="9578354" y="6029627"/>
                  <a:pt x="9581009" y="6026405"/>
                  <a:pt x="9577785" y="6023749"/>
                </a:cubicBezTo>
                <a:cubicBezTo>
                  <a:pt x="9577785" y="6023749"/>
                  <a:pt x="9574563" y="6021094"/>
                  <a:pt x="9568686" y="6021661"/>
                </a:cubicBezTo>
                <a:cubicBezTo>
                  <a:pt x="9568686" y="6021661"/>
                  <a:pt x="9568686" y="6021661"/>
                  <a:pt x="9566031" y="6024884"/>
                </a:cubicBezTo>
                <a:cubicBezTo>
                  <a:pt x="9560153" y="6025452"/>
                  <a:pt x="9560153" y="6025452"/>
                  <a:pt x="9560153" y="6025452"/>
                </a:cubicBezTo>
                <a:cubicBezTo>
                  <a:pt x="9579875" y="6014650"/>
                  <a:pt x="9559586" y="6019574"/>
                  <a:pt x="9544609" y="6018053"/>
                </a:cubicBezTo>
                <a:cubicBezTo>
                  <a:pt x="9550486" y="6017486"/>
                  <a:pt x="9550486" y="6017486"/>
                  <a:pt x="9550486" y="6017486"/>
                </a:cubicBezTo>
                <a:cubicBezTo>
                  <a:pt x="9550486" y="6017486"/>
                  <a:pt x="9547263" y="6014832"/>
                  <a:pt x="9547263" y="6014832"/>
                </a:cubicBezTo>
                <a:cubicBezTo>
                  <a:pt x="9547263" y="6014832"/>
                  <a:pt x="9547263" y="6014832"/>
                  <a:pt x="9544042" y="6012176"/>
                </a:cubicBezTo>
                <a:cubicBezTo>
                  <a:pt x="9541387" y="6015398"/>
                  <a:pt x="9541387" y="6015398"/>
                  <a:pt x="9541387" y="6015398"/>
                </a:cubicBezTo>
                <a:cubicBezTo>
                  <a:pt x="9535508" y="6015964"/>
                  <a:pt x="9535508" y="6015964"/>
                  <a:pt x="9535508" y="6015964"/>
                </a:cubicBezTo>
                <a:cubicBezTo>
                  <a:pt x="9538164" y="6012743"/>
                  <a:pt x="9538164" y="6012743"/>
                  <a:pt x="9538164" y="6012743"/>
                </a:cubicBezTo>
                <a:cubicBezTo>
                  <a:pt x="9538164" y="6012743"/>
                  <a:pt x="9534943" y="6010087"/>
                  <a:pt x="9532287" y="6013310"/>
                </a:cubicBezTo>
                <a:cubicBezTo>
                  <a:pt x="9529065" y="6010655"/>
                  <a:pt x="9529065" y="6010655"/>
                  <a:pt x="9529065" y="6010655"/>
                </a:cubicBezTo>
                <a:cubicBezTo>
                  <a:pt x="9540252" y="6003643"/>
                  <a:pt x="9549353" y="6005730"/>
                  <a:pt x="9570207" y="6006684"/>
                </a:cubicBezTo>
                <a:cubicBezTo>
                  <a:pt x="9567552" y="6009906"/>
                  <a:pt x="9567552" y="6009906"/>
                  <a:pt x="9567552" y="6009906"/>
                </a:cubicBezTo>
                <a:cubicBezTo>
                  <a:pt x="9564896" y="6013129"/>
                  <a:pt x="9564896" y="6013129"/>
                  <a:pt x="9564896" y="6013129"/>
                </a:cubicBezTo>
                <a:cubicBezTo>
                  <a:pt x="9570774" y="6012562"/>
                  <a:pt x="9570774" y="6012562"/>
                  <a:pt x="9570774" y="6012562"/>
                </a:cubicBezTo>
                <a:cubicBezTo>
                  <a:pt x="9573429" y="6009339"/>
                  <a:pt x="9573429" y="6009339"/>
                  <a:pt x="9573429" y="6009339"/>
                </a:cubicBezTo>
                <a:cubicBezTo>
                  <a:pt x="9579307" y="6008772"/>
                  <a:pt x="9579307" y="6008772"/>
                  <a:pt x="9579307" y="6008772"/>
                </a:cubicBezTo>
                <a:cubicBezTo>
                  <a:pt x="9585183" y="6008206"/>
                  <a:pt x="9585752" y="6014081"/>
                  <a:pt x="9597507" y="6012948"/>
                </a:cubicBezTo>
                <a:cubicBezTo>
                  <a:pt x="9600729" y="6015603"/>
                  <a:pt x="9600729" y="6015603"/>
                  <a:pt x="9600729" y="6015603"/>
                </a:cubicBezTo>
                <a:cubicBezTo>
                  <a:pt x="9603385" y="6012381"/>
                  <a:pt x="9606607" y="6015036"/>
                  <a:pt x="9606607" y="6015036"/>
                </a:cubicBezTo>
                <a:cubicBezTo>
                  <a:pt x="9609263" y="6011813"/>
                  <a:pt x="9609263" y="6011813"/>
                  <a:pt x="9609263" y="6011813"/>
                </a:cubicBezTo>
                <a:cubicBezTo>
                  <a:pt x="9606041" y="6009158"/>
                  <a:pt x="9606041" y="6009158"/>
                  <a:pt x="9606041" y="6009158"/>
                </a:cubicBezTo>
                <a:cubicBezTo>
                  <a:pt x="9617795" y="6008023"/>
                  <a:pt x="9627461" y="6015989"/>
                  <a:pt x="9632771" y="6009544"/>
                </a:cubicBezTo>
                <a:cubicBezTo>
                  <a:pt x="9632771" y="6009544"/>
                  <a:pt x="9635428" y="6006322"/>
                  <a:pt x="9638649" y="6008977"/>
                </a:cubicBezTo>
                <a:cubicBezTo>
                  <a:pt x="9638649" y="6008977"/>
                  <a:pt x="9641305" y="6005754"/>
                  <a:pt x="9641305" y="6005754"/>
                </a:cubicBezTo>
                <a:cubicBezTo>
                  <a:pt x="9638082" y="6003098"/>
                  <a:pt x="9638082" y="6003098"/>
                  <a:pt x="9638082" y="6003098"/>
                </a:cubicBezTo>
                <a:cubicBezTo>
                  <a:pt x="9671260" y="6008796"/>
                  <a:pt x="9649838" y="6001965"/>
                  <a:pt x="9655148" y="5995520"/>
                </a:cubicBezTo>
                <a:cubicBezTo>
                  <a:pt x="9670693" y="6002918"/>
                  <a:pt x="9705958" y="5999515"/>
                  <a:pt x="9735346" y="5996679"/>
                </a:cubicBezTo>
                <a:cubicBezTo>
                  <a:pt x="9734778" y="5990802"/>
                  <a:pt x="9734778" y="5990802"/>
                  <a:pt x="9734778" y="5990802"/>
                </a:cubicBezTo>
                <a:cubicBezTo>
                  <a:pt x="9738000" y="5993456"/>
                  <a:pt x="9738000" y="5993456"/>
                  <a:pt x="9738000" y="5993456"/>
                </a:cubicBezTo>
                <a:cubicBezTo>
                  <a:pt x="9738000" y="5993456"/>
                  <a:pt x="9741224" y="5996112"/>
                  <a:pt x="9743878" y="5992889"/>
                </a:cubicBezTo>
                <a:cubicBezTo>
                  <a:pt x="9743878" y="5992889"/>
                  <a:pt x="9740656" y="5990234"/>
                  <a:pt x="9740656" y="5990234"/>
                </a:cubicBezTo>
                <a:cubicBezTo>
                  <a:pt x="9758288" y="5988532"/>
                  <a:pt x="9776489" y="5992707"/>
                  <a:pt x="9785588" y="5994796"/>
                </a:cubicBezTo>
                <a:cubicBezTo>
                  <a:pt x="9785023" y="5988918"/>
                  <a:pt x="9781800" y="5986263"/>
                  <a:pt x="9787678" y="5985696"/>
                </a:cubicBezTo>
                <a:cubicBezTo>
                  <a:pt x="9790899" y="5988351"/>
                  <a:pt x="9790899" y="5988351"/>
                  <a:pt x="9796776" y="5987784"/>
                </a:cubicBezTo>
                <a:cubicBezTo>
                  <a:pt x="9796210" y="5981906"/>
                  <a:pt x="9799432" y="5984561"/>
                  <a:pt x="9808531" y="5986648"/>
                </a:cubicBezTo>
                <a:cubicBezTo>
                  <a:pt x="9808531" y="5986648"/>
                  <a:pt x="9808531" y="5986648"/>
                  <a:pt x="9805876" y="5989872"/>
                </a:cubicBezTo>
                <a:cubicBezTo>
                  <a:pt x="9805876" y="5989872"/>
                  <a:pt x="9805876" y="5989872"/>
                  <a:pt x="9809099" y="5992528"/>
                </a:cubicBezTo>
                <a:cubicBezTo>
                  <a:pt x="9811754" y="5989304"/>
                  <a:pt x="9814976" y="5991959"/>
                  <a:pt x="9817632" y="5988737"/>
                </a:cubicBezTo>
                <a:cubicBezTo>
                  <a:pt x="9817632" y="5988737"/>
                  <a:pt x="9820287" y="5985515"/>
                  <a:pt x="9820287" y="5985515"/>
                </a:cubicBezTo>
                <a:cubicBezTo>
                  <a:pt x="9826732" y="5990824"/>
                  <a:pt x="9869962" y="5977754"/>
                  <a:pt x="9858207" y="5978888"/>
                </a:cubicBezTo>
                <a:cubicBezTo>
                  <a:pt x="9850242" y="5988556"/>
                  <a:pt x="9847972" y="5965046"/>
                  <a:pt x="9843230" y="5977368"/>
                </a:cubicBezTo>
                <a:cubicBezTo>
                  <a:pt x="9843796" y="5983245"/>
                  <a:pt x="9835263" y="5987035"/>
                  <a:pt x="9826164" y="5984947"/>
                </a:cubicBezTo>
                <a:cubicBezTo>
                  <a:pt x="9828819" y="5981726"/>
                  <a:pt x="9828819" y="5981726"/>
                  <a:pt x="9832042" y="5984380"/>
                </a:cubicBezTo>
                <a:cubicBezTo>
                  <a:pt x="9834697" y="5981157"/>
                  <a:pt x="9834697" y="5981157"/>
                  <a:pt x="9834697" y="5981157"/>
                </a:cubicBezTo>
                <a:cubicBezTo>
                  <a:pt x="9837353" y="5977936"/>
                  <a:pt x="9831476" y="5978502"/>
                  <a:pt x="9831476" y="5978502"/>
                </a:cubicBezTo>
                <a:cubicBezTo>
                  <a:pt x="9825598" y="5979069"/>
                  <a:pt x="9825598" y="5979069"/>
                  <a:pt x="9825598" y="5979069"/>
                </a:cubicBezTo>
                <a:cubicBezTo>
                  <a:pt x="9828253" y="5975848"/>
                  <a:pt x="9828253" y="5975848"/>
                  <a:pt x="9828253" y="5975848"/>
                </a:cubicBezTo>
                <a:cubicBezTo>
                  <a:pt x="9831476" y="5978502"/>
                  <a:pt x="9834130" y="5975280"/>
                  <a:pt x="9834130" y="5975280"/>
                </a:cubicBezTo>
                <a:cubicBezTo>
                  <a:pt x="9834130" y="5975280"/>
                  <a:pt x="9830907" y="5972625"/>
                  <a:pt x="9830907" y="5972625"/>
                </a:cubicBezTo>
                <a:cubicBezTo>
                  <a:pt x="9825030" y="5973191"/>
                  <a:pt x="9825030" y="5973191"/>
                  <a:pt x="9825030" y="5973191"/>
                </a:cubicBezTo>
                <a:cubicBezTo>
                  <a:pt x="9819151" y="5973760"/>
                  <a:pt x="9819151" y="5973760"/>
                  <a:pt x="9819151" y="5973760"/>
                </a:cubicBezTo>
                <a:cubicBezTo>
                  <a:pt x="9819151" y="5973760"/>
                  <a:pt x="9827684" y="5969971"/>
                  <a:pt x="9827684" y="5969971"/>
                </a:cubicBezTo>
                <a:cubicBezTo>
                  <a:pt x="9833562" y="5969403"/>
                  <a:pt x="9833562" y="5969403"/>
                  <a:pt x="9833562" y="5969403"/>
                </a:cubicBezTo>
                <a:cubicBezTo>
                  <a:pt x="9839440" y="5968835"/>
                  <a:pt x="9839440" y="5968835"/>
                  <a:pt x="9839440" y="5968835"/>
                </a:cubicBezTo>
                <a:cubicBezTo>
                  <a:pt x="9842663" y="5971490"/>
                  <a:pt x="9848541" y="5970923"/>
                  <a:pt x="9851195" y="5967701"/>
                </a:cubicBezTo>
                <a:cubicBezTo>
                  <a:pt x="9853850" y="5964478"/>
                  <a:pt x="9850628" y="5961824"/>
                  <a:pt x="9844750" y="5962391"/>
                </a:cubicBezTo>
                <a:cubicBezTo>
                  <a:pt x="9844750" y="5962391"/>
                  <a:pt x="9844750" y="5962391"/>
                  <a:pt x="9841529" y="5959736"/>
                </a:cubicBezTo>
                <a:cubicBezTo>
                  <a:pt x="9859160" y="5958034"/>
                  <a:pt x="9851195" y="5967701"/>
                  <a:pt x="9868259" y="5960120"/>
                </a:cubicBezTo>
                <a:cubicBezTo>
                  <a:pt x="9865605" y="5963344"/>
                  <a:pt x="9865605" y="5963344"/>
                  <a:pt x="9865605" y="5963344"/>
                </a:cubicBezTo>
                <a:cubicBezTo>
                  <a:pt x="9865605" y="5963344"/>
                  <a:pt x="9865605" y="5963344"/>
                  <a:pt x="9868827" y="5965999"/>
                </a:cubicBezTo>
                <a:cubicBezTo>
                  <a:pt x="9871483" y="5962776"/>
                  <a:pt x="9871483" y="5962776"/>
                  <a:pt x="9871483" y="5962776"/>
                </a:cubicBezTo>
                <a:cubicBezTo>
                  <a:pt x="9871483" y="5962776"/>
                  <a:pt x="9874138" y="5959554"/>
                  <a:pt x="9874138" y="5959554"/>
                </a:cubicBezTo>
                <a:cubicBezTo>
                  <a:pt x="9880015" y="5958987"/>
                  <a:pt x="9880015" y="5958987"/>
                  <a:pt x="9880015" y="5958987"/>
                </a:cubicBezTo>
                <a:cubicBezTo>
                  <a:pt x="9885893" y="5958419"/>
                  <a:pt x="9885893" y="5958419"/>
                  <a:pt x="9897649" y="5957285"/>
                </a:cubicBezTo>
                <a:cubicBezTo>
                  <a:pt x="9896515" y="5945530"/>
                  <a:pt x="9923247" y="5945917"/>
                  <a:pt x="9913579" y="5937950"/>
                </a:cubicBezTo>
                <a:cubicBezTo>
                  <a:pt x="9908270" y="5944396"/>
                  <a:pt x="9899168" y="5942307"/>
                  <a:pt x="9890637" y="5946098"/>
                </a:cubicBezTo>
                <a:cubicBezTo>
                  <a:pt x="9899168" y="5942307"/>
                  <a:pt x="9899168" y="5942307"/>
                  <a:pt x="9895947" y="5939653"/>
                </a:cubicBezTo>
                <a:cubicBezTo>
                  <a:pt x="9895947" y="5939653"/>
                  <a:pt x="9895947" y="5939653"/>
                  <a:pt x="9892724" y="5936998"/>
                </a:cubicBezTo>
                <a:cubicBezTo>
                  <a:pt x="9907702" y="5938518"/>
                  <a:pt x="9925334" y="5936816"/>
                  <a:pt x="9939745" y="5932459"/>
                </a:cubicBezTo>
                <a:lnTo>
                  <a:pt x="9949039" y="5930932"/>
                </a:lnTo>
                <a:lnTo>
                  <a:pt x="9781481" y="5947325"/>
                </a:lnTo>
                <a:cubicBezTo>
                  <a:pt x="9691504" y="5953699"/>
                  <a:pt x="9601312" y="5956453"/>
                  <a:pt x="9510682" y="5951964"/>
                </a:cubicBezTo>
                <a:cubicBezTo>
                  <a:pt x="9416730" y="5946586"/>
                  <a:pt x="9324489" y="5935925"/>
                  <a:pt x="9233903" y="5920018"/>
                </a:cubicBezTo>
                <a:lnTo>
                  <a:pt x="9166105" y="5906024"/>
                </a:lnTo>
                <a:lnTo>
                  <a:pt x="9158019" y="5906454"/>
                </a:lnTo>
                <a:cubicBezTo>
                  <a:pt x="9141622" y="5905116"/>
                  <a:pt x="9119334" y="5898925"/>
                  <a:pt x="9106109" y="5900202"/>
                </a:cubicBezTo>
                <a:cubicBezTo>
                  <a:pt x="9106109" y="5900202"/>
                  <a:pt x="9102888" y="5897546"/>
                  <a:pt x="9102888" y="5897546"/>
                </a:cubicBezTo>
                <a:cubicBezTo>
                  <a:pt x="9099666" y="5894892"/>
                  <a:pt x="9099666" y="5894892"/>
                  <a:pt x="9099666" y="5894892"/>
                </a:cubicBezTo>
                <a:cubicBezTo>
                  <a:pt x="9099666" y="5894892"/>
                  <a:pt x="9097010" y="5898113"/>
                  <a:pt x="9097010" y="5898113"/>
                </a:cubicBezTo>
                <a:cubicBezTo>
                  <a:pt x="9082034" y="5896592"/>
                  <a:pt x="9084688" y="5893371"/>
                  <a:pt x="9075589" y="5891284"/>
                </a:cubicBezTo>
                <a:cubicBezTo>
                  <a:pt x="9075589" y="5891284"/>
                  <a:pt x="9072366" y="5888627"/>
                  <a:pt x="9072366" y="5888627"/>
                </a:cubicBezTo>
                <a:cubicBezTo>
                  <a:pt x="9072366" y="5888627"/>
                  <a:pt x="9066488" y="5889194"/>
                  <a:pt x="9066488" y="5889194"/>
                </a:cubicBezTo>
                <a:cubicBezTo>
                  <a:pt x="9069711" y="5891850"/>
                  <a:pt x="9069711" y="5891850"/>
                  <a:pt x="9069711" y="5891850"/>
                </a:cubicBezTo>
                <a:cubicBezTo>
                  <a:pt x="9045634" y="5888240"/>
                  <a:pt x="9033310" y="5883498"/>
                  <a:pt x="9015678" y="5885201"/>
                </a:cubicBezTo>
                <a:cubicBezTo>
                  <a:pt x="9018333" y="5881977"/>
                  <a:pt x="9018333" y="5881977"/>
                  <a:pt x="9018333" y="5881977"/>
                </a:cubicBezTo>
                <a:lnTo>
                  <a:pt x="9015111" y="5879322"/>
                </a:lnTo>
                <a:cubicBezTo>
                  <a:pt x="9011889" y="5876668"/>
                  <a:pt x="9009234" y="5879889"/>
                  <a:pt x="9009234" y="5879889"/>
                </a:cubicBezTo>
                <a:cubicBezTo>
                  <a:pt x="9009234" y="5879889"/>
                  <a:pt x="9009234" y="5879889"/>
                  <a:pt x="9006578" y="5883113"/>
                </a:cubicBezTo>
                <a:cubicBezTo>
                  <a:pt x="9003356" y="5880458"/>
                  <a:pt x="9003356" y="5880458"/>
                  <a:pt x="9003356" y="5880458"/>
                </a:cubicBezTo>
                <a:cubicBezTo>
                  <a:pt x="8988378" y="5878937"/>
                  <a:pt x="8987812" y="5873059"/>
                  <a:pt x="8978711" y="5870971"/>
                </a:cubicBezTo>
                <a:cubicBezTo>
                  <a:pt x="8976056" y="5874193"/>
                  <a:pt x="8979278" y="5876849"/>
                  <a:pt x="8970178" y="5874762"/>
                </a:cubicBezTo>
                <a:cubicBezTo>
                  <a:pt x="8966957" y="5872106"/>
                  <a:pt x="8964301" y="5875328"/>
                  <a:pt x="8961079" y="5872672"/>
                </a:cubicBezTo>
                <a:cubicBezTo>
                  <a:pt x="8963734" y="5869450"/>
                  <a:pt x="8963734" y="5869450"/>
                  <a:pt x="8960511" y="5866796"/>
                </a:cubicBezTo>
                <a:cubicBezTo>
                  <a:pt x="8960511" y="5866796"/>
                  <a:pt x="8957289" y="5864140"/>
                  <a:pt x="8954634" y="5867363"/>
                </a:cubicBezTo>
                <a:cubicBezTo>
                  <a:pt x="8954634" y="5867363"/>
                  <a:pt x="8951411" y="5864708"/>
                  <a:pt x="8948756" y="5867930"/>
                </a:cubicBezTo>
                <a:cubicBezTo>
                  <a:pt x="8939655" y="5865841"/>
                  <a:pt x="8900601" y="5860712"/>
                  <a:pt x="8906479" y="5860146"/>
                </a:cubicBezTo>
                <a:cubicBezTo>
                  <a:pt x="8904391" y="5869245"/>
                  <a:pt x="8924112" y="5858443"/>
                  <a:pt x="8922024" y="5867544"/>
                </a:cubicBezTo>
                <a:cubicBezTo>
                  <a:pt x="8927901" y="5866976"/>
                  <a:pt x="8933779" y="5866409"/>
                  <a:pt x="8942878" y="5868496"/>
                </a:cubicBezTo>
                <a:cubicBezTo>
                  <a:pt x="8942878" y="5868496"/>
                  <a:pt x="8942878" y="5868496"/>
                  <a:pt x="8946101" y="5871153"/>
                </a:cubicBezTo>
                <a:cubicBezTo>
                  <a:pt x="8946101" y="5871153"/>
                  <a:pt x="8949324" y="5873807"/>
                  <a:pt x="8949324" y="5873807"/>
                </a:cubicBezTo>
                <a:cubicBezTo>
                  <a:pt x="8952546" y="5876462"/>
                  <a:pt x="8958423" y="5875895"/>
                  <a:pt x="8958423" y="5875895"/>
                </a:cubicBezTo>
                <a:cubicBezTo>
                  <a:pt x="8968091" y="5883860"/>
                  <a:pt x="8979278" y="5876849"/>
                  <a:pt x="8997480" y="5881024"/>
                </a:cubicBezTo>
                <a:cubicBezTo>
                  <a:pt x="8994822" y="5884246"/>
                  <a:pt x="8998045" y="5886902"/>
                  <a:pt x="9003923" y="5886334"/>
                </a:cubicBezTo>
                <a:cubicBezTo>
                  <a:pt x="9007146" y="5888990"/>
                  <a:pt x="9007146" y="5888990"/>
                  <a:pt x="9007146" y="5888990"/>
                </a:cubicBezTo>
                <a:cubicBezTo>
                  <a:pt x="9007146" y="5888990"/>
                  <a:pt x="9010369" y="5891645"/>
                  <a:pt x="9013592" y="5894300"/>
                </a:cubicBezTo>
                <a:cubicBezTo>
                  <a:pt x="9016244" y="5891079"/>
                  <a:pt x="9019469" y="5893734"/>
                  <a:pt x="9016244" y="5891079"/>
                </a:cubicBezTo>
                <a:cubicBezTo>
                  <a:pt x="9016244" y="5891079"/>
                  <a:pt x="9018900" y="5887855"/>
                  <a:pt x="9018900" y="5887855"/>
                </a:cubicBezTo>
                <a:cubicBezTo>
                  <a:pt x="9028567" y="5895820"/>
                  <a:pt x="9030656" y="5886720"/>
                  <a:pt x="9039757" y="5888810"/>
                </a:cubicBezTo>
                <a:cubicBezTo>
                  <a:pt x="9052078" y="5893552"/>
                  <a:pt x="9061178" y="5895640"/>
                  <a:pt x="9067055" y="5895073"/>
                </a:cubicBezTo>
                <a:cubicBezTo>
                  <a:pt x="9067055" y="5895073"/>
                  <a:pt x="9070278" y="5897728"/>
                  <a:pt x="9070278" y="5897728"/>
                </a:cubicBezTo>
                <a:cubicBezTo>
                  <a:pt x="9070278" y="5897728"/>
                  <a:pt x="9070278" y="5897728"/>
                  <a:pt x="9073499" y="5900383"/>
                </a:cubicBezTo>
                <a:cubicBezTo>
                  <a:pt x="9085255" y="5899249"/>
                  <a:pt x="9085255" y="5899249"/>
                  <a:pt x="9094355" y="5901336"/>
                </a:cubicBezTo>
                <a:cubicBezTo>
                  <a:pt x="9091133" y="5898681"/>
                  <a:pt x="9091133" y="5898681"/>
                  <a:pt x="9088477" y="5901903"/>
                </a:cubicBezTo>
                <a:cubicBezTo>
                  <a:pt x="9088477" y="5901903"/>
                  <a:pt x="9088477" y="5901903"/>
                  <a:pt x="9091700" y="5904558"/>
                </a:cubicBezTo>
                <a:cubicBezTo>
                  <a:pt x="9091700" y="5904558"/>
                  <a:pt x="9097578" y="5903990"/>
                  <a:pt x="9097578" y="5903990"/>
                </a:cubicBezTo>
                <a:cubicBezTo>
                  <a:pt x="9103455" y="5903424"/>
                  <a:pt x="9103455" y="5903424"/>
                  <a:pt x="9103455" y="5903424"/>
                </a:cubicBezTo>
                <a:cubicBezTo>
                  <a:pt x="9106677" y="5906080"/>
                  <a:pt x="9106677" y="5906080"/>
                  <a:pt x="9115777" y="5908166"/>
                </a:cubicBezTo>
                <a:cubicBezTo>
                  <a:pt x="9112556" y="5905512"/>
                  <a:pt x="9118433" y="5904944"/>
                  <a:pt x="9127533" y="5907034"/>
                </a:cubicBezTo>
                <a:cubicBezTo>
                  <a:pt x="9124877" y="5910255"/>
                  <a:pt x="9121655" y="5907599"/>
                  <a:pt x="9119000" y="5910822"/>
                </a:cubicBezTo>
                <a:cubicBezTo>
                  <a:pt x="9133977" y="5912342"/>
                  <a:pt x="9127533" y="5907034"/>
                  <a:pt x="9136631" y="5909121"/>
                </a:cubicBezTo>
                <a:cubicBezTo>
                  <a:pt x="9148955" y="5913863"/>
                  <a:pt x="9139856" y="5911775"/>
                  <a:pt x="9160711" y="5912729"/>
                </a:cubicBezTo>
                <a:cubicBezTo>
                  <a:pt x="9161277" y="5918607"/>
                  <a:pt x="9155399" y="5919174"/>
                  <a:pt x="9152744" y="5922396"/>
                </a:cubicBezTo>
                <a:cubicBezTo>
                  <a:pt x="9164499" y="5921262"/>
                  <a:pt x="9170377" y="5920694"/>
                  <a:pt x="9176254" y="5920127"/>
                </a:cubicBezTo>
                <a:cubicBezTo>
                  <a:pt x="9173600" y="5923349"/>
                  <a:pt x="9173600" y="5923349"/>
                  <a:pt x="9173600" y="5923349"/>
                </a:cubicBezTo>
                <a:cubicBezTo>
                  <a:pt x="9173600" y="5923349"/>
                  <a:pt x="9173600" y="5923349"/>
                  <a:pt x="9176822" y="5926005"/>
                </a:cubicBezTo>
                <a:cubicBezTo>
                  <a:pt x="9176822" y="5926005"/>
                  <a:pt x="9179477" y="5922783"/>
                  <a:pt x="9182699" y="5925437"/>
                </a:cubicBezTo>
                <a:cubicBezTo>
                  <a:pt x="9188577" y="5924871"/>
                  <a:pt x="9197677" y="5926958"/>
                  <a:pt x="9200332" y="5923735"/>
                </a:cubicBezTo>
                <a:cubicBezTo>
                  <a:pt x="9200332" y="5923735"/>
                  <a:pt x="9206209" y="5923169"/>
                  <a:pt x="9209431" y="5925823"/>
                </a:cubicBezTo>
                <a:cubicBezTo>
                  <a:pt x="9209431" y="5925823"/>
                  <a:pt x="9209431" y="5925823"/>
                  <a:pt x="9215309" y="5925256"/>
                </a:cubicBezTo>
                <a:cubicBezTo>
                  <a:pt x="9215309" y="5925256"/>
                  <a:pt x="9215309" y="5925256"/>
                  <a:pt x="9212087" y="5922601"/>
                </a:cubicBezTo>
                <a:cubicBezTo>
                  <a:pt x="9212087" y="5922601"/>
                  <a:pt x="9212087" y="5922601"/>
                  <a:pt x="9208865" y="5919946"/>
                </a:cubicBezTo>
                <a:cubicBezTo>
                  <a:pt x="9226497" y="5918244"/>
                  <a:pt x="9238820" y="5922986"/>
                  <a:pt x="9247920" y="5925076"/>
                </a:cubicBezTo>
                <a:cubicBezTo>
                  <a:pt x="9245264" y="5928297"/>
                  <a:pt x="9239385" y="5928864"/>
                  <a:pt x="9236731" y="5932087"/>
                </a:cubicBezTo>
                <a:cubicBezTo>
                  <a:pt x="9260810" y="5935696"/>
                  <a:pt x="9284886" y="5939303"/>
                  <a:pt x="9271997" y="5928683"/>
                </a:cubicBezTo>
                <a:cubicBezTo>
                  <a:pt x="9293419" y="5935514"/>
                  <a:pt x="9293419" y="5935514"/>
                  <a:pt x="9311052" y="5933813"/>
                </a:cubicBezTo>
                <a:cubicBezTo>
                  <a:pt x="9311052" y="5933813"/>
                  <a:pt x="9308396" y="5937036"/>
                  <a:pt x="9305174" y="5934380"/>
                </a:cubicBezTo>
                <a:cubicBezTo>
                  <a:pt x="9305174" y="5934380"/>
                  <a:pt x="9302519" y="5937601"/>
                  <a:pt x="9302519" y="5937601"/>
                </a:cubicBezTo>
                <a:cubicBezTo>
                  <a:pt x="9296641" y="5938170"/>
                  <a:pt x="9299863" y="5940826"/>
                  <a:pt x="9299863" y="5940826"/>
                </a:cubicBezTo>
                <a:cubicBezTo>
                  <a:pt x="9303087" y="5943479"/>
                  <a:pt x="9303087" y="5943479"/>
                  <a:pt x="9308964" y="5942913"/>
                </a:cubicBezTo>
                <a:cubicBezTo>
                  <a:pt x="9306310" y="5946135"/>
                  <a:pt x="9306310" y="5946135"/>
                  <a:pt x="9306310" y="5946135"/>
                </a:cubicBezTo>
                <a:cubicBezTo>
                  <a:pt x="9303087" y="5943479"/>
                  <a:pt x="9300431" y="5946703"/>
                  <a:pt x="9300431" y="5946703"/>
                </a:cubicBezTo>
                <a:cubicBezTo>
                  <a:pt x="9297209" y="5944047"/>
                  <a:pt x="9297209" y="5944047"/>
                  <a:pt x="9297209" y="5944047"/>
                </a:cubicBezTo>
                <a:cubicBezTo>
                  <a:pt x="9297209" y="5944047"/>
                  <a:pt x="9291332" y="5944614"/>
                  <a:pt x="9291332" y="5944614"/>
                </a:cubicBezTo>
                <a:cubicBezTo>
                  <a:pt x="9291332" y="5944614"/>
                  <a:pt x="9285454" y="5945182"/>
                  <a:pt x="9285454" y="5945182"/>
                </a:cubicBezTo>
                <a:lnTo>
                  <a:pt x="9219601" y="5936533"/>
                </a:lnTo>
                <a:lnTo>
                  <a:pt x="9226019" y="5939499"/>
                </a:lnTo>
                <a:cubicBezTo>
                  <a:pt x="9229979" y="5940642"/>
                  <a:pt x="9233180" y="5944413"/>
                  <a:pt x="9233929" y="5948425"/>
                </a:cubicBezTo>
                <a:cubicBezTo>
                  <a:pt x="9234364" y="5951872"/>
                  <a:pt x="9235177" y="5954005"/>
                  <a:pt x="9237439" y="5956081"/>
                </a:cubicBezTo>
                <a:lnTo>
                  <a:pt x="9235387" y="5963185"/>
                </a:lnTo>
                <a:lnTo>
                  <a:pt x="9251820" y="5965482"/>
                </a:lnTo>
                <a:cubicBezTo>
                  <a:pt x="9277959" y="5967410"/>
                  <a:pt x="9304028" y="5968601"/>
                  <a:pt x="9323555" y="5971167"/>
                </a:cubicBezTo>
                <a:cubicBezTo>
                  <a:pt x="9338534" y="5972687"/>
                  <a:pt x="9337965" y="5966809"/>
                  <a:pt x="9352944" y="5968330"/>
                </a:cubicBezTo>
                <a:cubicBezTo>
                  <a:pt x="9350855" y="5977430"/>
                  <a:pt x="9377588" y="5977815"/>
                  <a:pt x="9395220" y="5976114"/>
                </a:cubicBezTo>
                <a:cubicBezTo>
                  <a:pt x="9395220" y="5976114"/>
                  <a:pt x="9397876" y="5972892"/>
                  <a:pt x="9403754" y="5972324"/>
                </a:cubicBezTo>
                <a:cubicBezTo>
                  <a:pt x="9421386" y="5970623"/>
                  <a:pt x="9449253" y="5982764"/>
                  <a:pt x="9475418" y="5977272"/>
                </a:cubicBezTo>
                <a:cubicBezTo>
                  <a:pt x="9481295" y="5976705"/>
                  <a:pt x="9480729" y="5970828"/>
                  <a:pt x="9492484" y="5969693"/>
                </a:cubicBezTo>
                <a:cubicBezTo>
                  <a:pt x="9492484" y="5969693"/>
                  <a:pt x="9502150" y="5977658"/>
                  <a:pt x="9510684" y="5973869"/>
                </a:cubicBezTo>
                <a:cubicBezTo>
                  <a:pt x="9567371" y="5977297"/>
                  <a:pt x="9640558" y="5967266"/>
                  <a:pt x="9693454" y="5962162"/>
                </a:cubicBezTo>
                <a:cubicBezTo>
                  <a:pt x="9716965" y="5959893"/>
                  <a:pt x="9743697" y="5960279"/>
                  <a:pt x="9773086" y="5957442"/>
                </a:cubicBezTo>
                <a:cubicBezTo>
                  <a:pt x="9784841" y="5956308"/>
                  <a:pt x="9801906" y="5948729"/>
                  <a:pt x="9813662" y="5947594"/>
                </a:cubicBezTo>
                <a:cubicBezTo>
                  <a:pt x="9813662" y="5947594"/>
                  <a:pt x="9828638" y="5949115"/>
                  <a:pt x="9828638" y="5949115"/>
                </a:cubicBezTo>
                <a:cubicBezTo>
                  <a:pt x="9840393" y="5947980"/>
                  <a:pt x="9843048" y="5944758"/>
                  <a:pt x="9848925" y="5944189"/>
                </a:cubicBezTo>
                <a:cubicBezTo>
                  <a:pt x="9852149" y="5946845"/>
                  <a:pt x="9852149" y="5946845"/>
                  <a:pt x="9852149" y="5946845"/>
                </a:cubicBezTo>
                <a:cubicBezTo>
                  <a:pt x="9844184" y="5956513"/>
                  <a:pt x="9825417" y="5946459"/>
                  <a:pt x="9829206" y="5954993"/>
                </a:cubicBezTo>
                <a:cubicBezTo>
                  <a:pt x="9829206" y="5954993"/>
                  <a:pt x="9829206" y="5954993"/>
                  <a:pt x="9825983" y="5952337"/>
                </a:cubicBezTo>
                <a:cubicBezTo>
                  <a:pt x="9817450" y="5956126"/>
                  <a:pt x="9817450" y="5956126"/>
                  <a:pt x="9817450" y="5956126"/>
                </a:cubicBezTo>
                <a:cubicBezTo>
                  <a:pt x="9817450" y="5956126"/>
                  <a:pt x="9814795" y="5959350"/>
                  <a:pt x="9814795" y="5959350"/>
                </a:cubicBezTo>
                <a:cubicBezTo>
                  <a:pt x="9814795" y="5959350"/>
                  <a:pt x="9811573" y="5956694"/>
                  <a:pt x="9808918" y="5959916"/>
                </a:cubicBezTo>
                <a:cubicBezTo>
                  <a:pt x="9808918" y="5959916"/>
                  <a:pt x="9806264" y="5963138"/>
                  <a:pt x="9806264" y="5963138"/>
                </a:cubicBezTo>
                <a:cubicBezTo>
                  <a:pt x="9788630" y="5964840"/>
                  <a:pt x="9791853" y="5967495"/>
                  <a:pt x="9774219" y="5969197"/>
                </a:cubicBezTo>
                <a:cubicBezTo>
                  <a:pt x="9774219" y="5969197"/>
                  <a:pt x="9768342" y="5969766"/>
                  <a:pt x="9768342" y="5969766"/>
                </a:cubicBezTo>
                <a:cubicBezTo>
                  <a:pt x="9768342" y="5969766"/>
                  <a:pt x="9768342" y="5969766"/>
                  <a:pt x="9765688" y="5972987"/>
                </a:cubicBezTo>
                <a:cubicBezTo>
                  <a:pt x="9765688" y="5972987"/>
                  <a:pt x="9762465" y="5970332"/>
                  <a:pt x="9762465" y="5970332"/>
                </a:cubicBezTo>
                <a:cubicBezTo>
                  <a:pt x="9753365" y="5968245"/>
                  <a:pt x="9776307" y="5960098"/>
                  <a:pt x="9761897" y="5964454"/>
                </a:cubicBezTo>
                <a:cubicBezTo>
                  <a:pt x="9756020" y="5965021"/>
                  <a:pt x="9756587" y="5970899"/>
                  <a:pt x="9745400" y="5977912"/>
                </a:cubicBezTo>
                <a:cubicBezTo>
                  <a:pt x="9733076" y="5973168"/>
                  <a:pt x="9727766" y="5979613"/>
                  <a:pt x="9701034" y="5979227"/>
                </a:cubicBezTo>
                <a:cubicBezTo>
                  <a:pt x="9703689" y="5976005"/>
                  <a:pt x="9703689" y="5976005"/>
                  <a:pt x="9703689" y="5976005"/>
                </a:cubicBezTo>
                <a:cubicBezTo>
                  <a:pt x="9697811" y="5976572"/>
                  <a:pt x="9697811" y="5976572"/>
                  <a:pt x="9697811" y="5976572"/>
                </a:cubicBezTo>
                <a:cubicBezTo>
                  <a:pt x="9691366" y="5971262"/>
                  <a:pt x="9706345" y="5972782"/>
                  <a:pt x="9709000" y="5969559"/>
                </a:cubicBezTo>
                <a:cubicBezTo>
                  <a:pt x="9694022" y="5968039"/>
                  <a:pt x="9691366" y="5971262"/>
                  <a:pt x="9686057" y="5977706"/>
                </a:cubicBezTo>
                <a:cubicBezTo>
                  <a:pt x="9682835" y="5975051"/>
                  <a:pt x="9682835" y="5975051"/>
                  <a:pt x="9676957" y="5975618"/>
                </a:cubicBezTo>
                <a:cubicBezTo>
                  <a:pt x="9673734" y="5972964"/>
                  <a:pt x="9671078" y="5976186"/>
                  <a:pt x="9671078" y="5976186"/>
                </a:cubicBezTo>
                <a:cubicBezTo>
                  <a:pt x="9671646" y="5982064"/>
                  <a:pt x="9671646" y="5982064"/>
                  <a:pt x="9671646" y="5982064"/>
                </a:cubicBezTo>
                <a:cubicBezTo>
                  <a:pt x="9656102" y="5974666"/>
                  <a:pt x="9660458" y="5989075"/>
                  <a:pt x="9636382" y="5985467"/>
                </a:cubicBezTo>
                <a:cubicBezTo>
                  <a:pt x="9630503" y="5986035"/>
                  <a:pt x="9630503" y="5986035"/>
                  <a:pt x="9630503" y="5986035"/>
                </a:cubicBezTo>
                <a:cubicBezTo>
                  <a:pt x="9630503" y="5986035"/>
                  <a:pt x="9627849" y="5989257"/>
                  <a:pt x="9627849" y="5989257"/>
                </a:cubicBezTo>
                <a:cubicBezTo>
                  <a:pt x="9583483" y="5990572"/>
                  <a:pt x="9548217" y="5993975"/>
                  <a:pt x="9516174" y="6000033"/>
                </a:cubicBezTo>
                <a:cubicBezTo>
                  <a:pt x="9518830" y="5996811"/>
                  <a:pt x="9505940" y="5986191"/>
                  <a:pt x="9503852" y="5995291"/>
                </a:cubicBezTo>
                <a:cubicBezTo>
                  <a:pt x="9512953" y="5997379"/>
                  <a:pt x="9504420" y="6001169"/>
                  <a:pt x="9495319" y="5999082"/>
                </a:cubicBezTo>
                <a:cubicBezTo>
                  <a:pt x="9474465" y="5998127"/>
                  <a:pt x="9439199" y="6001531"/>
                  <a:pt x="9403367" y="5999057"/>
                </a:cubicBezTo>
                <a:cubicBezTo>
                  <a:pt x="9370757" y="5999238"/>
                  <a:pt x="9334924" y="5996764"/>
                  <a:pt x="9308192" y="5996378"/>
                </a:cubicBezTo>
                <a:cubicBezTo>
                  <a:pt x="9314068" y="5995810"/>
                  <a:pt x="9298523" y="5988412"/>
                  <a:pt x="9295869" y="5991635"/>
                </a:cubicBezTo>
                <a:cubicBezTo>
                  <a:pt x="9304970" y="5993723"/>
                  <a:pt x="9302314" y="5996946"/>
                  <a:pt x="9296437" y="5997513"/>
                </a:cubicBezTo>
                <a:cubicBezTo>
                  <a:pt x="9289991" y="5992202"/>
                  <a:pt x="9263258" y="5991816"/>
                  <a:pt x="9242404" y="5990863"/>
                </a:cubicBezTo>
                <a:cubicBezTo>
                  <a:pt x="9231976" y="5990386"/>
                  <a:pt x="9222355" y="5990574"/>
                  <a:pt x="9215671" y="5990476"/>
                </a:cubicBezTo>
                <a:lnTo>
                  <a:pt x="9210243" y="5989231"/>
                </a:lnTo>
                <a:lnTo>
                  <a:pt x="9202728" y="5998729"/>
                </a:lnTo>
                <a:cubicBezTo>
                  <a:pt x="9200709" y="6002417"/>
                  <a:pt x="9197564" y="6003407"/>
                  <a:pt x="9193852" y="6004708"/>
                </a:cubicBezTo>
                <a:cubicBezTo>
                  <a:pt x="9190141" y="6006008"/>
                  <a:pt x="9185867" y="6004301"/>
                  <a:pt x="9182782" y="6006731"/>
                </a:cubicBezTo>
                <a:cubicBezTo>
                  <a:pt x="9179703" y="6005843"/>
                  <a:pt x="9177063" y="6005081"/>
                  <a:pt x="9173983" y="6004191"/>
                </a:cubicBezTo>
                <a:cubicBezTo>
                  <a:pt x="9174363" y="6002879"/>
                  <a:pt x="9174049" y="6002313"/>
                  <a:pt x="9173169" y="6002059"/>
                </a:cubicBezTo>
                <a:cubicBezTo>
                  <a:pt x="9166571" y="6000154"/>
                  <a:pt x="9164314" y="5994759"/>
                  <a:pt x="9163631" y="5988868"/>
                </a:cubicBezTo>
                <a:lnTo>
                  <a:pt x="9163699" y="5985631"/>
                </a:lnTo>
                <a:lnTo>
                  <a:pt x="9146661" y="5982305"/>
                </a:lnTo>
                <a:cubicBezTo>
                  <a:pt x="9122584" y="5978698"/>
                  <a:pt x="9101162" y="5971866"/>
                  <a:pt x="9068551" y="5972048"/>
                </a:cubicBezTo>
                <a:cubicBezTo>
                  <a:pt x="9068551" y="5972048"/>
                  <a:pt x="9065329" y="5969393"/>
                  <a:pt x="9062108" y="5966737"/>
                </a:cubicBezTo>
                <a:cubicBezTo>
                  <a:pt x="9048263" y="5976971"/>
                  <a:pt x="8998407" y="5952122"/>
                  <a:pt x="8977553" y="5951168"/>
                </a:cubicBezTo>
                <a:cubicBezTo>
                  <a:pt x="8971675" y="5951738"/>
                  <a:pt x="8974897" y="5954391"/>
                  <a:pt x="8965798" y="5952303"/>
                </a:cubicBezTo>
                <a:cubicBezTo>
                  <a:pt x="8950819" y="5950783"/>
                  <a:pt x="8941153" y="5942817"/>
                  <a:pt x="8926175" y="5941296"/>
                </a:cubicBezTo>
                <a:cubicBezTo>
                  <a:pt x="8917074" y="5939209"/>
                  <a:pt x="8911197" y="5939777"/>
                  <a:pt x="8899443" y="5940911"/>
                </a:cubicBezTo>
                <a:cubicBezTo>
                  <a:pt x="8872142" y="5934646"/>
                  <a:pt x="8837831" y="5917195"/>
                  <a:pt x="8807309" y="5908276"/>
                </a:cubicBezTo>
                <a:cubicBezTo>
                  <a:pt x="8770909" y="5899924"/>
                  <a:pt x="8721619" y="5880953"/>
                  <a:pt x="8681998" y="5869946"/>
                </a:cubicBezTo>
                <a:cubicBezTo>
                  <a:pt x="8669675" y="5865202"/>
                  <a:pt x="8654698" y="5863683"/>
                  <a:pt x="8645599" y="5861594"/>
                </a:cubicBezTo>
                <a:cubicBezTo>
                  <a:pt x="8645599" y="5861594"/>
                  <a:pt x="8651476" y="5861028"/>
                  <a:pt x="8651476" y="5861028"/>
                </a:cubicBezTo>
                <a:cubicBezTo>
                  <a:pt x="8635930" y="5853629"/>
                  <a:pt x="8617731" y="5849453"/>
                  <a:pt x="8605408" y="5844710"/>
                </a:cubicBezTo>
                <a:cubicBezTo>
                  <a:pt x="8602186" y="5842055"/>
                  <a:pt x="8595742" y="5836745"/>
                  <a:pt x="8595742" y="5836745"/>
                </a:cubicBezTo>
                <a:cubicBezTo>
                  <a:pt x="8555551" y="5819860"/>
                  <a:pt x="8503039" y="5798232"/>
                  <a:pt x="8466075" y="5784003"/>
                </a:cubicBezTo>
                <a:cubicBezTo>
                  <a:pt x="8466075" y="5784003"/>
                  <a:pt x="8466075" y="5784003"/>
                  <a:pt x="8468730" y="5780781"/>
                </a:cubicBezTo>
                <a:cubicBezTo>
                  <a:pt x="8468730" y="5780781"/>
                  <a:pt x="8465506" y="5778126"/>
                  <a:pt x="8465506" y="5778126"/>
                </a:cubicBezTo>
                <a:cubicBezTo>
                  <a:pt x="8465506" y="5778126"/>
                  <a:pt x="8459629" y="5778692"/>
                  <a:pt x="8459629" y="5778692"/>
                </a:cubicBezTo>
                <a:cubicBezTo>
                  <a:pt x="8447306" y="5773950"/>
                  <a:pt x="8409206" y="5747966"/>
                  <a:pt x="8416217" y="5759154"/>
                </a:cubicBezTo>
                <a:cubicBezTo>
                  <a:pt x="8412994" y="5756499"/>
                  <a:pt x="8412994" y="5756499"/>
                  <a:pt x="8412994" y="5756499"/>
                </a:cubicBezTo>
                <a:cubicBezTo>
                  <a:pt x="8409772" y="5753843"/>
                  <a:pt x="8409772" y="5753843"/>
                  <a:pt x="8409772" y="5753843"/>
                </a:cubicBezTo>
                <a:cubicBezTo>
                  <a:pt x="8407116" y="5757066"/>
                  <a:pt x="8407116" y="5757066"/>
                  <a:pt x="8407116" y="5757066"/>
                </a:cubicBezTo>
                <a:cubicBezTo>
                  <a:pt x="8410339" y="5759722"/>
                  <a:pt x="8410339" y="5759722"/>
                  <a:pt x="8410339" y="5759722"/>
                </a:cubicBezTo>
                <a:cubicBezTo>
                  <a:pt x="8408251" y="5768820"/>
                  <a:pt x="8398016" y="5754978"/>
                  <a:pt x="8394795" y="5752323"/>
                </a:cubicBezTo>
                <a:close/>
                <a:moveTo>
                  <a:pt x="505628" y="5741089"/>
                </a:moveTo>
                <a:cubicBezTo>
                  <a:pt x="507809" y="5742617"/>
                  <a:pt x="509769" y="5742909"/>
                  <a:pt x="512770" y="5742635"/>
                </a:cubicBezTo>
                <a:cubicBezTo>
                  <a:pt x="516309" y="5742521"/>
                  <a:pt x="520101" y="5744529"/>
                  <a:pt x="521809" y="5747672"/>
                </a:cubicBezTo>
                <a:cubicBezTo>
                  <a:pt x="523515" y="5750812"/>
                  <a:pt x="525727" y="5753228"/>
                  <a:pt x="528130" y="5755992"/>
                </a:cubicBezTo>
                <a:cubicBezTo>
                  <a:pt x="528858" y="5761475"/>
                  <a:pt x="528701" y="5766985"/>
                  <a:pt x="524089" y="5771752"/>
                </a:cubicBezTo>
                <a:cubicBezTo>
                  <a:pt x="523237" y="5772668"/>
                  <a:pt x="523679" y="5775139"/>
                  <a:pt x="521404" y="5775923"/>
                </a:cubicBezTo>
                <a:cubicBezTo>
                  <a:pt x="515275" y="5777897"/>
                  <a:pt x="515813" y="5783030"/>
                  <a:pt x="516667" y="5787088"/>
                </a:cubicBezTo>
                <a:cubicBezTo>
                  <a:pt x="517301" y="5789909"/>
                  <a:pt x="517017" y="5791872"/>
                  <a:pt x="516384" y="5794023"/>
                </a:cubicBezTo>
                <a:cubicBezTo>
                  <a:pt x="514838" y="5800289"/>
                  <a:pt x="509435" y="5802773"/>
                  <a:pt x="505139" y="5806463"/>
                </a:cubicBezTo>
                <a:cubicBezTo>
                  <a:pt x="501001" y="5809616"/>
                  <a:pt x="496387" y="5809410"/>
                  <a:pt x="491617" y="5809741"/>
                </a:cubicBezTo>
                <a:cubicBezTo>
                  <a:pt x="486498" y="5810261"/>
                  <a:pt x="481506" y="5809358"/>
                  <a:pt x="478661" y="5804121"/>
                </a:cubicBezTo>
                <a:cubicBezTo>
                  <a:pt x="478282" y="5803423"/>
                  <a:pt x="477744" y="5803263"/>
                  <a:pt x="476701" y="5803829"/>
                </a:cubicBezTo>
                <a:cubicBezTo>
                  <a:pt x="475374" y="5801385"/>
                  <a:pt x="474236" y="5799290"/>
                  <a:pt x="472908" y="5796848"/>
                </a:cubicBezTo>
                <a:cubicBezTo>
                  <a:pt x="474393" y="5793780"/>
                  <a:pt x="472148" y="5790478"/>
                  <a:pt x="472558" y="5787090"/>
                </a:cubicBezTo>
                <a:cubicBezTo>
                  <a:pt x="472968" y="5783703"/>
                  <a:pt x="473220" y="5780853"/>
                  <a:pt x="475968" y="5778455"/>
                </a:cubicBezTo>
                <a:cubicBezTo>
                  <a:pt x="479254" y="5776218"/>
                  <a:pt x="481433" y="5772773"/>
                  <a:pt x="483265" y="5769517"/>
                </a:cubicBezTo>
                <a:cubicBezTo>
                  <a:pt x="485445" y="5766072"/>
                  <a:pt x="487813" y="5762977"/>
                  <a:pt x="489645" y="5759720"/>
                </a:cubicBezTo>
                <a:cubicBezTo>
                  <a:pt x="492014" y="5756625"/>
                  <a:pt x="493278" y="5752321"/>
                  <a:pt x="493118" y="5747887"/>
                </a:cubicBezTo>
                <a:cubicBezTo>
                  <a:pt x="497288" y="5745620"/>
                  <a:pt x="501458" y="5743354"/>
                  <a:pt x="505628" y="5741089"/>
                </a:cubicBezTo>
                <a:close/>
                <a:moveTo>
                  <a:pt x="1886246" y="5722665"/>
                </a:moveTo>
                <a:cubicBezTo>
                  <a:pt x="1905546" y="5747279"/>
                  <a:pt x="1930317" y="5766760"/>
                  <a:pt x="1950679" y="5788877"/>
                </a:cubicBezTo>
                <a:lnTo>
                  <a:pt x="1957059" y="5797744"/>
                </a:lnTo>
                <a:lnTo>
                  <a:pt x="2006132" y="5833966"/>
                </a:lnTo>
                <a:lnTo>
                  <a:pt x="2117821" y="5904706"/>
                </a:lnTo>
                <a:lnTo>
                  <a:pt x="1996551" y="5807152"/>
                </a:lnTo>
                <a:cubicBezTo>
                  <a:pt x="1968905" y="5783089"/>
                  <a:pt x="1942901" y="5758752"/>
                  <a:pt x="1913614" y="5734963"/>
                </a:cubicBezTo>
                <a:cubicBezTo>
                  <a:pt x="1907591" y="5729221"/>
                  <a:pt x="1902662" y="5719920"/>
                  <a:pt x="1886246" y="5722665"/>
                </a:cubicBezTo>
                <a:close/>
                <a:moveTo>
                  <a:pt x="1468787" y="5703656"/>
                </a:moveTo>
                <a:cubicBezTo>
                  <a:pt x="1453328" y="5724902"/>
                  <a:pt x="1454889" y="5740945"/>
                  <a:pt x="1474672" y="5761870"/>
                </a:cubicBezTo>
                <a:cubicBezTo>
                  <a:pt x="1607691" y="5906879"/>
                  <a:pt x="1737911" y="6055044"/>
                  <a:pt x="1892344" y="6178449"/>
                </a:cubicBezTo>
                <a:lnTo>
                  <a:pt x="2021322" y="6271362"/>
                </a:lnTo>
                <a:lnTo>
                  <a:pt x="2022063" y="6270253"/>
                </a:lnTo>
                <a:cubicBezTo>
                  <a:pt x="2024867" y="6268707"/>
                  <a:pt x="2027546" y="6267596"/>
                  <a:pt x="2029295" y="6264804"/>
                </a:cubicBezTo>
                <a:cubicBezTo>
                  <a:pt x="2031547" y="6260273"/>
                  <a:pt x="2034912" y="6258418"/>
                  <a:pt x="2039575" y="6260236"/>
                </a:cubicBezTo>
                <a:cubicBezTo>
                  <a:pt x="2043057" y="6261240"/>
                  <a:pt x="2046296" y="6259820"/>
                  <a:pt x="2048105" y="6258458"/>
                </a:cubicBezTo>
                <a:lnTo>
                  <a:pt x="2062315" y="6255890"/>
                </a:lnTo>
                <a:lnTo>
                  <a:pt x="2026126" y="6234070"/>
                </a:lnTo>
                <a:cubicBezTo>
                  <a:pt x="1939620" y="6176958"/>
                  <a:pt x="1858213" y="6112668"/>
                  <a:pt x="1783014" y="6039788"/>
                </a:cubicBezTo>
                <a:cubicBezTo>
                  <a:pt x="1769055" y="6026283"/>
                  <a:pt x="1751809" y="6017755"/>
                  <a:pt x="1760467" y="5992733"/>
                </a:cubicBezTo>
                <a:cubicBezTo>
                  <a:pt x="1764241" y="5985933"/>
                  <a:pt x="1758416" y="5978513"/>
                  <a:pt x="1751616" y="5974738"/>
                </a:cubicBezTo>
                <a:cubicBezTo>
                  <a:pt x="1654129" y="5893932"/>
                  <a:pt x="1565037" y="5803660"/>
                  <a:pt x="1479232" y="5708408"/>
                </a:cubicBezTo>
                <a:cubicBezTo>
                  <a:pt x="1477898" y="5706099"/>
                  <a:pt x="1474253" y="5705120"/>
                  <a:pt x="1468787" y="5703656"/>
                </a:cubicBezTo>
                <a:close/>
                <a:moveTo>
                  <a:pt x="1516558" y="5693020"/>
                </a:moveTo>
                <a:cubicBezTo>
                  <a:pt x="1551731" y="5751270"/>
                  <a:pt x="1600898" y="5793738"/>
                  <a:pt x="1648599" y="5841675"/>
                </a:cubicBezTo>
                <a:cubicBezTo>
                  <a:pt x="1709642" y="5912715"/>
                  <a:pt x="1786502" y="5968462"/>
                  <a:pt x="1863360" y="6024210"/>
                </a:cubicBezTo>
                <a:lnTo>
                  <a:pt x="1971340" y="6097811"/>
                </a:lnTo>
                <a:lnTo>
                  <a:pt x="1971455" y="6092347"/>
                </a:lnTo>
                <a:cubicBezTo>
                  <a:pt x="1974545" y="6086596"/>
                  <a:pt x="1976001" y="6079900"/>
                  <a:pt x="1982671" y="6076605"/>
                </a:cubicBezTo>
                <a:cubicBezTo>
                  <a:pt x="1984936" y="6075362"/>
                  <a:pt x="1987075" y="6074556"/>
                  <a:pt x="1990409" y="6074568"/>
                </a:cubicBezTo>
                <a:cubicBezTo>
                  <a:pt x="1995187" y="6074524"/>
                  <a:pt x="2001099" y="6073858"/>
                  <a:pt x="2001801" y="6066470"/>
                </a:cubicBezTo>
                <a:cubicBezTo>
                  <a:pt x="2002120" y="6063715"/>
                  <a:pt x="2005012" y="6063601"/>
                  <a:pt x="2005832" y="6062414"/>
                </a:cubicBezTo>
                <a:cubicBezTo>
                  <a:pt x="2010054" y="6056041"/>
                  <a:pt x="2016219" y="6054499"/>
                  <a:pt x="2022570" y="6053959"/>
                </a:cubicBezTo>
                <a:cubicBezTo>
                  <a:pt x="2026277" y="6055979"/>
                  <a:pt x="2029544" y="6057870"/>
                  <a:pt x="2033503" y="6059014"/>
                </a:cubicBezTo>
                <a:cubicBezTo>
                  <a:pt x="2037463" y="6060156"/>
                  <a:pt x="2040664" y="6063927"/>
                  <a:pt x="2041413" y="6067938"/>
                </a:cubicBezTo>
                <a:cubicBezTo>
                  <a:pt x="2041847" y="6071386"/>
                  <a:pt x="2042662" y="6073518"/>
                  <a:pt x="2044922" y="6075595"/>
                </a:cubicBezTo>
                <a:lnTo>
                  <a:pt x="2042651" y="6083466"/>
                </a:lnTo>
                <a:lnTo>
                  <a:pt x="2044480" y="6084459"/>
                </a:lnTo>
                <a:cubicBezTo>
                  <a:pt x="2102419" y="6123415"/>
                  <a:pt x="2156569" y="6169171"/>
                  <a:pt x="2219597" y="6203638"/>
                </a:cubicBezTo>
                <a:cubicBezTo>
                  <a:pt x="2287851" y="6240479"/>
                  <a:pt x="2356524" y="6276213"/>
                  <a:pt x="2425937" y="6309977"/>
                </a:cubicBezTo>
                <a:lnTo>
                  <a:pt x="2481634" y="6334956"/>
                </a:lnTo>
                <a:lnTo>
                  <a:pt x="2485678" y="6333736"/>
                </a:lnTo>
                <a:cubicBezTo>
                  <a:pt x="2486816" y="6333778"/>
                  <a:pt x="2488147" y="6334161"/>
                  <a:pt x="2489553" y="6334278"/>
                </a:cubicBezTo>
                <a:cubicBezTo>
                  <a:pt x="2496961" y="6335553"/>
                  <a:pt x="2499707" y="6332029"/>
                  <a:pt x="2497218" y="6324689"/>
                </a:cubicBezTo>
                <a:cubicBezTo>
                  <a:pt x="2496915" y="6323738"/>
                  <a:pt x="2496537" y="6323054"/>
                  <a:pt x="2496501" y="6322180"/>
                </a:cubicBezTo>
                <a:cubicBezTo>
                  <a:pt x="2496165" y="6320355"/>
                  <a:pt x="2496247" y="6318075"/>
                  <a:pt x="2498148" y="6317473"/>
                </a:cubicBezTo>
                <a:cubicBezTo>
                  <a:pt x="2499783" y="6316795"/>
                  <a:pt x="2501337" y="6318394"/>
                  <a:pt x="2502095" y="6319764"/>
                </a:cubicBezTo>
                <a:cubicBezTo>
                  <a:pt x="2502852" y="6321134"/>
                  <a:pt x="2503341" y="6322427"/>
                  <a:pt x="2503757" y="6323986"/>
                </a:cubicBezTo>
                <a:cubicBezTo>
                  <a:pt x="2504814" y="6326306"/>
                  <a:pt x="2506255" y="6327298"/>
                  <a:pt x="2508844" y="6326318"/>
                </a:cubicBezTo>
                <a:cubicBezTo>
                  <a:pt x="2514891" y="6324321"/>
                  <a:pt x="2520627" y="6325401"/>
                  <a:pt x="2526286" y="6326746"/>
                </a:cubicBezTo>
                <a:lnTo>
                  <a:pt x="2528198" y="6327165"/>
                </a:lnTo>
                <a:lnTo>
                  <a:pt x="2480913" y="6306063"/>
                </a:lnTo>
                <a:cubicBezTo>
                  <a:pt x="2336338" y="6236747"/>
                  <a:pt x="2198780" y="6155581"/>
                  <a:pt x="2071007" y="6058365"/>
                </a:cubicBezTo>
                <a:cubicBezTo>
                  <a:pt x="2019039" y="6019053"/>
                  <a:pt x="1980089" y="5967602"/>
                  <a:pt x="1918751" y="5941403"/>
                </a:cubicBezTo>
                <a:cubicBezTo>
                  <a:pt x="1902839" y="5935185"/>
                  <a:pt x="1885235" y="5920706"/>
                  <a:pt x="1872932" y="5944750"/>
                </a:cubicBezTo>
                <a:cubicBezTo>
                  <a:pt x="1858808" y="5968307"/>
                  <a:pt x="1883473" y="5971010"/>
                  <a:pt x="1896099" y="5982204"/>
                </a:cubicBezTo>
                <a:cubicBezTo>
                  <a:pt x="1912857" y="5992555"/>
                  <a:pt x="1935572" y="6002545"/>
                  <a:pt x="1939669" y="6030987"/>
                </a:cubicBezTo>
                <a:cubicBezTo>
                  <a:pt x="1828283" y="5987469"/>
                  <a:pt x="1746349" y="5906926"/>
                  <a:pt x="1659665" y="5836827"/>
                </a:cubicBezTo>
                <a:cubicBezTo>
                  <a:pt x="1609652" y="5790226"/>
                  <a:pt x="1572168" y="5733310"/>
                  <a:pt x="1516558" y="5693020"/>
                </a:cubicBezTo>
                <a:close/>
                <a:moveTo>
                  <a:pt x="10702562" y="5680374"/>
                </a:moveTo>
                <a:lnTo>
                  <a:pt x="10574792" y="5744619"/>
                </a:lnTo>
                <a:cubicBezTo>
                  <a:pt x="10544138" y="5758574"/>
                  <a:pt x="10513878" y="5771049"/>
                  <a:pt x="10482829" y="5786482"/>
                </a:cubicBezTo>
                <a:cubicBezTo>
                  <a:pt x="10475733" y="5789332"/>
                  <a:pt x="10466076" y="5789911"/>
                  <a:pt x="10462119" y="5804685"/>
                </a:cubicBezTo>
                <a:cubicBezTo>
                  <a:pt x="10490055" y="5797920"/>
                  <a:pt x="10515784" y="5784624"/>
                  <a:pt x="10542035" y="5776021"/>
                </a:cubicBezTo>
                <a:lnTo>
                  <a:pt x="10551882" y="5774063"/>
                </a:lnTo>
                <a:lnTo>
                  <a:pt x="10600867" y="5746819"/>
                </a:lnTo>
                <a:close/>
                <a:moveTo>
                  <a:pt x="11796556" y="5676702"/>
                </a:moveTo>
                <a:cubicBezTo>
                  <a:pt x="11797788" y="5677289"/>
                  <a:pt x="11799871" y="5677739"/>
                  <a:pt x="11801807" y="5676727"/>
                </a:cubicBezTo>
                <a:cubicBezTo>
                  <a:pt x="11804344" y="5675094"/>
                  <a:pt x="11806553" y="5675786"/>
                  <a:pt x="11808426" y="5678191"/>
                </a:cubicBezTo>
                <a:cubicBezTo>
                  <a:pt x="11809795" y="5679630"/>
                  <a:pt x="11811510" y="5679964"/>
                  <a:pt x="11813351" y="5680540"/>
                </a:cubicBezTo>
                <a:cubicBezTo>
                  <a:pt x="11818013" y="5681796"/>
                  <a:pt x="11821233" y="5684421"/>
                  <a:pt x="11822298" y="5689403"/>
                </a:cubicBezTo>
                <a:cubicBezTo>
                  <a:pt x="11822835" y="5692200"/>
                  <a:pt x="11824950" y="5694479"/>
                  <a:pt x="11828127" y="5694664"/>
                </a:cubicBezTo>
                <a:cubicBezTo>
                  <a:pt x="11828632" y="5695631"/>
                  <a:pt x="11829138" y="5696599"/>
                  <a:pt x="11829643" y="5697564"/>
                </a:cubicBezTo>
                <a:cubicBezTo>
                  <a:pt x="11828097" y="5699912"/>
                  <a:pt x="11827886" y="5701867"/>
                  <a:pt x="11829771" y="5704883"/>
                </a:cubicBezTo>
                <a:cubicBezTo>
                  <a:pt x="11832287" y="5709107"/>
                  <a:pt x="11832120" y="5713502"/>
                  <a:pt x="11827784" y="5716999"/>
                </a:cubicBezTo>
                <a:cubicBezTo>
                  <a:pt x="11825732" y="5718379"/>
                  <a:pt x="11827102" y="5719818"/>
                  <a:pt x="11827858" y="5721267"/>
                </a:cubicBezTo>
                <a:cubicBezTo>
                  <a:pt x="11829122" y="5723684"/>
                  <a:pt x="11828406" y="5724674"/>
                  <a:pt x="11825586" y="5723994"/>
                </a:cubicBezTo>
                <a:cubicBezTo>
                  <a:pt x="11821420" y="5723094"/>
                  <a:pt x="11819483" y="5724106"/>
                  <a:pt x="11820905" y="5728594"/>
                </a:cubicBezTo>
                <a:cubicBezTo>
                  <a:pt x="11821168" y="5729688"/>
                  <a:pt x="11821073" y="5731276"/>
                  <a:pt x="11819474" y="5730572"/>
                </a:cubicBezTo>
                <a:cubicBezTo>
                  <a:pt x="11814686" y="5729076"/>
                  <a:pt x="11813518" y="5732147"/>
                  <a:pt x="11812236" y="5735586"/>
                </a:cubicBezTo>
                <a:cubicBezTo>
                  <a:pt x="11812247" y="5736197"/>
                  <a:pt x="11811278" y="5736702"/>
                  <a:pt x="11810794" y="5736956"/>
                </a:cubicBezTo>
                <a:cubicBezTo>
                  <a:pt x="11803219" y="5736607"/>
                  <a:pt x="11795631" y="5735649"/>
                  <a:pt x="11787929" y="5735059"/>
                </a:cubicBezTo>
                <a:cubicBezTo>
                  <a:pt x="11784382" y="5734759"/>
                  <a:pt x="11780530" y="5730926"/>
                  <a:pt x="11777426" y="5727933"/>
                </a:cubicBezTo>
                <a:cubicBezTo>
                  <a:pt x="11776185" y="5726735"/>
                  <a:pt x="11775669" y="5725158"/>
                  <a:pt x="11773584" y="5724709"/>
                </a:cubicBezTo>
                <a:cubicBezTo>
                  <a:pt x="11771501" y="5724260"/>
                  <a:pt x="11770985" y="5722683"/>
                  <a:pt x="11771196" y="5720728"/>
                </a:cubicBezTo>
                <a:cubicBezTo>
                  <a:pt x="11771175" y="5719508"/>
                  <a:pt x="11771510" y="5717794"/>
                  <a:pt x="11770279" y="5717206"/>
                </a:cubicBezTo>
                <a:cubicBezTo>
                  <a:pt x="11766343" y="5715571"/>
                  <a:pt x="11764965" y="5713522"/>
                  <a:pt x="11768078" y="5710047"/>
                </a:cubicBezTo>
                <a:cubicBezTo>
                  <a:pt x="11768921" y="5709300"/>
                  <a:pt x="11768405" y="5707724"/>
                  <a:pt x="11767057" y="5707505"/>
                </a:cubicBezTo>
                <a:cubicBezTo>
                  <a:pt x="11762522" y="5706490"/>
                  <a:pt x="11765278" y="5703511"/>
                  <a:pt x="11764751" y="5701325"/>
                </a:cubicBezTo>
                <a:cubicBezTo>
                  <a:pt x="11763035" y="5693914"/>
                  <a:pt x="11771547" y="5691926"/>
                  <a:pt x="11771926" y="5685575"/>
                </a:cubicBezTo>
                <a:cubicBezTo>
                  <a:pt x="11772010" y="5683377"/>
                  <a:pt x="11777238" y="5682183"/>
                  <a:pt x="11779542" y="5681287"/>
                </a:cubicBezTo>
                <a:cubicBezTo>
                  <a:pt x="11785004" y="5679356"/>
                  <a:pt x="11789411" y="5673051"/>
                  <a:pt x="11796556" y="5676702"/>
                </a:cubicBezTo>
                <a:close/>
                <a:moveTo>
                  <a:pt x="11540067" y="5670740"/>
                </a:moveTo>
                <a:cubicBezTo>
                  <a:pt x="11541391" y="5671371"/>
                  <a:pt x="11543629" y="5671855"/>
                  <a:pt x="11545710" y="5670767"/>
                </a:cubicBezTo>
                <a:cubicBezTo>
                  <a:pt x="11548436" y="5669012"/>
                  <a:pt x="11550809" y="5669755"/>
                  <a:pt x="11552824" y="5672340"/>
                </a:cubicBezTo>
                <a:cubicBezTo>
                  <a:pt x="11554294" y="5673886"/>
                  <a:pt x="11556136" y="5674245"/>
                  <a:pt x="11558115" y="5674865"/>
                </a:cubicBezTo>
                <a:cubicBezTo>
                  <a:pt x="11563125" y="5676215"/>
                  <a:pt x="11566585" y="5679035"/>
                  <a:pt x="11567728" y="5684389"/>
                </a:cubicBezTo>
                <a:cubicBezTo>
                  <a:pt x="11568306" y="5687394"/>
                  <a:pt x="11570579" y="5689844"/>
                  <a:pt x="11573993" y="5690042"/>
                </a:cubicBezTo>
                <a:cubicBezTo>
                  <a:pt x="11574536" y="5691081"/>
                  <a:pt x="11575079" y="5692120"/>
                  <a:pt x="11575622" y="5693159"/>
                </a:cubicBezTo>
                <a:cubicBezTo>
                  <a:pt x="11573961" y="5695681"/>
                  <a:pt x="11573735" y="5697783"/>
                  <a:pt x="11575759" y="5701023"/>
                </a:cubicBezTo>
                <a:cubicBezTo>
                  <a:pt x="11578464" y="5705563"/>
                  <a:pt x="11578283" y="5710286"/>
                  <a:pt x="11573625" y="5714044"/>
                </a:cubicBezTo>
                <a:cubicBezTo>
                  <a:pt x="11571421" y="5715525"/>
                  <a:pt x="11572890" y="5717073"/>
                  <a:pt x="11573705" y="5718630"/>
                </a:cubicBezTo>
                <a:cubicBezTo>
                  <a:pt x="11575063" y="5721228"/>
                  <a:pt x="11574293" y="5722290"/>
                  <a:pt x="11571263" y="5721559"/>
                </a:cubicBezTo>
                <a:cubicBezTo>
                  <a:pt x="11566786" y="5720593"/>
                  <a:pt x="11564705" y="5721681"/>
                  <a:pt x="11566232" y="5726504"/>
                </a:cubicBezTo>
                <a:cubicBezTo>
                  <a:pt x="11566515" y="5727679"/>
                  <a:pt x="11566413" y="5729385"/>
                  <a:pt x="11564695" y="5728630"/>
                </a:cubicBezTo>
                <a:cubicBezTo>
                  <a:pt x="11559550" y="5727021"/>
                  <a:pt x="11558295" y="5730321"/>
                  <a:pt x="11556916" y="5734018"/>
                </a:cubicBezTo>
                <a:cubicBezTo>
                  <a:pt x="11556927" y="5734673"/>
                  <a:pt x="11555887" y="5735217"/>
                  <a:pt x="11555368" y="5735489"/>
                </a:cubicBezTo>
                <a:cubicBezTo>
                  <a:pt x="11547226" y="5735114"/>
                  <a:pt x="11539073" y="5734086"/>
                  <a:pt x="11530796" y="5733451"/>
                </a:cubicBezTo>
                <a:cubicBezTo>
                  <a:pt x="11526986" y="5733128"/>
                  <a:pt x="11522847" y="5729010"/>
                  <a:pt x="11519509" y="5725793"/>
                </a:cubicBezTo>
                <a:cubicBezTo>
                  <a:pt x="11518175" y="5724506"/>
                  <a:pt x="11517621" y="5722812"/>
                  <a:pt x="11515381" y="5722329"/>
                </a:cubicBezTo>
                <a:cubicBezTo>
                  <a:pt x="11513142" y="5721846"/>
                  <a:pt x="11512589" y="5720152"/>
                  <a:pt x="11512814" y="5718050"/>
                </a:cubicBezTo>
                <a:cubicBezTo>
                  <a:pt x="11512792" y="5716740"/>
                  <a:pt x="11513152" y="5714896"/>
                  <a:pt x="11511829" y="5714265"/>
                </a:cubicBezTo>
                <a:cubicBezTo>
                  <a:pt x="11507600" y="5712509"/>
                  <a:pt x="11506118" y="5710307"/>
                  <a:pt x="11509465" y="5706574"/>
                </a:cubicBezTo>
                <a:cubicBezTo>
                  <a:pt x="11510370" y="5705771"/>
                  <a:pt x="11509816" y="5704076"/>
                  <a:pt x="11508367" y="5703840"/>
                </a:cubicBezTo>
                <a:cubicBezTo>
                  <a:pt x="11503494" y="5702751"/>
                  <a:pt x="11506455" y="5699549"/>
                  <a:pt x="11505890" y="5697200"/>
                </a:cubicBezTo>
                <a:cubicBezTo>
                  <a:pt x="11504046" y="5689237"/>
                  <a:pt x="11513192" y="5687100"/>
                  <a:pt x="11513599" y="5680275"/>
                </a:cubicBezTo>
                <a:cubicBezTo>
                  <a:pt x="11513688" y="5677914"/>
                  <a:pt x="11519308" y="5676630"/>
                  <a:pt x="11521785" y="5675666"/>
                </a:cubicBezTo>
                <a:cubicBezTo>
                  <a:pt x="11527652" y="5673591"/>
                  <a:pt x="11532389" y="5666817"/>
                  <a:pt x="11540067" y="5670740"/>
                </a:cubicBezTo>
                <a:close/>
                <a:moveTo>
                  <a:pt x="750968" y="5647678"/>
                </a:moveTo>
                <a:cubicBezTo>
                  <a:pt x="752199" y="5647718"/>
                  <a:pt x="753597" y="5648295"/>
                  <a:pt x="754766" y="5647993"/>
                </a:cubicBezTo>
                <a:cubicBezTo>
                  <a:pt x="762699" y="5646021"/>
                  <a:pt x="764982" y="5655132"/>
                  <a:pt x="771813" y="5655428"/>
                </a:cubicBezTo>
                <a:cubicBezTo>
                  <a:pt x="774176" y="5655481"/>
                  <a:pt x="775551" y="5661078"/>
                  <a:pt x="776554" y="5663539"/>
                </a:cubicBezTo>
                <a:cubicBezTo>
                  <a:pt x="778723" y="5669373"/>
                  <a:pt x="785572" y="5674000"/>
                  <a:pt x="781773" y="5681740"/>
                </a:cubicBezTo>
                <a:cubicBezTo>
                  <a:pt x="781164" y="5683073"/>
                  <a:pt x="780717" y="5685319"/>
                  <a:pt x="781838" y="5687382"/>
                </a:cubicBezTo>
                <a:cubicBezTo>
                  <a:pt x="783636" y="5690079"/>
                  <a:pt x="782931" y="5692465"/>
                  <a:pt x="780380" y="5694519"/>
                </a:cubicBezTo>
                <a:cubicBezTo>
                  <a:pt x="778857" y="5696014"/>
                  <a:pt x="778527" y="5697863"/>
                  <a:pt x="777940" y="5699852"/>
                </a:cubicBezTo>
                <a:cubicBezTo>
                  <a:pt x="776672" y="5704883"/>
                  <a:pt x="773907" y="5708389"/>
                  <a:pt x="768572" y="5709618"/>
                </a:cubicBezTo>
                <a:cubicBezTo>
                  <a:pt x="765577" y="5710242"/>
                  <a:pt x="763165" y="5712556"/>
                  <a:pt x="763020" y="5715974"/>
                </a:cubicBezTo>
                <a:cubicBezTo>
                  <a:pt x="761991" y="5716532"/>
                  <a:pt x="760960" y="5717092"/>
                  <a:pt x="759931" y="5717652"/>
                </a:cubicBezTo>
                <a:cubicBezTo>
                  <a:pt x="757382" y="5716031"/>
                  <a:pt x="755276" y="5715839"/>
                  <a:pt x="752069" y="5717915"/>
                </a:cubicBezTo>
                <a:cubicBezTo>
                  <a:pt x="747574" y="5720692"/>
                  <a:pt x="742848" y="5720587"/>
                  <a:pt x="739018" y="5715991"/>
                </a:cubicBezTo>
                <a:cubicBezTo>
                  <a:pt x="737500" y="5713810"/>
                  <a:pt x="735977" y="5715306"/>
                  <a:pt x="734432" y="5716145"/>
                </a:cubicBezTo>
                <a:cubicBezTo>
                  <a:pt x="731856" y="5717544"/>
                  <a:pt x="730782" y="5716793"/>
                  <a:pt x="731464" y="5713751"/>
                </a:cubicBezTo>
                <a:cubicBezTo>
                  <a:pt x="732357" y="5709257"/>
                  <a:pt x="731237" y="5707195"/>
                  <a:pt x="726439" y="5708801"/>
                </a:cubicBezTo>
                <a:cubicBezTo>
                  <a:pt x="725269" y="5709102"/>
                  <a:pt x="723561" y="5709028"/>
                  <a:pt x="724288" y="5707297"/>
                </a:cubicBezTo>
                <a:cubicBezTo>
                  <a:pt x="725815" y="5702127"/>
                  <a:pt x="722494" y="5700925"/>
                  <a:pt x="718776" y="5699606"/>
                </a:cubicBezTo>
                <a:cubicBezTo>
                  <a:pt x="718121" y="5699629"/>
                  <a:pt x="717560" y="5698597"/>
                  <a:pt x="717281" y="5698081"/>
                </a:cubicBezTo>
                <a:cubicBezTo>
                  <a:pt x="717524" y="5689936"/>
                  <a:pt x="718421" y="5681767"/>
                  <a:pt x="718922" y="5673480"/>
                </a:cubicBezTo>
                <a:cubicBezTo>
                  <a:pt x="719183" y="5669664"/>
                  <a:pt x="723235" y="5665460"/>
                  <a:pt x="726397" y="5662071"/>
                </a:cubicBezTo>
                <a:cubicBezTo>
                  <a:pt x="727662" y="5660716"/>
                  <a:pt x="729347" y="5660135"/>
                  <a:pt x="729794" y="5657889"/>
                </a:cubicBezTo>
                <a:cubicBezTo>
                  <a:pt x="730241" y="5655642"/>
                  <a:pt x="731926" y="5655061"/>
                  <a:pt x="734031" y="5655253"/>
                </a:cubicBezTo>
                <a:cubicBezTo>
                  <a:pt x="735341" y="5655208"/>
                  <a:pt x="737190" y="5655540"/>
                  <a:pt x="737799" y="5654207"/>
                </a:cubicBezTo>
                <a:cubicBezTo>
                  <a:pt x="739488" y="5649950"/>
                  <a:pt x="741666" y="5648434"/>
                  <a:pt x="745451" y="5651719"/>
                </a:cubicBezTo>
                <a:cubicBezTo>
                  <a:pt x="746269" y="5652610"/>
                  <a:pt x="747955" y="5652028"/>
                  <a:pt x="748166" y="5650578"/>
                </a:cubicBezTo>
                <a:cubicBezTo>
                  <a:pt x="748672" y="5648133"/>
                  <a:pt x="749737" y="5647637"/>
                  <a:pt x="750968" y="5647678"/>
                </a:cubicBezTo>
                <a:close/>
                <a:moveTo>
                  <a:pt x="121418" y="5646776"/>
                </a:moveTo>
                <a:cubicBezTo>
                  <a:pt x="124081" y="5647566"/>
                  <a:pt x="126399" y="5648543"/>
                  <a:pt x="129189" y="5647922"/>
                </a:cubicBezTo>
                <a:cubicBezTo>
                  <a:pt x="133360" y="5646551"/>
                  <a:pt x="136555" y="5647498"/>
                  <a:pt x="138275" y="5651486"/>
                </a:cubicBezTo>
                <a:cubicBezTo>
                  <a:pt x="139776" y="5654249"/>
                  <a:pt x="142627" y="5655384"/>
                  <a:pt x="144570" y="5655670"/>
                </a:cubicBezTo>
                <a:cubicBezTo>
                  <a:pt x="156040" y="5657044"/>
                  <a:pt x="156247" y="5668117"/>
                  <a:pt x="161223" y="5674808"/>
                </a:cubicBezTo>
                <a:cubicBezTo>
                  <a:pt x="163257" y="5677730"/>
                  <a:pt x="168548" y="5683355"/>
                  <a:pt x="166884" y="5686049"/>
                </a:cubicBezTo>
                <a:cubicBezTo>
                  <a:pt x="162236" y="5693943"/>
                  <a:pt x="170814" y="5703151"/>
                  <a:pt x="162814" y="5710630"/>
                </a:cubicBezTo>
                <a:cubicBezTo>
                  <a:pt x="160429" y="5712820"/>
                  <a:pt x="161332" y="5718593"/>
                  <a:pt x="155098" y="5716165"/>
                </a:cubicBezTo>
                <a:cubicBezTo>
                  <a:pt x="153312" y="5715346"/>
                  <a:pt x="151430" y="5716815"/>
                  <a:pt x="151836" y="5718384"/>
                </a:cubicBezTo>
                <a:cubicBezTo>
                  <a:pt x="152769" y="5725036"/>
                  <a:pt x="149476" y="5726377"/>
                  <a:pt x="143460" y="5725172"/>
                </a:cubicBezTo>
                <a:cubicBezTo>
                  <a:pt x="141516" y="5724885"/>
                  <a:pt x="140542" y="5727205"/>
                  <a:pt x="139537" y="5728645"/>
                </a:cubicBezTo>
                <a:cubicBezTo>
                  <a:pt x="138219" y="5731152"/>
                  <a:pt x="136336" y="5732622"/>
                  <a:pt x="133485" y="5731486"/>
                </a:cubicBezTo>
                <a:cubicBezTo>
                  <a:pt x="130635" y="5730350"/>
                  <a:pt x="128752" y="5731821"/>
                  <a:pt x="126307" y="5732255"/>
                </a:cubicBezTo>
                <a:cubicBezTo>
                  <a:pt x="120194" y="5733339"/>
                  <a:pt x="112513" y="5734828"/>
                  <a:pt x="108034" y="5732341"/>
                </a:cubicBezTo>
                <a:cubicBezTo>
                  <a:pt x="98355" y="5726862"/>
                  <a:pt x="88519" y="5721917"/>
                  <a:pt x="79186" y="5716250"/>
                </a:cubicBezTo>
                <a:cubicBezTo>
                  <a:pt x="78810" y="5715560"/>
                  <a:pt x="78059" y="5714178"/>
                  <a:pt x="78562" y="5713458"/>
                </a:cubicBezTo>
                <a:cubicBezTo>
                  <a:pt x="79789" y="5708316"/>
                  <a:pt x="80861" y="5703709"/>
                  <a:pt x="73936" y="5701654"/>
                </a:cubicBezTo>
                <a:cubicBezTo>
                  <a:pt x="71460" y="5701211"/>
                  <a:pt x="72622" y="5699237"/>
                  <a:pt x="73814" y="5698142"/>
                </a:cubicBezTo>
                <a:cubicBezTo>
                  <a:pt x="79116" y="5693918"/>
                  <a:pt x="77614" y="5691156"/>
                  <a:pt x="71912" y="5688885"/>
                </a:cubicBezTo>
                <a:cubicBezTo>
                  <a:pt x="67997" y="5687434"/>
                  <a:pt x="67936" y="5685677"/>
                  <a:pt x="71385" y="5683802"/>
                </a:cubicBezTo>
                <a:cubicBezTo>
                  <a:pt x="73456" y="5682679"/>
                  <a:pt x="76245" y="5682057"/>
                  <a:pt x="74901" y="5678761"/>
                </a:cubicBezTo>
                <a:cubicBezTo>
                  <a:pt x="72528" y="5671102"/>
                  <a:pt x="75856" y="5665715"/>
                  <a:pt x="82254" y="5662686"/>
                </a:cubicBezTo>
                <a:cubicBezTo>
                  <a:pt x="86926" y="5660595"/>
                  <a:pt x="88245" y="5658089"/>
                  <a:pt x="88281" y="5654043"/>
                </a:cubicBezTo>
                <a:cubicBezTo>
                  <a:pt x="89660" y="5653293"/>
                  <a:pt x="91040" y="5652544"/>
                  <a:pt x="92420" y="5651794"/>
                </a:cubicBezTo>
                <a:cubicBezTo>
                  <a:pt x="96366" y="5654124"/>
                  <a:pt x="100725" y="5653098"/>
                  <a:pt x="103611" y="5650187"/>
                </a:cubicBezTo>
                <a:cubicBezTo>
                  <a:pt x="108882" y="5645086"/>
                  <a:pt x="114838" y="5644534"/>
                  <a:pt x="121418" y="5646776"/>
                </a:cubicBezTo>
                <a:close/>
                <a:moveTo>
                  <a:pt x="1143220" y="5642129"/>
                </a:moveTo>
                <a:cubicBezTo>
                  <a:pt x="1147019" y="5641100"/>
                  <a:pt x="1150935" y="5640724"/>
                  <a:pt x="1155228" y="5642211"/>
                </a:cubicBezTo>
                <a:cubicBezTo>
                  <a:pt x="1158255" y="5643113"/>
                  <a:pt x="1160791" y="5644283"/>
                  <a:pt x="1163639" y="5647192"/>
                </a:cubicBezTo>
                <a:cubicBezTo>
                  <a:pt x="1167778" y="5651310"/>
                  <a:pt x="1173431" y="5655880"/>
                  <a:pt x="1180460" y="5650150"/>
                </a:cubicBezTo>
                <a:cubicBezTo>
                  <a:pt x="1183129" y="5648063"/>
                  <a:pt x="1185710" y="5650482"/>
                  <a:pt x="1187445" y="5650175"/>
                </a:cubicBezTo>
                <a:cubicBezTo>
                  <a:pt x="1196611" y="5648379"/>
                  <a:pt x="1203242" y="5652417"/>
                  <a:pt x="1209161" y="5657478"/>
                </a:cubicBezTo>
                <a:cubicBezTo>
                  <a:pt x="1210586" y="5662434"/>
                  <a:pt x="1211745" y="5666899"/>
                  <a:pt x="1214148" y="5671323"/>
                </a:cubicBezTo>
                <a:cubicBezTo>
                  <a:pt x="1216552" y="5675748"/>
                  <a:pt x="1216020" y="5681768"/>
                  <a:pt x="1213172" y="5685861"/>
                </a:cubicBezTo>
                <a:cubicBezTo>
                  <a:pt x="1210548" y="5689197"/>
                  <a:pt x="1209392" y="5691735"/>
                  <a:pt x="1209527" y="5695483"/>
                </a:cubicBezTo>
                <a:cubicBezTo>
                  <a:pt x="1203654" y="5698674"/>
                  <a:pt x="1197782" y="5701864"/>
                  <a:pt x="1191909" y="5705055"/>
                </a:cubicBezTo>
                <a:cubicBezTo>
                  <a:pt x="1186792" y="5701469"/>
                  <a:pt x="1180739" y="5699663"/>
                  <a:pt x="1175266" y="5700090"/>
                </a:cubicBezTo>
                <a:cubicBezTo>
                  <a:pt x="1170016" y="5699759"/>
                  <a:pt x="1164544" y="5700185"/>
                  <a:pt x="1158803" y="5700121"/>
                </a:cubicBezTo>
                <a:cubicBezTo>
                  <a:pt x="1153552" y="5699791"/>
                  <a:pt x="1147813" y="5699725"/>
                  <a:pt x="1142651" y="5701892"/>
                </a:cubicBezTo>
                <a:cubicBezTo>
                  <a:pt x="1137713" y="5703303"/>
                  <a:pt x="1134152" y="5701417"/>
                  <a:pt x="1129836" y="5699304"/>
                </a:cubicBezTo>
                <a:cubicBezTo>
                  <a:pt x="1125519" y="5697193"/>
                  <a:pt x="1123337" y="5692011"/>
                  <a:pt x="1118576" y="5691415"/>
                </a:cubicBezTo>
                <a:cubicBezTo>
                  <a:pt x="1116707" y="5687973"/>
                  <a:pt x="1115105" y="5685024"/>
                  <a:pt x="1113234" y="5681582"/>
                </a:cubicBezTo>
                <a:cubicBezTo>
                  <a:pt x="1114703" y="5680786"/>
                  <a:pt x="1114925" y="5680027"/>
                  <a:pt x="1114390" y="5679044"/>
                </a:cubicBezTo>
                <a:cubicBezTo>
                  <a:pt x="1110384" y="5671670"/>
                  <a:pt x="1113141" y="5665079"/>
                  <a:pt x="1117679" y="5659430"/>
                </a:cubicBezTo>
                <a:cubicBezTo>
                  <a:pt x="1121726" y="5654046"/>
                  <a:pt x="1125018" y="5648438"/>
                  <a:pt x="1131914" y="5645965"/>
                </a:cubicBezTo>
                <a:cubicBezTo>
                  <a:pt x="1135740" y="5644841"/>
                  <a:pt x="1139422" y="5643159"/>
                  <a:pt x="1143220" y="5642129"/>
                </a:cubicBezTo>
                <a:close/>
                <a:moveTo>
                  <a:pt x="8024278" y="5627074"/>
                </a:moveTo>
                <a:lnTo>
                  <a:pt x="8007546" y="5642637"/>
                </a:lnTo>
                <a:lnTo>
                  <a:pt x="8054494" y="5676160"/>
                </a:lnTo>
                <a:cubicBezTo>
                  <a:pt x="8091790" y="5701480"/>
                  <a:pt x="8129749" y="5725995"/>
                  <a:pt x="8169179" y="5750369"/>
                </a:cubicBezTo>
                <a:cubicBezTo>
                  <a:pt x="8424521" y="5906660"/>
                  <a:pt x="8698834" y="6013663"/>
                  <a:pt x="8979798" y="6066632"/>
                </a:cubicBezTo>
                <a:lnTo>
                  <a:pt x="8982039" y="6067008"/>
                </a:lnTo>
                <a:lnTo>
                  <a:pt x="8982073" y="6066957"/>
                </a:lnTo>
                <a:lnTo>
                  <a:pt x="8979798" y="6066632"/>
                </a:lnTo>
                <a:cubicBezTo>
                  <a:pt x="8666938" y="5998202"/>
                  <a:pt x="8366435" y="5869535"/>
                  <a:pt x="8091875" y="5677332"/>
                </a:cubicBezTo>
                <a:close/>
                <a:moveTo>
                  <a:pt x="11245478" y="5595247"/>
                </a:moveTo>
                <a:lnTo>
                  <a:pt x="11243697" y="5596393"/>
                </a:lnTo>
                <a:cubicBezTo>
                  <a:pt x="11240882" y="5599128"/>
                  <a:pt x="11239681" y="5602631"/>
                  <a:pt x="11243812" y="5607158"/>
                </a:cubicBezTo>
                <a:lnTo>
                  <a:pt x="11246589" y="5607994"/>
                </a:lnTo>
                <a:lnTo>
                  <a:pt x="11245342" y="5602229"/>
                </a:lnTo>
                <a:close/>
                <a:moveTo>
                  <a:pt x="12040081" y="5570704"/>
                </a:moveTo>
                <a:cubicBezTo>
                  <a:pt x="12047899" y="5575477"/>
                  <a:pt x="12057243" y="5567049"/>
                  <a:pt x="12064592" y="5575170"/>
                </a:cubicBezTo>
                <a:cubicBezTo>
                  <a:pt x="12066744" y="5577589"/>
                  <a:pt x="12072530" y="5576780"/>
                  <a:pt x="12070002" y="5582974"/>
                </a:cubicBezTo>
                <a:cubicBezTo>
                  <a:pt x="12069154" y="5584746"/>
                  <a:pt x="12070594" y="5586652"/>
                  <a:pt x="12072169" y="5586271"/>
                </a:cubicBezTo>
                <a:cubicBezTo>
                  <a:pt x="12078834" y="5585446"/>
                  <a:pt x="12080123" y="5588760"/>
                  <a:pt x="12078822" y="5594756"/>
                </a:cubicBezTo>
                <a:cubicBezTo>
                  <a:pt x="12078503" y="5596695"/>
                  <a:pt x="12080807" y="5597706"/>
                  <a:pt x="12082231" y="5598733"/>
                </a:cubicBezTo>
                <a:cubicBezTo>
                  <a:pt x="12084716" y="5600093"/>
                  <a:pt x="12086154" y="5601998"/>
                  <a:pt x="12084973" y="5604830"/>
                </a:cubicBezTo>
                <a:cubicBezTo>
                  <a:pt x="12083792" y="5607662"/>
                  <a:pt x="12085232" y="5609568"/>
                  <a:pt x="12085626" y="5612020"/>
                </a:cubicBezTo>
                <a:cubicBezTo>
                  <a:pt x="12086612" y="5618150"/>
                  <a:pt x="12087978" y="5625853"/>
                  <a:pt x="12085417" y="5630293"/>
                </a:cubicBezTo>
                <a:cubicBezTo>
                  <a:pt x="12079784" y="5639882"/>
                  <a:pt x="12074681" y="5649636"/>
                  <a:pt x="12068865" y="5658878"/>
                </a:cubicBezTo>
                <a:cubicBezTo>
                  <a:pt x="12068168" y="5659242"/>
                  <a:pt x="12066775" y="5659970"/>
                  <a:pt x="12066062" y="5659457"/>
                </a:cubicBezTo>
                <a:cubicBezTo>
                  <a:pt x="12060942" y="5658146"/>
                  <a:pt x="12056351" y="5657001"/>
                  <a:pt x="12054186" y="5663892"/>
                </a:cubicBezTo>
                <a:cubicBezTo>
                  <a:pt x="12053702" y="5666360"/>
                  <a:pt x="12051747" y="5665167"/>
                  <a:pt x="12050672" y="5663956"/>
                </a:cubicBezTo>
                <a:cubicBezTo>
                  <a:pt x="12046535" y="5658588"/>
                  <a:pt x="12043748" y="5660044"/>
                  <a:pt x="12041386" y="5665709"/>
                </a:cubicBezTo>
                <a:cubicBezTo>
                  <a:pt x="12039872" y="5669601"/>
                  <a:pt x="12038115" y="5669634"/>
                  <a:pt x="12036295" y="5666155"/>
                </a:cubicBezTo>
                <a:cubicBezTo>
                  <a:pt x="12035204" y="5664067"/>
                  <a:pt x="12034628" y="5661267"/>
                  <a:pt x="12031311" y="5662558"/>
                </a:cubicBezTo>
                <a:cubicBezTo>
                  <a:pt x="12023616" y="5664808"/>
                  <a:pt x="12018283" y="5661393"/>
                  <a:pt x="12015357" y="5654948"/>
                </a:cubicBezTo>
                <a:cubicBezTo>
                  <a:pt x="12013341" y="5650242"/>
                  <a:pt x="12010857" y="5648882"/>
                  <a:pt x="12006812" y="5648782"/>
                </a:cubicBezTo>
                <a:cubicBezTo>
                  <a:pt x="12006084" y="5647390"/>
                  <a:pt x="12005357" y="5645998"/>
                  <a:pt x="12004629" y="5644606"/>
                </a:cubicBezTo>
                <a:cubicBezTo>
                  <a:pt x="12007022" y="5640698"/>
                  <a:pt x="12006068" y="5636324"/>
                  <a:pt x="12003203" y="5633391"/>
                </a:cubicBezTo>
                <a:cubicBezTo>
                  <a:pt x="11998188" y="5628037"/>
                  <a:pt x="11997732" y="5622074"/>
                  <a:pt x="12000079" y="5615531"/>
                </a:cubicBezTo>
                <a:cubicBezTo>
                  <a:pt x="12000912" y="5612881"/>
                  <a:pt x="12001928" y="5610579"/>
                  <a:pt x="12001351" y="5607779"/>
                </a:cubicBezTo>
                <a:cubicBezTo>
                  <a:pt x="12000048" y="5603587"/>
                  <a:pt x="12001046" y="5600407"/>
                  <a:pt x="12005061" y="5598753"/>
                </a:cubicBezTo>
                <a:cubicBezTo>
                  <a:pt x="12007847" y="5597296"/>
                  <a:pt x="12009029" y="5594464"/>
                  <a:pt x="12009347" y="5592525"/>
                </a:cubicBezTo>
                <a:cubicBezTo>
                  <a:pt x="12010906" y="5581079"/>
                  <a:pt x="12021980" y="5581050"/>
                  <a:pt x="12028750" y="5576182"/>
                </a:cubicBezTo>
                <a:cubicBezTo>
                  <a:pt x="12031703" y="5574196"/>
                  <a:pt x="12037413" y="5568997"/>
                  <a:pt x="12040081" y="5570704"/>
                </a:cubicBezTo>
                <a:close/>
                <a:moveTo>
                  <a:pt x="378601" y="5540013"/>
                </a:moveTo>
                <a:cubicBezTo>
                  <a:pt x="379747" y="5540051"/>
                  <a:pt x="381048" y="5540588"/>
                  <a:pt x="382136" y="5540307"/>
                </a:cubicBezTo>
                <a:cubicBezTo>
                  <a:pt x="389518" y="5538471"/>
                  <a:pt x="391643" y="5546951"/>
                  <a:pt x="397999" y="5547225"/>
                </a:cubicBezTo>
                <a:cubicBezTo>
                  <a:pt x="400198" y="5547273"/>
                  <a:pt x="401476" y="5552483"/>
                  <a:pt x="402410" y="5554773"/>
                </a:cubicBezTo>
                <a:cubicBezTo>
                  <a:pt x="404429" y="5560201"/>
                  <a:pt x="410803" y="5564508"/>
                  <a:pt x="407268" y="5571710"/>
                </a:cubicBezTo>
                <a:cubicBezTo>
                  <a:pt x="406701" y="5572951"/>
                  <a:pt x="406285" y="5575042"/>
                  <a:pt x="407328" y="5576962"/>
                </a:cubicBezTo>
                <a:cubicBezTo>
                  <a:pt x="409001" y="5579470"/>
                  <a:pt x="408345" y="5581690"/>
                  <a:pt x="405971" y="5583602"/>
                </a:cubicBezTo>
                <a:cubicBezTo>
                  <a:pt x="404554" y="5584994"/>
                  <a:pt x="404247" y="5586714"/>
                  <a:pt x="403701" y="5588565"/>
                </a:cubicBezTo>
                <a:cubicBezTo>
                  <a:pt x="402520" y="5593247"/>
                  <a:pt x="399947" y="5596509"/>
                  <a:pt x="394983" y="5597653"/>
                </a:cubicBezTo>
                <a:cubicBezTo>
                  <a:pt x="392196" y="5598234"/>
                  <a:pt x="389951" y="5600386"/>
                  <a:pt x="389817" y="5603566"/>
                </a:cubicBezTo>
                <a:cubicBezTo>
                  <a:pt x="388859" y="5604088"/>
                  <a:pt x="387900" y="5604608"/>
                  <a:pt x="386942" y="5605129"/>
                </a:cubicBezTo>
                <a:cubicBezTo>
                  <a:pt x="384570" y="5603620"/>
                  <a:pt x="382611" y="5603442"/>
                  <a:pt x="379626" y="5605375"/>
                </a:cubicBezTo>
                <a:cubicBezTo>
                  <a:pt x="375444" y="5607958"/>
                  <a:pt x="371046" y="5607862"/>
                  <a:pt x="367480" y="5603584"/>
                </a:cubicBezTo>
                <a:cubicBezTo>
                  <a:pt x="366068" y="5601555"/>
                  <a:pt x="364650" y="5602946"/>
                  <a:pt x="363213" y="5603727"/>
                </a:cubicBezTo>
                <a:cubicBezTo>
                  <a:pt x="360817" y="5605029"/>
                  <a:pt x="359816" y="5604329"/>
                  <a:pt x="360451" y="5601499"/>
                </a:cubicBezTo>
                <a:cubicBezTo>
                  <a:pt x="361282" y="5597318"/>
                  <a:pt x="360240" y="5595399"/>
                  <a:pt x="355775" y="5596892"/>
                </a:cubicBezTo>
                <a:cubicBezTo>
                  <a:pt x="354686" y="5597172"/>
                  <a:pt x="353097" y="5597104"/>
                  <a:pt x="353774" y="5595493"/>
                </a:cubicBezTo>
                <a:cubicBezTo>
                  <a:pt x="355194" y="5590682"/>
                  <a:pt x="352105" y="5589565"/>
                  <a:pt x="348644" y="5588337"/>
                </a:cubicBezTo>
                <a:cubicBezTo>
                  <a:pt x="348034" y="5588357"/>
                  <a:pt x="347513" y="5587397"/>
                  <a:pt x="347252" y="5586918"/>
                </a:cubicBezTo>
                <a:cubicBezTo>
                  <a:pt x="347478" y="5579337"/>
                  <a:pt x="348314" y="5571735"/>
                  <a:pt x="348780" y="5564024"/>
                </a:cubicBezTo>
                <a:cubicBezTo>
                  <a:pt x="349023" y="5560474"/>
                  <a:pt x="352794" y="5556561"/>
                  <a:pt x="355737" y="5553408"/>
                </a:cubicBezTo>
                <a:cubicBezTo>
                  <a:pt x="356913" y="5552147"/>
                  <a:pt x="358481" y="5551606"/>
                  <a:pt x="358897" y="5549516"/>
                </a:cubicBezTo>
                <a:cubicBezTo>
                  <a:pt x="359313" y="5547425"/>
                  <a:pt x="360881" y="5546883"/>
                  <a:pt x="362840" y="5547062"/>
                </a:cubicBezTo>
                <a:cubicBezTo>
                  <a:pt x="364059" y="5547022"/>
                  <a:pt x="365779" y="5547330"/>
                  <a:pt x="366346" y="5546090"/>
                </a:cubicBezTo>
                <a:cubicBezTo>
                  <a:pt x="367918" y="5542128"/>
                  <a:pt x="369944" y="5540716"/>
                  <a:pt x="373468" y="5543774"/>
                </a:cubicBezTo>
                <a:cubicBezTo>
                  <a:pt x="374229" y="5544603"/>
                  <a:pt x="375797" y="5544062"/>
                  <a:pt x="375994" y="5542712"/>
                </a:cubicBezTo>
                <a:cubicBezTo>
                  <a:pt x="376465" y="5540436"/>
                  <a:pt x="377455" y="5539975"/>
                  <a:pt x="378601" y="5540013"/>
                </a:cubicBezTo>
                <a:close/>
                <a:moveTo>
                  <a:pt x="8303664" y="5514927"/>
                </a:moveTo>
                <a:cubicBezTo>
                  <a:pt x="8303664" y="5514927"/>
                  <a:pt x="8306886" y="5517583"/>
                  <a:pt x="8312763" y="5517015"/>
                </a:cubicBezTo>
                <a:cubicBezTo>
                  <a:pt x="8319208" y="5522326"/>
                  <a:pt x="8322431" y="5524981"/>
                  <a:pt x="8325654" y="5527636"/>
                </a:cubicBezTo>
                <a:cubicBezTo>
                  <a:pt x="8319776" y="5528204"/>
                  <a:pt x="8316553" y="5525548"/>
                  <a:pt x="8313330" y="5522893"/>
                </a:cubicBezTo>
                <a:cubicBezTo>
                  <a:pt x="8313330" y="5522893"/>
                  <a:pt x="8313330" y="5522893"/>
                  <a:pt x="8310108" y="5520238"/>
                </a:cubicBezTo>
                <a:cubicBezTo>
                  <a:pt x="8306886" y="5517583"/>
                  <a:pt x="8306886" y="5517583"/>
                  <a:pt x="8306886" y="5517583"/>
                </a:cubicBezTo>
                <a:close/>
                <a:moveTo>
                  <a:pt x="596671" y="5506776"/>
                </a:moveTo>
                <a:cubicBezTo>
                  <a:pt x="599368" y="5506044"/>
                  <a:pt x="602148" y="5505777"/>
                  <a:pt x="605198" y="5506834"/>
                </a:cubicBezTo>
                <a:cubicBezTo>
                  <a:pt x="607346" y="5507475"/>
                  <a:pt x="609147" y="5508304"/>
                  <a:pt x="611171" y="5510371"/>
                </a:cubicBezTo>
                <a:cubicBezTo>
                  <a:pt x="614110" y="5513295"/>
                  <a:pt x="618124" y="5516540"/>
                  <a:pt x="623115" y="5512471"/>
                </a:cubicBezTo>
                <a:cubicBezTo>
                  <a:pt x="625010" y="5510989"/>
                  <a:pt x="626843" y="5512706"/>
                  <a:pt x="628076" y="5512489"/>
                </a:cubicBezTo>
                <a:cubicBezTo>
                  <a:pt x="634584" y="5511213"/>
                  <a:pt x="639293" y="5514080"/>
                  <a:pt x="643496" y="5517674"/>
                </a:cubicBezTo>
                <a:cubicBezTo>
                  <a:pt x="644508" y="5521194"/>
                  <a:pt x="645331" y="5524364"/>
                  <a:pt x="647038" y="5527506"/>
                </a:cubicBezTo>
                <a:cubicBezTo>
                  <a:pt x="648745" y="5530648"/>
                  <a:pt x="648366" y="5534922"/>
                  <a:pt x="646345" y="5537829"/>
                </a:cubicBezTo>
                <a:cubicBezTo>
                  <a:pt x="644481" y="5540198"/>
                  <a:pt x="643660" y="5542001"/>
                  <a:pt x="643756" y="5544661"/>
                </a:cubicBezTo>
                <a:cubicBezTo>
                  <a:pt x="639585" y="5546927"/>
                  <a:pt x="635415" y="5549194"/>
                  <a:pt x="631244" y="5551460"/>
                </a:cubicBezTo>
                <a:cubicBezTo>
                  <a:pt x="627610" y="5548913"/>
                  <a:pt x="623314" y="5547630"/>
                  <a:pt x="619427" y="5547934"/>
                </a:cubicBezTo>
                <a:cubicBezTo>
                  <a:pt x="615698" y="5547699"/>
                  <a:pt x="611812" y="5548002"/>
                  <a:pt x="607736" y="5547956"/>
                </a:cubicBezTo>
                <a:cubicBezTo>
                  <a:pt x="604007" y="5547720"/>
                  <a:pt x="599931" y="5547674"/>
                  <a:pt x="596266" y="5549214"/>
                </a:cubicBezTo>
                <a:cubicBezTo>
                  <a:pt x="592759" y="5550215"/>
                  <a:pt x="590231" y="5548876"/>
                  <a:pt x="587166" y="5547376"/>
                </a:cubicBezTo>
                <a:cubicBezTo>
                  <a:pt x="584101" y="5545877"/>
                  <a:pt x="582551" y="5542197"/>
                  <a:pt x="579171" y="5541773"/>
                </a:cubicBezTo>
                <a:cubicBezTo>
                  <a:pt x="577843" y="5539329"/>
                  <a:pt x="576705" y="5537235"/>
                  <a:pt x="575377" y="5534791"/>
                </a:cubicBezTo>
                <a:cubicBezTo>
                  <a:pt x="576419" y="5534225"/>
                  <a:pt x="576578" y="5533687"/>
                  <a:pt x="576198" y="5532990"/>
                </a:cubicBezTo>
                <a:cubicBezTo>
                  <a:pt x="573353" y="5527752"/>
                  <a:pt x="575312" y="5523072"/>
                  <a:pt x="578533" y="5519061"/>
                </a:cubicBezTo>
                <a:cubicBezTo>
                  <a:pt x="581407" y="5515238"/>
                  <a:pt x="583744" y="5511256"/>
                  <a:pt x="588642" y="5509499"/>
                </a:cubicBezTo>
                <a:cubicBezTo>
                  <a:pt x="591359" y="5508701"/>
                  <a:pt x="593973" y="5507506"/>
                  <a:pt x="596671" y="5506776"/>
                </a:cubicBezTo>
                <a:close/>
                <a:moveTo>
                  <a:pt x="1659334" y="5458672"/>
                </a:moveTo>
                <a:lnTo>
                  <a:pt x="1662878" y="5464811"/>
                </a:lnTo>
                <a:cubicBezTo>
                  <a:pt x="1662878" y="5464811"/>
                  <a:pt x="1661702" y="5469200"/>
                  <a:pt x="1661702" y="5469200"/>
                </a:cubicBezTo>
                <a:cubicBezTo>
                  <a:pt x="1664916" y="5474763"/>
                  <a:pt x="1664916" y="5474763"/>
                  <a:pt x="1664916" y="5474763"/>
                </a:cubicBezTo>
                <a:lnTo>
                  <a:pt x="1670015" y="5471820"/>
                </a:lnTo>
                <a:close/>
                <a:moveTo>
                  <a:pt x="8206133" y="5450796"/>
                </a:moveTo>
                <a:lnTo>
                  <a:pt x="8203558" y="5454085"/>
                </a:lnTo>
                <a:lnTo>
                  <a:pt x="8206038" y="5456128"/>
                </a:lnTo>
                <a:lnTo>
                  <a:pt x="8202750" y="5455116"/>
                </a:lnTo>
                <a:lnTo>
                  <a:pt x="8185580" y="5477043"/>
                </a:lnTo>
                <a:lnTo>
                  <a:pt x="8040223" y="5612243"/>
                </a:lnTo>
                <a:lnTo>
                  <a:pt x="8045530" y="5613995"/>
                </a:lnTo>
                <a:cubicBezTo>
                  <a:pt x="8065270" y="5618763"/>
                  <a:pt x="8083991" y="5620665"/>
                  <a:pt x="8103802" y="5626168"/>
                </a:cubicBezTo>
                <a:cubicBezTo>
                  <a:pt x="8103802" y="5626168"/>
                  <a:pt x="8100013" y="5617635"/>
                  <a:pt x="8093568" y="5612324"/>
                </a:cubicBezTo>
                <a:cubicBezTo>
                  <a:pt x="8111767" y="5616499"/>
                  <a:pt x="8134892" y="5640963"/>
                  <a:pt x="8156881" y="5653672"/>
                </a:cubicBezTo>
                <a:cubicBezTo>
                  <a:pt x="8178303" y="5660503"/>
                  <a:pt x="8212049" y="5672076"/>
                  <a:pt x="8212049" y="5672076"/>
                </a:cubicBezTo>
                <a:cubicBezTo>
                  <a:pt x="8214135" y="5662977"/>
                  <a:pt x="8201246" y="5652356"/>
                  <a:pt x="8185134" y="5639081"/>
                </a:cubicBezTo>
                <a:cubicBezTo>
                  <a:pt x="8187790" y="5635858"/>
                  <a:pt x="8191013" y="5638513"/>
                  <a:pt x="8191013" y="5638513"/>
                </a:cubicBezTo>
                <a:cubicBezTo>
                  <a:pt x="8194235" y="5641168"/>
                  <a:pt x="8194235" y="5641168"/>
                  <a:pt x="8194235" y="5641168"/>
                </a:cubicBezTo>
                <a:cubicBezTo>
                  <a:pt x="8194235" y="5641168"/>
                  <a:pt x="8197458" y="5643824"/>
                  <a:pt x="8197458" y="5643824"/>
                </a:cubicBezTo>
                <a:cubicBezTo>
                  <a:pt x="8197458" y="5643824"/>
                  <a:pt x="8200679" y="5646478"/>
                  <a:pt x="8203901" y="5649133"/>
                </a:cubicBezTo>
                <a:cubicBezTo>
                  <a:pt x="8206556" y="5645911"/>
                  <a:pt x="8206556" y="5645911"/>
                  <a:pt x="8203335" y="5643257"/>
                </a:cubicBezTo>
                <a:cubicBezTo>
                  <a:pt x="8203335" y="5643257"/>
                  <a:pt x="8200111" y="5640601"/>
                  <a:pt x="8200111" y="5640601"/>
                </a:cubicBezTo>
                <a:cubicBezTo>
                  <a:pt x="8196890" y="5637946"/>
                  <a:pt x="8196890" y="5637946"/>
                  <a:pt x="8196890" y="5637946"/>
                </a:cubicBezTo>
                <a:cubicBezTo>
                  <a:pt x="8221534" y="5647433"/>
                  <a:pt x="8195755" y="5626191"/>
                  <a:pt x="8189877" y="5626759"/>
                </a:cubicBezTo>
                <a:cubicBezTo>
                  <a:pt x="8186657" y="5624104"/>
                  <a:pt x="8184001" y="5627327"/>
                  <a:pt x="8184001" y="5627327"/>
                </a:cubicBezTo>
                <a:cubicBezTo>
                  <a:pt x="8184001" y="5627327"/>
                  <a:pt x="8187222" y="5629981"/>
                  <a:pt x="8187222" y="5629981"/>
                </a:cubicBezTo>
                <a:cubicBezTo>
                  <a:pt x="8187790" y="5635858"/>
                  <a:pt x="8187790" y="5635858"/>
                  <a:pt x="8187790" y="5635858"/>
                </a:cubicBezTo>
                <a:cubicBezTo>
                  <a:pt x="8187790" y="5635858"/>
                  <a:pt x="8181346" y="5630547"/>
                  <a:pt x="8178124" y="5627894"/>
                </a:cubicBezTo>
                <a:cubicBezTo>
                  <a:pt x="8174900" y="5625238"/>
                  <a:pt x="8174900" y="5625238"/>
                  <a:pt x="8174900" y="5625238"/>
                </a:cubicBezTo>
                <a:cubicBezTo>
                  <a:pt x="8152344" y="5606652"/>
                  <a:pt x="8141542" y="5586931"/>
                  <a:pt x="8162398" y="5587884"/>
                </a:cubicBezTo>
                <a:cubicBezTo>
                  <a:pt x="8178509" y="5601160"/>
                  <a:pt x="8181165" y="5597938"/>
                  <a:pt x="8203720" y="5616524"/>
                </a:cubicBezTo>
                <a:cubicBezTo>
                  <a:pt x="8212253" y="5612735"/>
                  <a:pt x="8199364" y="5602115"/>
                  <a:pt x="8201452" y="5593015"/>
                </a:cubicBezTo>
                <a:cubicBezTo>
                  <a:pt x="8238418" y="5607242"/>
                  <a:pt x="8292066" y="5640625"/>
                  <a:pt x="8305340" y="5624514"/>
                </a:cubicBezTo>
                <a:cubicBezTo>
                  <a:pt x="8305340" y="5624514"/>
                  <a:pt x="8308564" y="5627170"/>
                  <a:pt x="8308564" y="5627170"/>
                </a:cubicBezTo>
                <a:cubicBezTo>
                  <a:pt x="8308564" y="5627170"/>
                  <a:pt x="8315008" y="5632478"/>
                  <a:pt x="8315008" y="5632478"/>
                </a:cubicBezTo>
                <a:cubicBezTo>
                  <a:pt x="8320886" y="5631913"/>
                  <a:pt x="8324107" y="5634567"/>
                  <a:pt x="8320886" y="5631913"/>
                </a:cubicBezTo>
                <a:cubicBezTo>
                  <a:pt x="8329985" y="5633999"/>
                  <a:pt x="8339652" y="5641965"/>
                  <a:pt x="8364297" y="5651450"/>
                </a:cubicBezTo>
                <a:cubicBezTo>
                  <a:pt x="8373397" y="5653539"/>
                  <a:pt x="8376620" y="5656195"/>
                  <a:pt x="8379841" y="5658850"/>
                </a:cubicBezTo>
                <a:cubicBezTo>
                  <a:pt x="8379841" y="5658850"/>
                  <a:pt x="8385719" y="5658282"/>
                  <a:pt x="8385719" y="5658282"/>
                </a:cubicBezTo>
                <a:cubicBezTo>
                  <a:pt x="8388941" y="5660937"/>
                  <a:pt x="8388941" y="5660937"/>
                  <a:pt x="8388941" y="5660937"/>
                </a:cubicBezTo>
                <a:cubicBezTo>
                  <a:pt x="8392164" y="5663593"/>
                  <a:pt x="8391596" y="5657715"/>
                  <a:pt x="8391596" y="5657715"/>
                </a:cubicBezTo>
                <a:cubicBezTo>
                  <a:pt x="8394818" y="5660370"/>
                  <a:pt x="8394818" y="5660370"/>
                  <a:pt x="8394818" y="5660370"/>
                </a:cubicBezTo>
                <a:cubicBezTo>
                  <a:pt x="8397473" y="5657147"/>
                  <a:pt x="8410364" y="5667769"/>
                  <a:pt x="8413020" y="5664545"/>
                </a:cubicBezTo>
                <a:cubicBezTo>
                  <a:pt x="8394251" y="5654493"/>
                  <a:pt x="8409797" y="5661891"/>
                  <a:pt x="8406007" y="5653358"/>
                </a:cubicBezTo>
                <a:cubicBezTo>
                  <a:pt x="8427996" y="5666066"/>
                  <a:pt x="8402218" y="5644825"/>
                  <a:pt x="8417761" y="5652223"/>
                </a:cubicBezTo>
                <a:cubicBezTo>
                  <a:pt x="8439751" y="5664932"/>
                  <a:pt x="8442407" y="5661708"/>
                  <a:pt x="8449419" y="5672898"/>
                </a:cubicBezTo>
                <a:cubicBezTo>
                  <a:pt x="8457383" y="5663230"/>
                  <a:pt x="8507808" y="5693956"/>
                  <a:pt x="8547997" y="5710842"/>
                </a:cubicBezTo>
                <a:cubicBezTo>
                  <a:pt x="8551220" y="5713497"/>
                  <a:pt x="8560320" y="5715584"/>
                  <a:pt x="8572642" y="5720328"/>
                </a:cubicBezTo>
                <a:cubicBezTo>
                  <a:pt x="8609609" y="5734557"/>
                  <a:pt x="8634253" y="5744043"/>
                  <a:pt x="8655675" y="5750874"/>
                </a:cubicBezTo>
                <a:cubicBezTo>
                  <a:pt x="8664775" y="5752964"/>
                  <a:pt x="8658898" y="5753529"/>
                  <a:pt x="8665343" y="5758840"/>
                </a:cubicBezTo>
                <a:cubicBezTo>
                  <a:pt x="8667999" y="5755617"/>
                  <a:pt x="8673876" y="5755050"/>
                  <a:pt x="8677097" y="5757705"/>
                </a:cubicBezTo>
                <a:cubicBezTo>
                  <a:pt x="8680320" y="5760361"/>
                  <a:pt x="8665343" y="5758840"/>
                  <a:pt x="8677664" y="5763583"/>
                </a:cubicBezTo>
                <a:cubicBezTo>
                  <a:pt x="8701742" y="5767191"/>
                  <a:pt x="8702310" y="5773068"/>
                  <a:pt x="8738708" y="5781421"/>
                </a:cubicBezTo>
                <a:cubicBezTo>
                  <a:pt x="8733400" y="5787865"/>
                  <a:pt x="8733400" y="5787865"/>
                  <a:pt x="8733400" y="5787865"/>
                </a:cubicBezTo>
                <a:cubicBezTo>
                  <a:pt x="8754821" y="5794697"/>
                  <a:pt x="8763921" y="5796784"/>
                  <a:pt x="8751032" y="5786163"/>
                </a:cubicBezTo>
                <a:cubicBezTo>
                  <a:pt x="8766009" y="5787683"/>
                  <a:pt x="8763921" y="5796784"/>
                  <a:pt x="8781555" y="5795083"/>
                </a:cubicBezTo>
                <a:cubicBezTo>
                  <a:pt x="8775677" y="5795648"/>
                  <a:pt x="8778900" y="5798304"/>
                  <a:pt x="8784776" y="5797737"/>
                </a:cubicBezTo>
                <a:cubicBezTo>
                  <a:pt x="8782121" y="5800959"/>
                  <a:pt x="8782121" y="5800959"/>
                  <a:pt x="8782121" y="5800959"/>
                </a:cubicBezTo>
                <a:cubicBezTo>
                  <a:pt x="8776244" y="5801527"/>
                  <a:pt x="8779466" y="5804182"/>
                  <a:pt x="8779466" y="5804182"/>
                </a:cubicBezTo>
                <a:cubicBezTo>
                  <a:pt x="8782688" y="5806837"/>
                  <a:pt x="8782688" y="5806837"/>
                  <a:pt x="8782688" y="5806837"/>
                </a:cubicBezTo>
                <a:cubicBezTo>
                  <a:pt x="8764488" y="5802662"/>
                  <a:pt x="8786478" y="5815370"/>
                  <a:pt x="8801456" y="5816890"/>
                </a:cubicBezTo>
                <a:cubicBezTo>
                  <a:pt x="8798801" y="5820113"/>
                  <a:pt x="8798801" y="5820113"/>
                  <a:pt x="8798801" y="5820113"/>
                </a:cubicBezTo>
                <a:cubicBezTo>
                  <a:pt x="8798801" y="5820113"/>
                  <a:pt x="8798801" y="5820113"/>
                  <a:pt x="8802023" y="5822768"/>
                </a:cubicBezTo>
                <a:cubicBezTo>
                  <a:pt x="8802023" y="5822768"/>
                  <a:pt x="8807901" y="5822201"/>
                  <a:pt x="8807901" y="5822201"/>
                </a:cubicBezTo>
                <a:cubicBezTo>
                  <a:pt x="8829322" y="5829032"/>
                  <a:pt x="8859844" y="5837950"/>
                  <a:pt x="8890366" y="5846871"/>
                </a:cubicBezTo>
                <a:cubicBezTo>
                  <a:pt x="8923544" y="5852566"/>
                  <a:pt x="8956722" y="5858262"/>
                  <a:pt x="8980798" y="5861871"/>
                </a:cubicBezTo>
                <a:cubicBezTo>
                  <a:pt x="8988571" y="5865570"/>
                  <a:pt x="8999947" y="5868181"/>
                  <a:pt x="9013526" y="5870577"/>
                </a:cubicBezTo>
                <a:lnTo>
                  <a:pt x="9027059" y="5872765"/>
                </a:lnTo>
                <a:lnTo>
                  <a:pt x="8967041" y="5856588"/>
                </a:lnTo>
                <a:cubicBezTo>
                  <a:pt x="8792363" y="5803850"/>
                  <a:pt x="8624064" y="5730259"/>
                  <a:pt x="8461674" y="5636082"/>
                </a:cubicBezTo>
                <a:cubicBezTo>
                  <a:pt x="8399948" y="5600543"/>
                  <a:pt x="8336242" y="5572392"/>
                  <a:pt x="8282113" y="5526222"/>
                </a:cubicBezTo>
                <a:cubicBezTo>
                  <a:pt x="8276997" y="5521685"/>
                  <a:pt x="8269611" y="5519706"/>
                  <a:pt x="8270507" y="5510444"/>
                </a:cubicBezTo>
                <a:cubicBezTo>
                  <a:pt x="8273964" y="5503454"/>
                  <a:pt x="8279478" y="5506514"/>
                  <a:pt x="8282036" y="5508784"/>
                </a:cubicBezTo>
                <a:cubicBezTo>
                  <a:pt x="8471329" y="5635502"/>
                  <a:pt x="8679886" y="5719879"/>
                  <a:pt x="8891501" y="5798742"/>
                </a:cubicBezTo>
                <a:cubicBezTo>
                  <a:pt x="9002083" y="5841037"/>
                  <a:pt x="9118998" y="5859693"/>
                  <a:pt x="9234329" y="5884258"/>
                </a:cubicBezTo>
                <a:cubicBezTo>
                  <a:pt x="9248021" y="5886343"/>
                  <a:pt x="9262794" y="5890301"/>
                  <a:pt x="9276088" y="5893863"/>
                </a:cubicBezTo>
                <a:cubicBezTo>
                  <a:pt x="9283870" y="5894365"/>
                  <a:pt x="9292628" y="5903045"/>
                  <a:pt x="9296191" y="5889747"/>
                </a:cubicBezTo>
                <a:cubicBezTo>
                  <a:pt x="9299752" y="5876452"/>
                  <a:pt x="9290493" y="5875555"/>
                  <a:pt x="9280152" y="5872784"/>
                </a:cubicBezTo>
                <a:cubicBezTo>
                  <a:pt x="9225388" y="5864444"/>
                  <a:pt x="9169543" y="5854233"/>
                  <a:pt x="9115965" y="5841462"/>
                </a:cubicBezTo>
                <a:cubicBezTo>
                  <a:pt x="9060086" y="5827680"/>
                  <a:pt x="9005115" y="5812358"/>
                  <a:pt x="8951099" y="5795416"/>
                </a:cubicBezTo>
                <a:lnTo>
                  <a:pt x="8830912" y="5753291"/>
                </a:lnTo>
                <a:lnTo>
                  <a:pt x="8831050" y="5754713"/>
                </a:lnTo>
                <a:cubicBezTo>
                  <a:pt x="8812848" y="5750536"/>
                  <a:pt x="8797304" y="5743138"/>
                  <a:pt x="8779105" y="5738963"/>
                </a:cubicBezTo>
                <a:cubicBezTo>
                  <a:pt x="8781760" y="5735740"/>
                  <a:pt x="8781760" y="5735740"/>
                  <a:pt x="8781760" y="5735740"/>
                </a:cubicBezTo>
                <a:cubicBezTo>
                  <a:pt x="8784981" y="5738394"/>
                  <a:pt x="8794082" y="5740483"/>
                  <a:pt x="8797304" y="5743138"/>
                </a:cubicBezTo>
                <a:lnTo>
                  <a:pt x="8810745" y="5746222"/>
                </a:lnTo>
                <a:lnTo>
                  <a:pt x="8791975" y="5739643"/>
                </a:lnTo>
                <a:lnTo>
                  <a:pt x="8756766" y="5724464"/>
                </a:lnTo>
                <a:lnTo>
                  <a:pt x="8751973" y="5726749"/>
                </a:lnTo>
                <a:cubicBezTo>
                  <a:pt x="8750573" y="5727626"/>
                  <a:pt x="8749910" y="5728432"/>
                  <a:pt x="8748582" y="5730043"/>
                </a:cubicBezTo>
                <a:cubicBezTo>
                  <a:pt x="8745359" y="5727389"/>
                  <a:pt x="8742137" y="5724733"/>
                  <a:pt x="8742137" y="5724733"/>
                </a:cubicBezTo>
                <a:cubicBezTo>
                  <a:pt x="8744792" y="5721510"/>
                  <a:pt x="8748014" y="5724165"/>
                  <a:pt x="8744792" y="5721510"/>
                </a:cubicBezTo>
                <a:cubicBezTo>
                  <a:pt x="8744792" y="5721510"/>
                  <a:pt x="8744792" y="5721510"/>
                  <a:pt x="8741570" y="5718857"/>
                </a:cubicBezTo>
                <a:lnTo>
                  <a:pt x="8739173" y="5716880"/>
                </a:lnTo>
                <a:lnTo>
                  <a:pt x="8638893" y="5673651"/>
                </a:lnTo>
                <a:lnTo>
                  <a:pt x="8612911" y="5660070"/>
                </a:lnTo>
                <a:lnTo>
                  <a:pt x="8596357" y="5658716"/>
                </a:lnTo>
                <a:cubicBezTo>
                  <a:pt x="8589346" y="5647529"/>
                  <a:pt x="8583468" y="5648096"/>
                  <a:pt x="8574936" y="5651885"/>
                </a:cubicBezTo>
                <a:cubicBezTo>
                  <a:pt x="8568491" y="5646574"/>
                  <a:pt x="8562045" y="5641264"/>
                  <a:pt x="8552945" y="5639177"/>
                </a:cubicBezTo>
                <a:cubicBezTo>
                  <a:pt x="8543847" y="5637090"/>
                  <a:pt x="8534178" y="5629124"/>
                  <a:pt x="8525079" y="5627035"/>
                </a:cubicBezTo>
                <a:cubicBezTo>
                  <a:pt x="8512757" y="5622292"/>
                  <a:pt x="8499868" y="5611672"/>
                  <a:pt x="8487544" y="5606928"/>
                </a:cubicBezTo>
                <a:cubicBezTo>
                  <a:pt x="8481099" y="5601618"/>
                  <a:pt x="8468778" y="5596876"/>
                  <a:pt x="8462899" y="5597442"/>
                </a:cubicBezTo>
                <a:cubicBezTo>
                  <a:pt x="8459677" y="5594787"/>
                  <a:pt x="8459677" y="5594787"/>
                  <a:pt x="8459677" y="5594787"/>
                </a:cubicBezTo>
                <a:cubicBezTo>
                  <a:pt x="8447355" y="5590045"/>
                  <a:pt x="8440910" y="5584734"/>
                  <a:pt x="8428589" y="5579992"/>
                </a:cubicBezTo>
                <a:cubicBezTo>
                  <a:pt x="8422143" y="5574681"/>
                  <a:pt x="8413043" y="5572593"/>
                  <a:pt x="8400722" y="5567850"/>
                </a:cubicBezTo>
                <a:cubicBezTo>
                  <a:pt x="8393709" y="5556662"/>
                  <a:pt x="8391054" y="5559885"/>
                  <a:pt x="8388400" y="5563106"/>
                </a:cubicBezTo>
                <a:cubicBezTo>
                  <a:pt x="8385176" y="5560451"/>
                  <a:pt x="8385176" y="5560451"/>
                  <a:pt x="8385176" y="5560451"/>
                </a:cubicBezTo>
                <a:cubicBezTo>
                  <a:pt x="8381954" y="5557796"/>
                  <a:pt x="8381387" y="5551919"/>
                  <a:pt x="8378165" y="5549263"/>
                </a:cubicBezTo>
                <a:cubicBezTo>
                  <a:pt x="8378165" y="5549263"/>
                  <a:pt x="8374943" y="5546610"/>
                  <a:pt x="8374943" y="5546610"/>
                </a:cubicBezTo>
                <a:cubicBezTo>
                  <a:pt x="8371720" y="5543954"/>
                  <a:pt x="8371720" y="5543954"/>
                  <a:pt x="8365842" y="5544521"/>
                </a:cubicBezTo>
                <a:cubicBezTo>
                  <a:pt x="8365842" y="5544521"/>
                  <a:pt x="8365842" y="5544521"/>
                  <a:pt x="8363186" y="5547743"/>
                </a:cubicBezTo>
                <a:cubicBezTo>
                  <a:pt x="8347075" y="5534467"/>
                  <a:pt x="8347075" y="5534467"/>
                  <a:pt x="8347075" y="5534467"/>
                </a:cubicBezTo>
                <a:cubicBezTo>
                  <a:pt x="8347075" y="5534467"/>
                  <a:pt x="8341197" y="5535034"/>
                  <a:pt x="8341197" y="5535034"/>
                </a:cubicBezTo>
                <a:cubicBezTo>
                  <a:pt x="8341197" y="5535034"/>
                  <a:pt x="8344420" y="5537689"/>
                  <a:pt x="8344420" y="5537689"/>
                </a:cubicBezTo>
                <a:cubicBezTo>
                  <a:pt x="8363186" y="5547743"/>
                  <a:pt x="8363186" y="5547743"/>
                  <a:pt x="8363186" y="5547743"/>
                </a:cubicBezTo>
                <a:cubicBezTo>
                  <a:pt x="8363186" y="5547743"/>
                  <a:pt x="8360533" y="5550964"/>
                  <a:pt x="8360533" y="5550964"/>
                </a:cubicBezTo>
                <a:cubicBezTo>
                  <a:pt x="8357308" y="5548309"/>
                  <a:pt x="8354087" y="5545655"/>
                  <a:pt x="8354087" y="5545655"/>
                </a:cubicBezTo>
                <a:cubicBezTo>
                  <a:pt x="8350865" y="5543000"/>
                  <a:pt x="8350865" y="5543000"/>
                  <a:pt x="8350865" y="5543000"/>
                </a:cubicBezTo>
                <a:cubicBezTo>
                  <a:pt x="8347643" y="5540345"/>
                  <a:pt x="8341767" y="5540913"/>
                  <a:pt x="8338542" y="5538257"/>
                </a:cubicBezTo>
                <a:cubicBezTo>
                  <a:pt x="8335320" y="5535602"/>
                  <a:pt x="8332098" y="5532947"/>
                  <a:pt x="8325654" y="5527636"/>
                </a:cubicBezTo>
                <a:cubicBezTo>
                  <a:pt x="8328875" y="5530291"/>
                  <a:pt x="8331532" y="5527069"/>
                  <a:pt x="8331532" y="5527069"/>
                </a:cubicBezTo>
                <a:cubicBezTo>
                  <a:pt x="8331532" y="5527069"/>
                  <a:pt x="8328309" y="5524413"/>
                  <a:pt x="8325086" y="5521758"/>
                </a:cubicBezTo>
                <a:cubicBezTo>
                  <a:pt x="8325086" y="5521758"/>
                  <a:pt x="8321864" y="5519102"/>
                  <a:pt x="8318641" y="5516448"/>
                </a:cubicBezTo>
                <a:cubicBezTo>
                  <a:pt x="8312763" y="5517015"/>
                  <a:pt x="8309542" y="5514361"/>
                  <a:pt x="8306317" y="5511705"/>
                </a:cubicBezTo>
                <a:cubicBezTo>
                  <a:pt x="8303096" y="5509049"/>
                  <a:pt x="8303096" y="5509049"/>
                  <a:pt x="8299875" y="5506396"/>
                </a:cubicBezTo>
                <a:cubicBezTo>
                  <a:pt x="8293996" y="5506962"/>
                  <a:pt x="8293996" y="5506962"/>
                  <a:pt x="8293996" y="5506962"/>
                </a:cubicBezTo>
                <a:cubicBezTo>
                  <a:pt x="8290774" y="5504307"/>
                  <a:pt x="8284896" y="5504875"/>
                  <a:pt x="8281673" y="5502220"/>
                </a:cubicBezTo>
                <a:cubicBezTo>
                  <a:pt x="8278451" y="5499565"/>
                  <a:pt x="8275229" y="5496909"/>
                  <a:pt x="8275229" y="5496909"/>
                </a:cubicBezTo>
                <a:cubicBezTo>
                  <a:pt x="8277884" y="5493687"/>
                  <a:pt x="8277884" y="5493687"/>
                  <a:pt x="8274662" y="5491031"/>
                </a:cubicBezTo>
                <a:cubicBezTo>
                  <a:pt x="8274662" y="5491031"/>
                  <a:pt x="8271440" y="5488376"/>
                  <a:pt x="8268785" y="5491599"/>
                </a:cubicBezTo>
                <a:cubicBezTo>
                  <a:pt x="8268785" y="5491599"/>
                  <a:pt x="8265563" y="5488942"/>
                  <a:pt x="8264995" y="5483065"/>
                </a:cubicBezTo>
                <a:cubicBezTo>
                  <a:pt x="8255894" y="5480978"/>
                  <a:pt x="8255894" y="5480978"/>
                  <a:pt x="8255894" y="5480978"/>
                </a:cubicBezTo>
                <a:cubicBezTo>
                  <a:pt x="8255894" y="5480978"/>
                  <a:pt x="8259117" y="5483634"/>
                  <a:pt x="8256462" y="5486855"/>
                </a:cubicBezTo>
                <a:cubicBezTo>
                  <a:pt x="8253240" y="5484200"/>
                  <a:pt x="8250018" y="5481545"/>
                  <a:pt x="8246795" y="5478889"/>
                </a:cubicBezTo>
                <a:cubicBezTo>
                  <a:pt x="8243574" y="5476234"/>
                  <a:pt x="8243574" y="5476234"/>
                  <a:pt x="8243574" y="5476234"/>
                </a:cubicBezTo>
                <a:lnTo>
                  <a:pt x="8242763" y="5475848"/>
                </a:lnTo>
                <a:lnTo>
                  <a:pt x="8123803" y="5596115"/>
                </a:lnTo>
                <a:cubicBezTo>
                  <a:pt x="8118788" y="5568369"/>
                  <a:pt x="8138398" y="5553920"/>
                  <a:pt x="8152870" y="5537327"/>
                </a:cubicBezTo>
                <a:cubicBezTo>
                  <a:pt x="8169163" y="5519986"/>
                  <a:pt x="8183634" y="5503393"/>
                  <a:pt x="8194038" y="5482084"/>
                </a:cubicBezTo>
                <a:lnTo>
                  <a:pt x="8215650" y="5458636"/>
                </a:lnTo>
                <a:lnTo>
                  <a:pt x="8215139" y="5458216"/>
                </a:lnTo>
                <a:cubicBezTo>
                  <a:pt x="8213527" y="5456889"/>
                  <a:pt x="8212722" y="5456225"/>
                  <a:pt x="8211513" y="5455228"/>
                </a:cubicBezTo>
                <a:close/>
                <a:moveTo>
                  <a:pt x="11636113" y="5437527"/>
                </a:moveTo>
                <a:cubicBezTo>
                  <a:pt x="11637436" y="5438158"/>
                  <a:pt x="11639676" y="5438641"/>
                  <a:pt x="11641756" y="5437554"/>
                </a:cubicBezTo>
                <a:cubicBezTo>
                  <a:pt x="11644481" y="5435799"/>
                  <a:pt x="11646855" y="5436542"/>
                  <a:pt x="11648869" y="5439127"/>
                </a:cubicBezTo>
                <a:cubicBezTo>
                  <a:pt x="11650339" y="5440673"/>
                  <a:pt x="11652183" y="5441033"/>
                  <a:pt x="11654162" y="5441651"/>
                </a:cubicBezTo>
                <a:cubicBezTo>
                  <a:pt x="11659170" y="5443002"/>
                  <a:pt x="11662632" y="5445822"/>
                  <a:pt x="11663775" y="5451177"/>
                </a:cubicBezTo>
                <a:cubicBezTo>
                  <a:pt x="11664351" y="5454182"/>
                  <a:pt x="11666626" y="5456630"/>
                  <a:pt x="11670040" y="5456830"/>
                </a:cubicBezTo>
                <a:cubicBezTo>
                  <a:pt x="11670583" y="5457869"/>
                  <a:pt x="11671126" y="5458908"/>
                  <a:pt x="11671669" y="5459946"/>
                </a:cubicBezTo>
                <a:cubicBezTo>
                  <a:pt x="11670007" y="5462468"/>
                  <a:pt x="11669781" y="5464570"/>
                  <a:pt x="11671805" y="5467811"/>
                </a:cubicBezTo>
                <a:cubicBezTo>
                  <a:pt x="11674509" y="5472350"/>
                  <a:pt x="11674330" y="5477072"/>
                  <a:pt x="11669671" y="5480830"/>
                </a:cubicBezTo>
                <a:cubicBezTo>
                  <a:pt x="11667466" y="5482313"/>
                  <a:pt x="11668936" y="5483859"/>
                  <a:pt x="11669752" y="5485417"/>
                </a:cubicBezTo>
                <a:cubicBezTo>
                  <a:pt x="11671108" y="5488014"/>
                  <a:pt x="11670339" y="5489078"/>
                  <a:pt x="11667309" y="5488347"/>
                </a:cubicBezTo>
                <a:cubicBezTo>
                  <a:pt x="11662831" y="5487381"/>
                  <a:pt x="11660751" y="5488468"/>
                  <a:pt x="11662278" y="5493290"/>
                </a:cubicBezTo>
                <a:cubicBezTo>
                  <a:pt x="11662562" y="5494466"/>
                  <a:pt x="11662460" y="5496172"/>
                  <a:pt x="11660742" y="5495417"/>
                </a:cubicBezTo>
                <a:cubicBezTo>
                  <a:pt x="11655595" y="5493808"/>
                  <a:pt x="11654342" y="5497109"/>
                  <a:pt x="11652963" y="5500805"/>
                </a:cubicBezTo>
                <a:cubicBezTo>
                  <a:pt x="11652973" y="5501461"/>
                  <a:pt x="11651934" y="5502005"/>
                  <a:pt x="11651413" y="5502276"/>
                </a:cubicBezTo>
                <a:cubicBezTo>
                  <a:pt x="11643272" y="5501902"/>
                  <a:pt x="11635120" y="5500872"/>
                  <a:pt x="11626843" y="5500239"/>
                </a:cubicBezTo>
                <a:cubicBezTo>
                  <a:pt x="11623031" y="5499916"/>
                  <a:pt x="11618892" y="5495796"/>
                  <a:pt x="11615556" y="5492580"/>
                </a:cubicBezTo>
                <a:cubicBezTo>
                  <a:pt x="11614221" y="5491294"/>
                  <a:pt x="11613666" y="5489599"/>
                  <a:pt x="11611428" y="5489116"/>
                </a:cubicBezTo>
                <a:cubicBezTo>
                  <a:pt x="11609188" y="5488632"/>
                  <a:pt x="11608634" y="5486939"/>
                  <a:pt x="11608861" y="5484837"/>
                </a:cubicBezTo>
                <a:cubicBezTo>
                  <a:pt x="11608837" y="5483526"/>
                  <a:pt x="11609199" y="5481684"/>
                  <a:pt x="11607876" y="5481053"/>
                </a:cubicBezTo>
                <a:cubicBezTo>
                  <a:pt x="11603646" y="5479295"/>
                  <a:pt x="11602164" y="5477093"/>
                  <a:pt x="11605511" y="5473361"/>
                </a:cubicBezTo>
                <a:cubicBezTo>
                  <a:pt x="11606415" y="5472558"/>
                  <a:pt x="11605861" y="5470863"/>
                  <a:pt x="11604414" y="5470628"/>
                </a:cubicBezTo>
                <a:cubicBezTo>
                  <a:pt x="11599541" y="5469537"/>
                  <a:pt x="11602501" y="5466336"/>
                  <a:pt x="11601937" y="5463986"/>
                </a:cubicBezTo>
                <a:cubicBezTo>
                  <a:pt x="11600091" y="5456023"/>
                  <a:pt x="11609239" y="5453888"/>
                  <a:pt x="11609644" y="5447062"/>
                </a:cubicBezTo>
                <a:cubicBezTo>
                  <a:pt x="11609734" y="5444701"/>
                  <a:pt x="11615354" y="5443417"/>
                  <a:pt x="11617830" y="5442453"/>
                </a:cubicBezTo>
                <a:cubicBezTo>
                  <a:pt x="11623699" y="5440378"/>
                  <a:pt x="11628436" y="5433604"/>
                  <a:pt x="11636113" y="5437527"/>
                </a:cubicBezTo>
                <a:close/>
                <a:moveTo>
                  <a:pt x="1633673" y="5427074"/>
                </a:moveTo>
                <a:lnTo>
                  <a:pt x="1634824" y="5429070"/>
                </a:lnTo>
                <a:cubicBezTo>
                  <a:pt x="1633648" y="5433458"/>
                  <a:pt x="1641251" y="5440199"/>
                  <a:pt x="1648853" y="5446940"/>
                </a:cubicBezTo>
                <a:lnTo>
                  <a:pt x="1650072" y="5447267"/>
                </a:lnTo>
                <a:close/>
                <a:moveTo>
                  <a:pt x="1591827" y="5375552"/>
                </a:moveTo>
                <a:lnTo>
                  <a:pt x="1591395" y="5375834"/>
                </a:lnTo>
                <a:cubicBezTo>
                  <a:pt x="1591681" y="5377232"/>
                  <a:pt x="1592666" y="5380143"/>
                  <a:pt x="1594782" y="5385413"/>
                </a:cubicBezTo>
                <a:cubicBezTo>
                  <a:pt x="1593175" y="5382631"/>
                  <a:pt x="1590471" y="5379554"/>
                  <a:pt x="1588422" y="5378418"/>
                </a:cubicBezTo>
                <a:lnTo>
                  <a:pt x="1586067" y="5382938"/>
                </a:lnTo>
                <a:lnTo>
                  <a:pt x="1586257" y="5383215"/>
                </a:lnTo>
                <a:lnTo>
                  <a:pt x="1609242" y="5396996"/>
                </a:lnTo>
                <a:lnTo>
                  <a:pt x="1596906" y="5381805"/>
                </a:lnTo>
                <a:lnTo>
                  <a:pt x="1595956" y="5381024"/>
                </a:lnTo>
                <a:lnTo>
                  <a:pt x="1594606" y="5378975"/>
                </a:lnTo>
                <a:close/>
                <a:moveTo>
                  <a:pt x="59700" y="5360465"/>
                </a:moveTo>
                <a:cubicBezTo>
                  <a:pt x="63526" y="5361071"/>
                  <a:pt x="67192" y="5362921"/>
                  <a:pt x="70622" y="5365302"/>
                </a:cubicBezTo>
                <a:cubicBezTo>
                  <a:pt x="77137" y="5369523"/>
                  <a:pt x="83850" y="5372856"/>
                  <a:pt x="87249" y="5380588"/>
                </a:cubicBezTo>
                <a:cubicBezTo>
                  <a:pt x="90450" y="5389206"/>
                  <a:pt x="96169" y="5396978"/>
                  <a:pt x="93441" y="5407092"/>
                </a:cubicBezTo>
                <a:cubicBezTo>
                  <a:pt x="92646" y="5410644"/>
                  <a:pt x="91506" y="5413656"/>
                  <a:pt x="88390" y="5417164"/>
                </a:cubicBezTo>
                <a:cubicBezTo>
                  <a:pt x="83988" y="5422255"/>
                  <a:pt x="79188" y="5429122"/>
                  <a:pt x="86341" y="5436742"/>
                </a:cubicBezTo>
                <a:cubicBezTo>
                  <a:pt x="88956" y="5439643"/>
                  <a:pt x="86383" y="5442806"/>
                  <a:pt x="86875" y="5444776"/>
                </a:cubicBezTo>
                <a:cubicBezTo>
                  <a:pt x="89677" y="5455171"/>
                  <a:pt x="85568" y="5463119"/>
                  <a:pt x="80225" y="5470334"/>
                </a:cubicBezTo>
                <a:cubicBezTo>
                  <a:pt x="74641" y="5472371"/>
                  <a:pt x="69601" y="5474061"/>
                  <a:pt x="64707" y="5477181"/>
                </a:cubicBezTo>
                <a:cubicBezTo>
                  <a:pt x="59813" y="5480300"/>
                  <a:pt x="52849" y="5480172"/>
                  <a:pt x="47913" y="5477229"/>
                </a:cubicBezTo>
                <a:cubicBezTo>
                  <a:pt x="43867" y="5474480"/>
                  <a:pt x="40854" y="5473354"/>
                  <a:pt x="36557" y="5473810"/>
                </a:cubicBezTo>
                <a:cubicBezTo>
                  <a:pt x="32416" y="5467315"/>
                  <a:pt x="28274" y="5460819"/>
                  <a:pt x="24133" y="5454323"/>
                </a:cubicBezTo>
                <a:cubicBezTo>
                  <a:pt x="27845" y="5448151"/>
                  <a:pt x="29434" y="5441047"/>
                  <a:pt x="28504" y="5434788"/>
                </a:cubicBezTo>
                <a:cubicBezTo>
                  <a:pt x="28462" y="5428724"/>
                  <a:pt x="27530" y="5422465"/>
                  <a:pt x="27143" y="5415861"/>
                </a:cubicBezTo>
                <a:cubicBezTo>
                  <a:pt x="27101" y="5409797"/>
                  <a:pt x="26714" y="5403191"/>
                  <a:pt x="23807" y="5397432"/>
                </a:cubicBezTo>
                <a:cubicBezTo>
                  <a:pt x="21788" y="5391867"/>
                  <a:pt x="23671" y="5387621"/>
                  <a:pt x="25752" y="5382488"/>
                </a:cubicBezTo>
                <a:cubicBezTo>
                  <a:pt x="27832" y="5377355"/>
                  <a:pt x="33615" y="5374430"/>
                  <a:pt x="33917" y="5368908"/>
                </a:cubicBezTo>
                <a:cubicBezTo>
                  <a:pt x="37725" y="5366481"/>
                  <a:pt x="40987" y="5364401"/>
                  <a:pt x="44793" y="5361974"/>
                </a:cubicBezTo>
                <a:cubicBezTo>
                  <a:pt x="45828" y="5363598"/>
                  <a:pt x="46717" y="5363794"/>
                  <a:pt x="47805" y="5363100"/>
                </a:cubicBezTo>
                <a:cubicBezTo>
                  <a:pt x="51883" y="5360500"/>
                  <a:pt x="55872" y="5359860"/>
                  <a:pt x="59700" y="5360465"/>
                </a:cubicBezTo>
                <a:close/>
                <a:moveTo>
                  <a:pt x="8041692" y="5348396"/>
                </a:moveTo>
                <a:lnTo>
                  <a:pt x="7998314" y="5387913"/>
                </a:lnTo>
                <a:lnTo>
                  <a:pt x="7965104" y="5433632"/>
                </a:lnTo>
                <a:lnTo>
                  <a:pt x="8047196" y="5352809"/>
                </a:lnTo>
                <a:close/>
                <a:moveTo>
                  <a:pt x="1555181" y="5315328"/>
                </a:moveTo>
                <a:lnTo>
                  <a:pt x="1555051" y="5323024"/>
                </a:lnTo>
                <a:cubicBezTo>
                  <a:pt x="1566454" y="5333137"/>
                  <a:pt x="1569788" y="5343732"/>
                  <a:pt x="1570379" y="5342347"/>
                </a:cubicBezTo>
                <a:lnTo>
                  <a:pt x="1570362" y="5341545"/>
                </a:lnTo>
                <a:close/>
                <a:moveTo>
                  <a:pt x="8078670" y="5314125"/>
                </a:moveTo>
                <a:lnTo>
                  <a:pt x="8075219" y="5317854"/>
                </a:lnTo>
                <a:lnTo>
                  <a:pt x="8043174" y="5347046"/>
                </a:lnTo>
                <a:lnTo>
                  <a:pt x="8044532" y="5350103"/>
                </a:lnTo>
                <a:cubicBezTo>
                  <a:pt x="8045861" y="5348491"/>
                  <a:pt x="8047330" y="5348350"/>
                  <a:pt x="8048870" y="5348944"/>
                </a:cubicBezTo>
                <a:lnTo>
                  <a:pt x="8050200" y="5349851"/>
                </a:lnTo>
                <a:lnTo>
                  <a:pt x="8067707" y="5332616"/>
                </a:lnTo>
                <a:lnTo>
                  <a:pt x="8069239" y="5329120"/>
                </a:lnTo>
                <a:lnTo>
                  <a:pt x="8079534" y="5315147"/>
                </a:lnTo>
                <a:close/>
                <a:moveTo>
                  <a:pt x="723119" y="5305066"/>
                </a:moveTo>
                <a:lnTo>
                  <a:pt x="721754" y="5306274"/>
                </a:lnTo>
                <a:cubicBezTo>
                  <a:pt x="720434" y="5308781"/>
                  <a:pt x="718552" y="5310251"/>
                  <a:pt x="715701" y="5309115"/>
                </a:cubicBezTo>
                <a:lnTo>
                  <a:pt x="715689" y="5309117"/>
                </a:lnTo>
                <a:lnTo>
                  <a:pt x="716662" y="5310760"/>
                </a:lnTo>
                <a:cubicBezTo>
                  <a:pt x="725335" y="5319584"/>
                  <a:pt x="724502" y="5314765"/>
                  <a:pt x="723456" y="5309286"/>
                </a:cubicBezTo>
                <a:close/>
                <a:moveTo>
                  <a:pt x="520826" y="5305029"/>
                </a:moveTo>
                <a:cubicBezTo>
                  <a:pt x="522285" y="5307318"/>
                  <a:pt x="523223" y="5310477"/>
                  <a:pt x="526906" y="5308666"/>
                </a:cubicBezTo>
                <a:cubicBezTo>
                  <a:pt x="535521" y="5305321"/>
                  <a:pt x="541983" y="5308715"/>
                  <a:pt x="545980" y="5315827"/>
                </a:cubicBezTo>
                <a:cubicBezTo>
                  <a:pt x="548759" y="5321031"/>
                  <a:pt x="551748" y="5322345"/>
                  <a:pt x="556403" y="5322062"/>
                </a:cubicBezTo>
                <a:cubicBezTo>
                  <a:pt x="557375" y="5323587"/>
                  <a:pt x="558348" y="5325114"/>
                  <a:pt x="559322" y="5326641"/>
                </a:cubicBezTo>
                <a:cubicBezTo>
                  <a:pt x="556960" y="5331366"/>
                  <a:pt x="558489" y="5336294"/>
                  <a:pt x="562069" y="5339378"/>
                </a:cubicBezTo>
                <a:cubicBezTo>
                  <a:pt x="568358" y="5345029"/>
                  <a:pt x="569471" y="5351833"/>
                  <a:pt x="567423" y="5359579"/>
                </a:cubicBezTo>
                <a:cubicBezTo>
                  <a:pt x="566729" y="5362704"/>
                  <a:pt x="565792" y="5365449"/>
                  <a:pt x="566732" y="5368607"/>
                </a:cubicBezTo>
                <a:cubicBezTo>
                  <a:pt x="568643" y="5373291"/>
                  <a:pt x="567811" y="5377043"/>
                  <a:pt x="563364" y="5379340"/>
                </a:cubicBezTo>
                <a:cubicBezTo>
                  <a:pt x="560307" y="5381289"/>
                  <a:pt x="559232" y="5384659"/>
                  <a:pt x="559058" y="5386915"/>
                </a:cubicBezTo>
                <a:cubicBezTo>
                  <a:pt x="558402" y="5400214"/>
                  <a:pt x="545688" y="5401342"/>
                  <a:pt x="538393" y="5407603"/>
                </a:cubicBezTo>
                <a:cubicBezTo>
                  <a:pt x="535198" y="5410177"/>
                  <a:pt x="529155" y="5416712"/>
                  <a:pt x="525924" y="5415016"/>
                </a:cubicBezTo>
                <a:cubicBezTo>
                  <a:pt x="516474" y="5410307"/>
                  <a:pt x="506576" y="5420910"/>
                  <a:pt x="497334" y="5412313"/>
                </a:cubicBezTo>
                <a:cubicBezTo>
                  <a:pt x="494623" y="5409747"/>
                  <a:pt x="488058" y="5411250"/>
                  <a:pt x="490349" y="5403885"/>
                </a:cubicBezTo>
                <a:cubicBezTo>
                  <a:pt x="491147" y="5401767"/>
                  <a:pt x="489306" y="5399721"/>
                  <a:pt x="487534" y="5400313"/>
                </a:cubicBezTo>
                <a:cubicBezTo>
                  <a:pt x="479961" y="5401922"/>
                  <a:pt x="478154" y="5398244"/>
                  <a:pt x="479055" y="5391228"/>
                </a:cubicBezTo>
                <a:cubicBezTo>
                  <a:pt x="479229" y="5388972"/>
                  <a:pt x="476484" y="5388038"/>
                  <a:pt x="474747" y="5386999"/>
                </a:cubicBezTo>
                <a:cubicBezTo>
                  <a:pt x="471759" y="5385684"/>
                  <a:pt x="469917" y="5383638"/>
                  <a:pt x="470994" y="5380269"/>
                </a:cubicBezTo>
                <a:cubicBezTo>
                  <a:pt x="472069" y="5376899"/>
                  <a:pt x="470228" y="5374854"/>
                  <a:pt x="469533" y="5372077"/>
                </a:cubicBezTo>
                <a:cubicBezTo>
                  <a:pt x="467794" y="5365135"/>
                  <a:pt x="465464" y="5356424"/>
                  <a:pt x="467964" y="5351073"/>
                </a:cubicBezTo>
                <a:cubicBezTo>
                  <a:pt x="473485" y="5339504"/>
                  <a:pt x="478380" y="5327796"/>
                  <a:pt x="484144" y="5316608"/>
                </a:cubicBezTo>
                <a:cubicBezTo>
                  <a:pt x="484908" y="5316121"/>
                  <a:pt x="486436" y="5315146"/>
                  <a:pt x="487305" y="5315667"/>
                </a:cubicBezTo>
                <a:cubicBezTo>
                  <a:pt x="493315" y="5316664"/>
                  <a:pt x="498700" y="5317524"/>
                  <a:pt x="500504" y="5309398"/>
                </a:cubicBezTo>
                <a:cubicBezTo>
                  <a:pt x="500816" y="5306516"/>
                  <a:pt x="503179" y="5307692"/>
                  <a:pt x="504533" y="5308975"/>
                </a:cubicBezTo>
                <a:cubicBezTo>
                  <a:pt x="509815" y="5314731"/>
                  <a:pt x="512872" y="5312783"/>
                  <a:pt x="515024" y="5306044"/>
                </a:cubicBezTo>
                <a:cubicBezTo>
                  <a:pt x="516378" y="5301424"/>
                  <a:pt x="518393" y="5301213"/>
                  <a:pt x="520826" y="5305029"/>
                </a:cubicBezTo>
                <a:close/>
                <a:moveTo>
                  <a:pt x="329966" y="5296981"/>
                </a:moveTo>
                <a:cubicBezTo>
                  <a:pt x="331111" y="5297019"/>
                  <a:pt x="332411" y="5297555"/>
                  <a:pt x="333500" y="5297273"/>
                </a:cubicBezTo>
                <a:cubicBezTo>
                  <a:pt x="340882" y="5295438"/>
                  <a:pt x="343007" y="5303917"/>
                  <a:pt x="349364" y="5304192"/>
                </a:cubicBezTo>
                <a:cubicBezTo>
                  <a:pt x="351561" y="5304240"/>
                  <a:pt x="352841" y="5309451"/>
                  <a:pt x="353774" y="5311740"/>
                </a:cubicBezTo>
                <a:cubicBezTo>
                  <a:pt x="355793" y="5317169"/>
                  <a:pt x="362167" y="5321474"/>
                  <a:pt x="358632" y="5328677"/>
                </a:cubicBezTo>
                <a:cubicBezTo>
                  <a:pt x="358064" y="5329918"/>
                  <a:pt x="357648" y="5332009"/>
                  <a:pt x="358691" y="5333928"/>
                </a:cubicBezTo>
                <a:cubicBezTo>
                  <a:pt x="360365" y="5336438"/>
                  <a:pt x="359709" y="5338658"/>
                  <a:pt x="357335" y="5340570"/>
                </a:cubicBezTo>
                <a:cubicBezTo>
                  <a:pt x="355918" y="5341961"/>
                  <a:pt x="355612" y="5343681"/>
                  <a:pt x="355065" y="5345532"/>
                </a:cubicBezTo>
                <a:cubicBezTo>
                  <a:pt x="353884" y="5350213"/>
                  <a:pt x="351311" y="5353476"/>
                  <a:pt x="346346" y="5354619"/>
                </a:cubicBezTo>
                <a:cubicBezTo>
                  <a:pt x="343560" y="5355202"/>
                  <a:pt x="341315" y="5357353"/>
                  <a:pt x="341181" y="5360533"/>
                </a:cubicBezTo>
                <a:cubicBezTo>
                  <a:pt x="340222" y="5361055"/>
                  <a:pt x="339264" y="5361576"/>
                  <a:pt x="338305" y="5362096"/>
                </a:cubicBezTo>
                <a:cubicBezTo>
                  <a:pt x="335933" y="5360588"/>
                  <a:pt x="333975" y="5360409"/>
                  <a:pt x="330991" y="5362341"/>
                </a:cubicBezTo>
                <a:cubicBezTo>
                  <a:pt x="326807" y="5364925"/>
                  <a:pt x="322410" y="5364828"/>
                  <a:pt x="318844" y="5360551"/>
                </a:cubicBezTo>
                <a:cubicBezTo>
                  <a:pt x="317431" y="5358522"/>
                  <a:pt x="316014" y="5359912"/>
                  <a:pt x="314577" y="5360695"/>
                </a:cubicBezTo>
                <a:cubicBezTo>
                  <a:pt x="312181" y="5361996"/>
                  <a:pt x="311181" y="5361297"/>
                  <a:pt x="311814" y="5358466"/>
                </a:cubicBezTo>
                <a:cubicBezTo>
                  <a:pt x="312646" y="5354285"/>
                  <a:pt x="311604" y="5352366"/>
                  <a:pt x="307139" y="5353860"/>
                </a:cubicBezTo>
                <a:cubicBezTo>
                  <a:pt x="306050" y="5354139"/>
                  <a:pt x="304461" y="5354071"/>
                  <a:pt x="305137" y="5352460"/>
                </a:cubicBezTo>
                <a:cubicBezTo>
                  <a:pt x="306558" y="5347648"/>
                  <a:pt x="303468" y="5346531"/>
                  <a:pt x="300008" y="5345304"/>
                </a:cubicBezTo>
                <a:cubicBezTo>
                  <a:pt x="299398" y="5345324"/>
                  <a:pt x="298877" y="5344364"/>
                  <a:pt x="298616" y="5343885"/>
                </a:cubicBezTo>
                <a:cubicBezTo>
                  <a:pt x="298843" y="5336304"/>
                  <a:pt x="299678" y="5328702"/>
                  <a:pt x="300143" y="5320991"/>
                </a:cubicBezTo>
                <a:cubicBezTo>
                  <a:pt x="300387" y="5317441"/>
                  <a:pt x="304157" y="5313528"/>
                  <a:pt x="307100" y="5310375"/>
                </a:cubicBezTo>
                <a:cubicBezTo>
                  <a:pt x="308277" y="5309114"/>
                  <a:pt x="309845" y="5308572"/>
                  <a:pt x="310261" y="5306482"/>
                </a:cubicBezTo>
                <a:cubicBezTo>
                  <a:pt x="310676" y="5304392"/>
                  <a:pt x="312245" y="5303850"/>
                  <a:pt x="314204" y="5304029"/>
                </a:cubicBezTo>
                <a:cubicBezTo>
                  <a:pt x="315423" y="5303988"/>
                  <a:pt x="317143" y="5304297"/>
                  <a:pt x="317710" y="5303056"/>
                </a:cubicBezTo>
                <a:cubicBezTo>
                  <a:pt x="319282" y="5299094"/>
                  <a:pt x="321309" y="5297683"/>
                  <a:pt x="324832" y="5300740"/>
                </a:cubicBezTo>
                <a:cubicBezTo>
                  <a:pt x="325593" y="5301570"/>
                  <a:pt x="327160" y="5301029"/>
                  <a:pt x="327358" y="5299679"/>
                </a:cubicBezTo>
                <a:cubicBezTo>
                  <a:pt x="327829" y="5297403"/>
                  <a:pt x="328820" y="5296943"/>
                  <a:pt x="329966" y="5296981"/>
                </a:cubicBezTo>
                <a:close/>
                <a:moveTo>
                  <a:pt x="1544355" y="5296633"/>
                </a:moveTo>
                <a:lnTo>
                  <a:pt x="1542201" y="5300767"/>
                </a:lnTo>
                <a:lnTo>
                  <a:pt x="1552876" y="5311349"/>
                </a:lnTo>
                <a:close/>
                <a:moveTo>
                  <a:pt x="11965802" y="5295377"/>
                </a:moveTo>
                <a:lnTo>
                  <a:pt x="11965775" y="5295870"/>
                </a:lnTo>
                <a:lnTo>
                  <a:pt x="11965376" y="5295747"/>
                </a:lnTo>
                <a:close/>
                <a:moveTo>
                  <a:pt x="11856017" y="5260615"/>
                </a:moveTo>
                <a:cubicBezTo>
                  <a:pt x="11863752" y="5259714"/>
                  <a:pt x="11871509" y="5260060"/>
                  <a:pt x="11878115" y="5266662"/>
                </a:cubicBezTo>
                <a:cubicBezTo>
                  <a:pt x="11879386" y="5267884"/>
                  <a:pt x="11882876" y="5267316"/>
                  <a:pt x="11883929" y="5270537"/>
                </a:cubicBezTo>
                <a:cubicBezTo>
                  <a:pt x="11886568" y="5279212"/>
                  <a:pt x="11893808" y="5278570"/>
                  <a:pt x="11899540" y="5277460"/>
                </a:cubicBezTo>
                <a:cubicBezTo>
                  <a:pt x="11903527" y="5276633"/>
                  <a:pt x="11906284" y="5277077"/>
                  <a:pt x="11909299" y="5278015"/>
                </a:cubicBezTo>
                <a:cubicBezTo>
                  <a:pt x="11918087" y="5280335"/>
                  <a:pt x="11921462" y="5287998"/>
                  <a:pt x="11926561" y="5294131"/>
                </a:cubicBezTo>
                <a:cubicBezTo>
                  <a:pt x="11930906" y="5300030"/>
                  <a:pt x="11930511" y="5306521"/>
                  <a:pt x="11930870" y="5313247"/>
                </a:cubicBezTo>
                <a:cubicBezTo>
                  <a:pt x="11931486" y="5320465"/>
                  <a:pt x="11930099" y="5327475"/>
                  <a:pt x="11922662" y="5331361"/>
                </a:cubicBezTo>
                <a:cubicBezTo>
                  <a:pt x="11921670" y="5331880"/>
                  <a:pt x="11921432" y="5332633"/>
                  <a:pt x="11922206" y="5334114"/>
                </a:cubicBezTo>
                <a:cubicBezTo>
                  <a:pt x="11918735" y="5335928"/>
                  <a:pt x="11915761" y="5337483"/>
                  <a:pt x="11912290" y="5339297"/>
                </a:cubicBezTo>
                <a:cubicBezTo>
                  <a:pt x="11908004" y="5337138"/>
                  <a:pt x="11903305" y="5340222"/>
                  <a:pt x="11898543" y="5339568"/>
                </a:cubicBezTo>
                <a:cubicBezTo>
                  <a:pt x="11893782" y="5338913"/>
                  <a:pt x="11889775" y="5338495"/>
                  <a:pt x="11886463" y="5334570"/>
                </a:cubicBezTo>
                <a:cubicBezTo>
                  <a:pt x="11883386" y="5329893"/>
                  <a:pt x="11878585" y="5326747"/>
                  <a:pt x="11874042" y="5324093"/>
                </a:cubicBezTo>
                <a:cubicBezTo>
                  <a:pt x="11869242" y="5320947"/>
                  <a:pt x="11864937" y="5317541"/>
                  <a:pt x="11860394" y="5314887"/>
                </a:cubicBezTo>
                <a:cubicBezTo>
                  <a:pt x="11856088" y="5311481"/>
                  <a:pt x="11850057" y="5309605"/>
                  <a:pt x="11843809" y="5309729"/>
                </a:cubicBezTo>
                <a:cubicBezTo>
                  <a:pt x="11840714" y="5303805"/>
                  <a:pt x="11837617" y="5297883"/>
                  <a:pt x="11834523" y="5291959"/>
                </a:cubicBezTo>
                <a:cubicBezTo>
                  <a:pt x="11836723" y="5288923"/>
                  <a:pt x="11837178" y="5286172"/>
                  <a:pt x="11836860" y="5281939"/>
                </a:cubicBezTo>
                <a:cubicBezTo>
                  <a:pt x="11836780" y="5276953"/>
                  <a:pt x="11839695" y="5271660"/>
                  <a:pt x="11844157" y="5269328"/>
                </a:cubicBezTo>
                <a:cubicBezTo>
                  <a:pt x="11848619" y="5266996"/>
                  <a:pt x="11852070" y="5263935"/>
                  <a:pt x="11856017" y="5260615"/>
                </a:cubicBezTo>
                <a:close/>
                <a:moveTo>
                  <a:pt x="11408705" y="5226425"/>
                </a:moveTo>
                <a:lnTo>
                  <a:pt x="11322103" y="5317014"/>
                </a:lnTo>
                <a:cubicBezTo>
                  <a:pt x="11258130" y="5376472"/>
                  <a:pt x="11188249" y="5428805"/>
                  <a:pt x="11116824" y="5479141"/>
                </a:cubicBezTo>
                <a:lnTo>
                  <a:pt x="11043288" y="5530086"/>
                </a:lnTo>
                <a:lnTo>
                  <a:pt x="11033710" y="5538790"/>
                </a:lnTo>
                <a:lnTo>
                  <a:pt x="10909239" y="5634797"/>
                </a:lnTo>
                <a:lnTo>
                  <a:pt x="10909089" y="5647853"/>
                </a:lnTo>
                <a:cubicBezTo>
                  <a:pt x="10903456" y="5657442"/>
                  <a:pt x="10898352" y="5667197"/>
                  <a:pt x="10892537" y="5676439"/>
                </a:cubicBezTo>
                <a:cubicBezTo>
                  <a:pt x="10891840" y="5676803"/>
                  <a:pt x="10890446" y="5677531"/>
                  <a:pt x="10889735" y="5677018"/>
                </a:cubicBezTo>
                <a:cubicBezTo>
                  <a:pt x="10884614" y="5675707"/>
                  <a:pt x="10880023" y="5674562"/>
                  <a:pt x="10877858" y="5681452"/>
                </a:cubicBezTo>
                <a:cubicBezTo>
                  <a:pt x="10877374" y="5683921"/>
                  <a:pt x="10875419" y="5682728"/>
                  <a:pt x="10874344" y="5681517"/>
                </a:cubicBezTo>
                <a:cubicBezTo>
                  <a:pt x="10870207" y="5676149"/>
                  <a:pt x="10867419" y="5677606"/>
                  <a:pt x="10865057" y="5683270"/>
                </a:cubicBezTo>
                <a:cubicBezTo>
                  <a:pt x="10863544" y="5687162"/>
                  <a:pt x="10861787" y="5687195"/>
                  <a:pt x="10859967" y="5683716"/>
                </a:cubicBezTo>
                <a:cubicBezTo>
                  <a:pt x="10858876" y="5681628"/>
                  <a:pt x="10858300" y="5678828"/>
                  <a:pt x="10854983" y="5680119"/>
                </a:cubicBezTo>
                <a:lnTo>
                  <a:pt x="10846009" y="5679619"/>
                </a:lnTo>
                <a:lnTo>
                  <a:pt x="10716076" y="5764239"/>
                </a:lnTo>
                <a:cubicBezTo>
                  <a:pt x="10605068" y="5830429"/>
                  <a:pt x="10489342" y="5887573"/>
                  <a:pt x="10370122" y="5935415"/>
                </a:cubicBezTo>
                <a:cubicBezTo>
                  <a:pt x="10375432" y="5928970"/>
                  <a:pt x="10381310" y="5928403"/>
                  <a:pt x="10378087" y="5925747"/>
                </a:cubicBezTo>
                <a:cubicBezTo>
                  <a:pt x="10340168" y="5932374"/>
                  <a:pt x="10338078" y="5941474"/>
                  <a:pt x="10309825" y="5956065"/>
                </a:cubicBezTo>
                <a:cubicBezTo>
                  <a:pt x="10284227" y="5967433"/>
                  <a:pt x="10252751" y="5979371"/>
                  <a:pt x="10223931" y="5988084"/>
                </a:cubicBezTo>
                <a:cubicBezTo>
                  <a:pt x="10214830" y="5985996"/>
                  <a:pt x="10177478" y="5998499"/>
                  <a:pt x="10172167" y="6004945"/>
                </a:cubicBezTo>
                <a:cubicBezTo>
                  <a:pt x="10168946" y="6002289"/>
                  <a:pt x="10168946" y="6002289"/>
                  <a:pt x="10168946" y="6002289"/>
                </a:cubicBezTo>
                <a:cubicBezTo>
                  <a:pt x="10166290" y="6005512"/>
                  <a:pt x="10166290" y="6005512"/>
                  <a:pt x="10166290" y="6005512"/>
                </a:cubicBezTo>
                <a:cubicBezTo>
                  <a:pt x="10163068" y="6002857"/>
                  <a:pt x="10163068" y="6002857"/>
                  <a:pt x="10160412" y="6006079"/>
                </a:cubicBezTo>
                <a:cubicBezTo>
                  <a:pt x="10157757" y="6009302"/>
                  <a:pt x="10157757" y="6009302"/>
                  <a:pt x="10151879" y="6009868"/>
                </a:cubicBezTo>
                <a:cubicBezTo>
                  <a:pt x="10146001" y="6010435"/>
                  <a:pt x="10131591" y="6014792"/>
                  <a:pt x="10128937" y="6018016"/>
                </a:cubicBezTo>
                <a:cubicBezTo>
                  <a:pt x="10102771" y="6023507"/>
                  <a:pt x="10076605" y="6028998"/>
                  <a:pt x="10051007" y="6040367"/>
                </a:cubicBezTo>
                <a:cubicBezTo>
                  <a:pt x="10039252" y="6041502"/>
                  <a:pt x="10027497" y="6042636"/>
                  <a:pt x="10018964" y="6046426"/>
                </a:cubicBezTo>
                <a:cubicBezTo>
                  <a:pt x="9992799" y="6051918"/>
                  <a:pt x="9966633" y="6057409"/>
                  <a:pt x="9946346" y="6062333"/>
                </a:cubicBezTo>
                <a:cubicBezTo>
                  <a:pt x="9946346" y="6062333"/>
                  <a:pt x="9949001" y="6059110"/>
                  <a:pt x="9949001" y="6059110"/>
                </a:cubicBezTo>
                <a:cubicBezTo>
                  <a:pt x="9943123" y="6059677"/>
                  <a:pt x="9937246" y="6060246"/>
                  <a:pt x="9934591" y="6063467"/>
                </a:cubicBezTo>
                <a:cubicBezTo>
                  <a:pt x="9701094" y="6110473"/>
                  <a:pt x="9459289" y="6123243"/>
                  <a:pt x="9219091" y="6100821"/>
                </a:cubicBezTo>
                <a:lnTo>
                  <a:pt x="9065454" y="6078870"/>
                </a:lnTo>
                <a:lnTo>
                  <a:pt x="9067656" y="6081402"/>
                </a:lnTo>
                <a:lnTo>
                  <a:pt x="9217986" y="6106675"/>
                </a:lnTo>
                <a:cubicBezTo>
                  <a:pt x="9298963" y="6115915"/>
                  <a:pt x="9381057" y="6121340"/>
                  <a:pt x="9462867" y="6123826"/>
                </a:cubicBezTo>
                <a:cubicBezTo>
                  <a:pt x="9456989" y="6124392"/>
                  <a:pt x="9456989" y="6124392"/>
                  <a:pt x="9454334" y="6127616"/>
                </a:cubicBezTo>
                <a:cubicBezTo>
                  <a:pt x="9469309" y="6129137"/>
                  <a:pt x="9501920" y="6128954"/>
                  <a:pt x="9528654" y="6129341"/>
                </a:cubicBezTo>
                <a:cubicBezTo>
                  <a:pt x="9546285" y="6127639"/>
                  <a:pt x="9561264" y="6129159"/>
                  <a:pt x="9569796" y="6125371"/>
                </a:cubicBezTo>
                <a:cubicBezTo>
                  <a:pt x="9610938" y="6121399"/>
                  <a:pt x="9655304" y="6120083"/>
                  <a:pt x="9696447" y="6116114"/>
                </a:cubicBezTo>
                <a:cubicBezTo>
                  <a:pt x="9711426" y="6117633"/>
                  <a:pt x="9729058" y="6115932"/>
                  <a:pt x="9743467" y="6111574"/>
                </a:cubicBezTo>
                <a:cubicBezTo>
                  <a:pt x="9881874" y="6101182"/>
                  <a:pt x="10018578" y="6073159"/>
                  <a:pt x="10157371" y="6036034"/>
                </a:cubicBezTo>
                <a:cubicBezTo>
                  <a:pt x="10117362" y="6051761"/>
                  <a:pt x="10077354" y="6067485"/>
                  <a:pt x="10045879" y="6079422"/>
                </a:cubicBezTo>
                <a:cubicBezTo>
                  <a:pt x="10039433" y="6074112"/>
                  <a:pt x="10022369" y="6081691"/>
                  <a:pt x="10019145" y="6079036"/>
                </a:cubicBezTo>
                <a:lnTo>
                  <a:pt x="9983981" y="6088801"/>
                </a:lnTo>
                <a:lnTo>
                  <a:pt x="9994550" y="6093686"/>
                </a:lnTo>
                <a:cubicBezTo>
                  <a:pt x="10000126" y="6095295"/>
                  <a:pt x="10004633" y="6100606"/>
                  <a:pt x="10005687" y="6106256"/>
                </a:cubicBezTo>
                <a:lnTo>
                  <a:pt x="10005906" y="6106734"/>
                </a:lnTo>
                <a:lnTo>
                  <a:pt x="10029090" y="6099488"/>
                </a:lnTo>
                <a:cubicBezTo>
                  <a:pt x="10037151" y="6096578"/>
                  <a:pt x="10043551" y="6093736"/>
                  <a:pt x="10047012" y="6091177"/>
                </a:cubicBezTo>
                <a:cubicBezTo>
                  <a:pt x="10058768" y="6090043"/>
                  <a:pt x="10067868" y="6092131"/>
                  <a:pt x="10073745" y="6091563"/>
                </a:cubicBezTo>
                <a:cubicBezTo>
                  <a:pt x="10102566" y="6082850"/>
                  <a:pt x="10122286" y="6072049"/>
                  <a:pt x="10147884" y="6060680"/>
                </a:cubicBezTo>
                <a:cubicBezTo>
                  <a:pt x="10168172" y="6055756"/>
                  <a:pt x="10206093" y="6049128"/>
                  <a:pt x="10229035" y="6040983"/>
                </a:cubicBezTo>
                <a:cubicBezTo>
                  <a:pt x="10237569" y="6037194"/>
                  <a:pt x="10237000" y="6031316"/>
                  <a:pt x="10245534" y="6027527"/>
                </a:cubicBezTo>
                <a:cubicBezTo>
                  <a:pt x="10254066" y="6023735"/>
                  <a:pt x="10274921" y="6024690"/>
                  <a:pt x="10283454" y="6020900"/>
                </a:cubicBezTo>
                <a:cubicBezTo>
                  <a:pt x="10312276" y="6012186"/>
                  <a:pt x="10320242" y="6002519"/>
                  <a:pt x="10326686" y="6007829"/>
                </a:cubicBezTo>
                <a:cubicBezTo>
                  <a:pt x="10340529" y="5997594"/>
                  <a:pt x="10366127" y="5986225"/>
                  <a:pt x="10364993" y="5974470"/>
                </a:cubicBezTo>
                <a:cubicBezTo>
                  <a:pt x="10351148" y="5984706"/>
                  <a:pt x="10350582" y="5978828"/>
                  <a:pt x="10347361" y="5976172"/>
                </a:cubicBezTo>
                <a:cubicBezTo>
                  <a:pt x="10748578" y="5830668"/>
                  <a:pt x="11116076" y="5581638"/>
                  <a:pt x="11408147" y="5227171"/>
                </a:cubicBezTo>
                <a:close/>
                <a:moveTo>
                  <a:pt x="588988" y="5197260"/>
                </a:moveTo>
                <a:lnTo>
                  <a:pt x="589116" y="5197732"/>
                </a:lnTo>
                <a:lnTo>
                  <a:pt x="588770" y="5197629"/>
                </a:lnTo>
                <a:close/>
                <a:moveTo>
                  <a:pt x="1423244" y="5165408"/>
                </a:moveTo>
                <a:cubicBezTo>
                  <a:pt x="1427633" y="5166584"/>
                  <a:pt x="1427633" y="5166584"/>
                  <a:pt x="1427633" y="5166584"/>
                </a:cubicBezTo>
                <a:cubicBezTo>
                  <a:pt x="1427633" y="5166584"/>
                  <a:pt x="1426456" y="5170973"/>
                  <a:pt x="1426456" y="5170973"/>
                </a:cubicBezTo>
                <a:cubicBezTo>
                  <a:pt x="1426456" y="5170973"/>
                  <a:pt x="1422067" y="5169798"/>
                  <a:pt x="1423244" y="5165408"/>
                </a:cubicBezTo>
                <a:close/>
                <a:moveTo>
                  <a:pt x="593017" y="5149910"/>
                </a:moveTo>
                <a:lnTo>
                  <a:pt x="592522" y="5151063"/>
                </a:lnTo>
                <a:cubicBezTo>
                  <a:pt x="592853" y="5152540"/>
                  <a:pt x="593032" y="5155048"/>
                  <a:pt x="590724" y="5155592"/>
                </a:cubicBezTo>
                <a:lnTo>
                  <a:pt x="581761" y="5163940"/>
                </a:lnTo>
                <a:lnTo>
                  <a:pt x="617289" y="5218250"/>
                </a:lnTo>
                <a:cubicBezTo>
                  <a:pt x="629787" y="5240013"/>
                  <a:pt x="640977" y="5261110"/>
                  <a:pt x="650463" y="5276942"/>
                </a:cubicBezTo>
                <a:cubicBezTo>
                  <a:pt x="651315" y="5279574"/>
                  <a:pt x="652611" y="5281334"/>
                  <a:pt x="653918" y="5282002"/>
                </a:cubicBezTo>
                <a:lnTo>
                  <a:pt x="656744" y="5280796"/>
                </a:lnTo>
                <a:lnTo>
                  <a:pt x="656337" y="5279758"/>
                </a:lnTo>
                <a:lnTo>
                  <a:pt x="654170" y="5278286"/>
                </a:lnTo>
                <a:cubicBezTo>
                  <a:pt x="653521" y="5277406"/>
                  <a:pt x="653095" y="5276089"/>
                  <a:pt x="652242" y="5273457"/>
                </a:cubicBezTo>
                <a:cubicBezTo>
                  <a:pt x="648759" y="5271677"/>
                  <a:pt x="647055" y="5266413"/>
                  <a:pt x="648835" y="5262928"/>
                </a:cubicBezTo>
                <a:cubicBezTo>
                  <a:pt x="648835" y="5262928"/>
                  <a:pt x="652318" y="5264707"/>
                  <a:pt x="654024" y="5269973"/>
                </a:cubicBezTo>
                <a:lnTo>
                  <a:pt x="654934" y="5270438"/>
                </a:lnTo>
                <a:lnTo>
                  <a:pt x="654128" y="5266514"/>
                </a:lnTo>
                <a:lnTo>
                  <a:pt x="653939" y="5264688"/>
                </a:lnTo>
                <a:lnTo>
                  <a:pt x="623103" y="5203643"/>
                </a:lnTo>
                <a:close/>
                <a:moveTo>
                  <a:pt x="1426782" y="5143426"/>
                </a:moveTo>
                <a:cubicBezTo>
                  <a:pt x="1426928" y="5142877"/>
                  <a:pt x="1429123" y="5143466"/>
                  <a:pt x="1433513" y="5144641"/>
                </a:cubicBezTo>
                <a:cubicBezTo>
                  <a:pt x="1436724" y="5150207"/>
                  <a:pt x="1436724" y="5150207"/>
                  <a:pt x="1436724" y="5150207"/>
                </a:cubicBezTo>
                <a:cubicBezTo>
                  <a:pt x="1432337" y="5149029"/>
                  <a:pt x="1432337" y="5149029"/>
                  <a:pt x="1432337" y="5149029"/>
                </a:cubicBezTo>
                <a:cubicBezTo>
                  <a:pt x="1428535" y="5145660"/>
                  <a:pt x="1426634" y="5143974"/>
                  <a:pt x="1426782" y="5143426"/>
                </a:cubicBezTo>
                <a:close/>
                <a:moveTo>
                  <a:pt x="12026666" y="5107079"/>
                </a:moveTo>
                <a:cubicBezTo>
                  <a:pt x="12027619" y="5106310"/>
                  <a:pt x="12028702" y="5106827"/>
                  <a:pt x="12029572" y="5107455"/>
                </a:cubicBezTo>
                <a:cubicBezTo>
                  <a:pt x="12034136" y="5110486"/>
                  <a:pt x="12039743" y="5111887"/>
                  <a:pt x="12044824" y="5113833"/>
                </a:cubicBezTo>
                <a:cubicBezTo>
                  <a:pt x="12052608" y="5116805"/>
                  <a:pt x="12058597" y="5121526"/>
                  <a:pt x="12060571" y="5129970"/>
                </a:cubicBezTo>
                <a:cubicBezTo>
                  <a:pt x="12061490" y="5133281"/>
                  <a:pt x="12064191" y="5134305"/>
                  <a:pt x="12066783" y="5135117"/>
                </a:cubicBezTo>
                <a:cubicBezTo>
                  <a:pt x="12072724" y="5137156"/>
                  <a:pt x="12073622" y="5139394"/>
                  <a:pt x="12071034" y="5144807"/>
                </a:cubicBezTo>
                <a:cubicBezTo>
                  <a:pt x="12068021" y="5150443"/>
                  <a:pt x="12068021" y="5150443"/>
                  <a:pt x="12074295" y="5153120"/>
                </a:cubicBezTo>
                <a:cubicBezTo>
                  <a:pt x="12075702" y="5153739"/>
                  <a:pt x="12076786" y="5154255"/>
                  <a:pt x="12076175" y="5156199"/>
                </a:cubicBezTo>
                <a:cubicBezTo>
                  <a:pt x="12074476" y="5163314"/>
                  <a:pt x="12073203" y="5170207"/>
                  <a:pt x="12071180" y="5177220"/>
                </a:cubicBezTo>
                <a:cubicBezTo>
                  <a:pt x="12069878" y="5182503"/>
                  <a:pt x="12067059" y="5186954"/>
                  <a:pt x="12062934" y="5190465"/>
                </a:cubicBezTo>
                <a:cubicBezTo>
                  <a:pt x="12060399" y="5192872"/>
                  <a:pt x="12058656" y="5203530"/>
                  <a:pt x="12060111" y="5206831"/>
                </a:cubicBezTo>
                <a:cubicBezTo>
                  <a:pt x="12060666" y="5207894"/>
                  <a:pt x="12061110" y="5208744"/>
                  <a:pt x="12062610" y="5208503"/>
                </a:cubicBezTo>
                <a:cubicBezTo>
                  <a:pt x="12070761" y="5208033"/>
                  <a:pt x="12076954" y="5212106"/>
                  <a:pt x="12082943" y="5216828"/>
                </a:cubicBezTo>
                <a:cubicBezTo>
                  <a:pt x="12084247" y="5217770"/>
                  <a:pt x="12085228" y="5218611"/>
                  <a:pt x="12086423" y="5219341"/>
                </a:cubicBezTo>
                <a:cubicBezTo>
                  <a:pt x="12090329" y="5221631"/>
                  <a:pt x="12092948" y="5224052"/>
                  <a:pt x="12093681" y="5229084"/>
                </a:cubicBezTo>
                <a:cubicBezTo>
                  <a:pt x="12094416" y="5234115"/>
                  <a:pt x="12098978" y="5237145"/>
                  <a:pt x="12103107" y="5239861"/>
                </a:cubicBezTo>
                <a:cubicBezTo>
                  <a:pt x="12104957" y="5241330"/>
                  <a:pt x="12106050" y="5242384"/>
                  <a:pt x="12105561" y="5245076"/>
                </a:cubicBezTo>
                <a:cubicBezTo>
                  <a:pt x="12103828" y="5256270"/>
                  <a:pt x="12104027" y="5267537"/>
                  <a:pt x="12108621" y="5278401"/>
                </a:cubicBezTo>
                <a:cubicBezTo>
                  <a:pt x="12109187" y="5280001"/>
                  <a:pt x="12109095" y="5280862"/>
                  <a:pt x="12107384" y="5281215"/>
                </a:cubicBezTo>
                <a:cubicBezTo>
                  <a:pt x="12100760" y="5283053"/>
                  <a:pt x="12098596" y="5288243"/>
                  <a:pt x="12097628" y="5294165"/>
                </a:cubicBezTo>
                <a:cubicBezTo>
                  <a:pt x="12097139" y="5296858"/>
                  <a:pt x="12096418" y="5298587"/>
                  <a:pt x="12092985" y="5298757"/>
                </a:cubicBezTo>
                <a:cubicBezTo>
                  <a:pt x="12088582" y="5298622"/>
                  <a:pt x="12086279" y="5301992"/>
                  <a:pt x="12084736" y="5305776"/>
                </a:cubicBezTo>
                <a:cubicBezTo>
                  <a:pt x="12083396" y="5308913"/>
                  <a:pt x="12082277" y="5312475"/>
                  <a:pt x="12080938" y="5315613"/>
                </a:cubicBezTo>
                <a:cubicBezTo>
                  <a:pt x="12080211" y="5317076"/>
                  <a:pt x="12079344" y="5318137"/>
                  <a:pt x="12078344" y="5318424"/>
                </a:cubicBezTo>
                <a:cubicBezTo>
                  <a:pt x="12077341" y="5318710"/>
                  <a:pt x="12076205" y="5318221"/>
                  <a:pt x="12074943" y="5316580"/>
                </a:cubicBezTo>
                <a:cubicBezTo>
                  <a:pt x="12074497" y="5315730"/>
                  <a:pt x="12073840" y="5314990"/>
                  <a:pt x="12072970" y="5314362"/>
                </a:cubicBezTo>
                <a:cubicBezTo>
                  <a:pt x="12071988" y="5313521"/>
                  <a:pt x="12071100" y="5311820"/>
                  <a:pt x="12069500" y="5312386"/>
                </a:cubicBezTo>
                <a:cubicBezTo>
                  <a:pt x="12068222" y="5313053"/>
                  <a:pt x="12067927" y="5314560"/>
                  <a:pt x="12067733" y="5315745"/>
                </a:cubicBezTo>
                <a:cubicBezTo>
                  <a:pt x="12066431" y="5321028"/>
                  <a:pt x="12065043" y="5321482"/>
                  <a:pt x="12060795" y="5318018"/>
                </a:cubicBezTo>
                <a:cubicBezTo>
                  <a:pt x="12059813" y="5317177"/>
                  <a:pt x="12059156" y="5316437"/>
                  <a:pt x="12058073" y="5315920"/>
                </a:cubicBezTo>
                <a:cubicBezTo>
                  <a:pt x="12056555" y="5315089"/>
                  <a:pt x="12055149" y="5314471"/>
                  <a:pt x="12053465" y="5316433"/>
                </a:cubicBezTo>
                <a:cubicBezTo>
                  <a:pt x="12052106" y="5318497"/>
                  <a:pt x="12052552" y="5319348"/>
                  <a:pt x="12053867" y="5320827"/>
                </a:cubicBezTo>
                <a:lnTo>
                  <a:pt x="12055906" y="5323855"/>
                </a:lnTo>
                <a:lnTo>
                  <a:pt x="12030632" y="5316009"/>
                </a:lnTo>
                <a:lnTo>
                  <a:pt x="12030879" y="5314160"/>
                </a:lnTo>
                <a:cubicBezTo>
                  <a:pt x="12030304" y="5312023"/>
                  <a:pt x="12028999" y="5311081"/>
                  <a:pt x="12026852" y="5311120"/>
                </a:cubicBezTo>
                <a:cubicBezTo>
                  <a:pt x="12025242" y="5311150"/>
                  <a:pt x="12023743" y="5311391"/>
                  <a:pt x="12022133" y="5311421"/>
                </a:cubicBezTo>
                <a:cubicBezTo>
                  <a:pt x="12019449" y="5311469"/>
                  <a:pt x="12017820" y="5310426"/>
                  <a:pt x="12016912" y="5307651"/>
                </a:cubicBezTo>
                <a:cubicBezTo>
                  <a:pt x="12014188" y="5299329"/>
                  <a:pt x="12008643" y="5295458"/>
                  <a:pt x="12000057" y="5295614"/>
                </a:cubicBezTo>
                <a:cubicBezTo>
                  <a:pt x="11998659" y="5295532"/>
                  <a:pt x="11996430" y="5296967"/>
                  <a:pt x="11995855" y="5294832"/>
                </a:cubicBezTo>
                <a:cubicBezTo>
                  <a:pt x="11995069" y="5292806"/>
                  <a:pt x="11996762" y="5291380"/>
                  <a:pt x="11998564" y="5290167"/>
                </a:cubicBezTo>
                <a:cubicBezTo>
                  <a:pt x="11998778" y="5290055"/>
                  <a:pt x="11998991" y="5289944"/>
                  <a:pt x="11999204" y="5289833"/>
                </a:cubicBezTo>
                <a:cubicBezTo>
                  <a:pt x="12003864" y="5286314"/>
                  <a:pt x="12004131" y="5283196"/>
                  <a:pt x="11999466" y="5280490"/>
                </a:cubicBezTo>
                <a:cubicBezTo>
                  <a:pt x="11995126" y="5277885"/>
                  <a:pt x="11994208" y="5274575"/>
                  <a:pt x="11994668" y="5270273"/>
                </a:cubicBezTo>
                <a:cubicBezTo>
                  <a:pt x="11995211" y="5264574"/>
                  <a:pt x="11995005" y="5258997"/>
                  <a:pt x="11990950" y="5254348"/>
                </a:cubicBezTo>
                <a:cubicBezTo>
                  <a:pt x="11989089" y="5252342"/>
                  <a:pt x="11990874" y="5250055"/>
                  <a:pt x="11992142" y="5248852"/>
                </a:cubicBezTo>
                <a:cubicBezTo>
                  <a:pt x="11996673" y="5244047"/>
                  <a:pt x="11997336" y="5239097"/>
                  <a:pt x="11995084" y="5233234"/>
                </a:cubicBezTo>
                <a:cubicBezTo>
                  <a:pt x="11993733" y="5229610"/>
                  <a:pt x="11994675" y="5228305"/>
                  <a:pt x="11999190" y="5228652"/>
                </a:cubicBezTo>
                <a:cubicBezTo>
                  <a:pt x="12008758" y="5229337"/>
                  <a:pt x="12017730" y="5220588"/>
                  <a:pt x="12017031" y="5211477"/>
                </a:cubicBezTo>
                <a:cubicBezTo>
                  <a:pt x="12016891" y="5209655"/>
                  <a:pt x="12016742" y="5207296"/>
                  <a:pt x="12014586" y="5206798"/>
                </a:cubicBezTo>
                <a:cubicBezTo>
                  <a:pt x="12012429" y="5206301"/>
                  <a:pt x="12009969" y="5206775"/>
                  <a:pt x="12008720" y="5209051"/>
                </a:cubicBezTo>
                <a:cubicBezTo>
                  <a:pt x="12007777" y="5210357"/>
                  <a:pt x="12007056" y="5212088"/>
                  <a:pt x="12006224" y="5213604"/>
                </a:cubicBezTo>
                <a:cubicBezTo>
                  <a:pt x="12005504" y="5215335"/>
                  <a:pt x="12004561" y="5216640"/>
                  <a:pt x="12002831" y="5215921"/>
                </a:cubicBezTo>
                <a:cubicBezTo>
                  <a:pt x="12000775" y="5215099"/>
                  <a:pt x="12000959" y="5213378"/>
                  <a:pt x="12001467" y="5211759"/>
                </a:cubicBezTo>
                <a:cubicBezTo>
                  <a:pt x="12001763" y="5210251"/>
                  <a:pt x="12002595" y="5208733"/>
                  <a:pt x="12003001" y="5207438"/>
                </a:cubicBezTo>
                <a:cubicBezTo>
                  <a:pt x="12003916" y="5204523"/>
                  <a:pt x="12003646" y="5201415"/>
                  <a:pt x="12000620" y="5200290"/>
                </a:cubicBezTo>
                <a:cubicBezTo>
                  <a:pt x="11998029" y="5199477"/>
                  <a:pt x="11996578" y="5202402"/>
                  <a:pt x="11995543" y="5204568"/>
                </a:cubicBezTo>
                <a:cubicBezTo>
                  <a:pt x="11994608" y="5206410"/>
                  <a:pt x="11994546" y="5208879"/>
                  <a:pt x="11992963" y="5210518"/>
                </a:cubicBezTo>
                <a:cubicBezTo>
                  <a:pt x="11990754" y="5213026"/>
                  <a:pt x="11988829" y="5213491"/>
                  <a:pt x="11987263" y="5209978"/>
                </a:cubicBezTo>
                <a:cubicBezTo>
                  <a:pt x="11985031" y="5205188"/>
                  <a:pt x="11984946" y="5200359"/>
                  <a:pt x="11985609" y="5195409"/>
                </a:cubicBezTo>
                <a:cubicBezTo>
                  <a:pt x="11986355" y="5189063"/>
                  <a:pt x="11985234" y="5186400"/>
                  <a:pt x="11979496" y="5183714"/>
                </a:cubicBezTo>
                <a:cubicBezTo>
                  <a:pt x="11977544" y="5182569"/>
                  <a:pt x="11975063" y="5181970"/>
                  <a:pt x="11972797" y="5181260"/>
                </a:cubicBezTo>
                <a:cubicBezTo>
                  <a:pt x="11971825" y="5180956"/>
                  <a:pt x="11970428" y="5180873"/>
                  <a:pt x="11970298" y="5179588"/>
                </a:cubicBezTo>
                <a:cubicBezTo>
                  <a:pt x="11970055" y="5178090"/>
                  <a:pt x="11971008" y="5177321"/>
                  <a:pt x="11971971" y="5177088"/>
                </a:cubicBezTo>
                <a:cubicBezTo>
                  <a:pt x="11976245" y="5175938"/>
                  <a:pt x="11976207" y="5173792"/>
                  <a:pt x="11974216" y="5170500"/>
                </a:cubicBezTo>
                <a:cubicBezTo>
                  <a:pt x="11971781" y="5166358"/>
                  <a:pt x="11972991" y="5161935"/>
                  <a:pt x="11974747" y="5158040"/>
                </a:cubicBezTo>
                <a:cubicBezTo>
                  <a:pt x="11976087" y="5154903"/>
                  <a:pt x="11975522" y="5153303"/>
                  <a:pt x="11972291" y="5152825"/>
                </a:cubicBezTo>
                <a:cubicBezTo>
                  <a:pt x="11970571" y="5152641"/>
                  <a:pt x="11969275" y="5152236"/>
                  <a:pt x="11968811" y="5150312"/>
                </a:cubicBezTo>
                <a:cubicBezTo>
                  <a:pt x="11968015" y="5147751"/>
                  <a:pt x="11969938" y="5147286"/>
                  <a:pt x="11971205" y="5146083"/>
                </a:cubicBezTo>
                <a:cubicBezTo>
                  <a:pt x="11971945" y="5145425"/>
                  <a:pt x="11973009" y="5144868"/>
                  <a:pt x="11973962" y="5144100"/>
                </a:cubicBezTo>
                <a:cubicBezTo>
                  <a:pt x="11979373" y="5140460"/>
                  <a:pt x="11978983" y="5136603"/>
                  <a:pt x="11973022" y="5133491"/>
                </a:cubicBezTo>
                <a:cubicBezTo>
                  <a:pt x="11972263" y="5133075"/>
                  <a:pt x="11971615" y="5132873"/>
                  <a:pt x="11971069" y="5132346"/>
                </a:cubicBezTo>
                <a:cubicBezTo>
                  <a:pt x="11969764" y="5131404"/>
                  <a:pt x="11968449" y="5129924"/>
                  <a:pt x="11969281" y="5128407"/>
                </a:cubicBezTo>
                <a:cubicBezTo>
                  <a:pt x="11969900" y="5127001"/>
                  <a:pt x="11971835" y="5127073"/>
                  <a:pt x="11973130" y="5127478"/>
                </a:cubicBezTo>
                <a:cubicBezTo>
                  <a:pt x="11974426" y="5127884"/>
                  <a:pt x="11975508" y="5128402"/>
                  <a:pt x="11976703" y="5129131"/>
                </a:cubicBezTo>
                <a:cubicBezTo>
                  <a:pt x="11978757" y="5129952"/>
                  <a:pt x="11980257" y="5129710"/>
                  <a:pt x="11981291" y="5127545"/>
                </a:cubicBezTo>
                <a:cubicBezTo>
                  <a:pt x="11983889" y="5122667"/>
                  <a:pt x="11988134" y="5119907"/>
                  <a:pt x="11992492" y="5117359"/>
                </a:cubicBezTo>
                <a:cubicBezTo>
                  <a:pt x="11997589" y="5114155"/>
                  <a:pt x="12003454" y="5111901"/>
                  <a:pt x="12008105" y="5107845"/>
                </a:cubicBezTo>
                <a:cubicBezTo>
                  <a:pt x="12009798" y="5106420"/>
                  <a:pt x="12011528" y="5107139"/>
                  <a:pt x="12012935" y="5107758"/>
                </a:cubicBezTo>
                <a:cubicBezTo>
                  <a:pt x="12017693" y="5109603"/>
                  <a:pt x="12022236" y="5111560"/>
                  <a:pt x="12026666" y="5107079"/>
                </a:cubicBezTo>
                <a:close/>
                <a:moveTo>
                  <a:pt x="790691" y="5082017"/>
                </a:moveTo>
                <a:cubicBezTo>
                  <a:pt x="793389" y="5081287"/>
                  <a:pt x="796170" y="5081019"/>
                  <a:pt x="799219" y="5082075"/>
                </a:cubicBezTo>
                <a:cubicBezTo>
                  <a:pt x="801368" y="5082716"/>
                  <a:pt x="803169" y="5083546"/>
                  <a:pt x="805191" y="5085612"/>
                </a:cubicBezTo>
                <a:cubicBezTo>
                  <a:pt x="808131" y="5088537"/>
                  <a:pt x="812145" y="5091782"/>
                  <a:pt x="817135" y="5087713"/>
                </a:cubicBezTo>
                <a:cubicBezTo>
                  <a:pt x="819032" y="5086231"/>
                  <a:pt x="820865" y="5087948"/>
                  <a:pt x="822096" y="5087730"/>
                </a:cubicBezTo>
                <a:cubicBezTo>
                  <a:pt x="828605" y="5086454"/>
                  <a:pt x="833313" y="5089322"/>
                  <a:pt x="837518" y="5092916"/>
                </a:cubicBezTo>
                <a:cubicBezTo>
                  <a:pt x="838530" y="5096435"/>
                  <a:pt x="839351" y="5099606"/>
                  <a:pt x="841059" y="5102748"/>
                </a:cubicBezTo>
                <a:cubicBezTo>
                  <a:pt x="842766" y="5105890"/>
                  <a:pt x="842388" y="5110164"/>
                  <a:pt x="840366" y="5113071"/>
                </a:cubicBezTo>
                <a:cubicBezTo>
                  <a:pt x="838503" y="5115440"/>
                  <a:pt x="837681" y="5117242"/>
                  <a:pt x="837777" y="5119904"/>
                </a:cubicBezTo>
                <a:cubicBezTo>
                  <a:pt x="833607" y="5122170"/>
                  <a:pt x="829436" y="5124436"/>
                  <a:pt x="825267" y="5126701"/>
                </a:cubicBezTo>
                <a:cubicBezTo>
                  <a:pt x="821632" y="5124155"/>
                  <a:pt x="817334" y="5122872"/>
                  <a:pt x="813447" y="5123176"/>
                </a:cubicBezTo>
                <a:cubicBezTo>
                  <a:pt x="809720" y="5122940"/>
                  <a:pt x="805833" y="5123243"/>
                  <a:pt x="801756" y="5123197"/>
                </a:cubicBezTo>
                <a:cubicBezTo>
                  <a:pt x="798029" y="5122963"/>
                  <a:pt x="793953" y="5122917"/>
                  <a:pt x="790288" y="5124455"/>
                </a:cubicBezTo>
                <a:cubicBezTo>
                  <a:pt x="786780" y="5125458"/>
                  <a:pt x="784252" y="5124117"/>
                  <a:pt x="781187" y="5122618"/>
                </a:cubicBezTo>
                <a:cubicBezTo>
                  <a:pt x="778121" y="5121119"/>
                  <a:pt x="776573" y="5117440"/>
                  <a:pt x="773191" y="5117015"/>
                </a:cubicBezTo>
                <a:cubicBezTo>
                  <a:pt x="771864" y="5114572"/>
                  <a:pt x="770725" y="5112477"/>
                  <a:pt x="769398" y="5110034"/>
                </a:cubicBezTo>
                <a:cubicBezTo>
                  <a:pt x="770441" y="5109467"/>
                  <a:pt x="770599" y="5108929"/>
                  <a:pt x="770219" y="5108231"/>
                </a:cubicBezTo>
                <a:cubicBezTo>
                  <a:pt x="767375" y="5102995"/>
                  <a:pt x="769332" y="5098314"/>
                  <a:pt x="772554" y="5094302"/>
                </a:cubicBezTo>
                <a:cubicBezTo>
                  <a:pt x="775428" y="5090480"/>
                  <a:pt x="777766" y="5086497"/>
                  <a:pt x="782662" y="5084740"/>
                </a:cubicBezTo>
                <a:cubicBezTo>
                  <a:pt x="785379" y="5083943"/>
                  <a:pt x="787994" y="5082748"/>
                  <a:pt x="790691" y="5082017"/>
                </a:cubicBezTo>
                <a:close/>
                <a:moveTo>
                  <a:pt x="568517" y="5041734"/>
                </a:moveTo>
                <a:lnTo>
                  <a:pt x="573346" y="5053137"/>
                </a:lnTo>
                <a:lnTo>
                  <a:pt x="574497" y="5050061"/>
                </a:lnTo>
                <a:close/>
                <a:moveTo>
                  <a:pt x="233828" y="5038094"/>
                </a:moveTo>
                <a:lnTo>
                  <a:pt x="233829" y="5038094"/>
                </a:lnTo>
                <a:cubicBezTo>
                  <a:pt x="237931" y="5038088"/>
                  <a:pt x="242734" y="5042109"/>
                  <a:pt x="246596" y="5045238"/>
                </a:cubicBezTo>
                <a:cubicBezTo>
                  <a:pt x="248140" y="5046491"/>
                  <a:pt x="248889" y="5048249"/>
                  <a:pt x="251325" y="5048559"/>
                </a:cubicBezTo>
                <a:cubicBezTo>
                  <a:pt x="253763" y="5048870"/>
                  <a:pt x="254511" y="5050629"/>
                  <a:pt x="254464" y="5052896"/>
                </a:cubicBezTo>
                <a:cubicBezTo>
                  <a:pt x="254609" y="5054295"/>
                  <a:pt x="254392" y="5056297"/>
                  <a:pt x="255864" y="5056850"/>
                </a:cubicBezTo>
                <a:cubicBezTo>
                  <a:pt x="260546" y="5058339"/>
                  <a:pt x="262332" y="5060554"/>
                  <a:pt x="259099" y="5064852"/>
                </a:cubicBezTo>
                <a:cubicBezTo>
                  <a:pt x="258207" y="5065793"/>
                  <a:pt x="258956" y="5067553"/>
                  <a:pt x="260524" y="5067672"/>
                </a:cubicBezTo>
                <a:cubicBezTo>
                  <a:pt x="265833" y="5068387"/>
                  <a:pt x="262962" y="5072081"/>
                  <a:pt x="263783" y="5074539"/>
                </a:cubicBezTo>
                <a:cubicBezTo>
                  <a:pt x="266488" y="5082880"/>
                  <a:pt x="256909" y="5086004"/>
                  <a:pt x="257104" y="5093336"/>
                </a:cubicBezTo>
                <a:cubicBezTo>
                  <a:pt x="257225" y="5095868"/>
                  <a:pt x="251338" y="5097758"/>
                  <a:pt x="248780" y="5099015"/>
                </a:cubicBezTo>
                <a:cubicBezTo>
                  <a:pt x="242700" y="5101772"/>
                  <a:pt x="238263" y="5109448"/>
                  <a:pt x="229696" y="5105963"/>
                </a:cubicBezTo>
                <a:cubicBezTo>
                  <a:pt x="228224" y="5105411"/>
                  <a:pt x="225787" y="5105101"/>
                  <a:pt x="223663" y="5106454"/>
                </a:cubicBezTo>
                <a:lnTo>
                  <a:pt x="223662" y="5106454"/>
                </a:lnTo>
                <a:cubicBezTo>
                  <a:pt x="220911" y="5108581"/>
                  <a:pt x="218305" y="5108006"/>
                  <a:pt x="215917" y="5105428"/>
                </a:cubicBezTo>
                <a:cubicBezTo>
                  <a:pt x="214203" y="5103911"/>
                  <a:pt x="212200" y="5103697"/>
                  <a:pt x="210028" y="5103217"/>
                </a:cubicBezTo>
                <a:cubicBezTo>
                  <a:pt x="204551" y="5102236"/>
                  <a:pt x="200593" y="5099540"/>
                  <a:pt x="198878" y="5093924"/>
                </a:cubicBezTo>
                <a:cubicBezTo>
                  <a:pt x="197984" y="5090766"/>
                  <a:pt x="195329" y="5088358"/>
                  <a:pt x="191662" y="5088460"/>
                </a:cubicBezTo>
                <a:cubicBezTo>
                  <a:pt x="190986" y="5087399"/>
                  <a:pt x="190311" y="5086340"/>
                  <a:pt x="189634" y="5085279"/>
                </a:cubicBezTo>
                <a:cubicBezTo>
                  <a:pt x="191178" y="5082431"/>
                  <a:pt x="191225" y="5080164"/>
                  <a:pt x="188764" y="5076889"/>
                </a:cubicBezTo>
                <a:cubicBezTo>
                  <a:pt x="185457" y="5072286"/>
                  <a:pt x="185214" y="5067222"/>
                  <a:pt x="189846" y="5062779"/>
                </a:cubicBezTo>
                <a:cubicBezTo>
                  <a:pt x="192066" y="5060991"/>
                  <a:pt x="190352" y="5059473"/>
                  <a:pt x="189338" y="5057884"/>
                </a:cubicBezTo>
                <a:cubicBezTo>
                  <a:pt x="187648" y="5055233"/>
                  <a:pt x="188372" y="5054027"/>
                  <a:pt x="191677" y="5054528"/>
                </a:cubicBezTo>
                <a:cubicBezTo>
                  <a:pt x="196552" y="5055148"/>
                  <a:pt x="198675" y="5053795"/>
                  <a:pt x="196598" y="5048781"/>
                </a:cubicBezTo>
                <a:cubicBezTo>
                  <a:pt x="196188" y="5047552"/>
                  <a:pt x="196140" y="5045719"/>
                  <a:pt x="198046" y="5046368"/>
                </a:cubicBezTo>
                <a:cubicBezTo>
                  <a:pt x="203693" y="5047614"/>
                  <a:pt x="204729" y="5043971"/>
                  <a:pt x="205862" y="5039894"/>
                </a:cubicBezTo>
                <a:cubicBezTo>
                  <a:pt x="205789" y="5039195"/>
                  <a:pt x="206852" y="5038518"/>
                  <a:pt x="207382" y="5038179"/>
                </a:cubicBezTo>
                <a:cubicBezTo>
                  <a:pt x="216117" y="5037830"/>
                  <a:pt x="224924" y="5038179"/>
                  <a:pt x="233828" y="5038094"/>
                </a:cubicBezTo>
                <a:close/>
                <a:moveTo>
                  <a:pt x="8348858" y="5006626"/>
                </a:moveTo>
                <a:lnTo>
                  <a:pt x="8348635" y="5006953"/>
                </a:lnTo>
                <a:lnTo>
                  <a:pt x="8342757" y="5017016"/>
                </a:lnTo>
                <a:lnTo>
                  <a:pt x="8340894" y="5022436"/>
                </a:lnTo>
                <a:lnTo>
                  <a:pt x="8346148" y="5027186"/>
                </a:lnTo>
                <a:lnTo>
                  <a:pt x="8357602" y="5014963"/>
                </a:lnTo>
                <a:close/>
                <a:moveTo>
                  <a:pt x="684890" y="4919580"/>
                </a:moveTo>
                <a:cubicBezTo>
                  <a:pt x="687608" y="4920009"/>
                  <a:pt x="690211" y="4921324"/>
                  <a:pt x="692646" y="4923014"/>
                </a:cubicBezTo>
                <a:cubicBezTo>
                  <a:pt x="697273" y="4926012"/>
                  <a:pt x="702040" y="4928379"/>
                  <a:pt x="704454" y="4933869"/>
                </a:cubicBezTo>
                <a:cubicBezTo>
                  <a:pt x="706727" y="4939989"/>
                  <a:pt x="710788" y="4945509"/>
                  <a:pt x="708851" y="4952691"/>
                </a:cubicBezTo>
                <a:cubicBezTo>
                  <a:pt x="708286" y="4955213"/>
                  <a:pt x="707477" y="4957351"/>
                  <a:pt x="705264" y="4959843"/>
                </a:cubicBezTo>
                <a:cubicBezTo>
                  <a:pt x="702138" y="4963458"/>
                  <a:pt x="698730" y="4968334"/>
                  <a:pt x="703809" y="4973746"/>
                </a:cubicBezTo>
                <a:cubicBezTo>
                  <a:pt x="705666" y="4975805"/>
                  <a:pt x="703839" y="4978051"/>
                  <a:pt x="704188" y="4979451"/>
                </a:cubicBezTo>
                <a:cubicBezTo>
                  <a:pt x="706179" y="4986832"/>
                  <a:pt x="703260" y="4992477"/>
                  <a:pt x="699466" y="4997599"/>
                </a:cubicBezTo>
                <a:cubicBezTo>
                  <a:pt x="695501" y="4999046"/>
                  <a:pt x="691922" y="5000246"/>
                  <a:pt x="688446" y="5002461"/>
                </a:cubicBezTo>
                <a:cubicBezTo>
                  <a:pt x="684972" y="5004677"/>
                  <a:pt x="680026" y="5004587"/>
                  <a:pt x="676521" y="5002496"/>
                </a:cubicBezTo>
                <a:cubicBezTo>
                  <a:pt x="673647" y="5000543"/>
                  <a:pt x="671509" y="4999744"/>
                  <a:pt x="668457" y="5000068"/>
                </a:cubicBezTo>
                <a:cubicBezTo>
                  <a:pt x="665516" y="4995455"/>
                  <a:pt x="662575" y="4990843"/>
                  <a:pt x="659635" y="4986230"/>
                </a:cubicBezTo>
                <a:cubicBezTo>
                  <a:pt x="662271" y="4981846"/>
                  <a:pt x="663399" y="4976801"/>
                  <a:pt x="662738" y="4972358"/>
                </a:cubicBezTo>
                <a:cubicBezTo>
                  <a:pt x="662708" y="4968052"/>
                  <a:pt x="662048" y="4963607"/>
                  <a:pt x="661772" y="4958917"/>
                </a:cubicBezTo>
                <a:cubicBezTo>
                  <a:pt x="661742" y="4954611"/>
                  <a:pt x="661467" y="4949921"/>
                  <a:pt x="659403" y="4945831"/>
                </a:cubicBezTo>
                <a:cubicBezTo>
                  <a:pt x="657970" y="4941879"/>
                  <a:pt x="659307" y="4938864"/>
                  <a:pt x="660784" y="4935219"/>
                </a:cubicBezTo>
                <a:cubicBezTo>
                  <a:pt x="662261" y="4931574"/>
                  <a:pt x="666368" y="4929497"/>
                  <a:pt x="666583" y="4925575"/>
                </a:cubicBezTo>
                <a:cubicBezTo>
                  <a:pt x="669285" y="4923851"/>
                  <a:pt x="671602" y="4922375"/>
                  <a:pt x="674306" y="4920652"/>
                </a:cubicBezTo>
                <a:cubicBezTo>
                  <a:pt x="675040" y="4921804"/>
                  <a:pt x="675672" y="4921943"/>
                  <a:pt x="676444" y="4921451"/>
                </a:cubicBezTo>
                <a:cubicBezTo>
                  <a:pt x="679340" y="4919604"/>
                  <a:pt x="682173" y="4919150"/>
                  <a:pt x="684890" y="4919580"/>
                </a:cubicBezTo>
                <a:close/>
                <a:moveTo>
                  <a:pt x="22389" y="4907938"/>
                </a:moveTo>
                <a:cubicBezTo>
                  <a:pt x="26797" y="4907932"/>
                  <a:pt x="31958" y="4912253"/>
                  <a:pt x="36107" y="4915616"/>
                </a:cubicBezTo>
                <a:cubicBezTo>
                  <a:pt x="37768" y="4916961"/>
                  <a:pt x="38572" y="4918852"/>
                  <a:pt x="41190" y="4919185"/>
                </a:cubicBezTo>
                <a:cubicBezTo>
                  <a:pt x="43810" y="4919518"/>
                  <a:pt x="44614" y="4921409"/>
                  <a:pt x="44562" y="4923846"/>
                </a:cubicBezTo>
                <a:cubicBezTo>
                  <a:pt x="44719" y="4925348"/>
                  <a:pt x="44486" y="4927500"/>
                  <a:pt x="46067" y="4928093"/>
                </a:cubicBezTo>
                <a:cubicBezTo>
                  <a:pt x="51098" y="4929693"/>
                  <a:pt x="53018" y="4932075"/>
                  <a:pt x="49544" y="4936692"/>
                </a:cubicBezTo>
                <a:cubicBezTo>
                  <a:pt x="48585" y="4937705"/>
                  <a:pt x="49389" y="4939595"/>
                  <a:pt x="51075" y="4939722"/>
                </a:cubicBezTo>
                <a:cubicBezTo>
                  <a:pt x="56780" y="4940492"/>
                  <a:pt x="53695" y="4944461"/>
                  <a:pt x="54577" y="4947104"/>
                </a:cubicBezTo>
                <a:cubicBezTo>
                  <a:pt x="57484" y="4956066"/>
                  <a:pt x="47191" y="4959424"/>
                  <a:pt x="47400" y="4967301"/>
                </a:cubicBezTo>
                <a:cubicBezTo>
                  <a:pt x="47531" y="4970023"/>
                  <a:pt x="41204" y="4972054"/>
                  <a:pt x="38456" y="4973404"/>
                </a:cubicBezTo>
                <a:cubicBezTo>
                  <a:pt x="31922" y="4976368"/>
                  <a:pt x="27154" y="4984615"/>
                  <a:pt x="17947" y="4980870"/>
                </a:cubicBezTo>
                <a:cubicBezTo>
                  <a:pt x="16366" y="4980277"/>
                  <a:pt x="13747" y="4979944"/>
                  <a:pt x="11466" y="4981398"/>
                </a:cubicBezTo>
                <a:cubicBezTo>
                  <a:pt x="8510" y="4983683"/>
                  <a:pt x="5710" y="4983064"/>
                  <a:pt x="3142" y="4980296"/>
                </a:cubicBezTo>
                <a:lnTo>
                  <a:pt x="0" y="4979116"/>
                </a:lnTo>
                <a:lnTo>
                  <a:pt x="0" y="4908010"/>
                </a:lnTo>
                <a:close/>
                <a:moveTo>
                  <a:pt x="12041898" y="4874853"/>
                </a:moveTo>
                <a:cubicBezTo>
                  <a:pt x="12045467" y="4877977"/>
                  <a:pt x="12049888" y="4879831"/>
                  <a:pt x="12054051" y="4879955"/>
                </a:cubicBezTo>
                <a:cubicBezTo>
                  <a:pt x="12057986" y="4880631"/>
                  <a:pt x="12062151" y="4880755"/>
                  <a:pt x="12066477" y="4881271"/>
                </a:cubicBezTo>
                <a:cubicBezTo>
                  <a:pt x="12070413" y="4881948"/>
                  <a:pt x="12074739" y="4882464"/>
                  <a:pt x="12078808" y="4881249"/>
                </a:cubicBezTo>
                <a:cubicBezTo>
                  <a:pt x="12082649" y="4880587"/>
                  <a:pt x="12085182" y="4882299"/>
                  <a:pt x="12088268" y="4884245"/>
                </a:cubicBezTo>
                <a:cubicBezTo>
                  <a:pt x="12091353" y="4886189"/>
                  <a:pt x="12092578" y="4890276"/>
                  <a:pt x="12096121" y="4891115"/>
                </a:cubicBezTo>
                <a:cubicBezTo>
                  <a:pt x="12097252" y="4893863"/>
                  <a:pt x="12098221" y="4896219"/>
                  <a:pt x="12099352" y="4898967"/>
                </a:cubicBezTo>
                <a:cubicBezTo>
                  <a:pt x="12098179" y="4899450"/>
                  <a:pt x="12097951" y="4900003"/>
                  <a:pt x="12098273" y="4900789"/>
                </a:cubicBezTo>
                <a:cubicBezTo>
                  <a:pt x="12100696" y="4906679"/>
                  <a:pt x="12098080" y="4911429"/>
                  <a:pt x="12094196" y="4915321"/>
                </a:cubicBezTo>
                <a:cubicBezTo>
                  <a:pt x="12090704" y="4919053"/>
                  <a:pt x="12087764" y="4923018"/>
                  <a:pt x="12082359" y="4924323"/>
                </a:cubicBezTo>
                <a:cubicBezTo>
                  <a:pt x="12076401" y="4925396"/>
                  <a:pt x="12070700" y="4928201"/>
                  <a:pt x="12064461" y="4925258"/>
                </a:cubicBezTo>
                <a:cubicBezTo>
                  <a:pt x="12062251" y="4924331"/>
                  <a:pt x="12060433" y="4923242"/>
                  <a:pt x="12058520" y="4920816"/>
                </a:cubicBezTo>
                <a:cubicBezTo>
                  <a:pt x="12055731" y="4917370"/>
                  <a:pt x="12051838" y="4913463"/>
                  <a:pt x="12046068" y="4917213"/>
                </a:cubicBezTo>
                <a:cubicBezTo>
                  <a:pt x="12043884" y="4918571"/>
                  <a:pt x="12042133" y="4916537"/>
                  <a:pt x="12040799" y="4916627"/>
                </a:cubicBezTo>
                <a:cubicBezTo>
                  <a:pt x="12033737" y="4917236"/>
                  <a:pt x="12029062" y="4913649"/>
                  <a:pt x="12025007" y="4909349"/>
                </a:cubicBezTo>
                <a:cubicBezTo>
                  <a:pt x="12024336" y="4905494"/>
                  <a:pt x="12023826" y="4902030"/>
                  <a:pt x="12022371" y="4898496"/>
                </a:cubicBezTo>
                <a:cubicBezTo>
                  <a:pt x="12020918" y="4894962"/>
                  <a:pt x="12021809" y="4890464"/>
                  <a:pt x="12024291" y="4887606"/>
                </a:cubicBezTo>
                <a:cubicBezTo>
                  <a:pt x="12026542" y="4885302"/>
                  <a:pt x="12027621" y="4883481"/>
                  <a:pt x="12027826" y="4880642"/>
                </a:cubicBezTo>
                <a:cubicBezTo>
                  <a:pt x="12032516" y="4878713"/>
                  <a:pt x="12037207" y="4876784"/>
                  <a:pt x="12041898" y="4874853"/>
                </a:cubicBezTo>
                <a:close/>
                <a:moveTo>
                  <a:pt x="180893" y="4730660"/>
                </a:moveTo>
                <a:cubicBezTo>
                  <a:pt x="183612" y="4731090"/>
                  <a:pt x="186214" y="4732404"/>
                  <a:pt x="188650" y="4734095"/>
                </a:cubicBezTo>
                <a:cubicBezTo>
                  <a:pt x="193277" y="4737092"/>
                  <a:pt x="198043" y="4739459"/>
                  <a:pt x="200457" y="4744948"/>
                </a:cubicBezTo>
                <a:cubicBezTo>
                  <a:pt x="202730" y="4751069"/>
                  <a:pt x="206791" y="4756589"/>
                  <a:pt x="204854" y="4763771"/>
                </a:cubicBezTo>
                <a:cubicBezTo>
                  <a:pt x="204290" y="4766293"/>
                  <a:pt x="203480" y="4768432"/>
                  <a:pt x="201267" y="4770922"/>
                </a:cubicBezTo>
                <a:cubicBezTo>
                  <a:pt x="198142" y="4774537"/>
                  <a:pt x="194733" y="4779413"/>
                  <a:pt x="199812" y="4784825"/>
                </a:cubicBezTo>
                <a:cubicBezTo>
                  <a:pt x="201669" y="4786886"/>
                  <a:pt x="199843" y="4789132"/>
                  <a:pt x="200191" y="4790531"/>
                </a:cubicBezTo>
                <a:cubicBezTo>
                  <a:pt x="202182" y="4797911"/>
                  <a:pt x="199263" y="4803557"/>
                  <a:pt x="195469" y="4808679"/>
                </a:cubicBezTo>
                <a:cubicBezTo>
                  <a:pt x="191505" y="4810125"/>
                  <a:pt x="187925" y="4811326"/>
                  <a:pt x="184450" y="4813541"/>
                </a:cubicBezTo>
                <a:cubicBezTo>
                  <a:pt x="180975" y="4815757"/>
                  <a:pt x="176030" y="4815666"/>
                  <a:pt x="172524" y="4813575"/>
                </a:cubicBezTo>
                <a:cubicBezTo>
                  <a:pt x="169651" y="4811623"/>
                  <a:pt x="167512" y="4810825"/>
                  <a:pt x="164460" y="4811148"/>
                </a:cubicBezTo>
                <a:cubicBezTo>
                  <a:pt x="161519" y="4806535"/>
                  <a:pt x="158578" y="4801923"/>
                  <a:pt x="155638" y="4797310"/>
                </a:cubicBezTo>
                <a:cubicBezTo>
                  <a:pt x="158274" y="4792926"/>
                  <a:pt x="159403" y="4787882"/>
                  <a:pt x="158741" y="4783438"/>
                </a:cubicBezTo>
                <a:cubicBezTo>
                  <a:pt x="158711" y="4779131"/>
                  <a:pt x="158051" y="4774688"/>
                  <a:pt x="157775" y="4769997"/>
                </a:cubicBezTo>
                <a:cubicBezTo>
                  <a:pt x="157746" y="4765691"/>
                  <a:pt x="157470" y="4761001"/>
                  <a:pt x="155406" y="4756911"/>
                </a:cubicBezTo>
                <a:cubicBezTo>
                  <a:pt x="153973" y="4752958"/>
                  <a:pt x="155309" y="4749945"/>
                  <a:pt x="156787" y="4746298"/>
                </a:cubicBezTo>
                <a:cubicBezTo>
                  <a:pt x="158265" y="4742654"/>
                  <a:pt x="162371" y="4740576"/>
                  <a:pt x="162586" y="4736656"/>
                </a:cubicBezTo>
                <a:cubicBezTo>
                  <a:pt x="165288" y="4734932"/>
                  <a:pt x="167606" y="4733454"/>
                  <a:pt x="170309" y="4731731"/>
                </a:cubicBezTo>
                <a:cubicBezTo>
                  <a:pt x="171044" y="4732885"/>
                  <a:pt x="171675" y="4733023"/>
                  <a:pt x="172447" y="4732531"/>
                </a:cubicBezTo>
                <a:cubicBezTo>
                  <a:pt x="175343" y="4730684"/>
                  <a:pt x="178176" y="4730230"/>
                  <a:pt x="180893" y="4730660"/>
                </a:cubicBezTo>
                <a:close/>
                <a:moveTo>
                  <a:pt x="559061" y="4720007"/>
                </a:moveTo>
                <a:lnTo>
                  <a:pt x="559502" y="4720229"/>
                </a:lnTo>
                <a:lnTo>
                  <a:pt x="558969" y="4720414"/>
                </a:lnTo>
                <a:close/>
                <a:moveTo>
                  <a:pt x="12179227" y="4693579"/>
                </a:moveTo>
                <a:cubicBezTo>
                  <a:pt x="12182126" y="4695112"/>
                  <a:pt x="12184295" y="4693765"/>
                  <a:pt x="12186943" y="4693585"/>
                </a:cubicBezTo>
                <a:lnTo>
                  <a:pt x="12191999" y="4694107"/>
                </a:lnTo>
                <a:lnTo>
                  <a:pt x="12191999" y="4784183"/>
                </a:lnTo>
                <a:lnTo>
                  <a:pt x="12182342" y="4784976"/>
                </a:lnTo>
                <a:cubicBezTo>
                  <a:pt x="12179602" y="4783830"/>
                  <a:pt x="12177251" y="4782527"/>
                  <a:pt x="12174215" y="4782867"/>
                </a:cubicBezTo>
                <a:cubicBezTo>
                  <a:pt x="12169626" y="4783846"/>
                  <a:pt x="12166339" y="4782472"/>
                  <a:pt x="12164969" y="4778039"/>
                </a:cubicBezTo>
                <a:cubicBezTo>
                  <a:pt x="12163690" y="4774930"/>
                  <a:pt x="12160791" y="4773397"/>
                  <a:pt x="12158759" y="4772870"/>
                </a:cubicBezTo>
                <a:cubicBezTo>
                  <a:pt x="12146729" y="4770096"/>
                  <a:pt x="12147778" y="4758307"/>
                  <a:pt x="12143256" y="4750626"/>
                </a:cubicBezTo>
                <a:cubicBezTo>
                  <a:pt x="12141430" y="4747288"/>
                  <a:pt x="12136453" y="4740704"/>
                  <a:pt x="12138530" y="4738032"/>
                </a:cubicBezTo>
                <a:cubicBezTo>
                  <a:pt x="12144373" y="4730178"/>
                  <a:pt x="12136313" y="4719409"/>
                  <a:pt x="12145673" y="4712380"/>
                </a:cubicBezTo>
                <a:cubicBezTo>
                  <a:pt x="12148457" y="4710326"/>
                  <a:pt x="12148159" y="4704087"/>
                  <a:pt x="12154507" y="4707382"/>
                </a:cubicBezTo>
                <a:cubicBezTo>
                  <a:pt x="12156309" y="4708458"/>
                  <a:pt x="12158478" y="4707112"/>
                  <a:pt x="12158228" y="4705398"/>
                </a:cubicBezTo>
                <a:cubicBezTo>
                  <a:pt x="12157997" y="4698223"/>
                  <a:pt x="12161651" y="4697175"/>
                  <a:pt x="12167906" y="4699144"/>
                </a:cubicBezTo>
                <a:cubicBezTo>
                  <a:pt x="12169938" y="4699672"/>
                  <a:pt x="12171237" y="4697320"/>
                  <a:pt x="12172471" y="4695904"/>
                </a:cubicBezTo>
                <a:cubicBezTo>
                  <a:pt x="12174160" y="4693392"/>
                  <a:pt x="12176328" y="4692046"/>
                  <a:pt x="12179227" y="4693579"/>
                </a:cubicBezTo>
                <a:close/>
                <a:moveTo>
                  <a:pt x="1144363" y="4643820"/>
                </a:moveTo>
                <a:cubicBezTo>
                  <a:pt x="1144363" y="4643820"/>
                  <a:pt x="1147575" y="4649385"/>
                  <a:pt x="1147575" y="4649385"/>
                </a:cubicBezTo>
                <a:lnTo>
                  <a:pt x="1147322" y="4650328"/>
                </a:lnTo>
                <a:close/>
                <a:moveTo>
                  <a:pt x="370394" y="4483520"/>
                </a:moveTo>
                <a:cubicBezTo>
                  <a:pt x="370317" y="4492270"/>
                  <a:pt x="372022" y="4497535"/>
                  <a:pt x="368538" y="4495754"/>
                </a:cubicBezTo>
                <a:cubicBezTo>
                  <a:pt x="366834" y="4490489"/>
                  <a:pt x="366911" y="4481739"/>
                  <a:pt x="370394" y="4483520"/>
                </a:cubicBezTo>
                <a:close/>
                <a:moveTo>
                  <a:pt x="118469" y="4473538"/>
                </a:moveTo>
                <a:cubicBezTo>
                  <a:pt x="122571" y="4473534"/>
                  <a:pt x="127375" y="4477553"/>
                  <a:pt x="131235" y="4480683"/>
                </a:cubicBezTo>
                <a:cubicBezTo>
                  <a:pt x="132780" y="4481935"/>
                  <a:pt x="133529" y="4483695"/>
                  <a:pt x="135966" y="4484005"/>
                </a:cubicBezTo>
                <a:cubicBezTo>
                  <a:pt x="138403" y="4484315"/>
                  <a:pt x="139151" y="4486074"/>
                  <a:pt x="139103" y="4488341"/>
                </a:cubicBezTo>
                <a:cubicBezTo>
                  <a:pt x="139249" y="4489739"/>
                  <a:pt x="139033" y="4491741"/>
                  <a:pt x="140505" y="4492294"/>
                </a:cubicBezTo>
                <a:cubicBezTo>
                  <a:pt x="145186" y="4493783"/>
                  <a:pt x="146972" y="4495999"/>
                  <a:pt x="143740" y="4500297"/>
                </a:cubicBezTo>
                <a:cubicBezTo>
                  <a:pt x="142847" y="4501239"/>
                  <a:pt x="143596" y="4502997"/>
                  <a:pt x="145164" y="4503116"/>
                </a:cubicBezTo>
                <a:cubicBezTo>
                  <a:pt x="150473" y="4503833"/>
                  <a:pt x="147603" y="4507526"/>
                  <a:pt x="148424" y="4509985"/>
                </a:cubicBezTo>
                <a:cubicBezTo>
                  <a:pt x="151127" y="4518325"/>
                  <a:pt x="141549" y="4521450"/>
                  <a:pt x="141744" y="4528781"/>
                </a:cubicBezTo>
                <a:cubicBezTo>
                  <a:pt x="141866" y="4531313"/>
                  <a:pt x="135978" y="4533202"/>
                  <a:pt x="133421" y="4534461"/>
                </a:cubicBezTo>
                <a:cubicBezTo>
                  <a:pt x="127341" y="4537218"/>
                  <a:pt x="122903" y="4544893"/>
                  <a:pt x="114336" y="4541409"/>
                </a:cubicBezTo>
                <a:cubicBezTo>
                  <a:pt x="112864" y="4540856"/>
                  <a:pt x="110426" y="4540546"/>
                  <a:pt x="108304" y="4541899"/>
                </a:cubicBezTo>
                <a:cubicBezTo>
                  <a:pt x="105553" y="4544025"/>
                  <a:pt x="102947" y="4543450"/>
                  <a:pt x="100558" y="4540872"/>
                </a:cubicBezTo>
                <a:cubicBezTo>
                  <a:pt x="98844" y="4539356"/>
                  <a:pt x="96842" y="4539141"/>
                  <a:pt x="94670" y="4538662"/>
                </a:cubicBezTo>
                <a:cubicBezTo>
                  <a:pt x="89192" y="4537681"/>
                  <a:pt x="85234" y="4534986"/>
                  <a:pt x="83520" y="4529369"/>
                </a:cubicBezTo>
                <a:cubicBezTo>
                  <a:pt x="82626" y="4526211"/>
                  <a:pt x="79971" y="4523803"/>
                  <a:pt x="76304" y="4523905"/>
                </a:cubicBezTo>
                <a:cubicBezTo>
                  <a:pt x="75628" y="4522845"/>
                  <a:pt x="74952" y="4521785"/>
                  <a:pt x="74276" y="4520724"/>
                </a:cubicBezTo>
                <a:cubicBezTo>
                  <a:pt x="75820" y="4517876"/>
                  <a:pt x="75868" y="4515610"/>
                  <a:pt x="73405" y="4512333"/>
                </a:cubicBezTo>
                <a:cubicBezTo>
                  <a:pt x="70099" y="4507731"/>
                  <a:pt x="69855" y="4502667"/>
                  <a:pt x="74488" y="4498223"/>
                </a:cubicBezTo>
                <a:cubicBezTo>
                  <a:pt x="76708" y="4496436"/>
                  <a:pt x="74993" y="4494919"/>
                  <a:pt x="73980" y="4493329"/>
                </a:cubicBezTo>
                <a:cubicBezTo>
                  <a:pt x="72290" y="4490678"/>
                  <a:pt x="73013" y="4489471"/>
                  <a:pt x="76320" y="4489973"/>
                </a:cubicBezTo>
                <a:cubicBezTo>
                  <a:pt x="81194" y="4490593"/>
                  <a:pt x="83317" y="4489240"/>
                  <a:pt x="81241" y="4484226"/>
                </a:cubicBezTo>
                <a:cubicBezTo>
                  <a:pt x="80830" y="4482997"/>
                  <a:pt x="80781" y="4481164"/>
                  <a:pt x="82688" y="4481813"/>
                </a:cubicBezTo>
                <a:cubicBezTo>
                  <a:pt x="88334" y="4483059"/>
                  <a:pt x="89371" y="4479416"/>
                  <a:pt x="90505" y="4475339"/>
                </a:cubicBezTo>
                <a:cubicBezTo>
                  <a:pt x="90432" y="4474639"/>
                  <a:pt x="91493" y="4473963"/>
                  <a:pt x="92024" y="4473624"/>
                </a:cubicBezTo>
                <a:cubicBezTo>
                  <a:pt x="100758" y="4473274"/>
                  <a:pt x="109566" y="4473624"/>
                  <a:pt x="118469" y="4473538"/>
                </a:cubicBezTo>
                <a:close/>
                <a:moveTo>
                  <a:pt x="1192990" y="4448284"/>
                </a:moveTo>
                <a:lnTo>
                  <a:pt x="1193752" y="4459494"/>
                </a:lnTo>
                <a:lnTo>
                  <a:pt x="1196455" y="4463503"/>
                </a:lnTo>
                <a:close/>
                <a:moveTo>
                  <a:pt x="393998" y="4398066"/>
                </a:moveTo>
                <a:cubicBezTo>
                  <a:pt x="398099" y="4398061"/>
                  <a:pt x="402902" y="4402081"/>
                  <a:pt x="406764" y="4405211"/>
                </a:cubicBezTo>
                <a:cubicBezTo>
                  <a:pt x="408308" y="4406463"/>
                  <a:pt x="409057" y="4408223"/>
                  <a:pt x="411494" y="4408533"/>
                </a:cubicBezTo>
                <a:cubicBezTo>
                  <a:pt x="413931" y="4408842"/>
                  <a:pt x="414680" y="4410602"/>
                  <a:pt x="414632" y="4412869"/>
                </a:cubicBezTo>
                <a:cubicBezTo>
                  <a:pt x="414777" y="4414267"/>
                  <a:pt x="414560" y="4416270"/>
                  <a:pt x="416032" y="4416823"/>
                </a:cubicBezTo>
                <a:cubicBezTo>
                  <a:pt x="420714" y="4418311"/>
                  <a:pt x="422500" y="4420527"/>
                  <a:pt x="419268" y="4424825"/>
                </a:cubicBezTo>
                <a:cubicBezTo>
                  <a:pt x="418375" y="4425767"/>
                  <a:pt x="419124" y="4427525"/>
                  <a:pt x="420692" y="4427644"/>
                </a:cubicBezTo>
                <a:cubicBezTo>
                  <a:pt x="426001" y="4428360"/>
                  <a:pt x="423130" y="4432054"/>
                  <a:pt x="423951" y="4434513"/>
                </a:cubicBezTo>
                <a:cubicBezTo>
                  <a:pt x="426656" y="4442853"/>
                  <a:pt x="417077" y="4445978"/>
                  <a:pt x="417272" y="4453309"/>
                </a:cubicBezTo>
                <a:cubicBezTo>
                  <a:pt x="417393" y="4455841"/>
                  <a:pt x="411506" y="4457730"/>
                  <a:pt x="408949" y="4458989"/>
                </a:cubicBezTo>
                <a:cubicBezTo>
                  <a:pt x="402868" y="4461746"/>
                  <a:pt x="398431" y="4469421"/>
                  <a:pt x="389864" y="4465937"/>
                </a:cubicBezTo>
                <a:cubicBezTo>
                  <a:pt x="388392" y="4465383"/>
                  <a:pt x="385955" y="4465073"/>
                  <a:pt x="383832" y="4466428"/>
                </a:cubicBezTo>
                <a:cubicBezTo>
                  <a:pt x="381082" y="4468553"/>
                  <a:pt x="378476" y="4467978"/>
                  <a:pt x="376086" y="4465401"/>
                </a:cubicBezTo>
                <a:cubicBezTo>
                  <a:pt x="374373" y="4463884"/>
                  <a:pt x="372370" y="4463669"/>
                  <a:pt x="370198" y="4463190"/>
                </a:cubicBezTo>
                <a:cubicBezTo>
                  <a:pt x="364720" y="4462209"/>
                  <a:pt x="360763" y="4459514"/>
                  <a:pt x="359048" y="4453897"/>
                </a:cubicBezTo>
                <a:cubicBezTo>
                  <a:pt x="358154" y="4450739"/>
                  <a:pt x="355499" y="4448331"/>
                  <a:pt x="351832" y="4448433"/>
                </a:cubicBezTo>
                <a:cubicBezTo>
                  <a:pt x="351155" y="4447373"/>
                  <a:pt x="350480" y="4446312"/>
                  <a:pt x="349804" y="4445252"/>
                </a:cubicBezTo>
                <a:cubicBezTo>
                  <a:pt x="351348" y="4442404"/>
                  <a:pt x="351395" y="4440137"/>
                  <a:pt x="348934" y="4436861"/>
                </a:cubicBezTo>
                <a:cubicBezTo>
                  <a:pt x="345626" y="4432259"/>
                  <a:pt x="345384" y="4427195"/>
                  <a:pt x="350016" y="4422751"/>
                </a:cubicBezTo>
                <a:cubicBezTo>
                  <a:pt x="352235" y="4420963"/>
                  <a:pt x="350521" y="4419447"/>
                  <a:pt x="349509" y="4417856"/>
                </a:cubicBezTo>
                <a:cubicBezTo>
                  <a:pt x="347818" y="4415206"/>
                  <a:pt x="348542" y="4413999"/>
                  <a:pt x="351847" y="4414501"/>
                </a:cubicBezTo>
                <a:cubicBezTo>
                  <a:pt x="356721" y="4415121"/>
                  <a:pt x="358845" y="4413768"/>
                  <a:pt x="356768" y="4408754"/>
                </a:cubicBezTo>
                <a:cubicBezTo>
                  <a:pt x="356359" y="4407525"/>
                  <a:pt x="356310" y="4405692"/>
                  <a:pt x="358216" y="4406340"/>
                </a:cubicBezTo>
                <a:cubicBezTo>
                  <a:pt x="363863" y="4407587"/>
                  <a:pt x="364899" y="4403944"/>
                  <a:pt x="366032" y="4399867"/>
                </a:cubicBezTo>
                <a:cubicBezTo>
                  <a:pt x="365959" y="4399167"/>
                  <a:pt x="367021" y="4398490"/>
                  <a:pt x="367552" y="4398153"/>
                </a:cubicBezTo>
                <a:cubicBezTo>
                  <a:pt x="376287" y="4397802"/>
                  <a:pt x="385094" y="4398152"/>
                  <a:pt x="393998" y="4398066"/>
                </a:cubicBezTo>
                <a:close/>
                <a:moveTo>
                  <a:pt x="12179050" y="4254399"/>
                </a:moveTo>
                <a:cubicBezTo>
                  <a:pt x="12181572" y="4256413"/>
                  <a:pt x="12183787" y="4256859"/>
                  <a:pt x="12187434" y="4255019"/>
                </a:cubicBezTo>
                <a:lnTo>
                  <a:pt x="12191999" y="4256204"/>
                </a:lnTo>
                <a:lnTo>
                  <a:pt x="12191999" y="4327898"/>
                </a:lnTo>
                <a:lnTo>
                  <a:pt x="12191598" y="4328330"/>
                </a:lnTo>
                <a:cubicBezTo>
                  <a:pt x="12190235" y="4328721"/>
                  <a:pt x="12188702" y="4328081"/>
                  <a:pt x="12186879" y="4326118"/>
                </a:cubicBezTo>
                <a:cubicBezTo>
                  <a:pt x="12186111" y="4325077"/>
                  <a:pt x="12184254" y="4325502"/>
                  <a:pt x="12183863" y="4327020"/>
                </a:cubicBezTo>
                <a:cubicBezTo>
                  <a:pt x="12182227" y="4332100"/>
                  <a:pt x="12179108" y="4328636"/>
                  <a:pt x="12176554" y="4329010"/>
                </a:cubicBezTo>
                <a:cubicBezTo>
                  <a:pt x="12167897" y="4330197"/>
                  <a:pt x="12166516" y="4320252"/>
                  <a:pt x="12159292" y="4319155"/>
                </a:cubicBezTo>
                <a:cubicBezTo>
                  <a:pt x="12156786" y="4318829"/>
                  <a:pt x="12155968" y="4312724"/>
                  <a:pt x="12155184" y="4309994"/>
                </a:cubicBezTo>
                <a:cubicBezTo>
                  <a:pt x="12153547" y="4303546"/>
                  <a:pt x="12146799" y="4297845"/>
                  <a:pt x="12151723" y="4290055"/>
                </a:cubicBezTo>
                <a:cubicBezTo>
                  <a:pt x="12152524" y="4288708"/>
                  <a:pt x="12153256" y="4286372"/>
                  <a:pt x="12152301" y="4284052"/>
                </a:cubicBezTo>
                <a:cubicBezTo>
                  <a:pt x="12150699" y="4280982"/>
                  <a:pt x="12151721" y="4278527"/>
                  <a:pt x="12154669" y="4276635"/>
                </a:cubicBezTo>
                <a:cubicBezTo>
                  <a:pt x="12156458" y="4275222"/>
                  <a:pt x="12157021" y="4273294"/>
                  <a:pt x="12157873" y="4271250"/>
                </a:cubicBezTo>
                <a:cubicBezTo>
                  <a:pt x="12159797" y="4266049"/>
                  <a:pt x="12163136" y="4262641"/>
                  <a:pt x="12168947" y="4261946"/>
                </a:cubicBezTo>
                <a:cubicBezTo>
                  <a:pt x="12172201" y="4261624"/>
                  <a:pt x="12175029" y="4259443"/>
                  <a:pt x="12175574" y="4255829"/>
                </a:cubicBezTo>
                <a:cubicBezTo>
                  <a:pt x="12176732" y="4255352"/>
                  <a:pt x="12177891" y="4254876"/>
                  <a:pt x="12179050" y="4254399"/>
                </a:cubicBezTo>
                <a:close/>
                <a:moveTo>
                  <a:pt x="0" y="4199775"/>
                </a:moveTo>
                <a:lnTo>
                  <a:pt x="5035" y="4218766"/>
                </a:lnTo>
                <a:cubicBezTo>
                  <a:pt x="4341" y="4221892"/>
                  <a:pt x="3403" y="4224637"/>
                  <a:pt x="4342" y="4227795"/>
                </a:cubicBezTo>
                <a:cubicBezTo>
                  <a:pt x="6254" y="4232480"/>
                  <a:pt x="5422" y="4236230"/>
                  <a:pt x="975" y="4238528"/>
                </a:cubicBezTo>
                <a:lnTo>
                  <a:pt x="0" y="4240243"/>
                </a:lnTo>
                <a:close/>
                <a:moveTo>
                  <a:pt x="146591" y="4111897"/>
                </a:moveTo>
                <a:cubicBezTo>
                  <a:pt x="150419" y="4112503"/>
                  <a:pt x="154084" y="4114353"/>
                  <a:pt x="157514" y="4116734"/>
                </a:cubicBezTo>
                <a:cubicBezTo>
                  <a:pt x="164029" y="4120956"/>
                  <a:pt x="170742" y="4124289"/>
                  <a:pt x="174141" y="4132019"/>
                </a:cubicBezTo>
                <a:cubicBezTo>
                  <a:pt x="177341" y="4140637"/>
                  <a:pt x="183061" y="4148411"/>
                  <a:pt x="180332" y="4158525"/>
                </a:cubicBezTo>
                <a:cubicBezTo>
                  <a:pt x="179538" y="4162076"/>
                  <a:pt x="178398" y="4165087"/>
                  <a:pt x="175282" y="4168596"/>
                </a:cubicBezTo>
                <a:cubicBezTo>
                  <a:pt x="170880" y="4173686"/>
                  <a:pt x="166080" y="4180553"/>
                  <a:pt x="173233" y="4188174"/>
                </a:cubicBezTo>
                <a:cubicBezTo>
                  <a:pt x="175848" y="4191075"/>
                  <a:pt x="173275" y="4194238"/>
                  <a:pt x="173766" y="4196209"/>
                </a:cubicBezTo>
                <a:cubicBezTo>
                  <a:pt x="176569" y="4206603"/>
                  <a:pt x="172460" y="4214552"/>
                  <a:pt x="167117" y="4221765"/>
                </a:cubicBezTo>
                <a:cubicBezTo>
                  <a:pt x="161533" y="4223802"/>
                  <a:pt x="156492" y="4225493"/>
                  <a:pt x="151599" y="4228612"/>
                </a:cubicBezTo>
                <a:cubicBezTo>
                  <a:pt x="146705" y="4231733"/>
                  <a:pt x="139740" y="4231605"/>
                  <a:pt x="134805" y="4228661"/>
                </a:cubicBezTo>
                <a:cubicBezTo>
                  <a:pt x="130758" y="4225912"/>
                  <a:pt x="127747" y="4224786"/>
                  <a:pt x="123448" y="4225243"/>
                </a:cubicBezTo>
                <a:cubicBezTo>
                  <a:pt x="119307" y="4218747"/>
                  <a:pt x="115166" y="4212252"/>
                  <a:pt x="111025" y="4205755"/>
                </a:cubicBezTo>
                <a:cubicBezTo>
                  <a:pt x="114737" y="4199582"/>
                  <a:pt x="116326" y="4192478"/>
                  <a:pt x="115395" y="4186219"/>
                </a:cubicBezTo>
                <a:cubicBezTo>
                  <a:pt x="115353" y="4180156"/>
                  <a:pt x="114422" y="4173898"/>
                  <a:pt x="114036" y="4167292"/>
                </a:cubicBezTo>
                <a:cubicBezTo>
                  <a:pt x="113994" y="4161229"/>
                  <a:pt x="113607" y="4154624"/>
                  <a:pt x="110698" y="4148864"/>
                </a:cubicBezTo>
                <a:cubicBezTo>
                  <a:pt x="108681" y="4143299"/>
                  <a:pt x="110562" y="4139054"/>
                  <a:pt x="112643" y="4133920"/>
                </a:cubicBezTo>
                <a:cubicBezTo>
                  <a:pt x="114725" y="4128787"/>
                  <a:pt x="120507" y="4125862"/>
                  <a:pt x="120810" y="4120339"/>
                </a:cubicBezTo>
                <a:cubicBezTo>
                  <a:pt x="124616" y="4117913"/>
                  <a:pt x="127878" y="4115833"/>
                  <a:pt x="131685" y="4113407"/>
                </a:cubicBezTo>
                <a:cubicBezTo>
                  <a:pt x="132721" y="4115030"/>
                  <a:pt x="133609" y="4115225"/>
                  <a:pt x="134697" y="4114532"/>
                </a:cubicBezTo>
                <a:cubicBezTo>
                  <a:pt x="138775" y="4111932"/>
                  <a:pt x="142764" y="4111292"/>
                  <a:pt x="146591" y="4111897"/>
                </a:cubicBezTo>
                <a:close/>
                <a:moveTo>
                  <a:pt x="12155223" y="3990579"/>
                </a:moveTo>
                <a:cubicBezTo>
                  <a:pt x="12157744" y="3992593"/>
                  <a:pt x="12159961" y="3993038"/>
                  <a:pt x="12163606" y="3991200"/>
                </a:cubicBezTo>
                <a:cubicBezTo>
                  <a:pt x="12168700" y="3988764"/>
                  <a:pt x="12173710" y="3989416"/>
                  <a:pt x="12177254" y="3994741"/>
                </a:cubicBezTo>
                <a:cubicBezTo>
                  <a:pt x="12178618" y="3997231"/>
                  <a:pt x="12180407" y="3995817"/>
                  <a:pt x="12182145" y="3995102"/>
                </a:cubicBezTo>
                <a:cubicBezTo>
                  <a:pt x="12185042" y="3993911"/>
                  <a:pt x="12186098" y="3994833"/>
                  <a:pt x="12185025" y="3997987"/>
                </a:cubicBezTo>
                <a:cubicBezTo>
                  <a:pt x="12183561" y="4002658"/>
                  <a:pt x="12184514" y="4004979"/>
                  <a:pt x="12189796" y="4003823"/>
                </a:cubicBezTo>
                <a:cubicBezTo>
                  <a:pt x="12191074" y="4003637"/>
                  <a:pt x="12192881" y="4003911"/>
                  <a:pt x="12191909" y="4005667"/>
                </a:cubicBezTo>
                <a:lnTo>
                  <a:pt x="12191999" y="4005826"/>
                </a:lnTo>
                <a:lnTo>
                  <a:pt x="12191999" y="4044331"/>
                </a:lnTo>
                <a:lnTo>
                  <a:pt x="12184485" y="4053480"/>
                </a:lnTo>
                <a:cubicBezTo>
                  <a:pt x="12182986" y="4054775"/>
                  <a:pt x="12181128" y="4055201"/>
                  <a:pt x="12180396" y="4057537"/>
                </a:cubicBezTo>
                <a:cubicBezTo>
                  <a:pt x="12179664" y="4059872"/>
                  <a:pt x="12177806" y="4060298"/>
                  <a:pt x="12175591" y="4059852"/>
                </a:cubicBezTo>
                <a:cubicBezTo>
                  <a:pt x="12174195" y="4059749"/>
                  <a:pt x="12172269" y="4059184"/>
                  <a:pt x="12171469" y="4060531"/>
                </a:cubicBezTo>
                <a:cubicBezTo>
                  <a:pt x="12169186" y="4064860"/>
                  <a:pt x="12166698" y="4066223"/>
                  <a:pt x="12163051" y="4062297"/>
                </a:cubicBezTo>
                <a:cubicBezTo>
                  <a:pt x="12162285" y="4061258"/>
                  <a:pt x="12160428" y="4061682"/>
                  <a:pt x="12160035" y="4063199"/>
                </a:cubicBezTo>
                <a:cubicBezTo>
                  <a:pt x="12158401" y="4068280"/>
                  <a:pt x="12155282" y="4064816"/>
                  <a:pt x="12152726" y="4065189"/>
                </a:cubicBezTo>
                <a:cubicBezTo>
                  <a:pt x="12144071" y="4066376"/>
                  <a:pt x="12142690" y="4056433"/>
                  <a:pt x="12135464" y="4055335"/>
                </a:cubicBezTo>
                <a:cubicBezTo>
                  <a:pt x="12132960" y="4055010"/>
                  <a:pt x="12132141" y="4048903"/>
                  <a:pt x="12131357" y="4046174"/>
                </a:cubicBezTo>
                <a:cubicBezTo>
                  <a:pt x="12129721" y="4039726"/>
                  <a:pt x="12122973" y="4034025"/>
                  <a:pt x="12127897" y="4026234"/>
                </a:cubicBezTo>
                <a:cubicBezTo>
                  <a:pt x="12128696" y="4024889"/>
                  <a:pt x="12129429" y="4022553"/>
                  <a:pt x="12128475" y="4020233"/>
                </a:cubicBezTo>
                <a:cubicBezTo>
                  <a:pt x="12126872" y="4017161"/>
                  <a:pt x="12127894" y="4014706"/>
                  <a:pt x="12130842" y="4012816"/>
                </a:cubicBezTo>
                <a:cubicBezTo>
                  <a:pt x="12132631" y="4011402"/>
                  <a:pt x="12133193" y="4009475"/>
                  <a:pt x="12134045" y="4007429"/>
                </a:cubicBezTo>
                <a:cubicBezTo>
                  <a:pt x="12135970" y="4002229"/>
                  <a:pt x="12139310" y="3998821"/>
                  <a:pt x="12145119" y="3998126"/>
                </a:cubicBezTo>
                <a:cubicBezTo>
                  <a:pt x="12148374" y="3997805"/>
                  <a:pt x="12151203" y="3995624"/>
                  <a:pt x="12151747" y="3992009"/>
                </a:cubicBezTo>
                <a:cubicBezTo>
                  <a:pt x="12152905" y="3991532"/>
                  <a:pt x="12154064" y="3991056"/>
                  <a:pt x="12155223" y="3990579"/>
                </a:cubicBezTo>
                <a:close/>
                <a:moveTo>
                  <a:pt x="12191999" y="3678488"/>
                </a:moveTo>
                <a:lnTo>
                  <a:pt x="12191999" y="3764525"/>
                </a:lnTo>
                <a:lnTo>
                  <a:pt x="12191339" y="3764446"/>
                </a:lnTo>
                <a:cubicBezTo>
                  <a:pt x="12188979" y="3767671"/>
                  <a:pt x="12186311" y="3768153"/>
                  <a:pt x="12182962" y="3767482"/>
                </a:cubicBezTo>
                <a:cubicBezTo>
                  <a:pt x="12178521" y="3766644"/>
                  <a:pt x="12174122" y="3766405"/>
                  <a:pt x="12170176" y="3769258"/>
                </a:cubicBezTo>
                <a:cubicBezTo>
                  <a:pt x="12168464" y="3770577"/>
                  <a:pt x="12166795" y="3769010"/>
                  <a:pt x="12165940" y="3767926"/>
                </a:cubicBezTo>
                <a:cubicBezTo>
                  <a:pt x="12162489" y="3764018"/>
                  <a:pt x="12158646" y="3763141"/>
                  <a:pt x="12153876" y="3764488"/>
                </a:cubicBezTo>
                <a:cubicBezTo>
                  <a:pt x="12150929" y="3765291"/>
                  <a:pt x="12149971" y="3764456"/>
                  <a:pt x="12150569" y="3760930"/>
                </a:cubicBezTo>
                <a:cubicBezTo>
                  <a:pt x="12151797" y="3753459"/>
                  <a:pt x="12145564" y="3745776"/>
                  <a:pt x="12138351" y="3745670"/>
                </a:cubicBezTo>
                <a:cubicBezTo>
                  <a:pt x="12136910" y="3745648"/>
                  <a:pt x="12135045" y="3745595"/>
                  <a:pt x="12134497" y="3747255"/>
                </a:cubicBezTo>
                <a:cubicBezTo>
                  <a:pt x="12133951" y="3748913"/>
                  <a:pt x="12134147" y="3750882"/>
                  <a:pt x="12135846" y="3752028"/>
                </a:cubicBezTo>
                <a:cubicBezTo>
                  <a:pt x="12136804" y="3752863"/>
                  <a:pt x="12138114" y="3753555"/>
                  <a:pt x="12139246" y="3754317"/>
                </a:cubicBezTo>
                <a:cubicBezTo>
                  <a:pt x="12140556" y="3755009"/>
                  <a:pt x="12141513" y="3755844"/>
                  <a:pt x="12140822" y="3757153"/>
                </a:cubicBezTo>
                <a:cubicBezTo>
                  <a:pt x="12140029" y="3758709"/>
                  <a:pt x="12138689" y="3758440"/>
                  <a:pt x="12137453" y="3757924"/>
                </a:cubicBezTo>
                <a:cubicBezTo>
                  <a:pt x="12136289" y="3757583"/>
                  <a:pt x="12135155" y="3756820"/>
                  <a:pt x="12134166" y="3756407"/>
                </a:cubicBezTo>
                <a:cubicBezTo>
                  <a:pt x="12131941" y="3755478"/>
                  <a:pt x="12129478" y="3755467"/>
                  <a:pt x="12128375" y="3757765"/>
                </a:cubicBezTo>
                <a:cubicBezTo>
                  <a:pt x="12127551" y="3759744"/>
                  <a:pt x="12129746" y="3761095"/>
                  <a:pt x="12131373" y="3762065"/>
                </a:cubicBezTo>
                <a:cubicBezTo>
                  <a:pt x="12132755" y="3762931"/>
                  <a:pt x="12134691" y="3763159"/>
                  <a:pt x="12135866" y="3764520"/>
                </a:cubicBezTo>
                <a:cubicBezTo>
                  <a:pt x="12137679" y="3766438"/>
                  <a:pt x="12137905" y="3767984"/>
                  <a:pt x="12135030" y="3768962"/>
                </a:cubicBezTo>
                <a:cubicBezTo>
                  <a:pt x="12131104" y="3770372"/>
                  <a:pt x="12127303" y="3770091"/>
                  <a:pt x="12123460" y="3769214"/>
                </a:cubicBezTo>
                <a:cubicBezTo>
                  <a:pt x="12118525" y="3768170"/>
                  <a:pt x="12116350" y="3768860"/>
                  <a:pt x="12113825" y="3773177"/>
                </a:cubicBezTo>
                <a:cubicBezTo>
                  <a:pt x="12112784" y="3774630"/>
                  <a:pt x="12112134" y="3776536"/>
                  <a:pt x="12111413" y="3778268"/>
                </a:cubicBezTo>
                <a:cubicBezTo>
                  <a:pt x="12111104" y="3779010"/>
                  <a:pt x="12110938" y="3780101"/>
                  <a:pt x="12109919" y="3780111"/>
                </a:cubicBezTo>
                <a:cubicBezTo>
                  <a:pt x="12108724" y="3780194"/>
                  <a:pt x="12108188" y="3779389"/>
                  <a:pt x="12108074" y="3778616"/>
                </a:cubicBezTo>
                <a:cubicBezTo>
                  <a:pt x="12107477" y="3775173"/>
                  <a:pt x="12105789" y="3775049"/>
                  <a:pt x="12103057" y="3776377"/>
                </a:cubicBezTo>
                <a:cubicBezTo>
                  <a:pt x="12099627" y="3777993"/>
                  <a:pt x="12096236" y="3776724"/>
                  <a:pt x="12093301" y="3775063"/>
                </a:cubicBezTo>
                <a:cubicBezTo>
                  <a:pt x="12090930" y="3773784"/>
                  <a:pt x="12089632" y="3774112"/>
                  <a:pt x="12089024" y="3776617"/>
                </a:cubicBezTo>
                <a:cubicBezTo>
                  <a:pt x="12088756" y="3777957"/>
                  <a:pt x="12088343" y="3778946"/>
                  <a:pt x="12086798" y="3779172"/>
                </a:cubicBezTo>
                <a:cubicBezTo>
                  <a:pt x="12084726" y="3779614"/>
                  <a:pt x="12084500" y="3778068"/>
                  <a:pt x="12083645" y="3776985"/>
                </a:cubicBezTo>
                <a:cubicBezTo>
                  <a:pt x="12083181" y="3776356"/>
                  <a:pt x="12082821" y="3775479"/>
                  <a:pt x="12082285" y="3774676"/>
                </a:cubicBezTo>
                <a:cubicBezTo>
                  <a:pt x="12079814" y="3770159"/>
                  <a:pt x="12076753" y="3770189"/>
                  <a:pt x="12073878" y="3774650"/>
                </a:cubicBezTo>
                <a:cubicBezTo>
                  <a:pt x="12073496" y="3775218"/>
                  <a:pt x="12073290" y="3775712"/>
                  <a:pt x="12072837" y="3776103"/>
                </a:cubicBezTo>
                <a:cubicBezTo>
                  <a:pt x="12072003" y="3777061"/>
                  <a:pt x="12070745" y="3777988"/>
                  <a:pt x="12069613" y="3777225"/>
                </a:cubicBezTo>
                <a:cubicBezTo>
                  <a:pt x="12068551" y="3776637"/>
                  <a:pt x="12068748" y="3775122"/>
                  <a:pt x="12069160" y="3774133"/>
                </a:cubicBezTo>
                <a:cubicBezTo>
                  <a:pt x="12069571" y="3773143"/>
                  <a:pt x="12070057" y="3772330"/>
                  <a:pt x="12070715" y="3771444"/>
                </a:cubicBezTo>
                <a:cubicBezTo>
                  <a:pt x="12071509" y="3769888"/>
                  <a:pt x="12071426" y="3768692"/>
                  <a:pt x="12069799" y="3767722"/>
                </a:cubicBezTo>
                <a:cubicBezTo>
                  <a:pt x="12066153" y="3765329"/>
                  <a:pt x="12064287" y="3761792"/>
                  <a:pt x="12062599" y="3758184"/>
                </a:cubicBezTo>
                <a:cubicBezTo>
                  <a:pt x="12060446" y="3753946"/>
                  <a:pt x="12059096" y="3749174"/>
                  <a:pt x="12056244" y="3745224"/>
                </a:cubicBezTo>
                <a:cubicBezTo>
                  <a:pt x="12055244" y="3743792"/>
                  <a:pt x="12055935" y="3742483"/>
                  <a:pt x="12056523" y="3741421"/>
                </a:cubicBezTo>
                <a:cubicBezTo>
                  <a:pt x="12058316" y="3737815"/>
                  <a:pt x="12060181" y="3734384"/>
                  <a:pt x="12056977" y="3730578"/>
                </a:cubicBezTo>
                <a:cubicBezTo>
                  <a:pt x="12056442" y="3729775"/>
                  <a:pt x="12056926" y="3728960"/>
                  <a:pt x="12057483" y="3728322"/>
                </a:cubicBezTo>
                <a:cubicBezTo>
                  <a:pt x="12060192" y="3724953"/>
                  <a:pt x="12061698" y="3720644"/>
                  <a:pt x="12063595" y="3716791"/>
                </a:cubicBezTo>
                <a:cubicBezTo>
                  <a:pt x="12066491" y="3710886"/>
                  <a:pt x="12070634" y="3706518"/>
                  <a:pt x="12077413" y="3705573"/>
                </a:cubicBezTo>
                <a:cubicBezTo>
                  <a:pt x="12080081" y="3705091"/>
                  <a:pt x="12081081" y="3703040"/>
                  <a:pt x="12081907" y="3701061"/>
                </a:cubicBezTo>
                <a:cubicBezTo>
                  <a:pt x="12083936" y="3696537"/>
                  <a:pt x="12085760" y="3695992"/>
                  <a:pt x="12089829" y="3698417"/>
                </a:cubicBezTo>
                <a:cubicBezTo>
                  <a:pt x="12094043" y="3701192"/>
                  <a:pt x="12094043" y="3701192"/>
                  <a:pt x="12096600" y="3696451"/>
                </a:cubicBezTo>
                <a:cubicBezTo>
                  <a:pt x="12097186" y="3695389"/>
                  <a:pt x="12097671" y="3694576"/>
                  <a:pt x="12099155" y="3695195"/>
                </a:cubicBezTo>
                <a:cubicBezTo>
                  <a:pt x="12104625" y="3697042"/>
                  <a:pt x="12109953" y="3698540"/>
                  <a:pt x="12115320" y="3700636"/>
                </a:cubicBezTo>
                <a:cubicBezTo>
                  <a:pt x="12119379" y="3702039"/>
                  <a:pt x="12122676" y="3704577"/>
                  <a:pt x="12125139" y="3708072"/>
                </a:cubicBezTo>
                <a:cubicBezTo>
                  <a:pt x="12126848" y="3710237"/>
                  <a:pt x="12135102" y="3712375"/>
                  <a:pt x="12137801" y="3711470"/>
                </a:cubicBezTo>
                <a:cubicBezTo>
                  <a:pt x="12138676" y="3711109"/>
                  <a:pt x="12139378" y="3710821"/>
                  <a:pt x="12139295" y="3709625"/>
                </a:cubicBezTo>
                <a:cubicBezTo>
                  <a:pt x="12139512" y="3703184"/>
                  <a:pt x="12143160" y="3698609"/>
                  <a:pt x="12147303" y="3694240"/>
                </a:cubicBezTo>
                <a:cubicBezTo>
                  <a:pt x="12148138" y="3693283"/>
                  <a:pt x="12148869" y="3692571"/>
                  <a:pt x="12149530" y="3691686"/>
                </a:cubicBezTo>
                <a:cubicBezTo>
                  <a:pt x="12151610" y="3688780"/>
                  <a:pt x="12153702" y="3686895"/>
                  <a:pt x="12157710" y="3686680"/>
                </a:cubicBezTo>
                <a:cubicBezTo>
                  <a:pt x="12161719" y="3686467"/>
                  <a:pt x="12164429" y="3683098"/>
                  <a:pt x="12166861" y="3680047"/>
                </a:cubicBezTo>
                <a:cubicBezTo>
                  <a:pt x="12168149" y="3678699"/>
                  <a:pt x="12169056" y="3677916"/>
                  <a:pt x="12171137" y="3678494"/>
                </a:cubicBezTo>
                <a:close/>
                <a:moveTo>
                  <a:pt x="109281" y="3659371"/>
                </a:moveTo>
                <a:cubicBezTo>
                  <a:pt x="113689" y="3659364"/>
                  <a:pt x="118850" y="3663684"/>
                  <a:pt x="123000" y="3667049"/>
                </a:cubicBezTo>
                <a:cubicBezTo>
                  <a:pt x="124660" y="3668394"/>
                  <a:pt x="125464" y="3670284"/>
                  <a:pt x="128083" y="3670619"/>
                </a:cubicBezTo>
                <a:cubicBezTo>
                  <a:pt x="130701" y="3670951"/>
                  <a:pt x="131506" y="3672842"/>
                  <a:pt x="131455" y="3675278"/>
                </a:cubicBezTo>
                <a:cubicBezTo>
                  <a:pt x="131611" y="3676781"/>
                  <a:pt x="131378" y="3678932"/>
                  <a:pt x="132960" y="3679527"/>
                </a:cubicBezTo>
                <a:cubicBezTo>
                  <a:pt x="137991" y="3681125"/>
                  <a:pt x="139910" y="3683507"/>
                  <a:pt x="136437" y="3688125"/>
                </a:cubicBezTo>
                <a:cubicBezTo>
                  <a:pt x="135478" y="3689137"/>
                  <a:pt x="136281" y="3691028"/>
                  <a:pt x="137967" y="3691155"/>
                </a:cubicBezTo>
                <a:cubicBezTo>
                  <a:pt x="143671" y="3691923"/>
                  <a:pt x="140587" y="3695893"/>
                  <a:pt x="141470" y="3698535"/>
                </a:cubicBezTo>
                <a:cubicBezTo>
                  <a:pt x="144376" y="3707498"/>
                  <a:pt x="134083" y="3710856"/>
                  <a:pt x="134292" y="3718734"/>
                </a:cubicBezTo>
                <a:cubicBezTo>
                  <a:pt x="134422" y="3721454"/>
                  <a:pt x="128096" y="3723485"/>
                  <a:pt x="125348" y="3724836"/>
                </a:cubicBezTo>
                <a:cubicBezTo>
                  <a:pt x="118814" y="3727800"/>
                  <a:pt x="114046" y="3736048"/>
                  <a:pt x="104840" y="3732303"/>
                </a:cubicBezTo>
                <a:cubicBezTo>
                  <a:pt x="103258" y="3731708"/>
                  <a:pt x="100639" y="3731375"/>
                  <a:pt x="98358" y="3732830"/>
                </a:cubicBezTo>
                <a:cubicBezTo>
                  <a:pt x="95402" y="3735115"/>
                  <a:pt x="92601" y="3734497"/>
                  <a:pt x="90034" y="3731727"/>
                </a:cubicBezTo>
                <a:cubicBezTo>
                  <a:pt x="88192" y="3730098"/>
                  <a:pt x="86041" y="3729867"/>
                  <a:pt x="83707" y="3729352"/>
                </a:cubicBezTo>
                <a:cubicBezTo>
                  <a:pt x="77820" y="3728298"/>
                  <a:pt x="73567" y="3725401"/>
                  <a:pt x="71725" y="3719366"/>
                </a:cubicBezTo>
                <a:cubicBezTo>
                  <a:pt x="70764" y="3715972"/>
                  <a:pt x="67912" y="3713385"/>
                  <a:pt x="63970" y="3713493"/>
                </a:cubicBezTo>
                <a:cubicBezTo>
                  <a:pt x="63244" y="3712355"/>
                  <a:pt x="62517" y="3711215"/>
                  <a:pt x="61791" y="3710075"/>
                </a:cubicBezTo>
                <a:cubicBezTo>
                  <a:pt x="63450" y="3707015"/>
                  <a:pt x="63501" y="3704579"/>
                  <a:pt x="60856" y="3701058"/>
                </a:cubicBezTo>
                <a:cubicBezTo>
                  <a:pt x="57302" y="3696114"/>
                  <a:pt x="57041" y="3690672"/>
                  <a:pt x="62018" y="3685896"/>
                </a:cubicBezTo>
                <a:cubicBezTo>
                  <a:pt x="64403" y="3683975"/>
                  <a:pt x="62562" y="3682345"/>
                  <a:pt x="61472" y="3680636"/>
                </a:cubicBezTo>
                <a:cubicBezTo>
                  <a:pt x="59657" y="3677788"/>
                  <a:pt x="60435" y="3676491"/>
                  <a:pt x="63987" y="3677030"/>
                </a:cubicBezTo>
                <a:cubicBezTo>
                  <a:pt x="69224" y="3677697"/>
                  <a:pt x="71506" y="3676242"/>
                  <a:pt x="69275" y="3670856"/>
                </a:cubicBezTo>
                <a:cubicBezTo>
                  <a:pt x="68834" y="3669534"/>
                  <a:pt x="68781" y="3667565"/>
                  <a:pt x="70829" y="3668262"/>
                </a:cubicBezTo>
                <a:cubicBezTo>
                  <a:pt x="76898" y="3669600"/>
                  <a:pt x="78012" y="3665686"/>
                  <a:pt x="79230" y="3661305"/>
                </a:cubicBezTo>
                <a:cubicBezTo>
                  <a:pt x="79151" y="3660554"/>
                  <a:pt x="80292" y="3659825"/>
                  <a:pt x="80862" y="3659462"/>
                </a:cubicBezTo>
                <a:cubicBezTo>
                  <a:pt x="90249" y="3659087"/>
                  <a:pt x="99714" y="3659462"/>
                  <a:pt x="109281" y="3659371"/>
                </a:cubicBezTo>
                <a:close/>
                <a:moveTo>
                  <a:pt x="997430" y="3642962"/>
                </a:moveTo>
                <a:cubicBezTo>
                  <a:pt x="997118" y="3643026"/>
                  <a:pt x="996951" y="3644746"/>
                  <a:pt x="996872" y="3649429"/>
                </a:cubicBezTo>
                <a:cubicBezTo>
                  <a:pt x="1001261" y="3650603"/>
                  <a:pt x="997733" y="3663769"/>
                  <a:pt x="997733" y="3663769"/>
                </a:cubicBezTo>
                <a:cubicBezTo>
                  <a:pt x="995697" y="3653816"/>
                  <a:pt x="994521" y="3658205"/>
                  <a:pt x="993345" y="3662594"/>
                </a:cubicBezTo>
                <a:cubicBezTo>
                  <a:pt x="1000946" y="3669335"/>
                  <a:pt x="996242" y="3686891"/>
                  <a:pt x="1001492" y="3702405"/>
                </a:cubicBezTo>
                <a:cubicBezTo>
                  <a:pt x="1001492" y="3702405"/>
                  <a:pt x="1000317" y="3706794"/>
                  <a:pt x="999140" y="3711183"/>
                </a:cubicBezTo>
                <a:cubicBezTo>
                  <a:pt x="999140" y="3711183"/>
                  <a:pt x="997964" y="3715572"/>
                  <a:pt x="997964" y="3715572"/>
                </a:cubicBezTo>
                <a:cubicBezTo>
                  <a:pt x="996788" y="3719961"/>
                  <a:pt x="996788" y="3719961"/>
                  <a:pt x="996788" y="3719961"/>
                </a:cubicBezTo>
                <a:cubicBezTo>
                  <a:pt x="996788" y="3719961"/>
                  <a:pt x="1001178" y="3721136"/>
                  <a:pt x="1001178" y="3721136"/>
                </a:cubicBezTo>
                <a:cubicBezTo>
                  <a:pt x="1000001" y="3725526"/>
                  <a:pt x="1000001" y="3725526"/>
                  <a:pt x="998824" y="3729914"/>
                </a:cubicBezTo>
                <a:cubicBezTo>
                  <a:pt x="993260" y="3733127"/>
                  <a:pt x="995613" y="3724349"/>
                  <a:pt x="991224" y="3723172"/>
                </a:cubicBezTo>
                <a:cubicBezTo>
                  <a:pt x="988871" y="3731951"/>
                  <a:pt x="993260" y="3733127"/>
                  <a:pt x="992084" y="3737515"/>
                </a:cubicBezTo>
                <a:cubicBezTo>
                  <a:pt x="992084" y="3737515"/>
                  <a:pt x="992084" y="3737515"/>
                  <a:pt x="990908" y="3741905"/>
                </a:cubicBezTo>
                <a:cubicBezTo>
                  <a:pt x="990908" y="3741905"/>
                  <a:pt x="989733" y="3746293"/>
                  <a:pt x="989733" y="3746293"/>
                </a:cubicBezTo>
                <a:cubicBezTo>
                  <a:pt x="988556" y="3750681"/>
                  <a:pt x="988556" y="3750681"/>
                  <a:pt x="988556" y="3750681"/>
                </a:cubicBezTo>
                <a:cubicBezTo>
                  <a:pt x="988243" y="3769413"/>
                  <a:pt x="988243" y="3769413"/>
                  <a:pt x="988243" y="3769413"/>
                </a:cubicBezTo>
                <a:cubicBezTo>
                  <a:pt x="991455" y="3774977"/>
                  <a:pt x="991455" y="3774977"/>
                  <a:pt x="991455" y="3774977"/>
                </a:cubicBezTo>
                <a:cubicBezTo>
                  <a:pt x="985890" y="3778190"/>
                  <a:pt x="990278" y="3779367"/>
                  <a:pt x="990278" y="3779367"/>
                </a:cubicBezTo>
                <a:lnTo>
                  <a:pt x="991455" y="3774977"/>
                </a:lnTo>
                <a:cubicBezTo>
                  <a:pt x="993177" y="3803662"/>
                  <a:pt x="995528" y="3794884"/>
                  <a:pt x="992860" y="3822391"/>
                </a:cubicBezTo>
                <a:cubicBezTo>
                  <a:pt x="991684" y="3826781"/>
                  <a:pt x="991684" y="3826781"/>
                  <a:pt x="990510" y="3831170"/>
                </a:cubicBezTo>
                <a:cubicBezTo>
                  <a:pt x="993722" y="3836734"/>
                  <a:pt x="993722" y="3836734"/>
                  <a:pt x="994897" y="3832347"/>
                </a:cubicBezTo>
                <a:cubicBezTo>
                  <a:pt x="991369" y="3845512"/>
                  <a:pt x="989879" y="3868631"/>
                  <a:pt x="997480" y="3875372"/>
                </a:cubicBezTo>
                <a:cubicBezTo>
                  <a:pt x="995444" y="3865418"/>
                  <a:pt x="999833" y="3866594"/>
                  <a:pt x="1001869" y="3876548"/>
                </a:cubicBezTo>
                <a:lnTo>
                  <a:pt x="1000693" y="3880937"/>
                </a:lnTo>
                <a:cubicBezTo>
                  <a:pt x="996305" y="3879761"/>
                  <a:pt x="996305" y="3879761"/>
                  <a:pt x="996305" y="3879761"/>
                </a:cubicBezTo>
                <a:cubicBezTo>
                  <a:pt x="996305" y="3879761"/>
                  <a:pt x="996305" y="3879761"/>
                  <a:pt x="995127" y="3884150"/>
                </a:cubicBezTo>
                <a:cubicBezTo>
                  <a:pt x="995127" y="3884150"/>
                  <a:pt x="995127" y="3884150"/>
                  <a:pt x="998341" y="3889714"/>
                </a:cubicBezTo>
                <a:cubicBezTo>
                  <a:pt x="991286" y="3916046"/>
                  <a:pt x="1004368" y="3990110"/>
                  <a:pt x="1004914" y="4023181"/>
                </a:cubicBezTo>
                <a:cubicBezTo>
                  <a:pt x="1004599" y="4041913"/>
                  <a:pt x="999033" y="4045125"/>
                  <a:pt x="1004283" y="4060643"/>
                </a:cubicBezTo>
                <a:cubicBezTo>
                  <a:pt x="1001931" y="4069420"/>
                  <a:pt x="1009532" y="4076161"/>
                  <a:pt x="1011569" y="4086116"/>
                </a:cubicBezTo>
                <a:cubicBezTo>
                  <a:pt x="1011254" y="4104846"/>
                  <a:pt x="1007726" y="4118012"/>
                  <a:pt x="1019716" y="4125929"/>
                </a:cubicBezTo>
                <a:cubicBezTo>
                  <a:pt x="1023705" y="4216369"/>
                  <a:pt x="1047286" y="4321470"/>
                  <a:pt x="1074394" y="4413401"/>
                </a:cubicBezTo>
                <a:cubicBezTo>
                  <a:pt x="1068830" y="4416614"/>
                  <a:pt x="1068830" y="4416614"/>
                  <a:pt x="1067656" y="4421004"/>
                </a:cubicBezTo>
                <a:cubicBezTo>
                  <a:pt x="1067656" y="4421004"/>
                  <a:pt x="1068830" y="4416614"/>
                  <a:pt x="1068830" y="4416614"/>
                </a:cubicBezTo>
                <a:cubicBezTo>
                  <a:pt x="1064443" y="4415437"/>
                  <a:pt x="1064443" y="4415437"/>
                  <a:pt x="1064443" y="4415437"/>
                </a:cubicBezTo>
                <a:cubicBezTo>
                  <a:pt x="1064443" y="4415437"/>
                  <a:pt x="1063267" y="4419826"/>
                  <a:pt x="1066480" y="4425392"/>
                </a:cubicBezTo>
                <a:cubicBezTo>
                  <a:pt x="1065304" y="4429781"/>
                  <a:pt x="1060914" y="4428603"/>
                  <a:pt x="1062952" y="4438558"/>
                </a:cubicBezTo>
                <a:cubicBezTo>
                  <a:pt x="1068515" y="4435345"/>
                  <a:pt x="1071729" y="4440909"/>
                  <a:pt x="1076979" y="4456428"/>
                </a:cubicBezTo>
                <a:cubicBezTo>
                  <a:pt x="1075802" y="4460816"/>
                  <a:pt x="1075802" y="4460816"/>
                  <a:pt x="1075802" y="4460816"/>
                </a:cubicBezTo>
                <a:cubicBezTo>
                  <a:pt x="1075802" y="4460816"/>
                  <a:pt x="1080190" y="4461991"/>
                  <a:pt x="1079015" y="4466381"/>
                </a:cubicBezTo>
                <a:cubicBezTo>
                  <a:pt x="1079015" y="4466381"/>
                  <a:pt x="1077840" y="4470769"/>
                  <a:pt x="1077840" y="4470769"/>
                </a:cubicBezTo>
                <a:cubicBezTo>
                  <a:pt x="1082228" y="4471945"/>
                  <a:pt x="1082228" y="4471945"/>
                  <a:pt x="1082228" y="4471945"/>
                </a:cubicBezTo>
                <a:cubicBezTo>
                  <a:pt x="1081053" y="4476334"/>
                  <a:pt x="1081053" y="4476334"/>
                  <a:pt x="1084266" y="4481898"/>
                </a:cubicBezTo>
                <a:cubicBezTo>
                  <a:pt x="1077523" y="4489500"/>
                  <a:pt x="1091552" y="4507370"/>
                  <a:pt x="1087161" y="4506194"/>
                </a:cubicBezTo>
                <a:cubicBezTo>
                  <a:pt x="1087161" y="4506194"/>
                  <a:pt x="1082774" y="4505018"/>
                  <a:pt x="1082774" y="4505018"/>
                </a:cubicBezTo>
                <a:cubicBezTo>
                  <a:pt x="1083949" y="4500630"/>
                  <a:pt x="1079561" y="4499453"/>
                  <a:pt x="1079561" y="4499453"/>
                </a:cubicBezTo>
                <a:cubicBezTo>
                  <a:pt x="1078385" y="4503842"/>
                  <a:pt x="1082774" y="4505018"/>
                  <a:pt x="1081597" y="4509407"/>
                </a:cubicBezTo>
                <a:cubicBezTo>
                  <a:pt x="1081597" y="4509407"/>
                  <a:pt x="1084810" y="4514972"/>
                  <a:pt x="1084810" y="4514972"/>
                </a:cubicBezTo>
                <a:cubicBezTo>
                  <a:pt x="1086848" y="4524925"/>
                  <a:pt x="1088885" y="4534878"/>
                  <a:pt x="1093273" y="4536054"/>
                </a:cubicBezTo>
                <a:cubicBezTo>
                  <a:pt x="1093273" y="4536054"/>
                  <a:pt x="1093273" y="4536054"/>
                  <a:pt x="1092097" y="4540443"/>
                </a:cubicBezTo>
                <a:cubicBezTo>
                  <a:pt x="1092097" y="4540443"/>
                  <a:pt x="1090921" y="4544832"/>
                  <a:pt x="1094133" y="4550397"/>
                </a:cubicBezTo>
                <a:cubicBezTo>
                  <a:pt x="1094133" y="4550397"/>
                  <a:pt x="1098523" y="4551573"/>
                  <a:pt x="1098523" y="4551573"/>
                </a:cubicBezTo>
                <a:cubicBezTo>
                  <a:pt x="1098523" y="4551573"/>
                  <a:pt x="1099699" y="4547184"/>
                  <a:pt x="1099699" y="4547184"/>
                </a:cubicBezTo>
                <a:cubicBezTo>
                  <a:pt x="1098523" y="4551573"/>
                  <a:pt x="1097347" y="4555960"/>
                  <a:pt x="1100559" y="4561525"/>
                </a:cubicBezTo>
                <a:cubicBezTo>
                  <a:pt x="1101736" y="4557137"/>
                  <a:pt x="1106123" y="4558312"/>
                  <a:pt x="1109337" y="4563878"/>
                </a:cubicBezTo>
                <a:cubicBezTo>
                  <a:pt x="1104948" y="4562702"/>
                  <a:pt x="1108160" y="4568266"/>
                  <a:pt x="1106985" y="4572655"/>
                </a:cubicBezTo>
                <a:cubicBezTo>
                  <a:pt x="1110199" y="4578220"/>
                  <a:pt x="1110199" y="4578220"/>
                  <a:pt x="1110199" y="4578220"/>
                </a:cubicBezTo>
                <a:cubicBezTo>
                  <a:pt x="1109022" y="4582609"/>
                  <a:pt x="1109022" y="4582609"/>
                  <a:pt x="1109022" y="4582609"/>
                </a:cubicBezTo>
                <a:cubicBezTo>
                  <a:pt x="1113410" y="4583785"/>
                  <a:pt x="1113410" y="4583785"/>
                  <a:pt x="1113410" y="4583785"/>
                </a:cubicBezTo>
                <a:cubicBezTo>
                  <a:pt x="1113410" y="4583785"/>
                  <a:pt x="1113410" y="4583785"/>
                  <a:pt x="1114587" y="4579396"/>
                </a:cubicBezTo>
                <a:cubicBezTo>
                  <a:pt x="1121874" y="4604867"/>
                  <a:pt x="1129159" y="4630339"/>
                  <a:pt x="1136759" y="4637079"/>
                </a:cubicBezTo>
                <a:cubicBezTo>
                  <a:pt x="1139974" y="4642643"/>
                  <a:pt x="1139974" y="4642643"/>
                  <a:pt x="1138798" y="4647032"/>
                </a:cubicBezTo>
                <a:cubicBezTo>
                  <a:pt x="1142011" y="4652598"/>
                  <a:pt x="1142011" y="4652598"/>
                  <a:pt x="1146398" y="4653774"/>
                </a:cubicBezTo>
                <a:lnTo>
                  <a:pt x="1147322" y="4650328"/>
                </a:lnTo>
                <a:lnTo>
                  <a:pt x="1154908" y="4667004"/>
                </a:lnTo>
                <a:cubicBezTo>
                  <a:pt x="1163006" y="4686152"/>
                  <a:pt x="1165518" y="4696527"/>
                  <a:pt x="1178212" y="4728150"/>
                </a:cubicBezTo>
                <a:cubicBezTo>
                  <a:pt x="1189027" y="4740457"/>
                  <a:pt x="1192237" y="4746021"/>
                  <a:pt x="1196628" y="4747197"/>
                </a:cubicBezTo>
                <a:cubicBezTo>
                  <a:pt x="1195452" y="4751586"/>
                  <a:pt x="1191061" y="4750409"/>
                  <a:pt x="1193100" y="4760363"/>
                </a:cubicBezTo>
                <a:cubicBezTo>
                  <a:pt x="1201877" y="4762715"/>
                  <a:pt x="1198349" y="4775881"/>
                  <a:pt x="1207988" y="4792576"/>
                </a:cubicBezTo>
                <a:cubicBezTo>
                  <a:pt x="1217626" y="4809269"/>
                  <a:pt x="1214727" y="4784973"/>
                  <a:pt x="1223190" y="4806057"/>
                </a:cubicBezTo>
                <a:cubicBezTo>
                  <a:pt x="1212377" y="4793752"/>
                  <a:pt x="1220838" y="4814834"/>
                  <a:pt x="1230477" y="4831528"/>
                </a:cubicBezTo>
                <a:cubicBezTo>
                  <a:pt x="1226088" y="4830353"/>
                  <a:pt x="1226088" y="4830353"/>
                  <a:pt x="1226088" y="4830353"/>
                </a:cubicBezTo>
                <a:cubicBezTo>
                  <a:pt x="1222876" y="4824788"/>
                  <a:pt x="1219662" y="4819223"/>
                  <a:pt x="1218487" y="4823612"/>
                </a:cubicBezTo>
                <a:cubicBezTo>
                  <a:pt x="1218487" y="4823612"/>
                  <a:pt x="1217310" y="4828001"/>
                  <a:pt x="1220524" y="4833565"/>
                </a:cubicBezTo>
                <a:cubicBezTo>
                  <a:pt x="1223736" y="4839130"/>
                  <a:pt x="1223736" y="4839130"/>
                  <a:pt x="1223736" y="4839130"/>
                </a:cubicBezTo>
                <a:cubicBezTo>
                  <a:pt x="1219348" y="4837954"/>
                  <a:pt x="1218487" y="4823612"/>
                  <a:pt x="1212922" y="4826824"/>
                </a:cubicBezTo>
                <a:cubicBezTo>
                  <a:pt x="1219348" y="4837954"/>
                  <a:pt x="1221384" y="4847907"/>
                  <a:pt x="1225773" y="4849082"/>
                </a:cubicBezTo>
                <a:cubicBezTo>
                  <a:pt x="1230162" y="4850259"/>
                  <a:pt x="1230162" y="4850259"/>
                  <a:pt x="1228986" y="4854648"/>
                </a:cubicBezTo>
                <a:cubicBezTo>
                  <a:pt x="1232198" y="4860212"/>
                  <a:pt x="1235412" y="4865777"/>
                  <a:pt x="1239801" y="4866952"/>
                </a:cubicBezTo>
                <a:cubicBezTo>
                  <a:pt x="1239801" y="4866952"/>
                  <a:pt x="1240977" y="4862564"/>
                  <a:pt x="1237764" y="4856999"/>
                </a:cubicBezTo>
                <a:cubicBezTo>
                  <a:pt x="1238940" y="4852611"/>
                  <a:pt x="1238940" y="4852611"/>
                  <a:pt x="1238940" y="4852611"/>
                </a:cubicBezTo>
                <a:cubicBezTo>
                  <a:pt x="1246540" y="4859351"/>
                  <a:pt x="1248893" y="4850574"/>
                  <a:pt x="1248578" y="4869304"/>
                </a:cubicBezTo>
                <a:cubicBezTo>
                  <a:pt x="1254143" y="4866092"/>
                  <a:pt x="1247717" y="4854962"/>
                  <a:pt x="1248893" y="4850574"/>
                </a:cubicBezTo>
                <a:cubicBezTo>
                  <a:pt x="1257355" y="4871656"/>
                  <a:pt x="1251791" y="4874870"/>
                  <a:pt x="1258215" y="4885998"/>
                </a:cubicBezTo>
                <a:cubicBezTo>
                  <a:pt x="1253826" y="4884822"/>
                  <a:pt x="1255002" y="4880434"/>
                  <a:pt x="1255002" y="4880434"/>
                </a:cubicBezTo>
                <a:cubicBezTo>
                  <a:pt x="1251791" y="4874870"/>
                  <a:pt x="1251791" y="4874870"/>
                  <a:pt x="1246226" y="4878082"/>
                </a:cubicBezTo>
                <a:cubicBezTo>
                  <a:pt x="1246226" y="4878082"/>
                  <a:pt x="1249439" y="4883647"/>
                  <a:pt x="1252651" y="4889210"/>
                </a:cubicBezTo>
                <a:cubicBezTo>
                  <a:pt x="1245050" y="4882470"/>
                  <a:pt x="1243874" y="4886860"/>
                  <a:pt x="1251476" y="4893600"/>
                </a:cubicBezTo>
                <a:cubicBezTo>
                  <a:pt x="1250299" y="4897989"/>
                  <a:pt x="1250299" y="4897989"/>
                  <a:pt x="1250299" y="4897989"/>
                </a:cubicBezTo>
                <a:cubicBezTo>
                  <a:pt x="1247087" y="4892425"/>
                  <a:pt x="1245912" y="4896814"/>
                  <a:pt x="1245912" y="4896814"/>
                </a:cubicBezTo>
                <a:cubicBezTo>
                  <a:pt x="1249123" y="4902378"/>
                  <a:pt x="1249123" y="4902378"/>
                  <a:pt x="1253513" y="4903554"/>
                </a:cubicBezTo>
                <a:cubicBezTo>
                  <a:pt x="1252336" y="4907942"/>
                  <a:pt x="1252336" y="4907942"/>
                  <a:pt x="1256724" y="4909119"/>
                </a:cubicBezTo>
                <a:cubicBezTo>
                  <a:pt x="1258762" y="4919071"/>
                  <a:pt x="1258762" y="4919071"/>
                  <a:pt x="1260798" y="4929025"/>
                </a:cubicBezTo>
                <a:cubicBezTo>
                  <a:pt x="1257587" y="4923461"/>
                  <a:pt x="1257587" y="4923461"/>
                  <a:pt x="1257587" y="4923461"/>
                </a:cubicBezTo>
                <a:cubicBezTo>
                  <a:pt x="1254374" y="4917896"/>
                  <a:pt x="1249985" y="4916720"/>
                  <a:pt x="1249985" y="4916720"/>
                </a:cubicBezTo>
                <a:cubicBezTo>
                  <a:pt x="1248809" y="4921108"/>
                  <a:pt x="1252021" y="4926674"/>
                  <a:pt x="1255234" y="4932238"/>
                </a:cubicBezTo>
                <a:cubicBezTo>
                  <a:pt x="1258446" y="4937802"/>
                  <a:pt x="1258446" y="4937802"/>
                  <a:pt x="1258446" y="4937802"/>
                </a:cubicBezTo>
                <a:cubicBezTo>
                  <a:pt x="1261660" y="4943368"/>
                  <a:pt x="1261660" y="4943368"/>
                  <a:pt x="1261660" y="4943368"/>
                </a:cubicBezTo>
                <a:cubicBezTo>
                  <a:pt x="1264873" y="4948933"/>
                  <a:pt x="1269261" y="4950108"/>
                  <a:pt x="1270437" y="4945718"/>
                </a:cubicBezTo>
                <a:cubicBezTo>
                  <a:pt x="1270437" y="4945718"/>
                  <a:pt x="1271612" y="4941330"/>
                  <a:pt x="1268401" y="4935766"/>
                </a:cubicBezTo>
                <a:cubicBezTo>
                  <a:pt x="1268401" y="4935766"/>
                  <a:pt x="1268401" y="4935766"/>
                  <a:pt x="1264011" y="4934589"/>
                </a:cubicBezTo>
                <a:cubicBezTo>
                  <a:pt x="1260798" y="4929025"/>
                  <a:pt x="1260798" y="4929025"/>
                  <a:pt x="1260798" y="4929025"/>
                </a:cubicBezTo>
                <a:cubicBezTo>
                  <a:pt x="1280390" y="4943682"/>
                  <a:pt x="1266363" y="4925811"/>
                  <a:pt x="1261114" y="4910295"/>
                </a:cubicBezTo>
                <a:cubicBezTo>
                  <a:pt x="1264326" y="4915859"/>
                  <a:pt x="1264326" y="4915859"/>
                  <a:pt x="1264326" y="4915859"/>
                </a:cubicBezTo>
                <a:cubicBezTo>
                  <a:pt x="1264326" y="4915859"/>
                  <a:pt x="1265501" y="4911470"/>
                  <a:pt x="1265501" y="4911470"/>
                </a:cubicBezTo>
                <a:cubicBezTo>
                  <a:pt x="1265501" y="4911470"/>
                  <a:pt x="1265501" y="4911470"/>
                  <a:pt x="1266678" y="4907082"/>
                </a:cubicBezTo>
                <a:cubicBezTo>
                  <a:pt x="1262290" y="4905907"/>
                  <a:pt x="1262290" y="4905907"/>
                  <a:pt x="1262290" y="4905907"/>
                </a:cubicBezTo>
                <a:cubicBezTo>
                  <a:pt x="1259077" y="4900341"/>
                  <a:pt x="1259077" y="4900341"/>
                  <a:pt x="1259077" y="4900341"/>
                </a:cubicBezTo>
                <a:cubicBezTo>
                  <a:pt x="1263467" y="4901517"/>
                  <a:pt x="1263467" y="4901517"/>
                  <a:pt x="1263467" y="4901517"/>
                </a:cubicBezTo>
                <a:cubicBezTo>
                  <a:pt x="1263467" y="4901517"/>
                  <a:pt x="1264642" y="4897128"/>
                  <a:pt x="1260253" y="4895953"/>
                </a:cubicBezTo>
                <a:cubicBezTo>
                  <a:pt x="1261429" y="4891564"/>
                  <a:pt x="1261429" y="4891564"/>
                  <a:pt x="1261429" y="4891564"/>
                </a:cubicBezTo>
                <a:cubicBezTo>
                  <a:pt x="1273419" y="4899480"/>
                  <a:pt x="1275456" y="4909434"/>
                  <a:pt x="1283919" y="4930516"/>
                </a:cubicBezTo>
                <a:cubicBezTo>
                  <a:pt x="1279529" y="4929340"/>
                  <a:pt x="1279529" y="4929340"/>
                  <a:pt x="1279529" y="4929340"/>
                </a:cubicBezTo>
                <a:cubicBezTo>
                  <a:pt x="1275140" y="4928164"/>
                  <a:pt x="1275140" y="4928164"/>
                  <a:pt x="1275140" y="4928164"/>
                </a:cubicBezTo>
                <a:cubicBezTo>
                  <a:pt x="1278354" y="4933729"/>
                  <a:pt x="1278354" y="4933729"/>
                  <a:pt x="1278354" y="4933729"/>
                </a:cubicBezTo>
                <a:cubicBezTo>
                  <a:pt x="1282743" y="4934905"/>
                  <a:pt x="1282743" y="4934905"/>
                  <a:pt x="1282743" y="4934905"/>
                </a:cubicBezTo>
                <a:cubicBezTo>
                  <a:pt x="1285955" y="4940470"/>
                  <a:pt x="1285955" y="4940470"/>
                  <a:pt x="1285955" y="4940470"/>
                </a:cubicBezTo>
                <a:cubicBezTo>
                  <a:pt x="1289166" y="4946034"/>
                  <a:pt x="1283603" y="4949247"/>
                  <a:pt x="1290029" y="4960376"/>
                </a:cubicBezTo>
                <a:cubicBezTo>
                  <a:pt x="1288853" y="4964765"/>
                  <a:pt x="1288853" y="4964765"/>
                  <a:pt x="1288853" y="4964765"/>
                </a:cubicBezTo>
                <a:cubicBezTo>
                  <a:pt x="1293241" y="4965941"/>
                  <a:pt x="1292065" y="4970330"/>
                  <a:pt x="1292065" y="4970330"/>
                </a:cubicBezTo>
                <a:cubicBezTo>
                  <a:pt x="1296455" y="4971507"/>
                  <a:pt x="1296455" y="4971507"/>
                  <a:pt x="1296455" y="4971507"/>
                </a:cubicBezTo>
                <a:cubicBezTo>
                  <a:pt x="1297630" y="4967117"/>
                  <a:pt x="1297630" y="4967117"/>
                  <a:pt x="1297630" y="4967117"/>
                </a:cubicBezTo>
                <a:cubicBezTo>
                  <a:pt x="1304056" y="4978246"/>
                  <a:pt x="1300528" y="4991412"/>
                  <a:pt x="1309305" y="4993764"/>
                </a:cubicBezTo>
                <a:cubicBezTo>
                  <a:pt x="1309305" y="4993764"/>
                  <a:pt x="1313694" y="4994941"/>
                  <a:pt x="1312518" y="4999330"/>
                </a:cubicBezTo>
                <a:cubicBezTo>
                  <a:pt x="1312518" y="4999330"/>
                  <a:pt x="1316907" y="5000505"/>
                  <a:pt x="1316907" y="5000505"/>
                </a:cubicBezTo>
                <a:cubicBezTo>
                  <a:pt x="1318083" y="4996115"/>
                  <a:pt x="1318083" y="4996115"/>
                  <a:pt x="1318083" y="4996115"/>
                </a:cubicBezTo>
                <a:cubicBezTo>
                  <a:pt x="1327406" y="5031541"/>
                  <a:pt x="1324507" y="5007245"/>
                  <a:pt x="1333286" y="5009598"/>
                </a:cubicBezTo>
                <a:cubicBezTo>
                  <a:pt x="1332971" y="5028329"/>
                  <a:pt x="1352248" y="5061717"/>
                  <a:pt x="1368311" y="5089540"/>
                </a:cubicBezTo>
                <a:cubicBezTo>
                  <a:pt x="1373874" y="5086328"/>
                  <a:pt x="1373874" y="5086328"/>
                  <a:pt x="1373874" y="5086328"/>
                </a:cubicBezTo>
                <a:cubicBezTo>
                  <a:pt x="1372700" y="5090716"/>
                  <a:pt x="1372700" y="5090716"/>
                  <a:pt x="1372700" y="5090716"/>
                </a:cubicBezTo>
                <a:cubicBezTo>
                  <a:pt x="1372700" y="5090716"/>
                  <a:pt x="1371524" y="5095105"/>
                  <a:pt x="1375913" y="5096281"/>
                </a:cubicBezTo>
                <a:cubicBezTo>
                  <a:pt x="1375913" y="5096281"/>
                  <a:pt x="1377088" y="5091892"/>
                  <a:pt x="1377088" y="5091892"/>
                </a:cubicBezTo>
                <a:cubicBezTo>
                  <a:pt x="1386727" y="5108586"/>
                  <a:pt x="1390801" y="5128492"/>
                  <a:pt x="1392836" y="5138445"/>
                </a:cubicBezTo>
                <a:cubicBezTo>
                  <a:pt x="1398402" y="5135234"/>
                  <a:pt x="1399578" y="5130845"/>
                  <a:pt x="1402790" y="5136410"/>
                </a:cubicBezTo>
                <a:cubicBezTo>
                  <a:pt x="1401615" y="5140798"/>
                  <a:pt x="1401615" y="5140798"/>
                  <a:pt x="1404828" y="5146363"/>
                </a:cubicBezTo>
                <a:cubicBezTo>
                  <a:pt x="1410392" y="5143149"/>
                  <a:pt x="1409216" y="5147538"/>
                  <a:pt x="1411253" y="5157491"/>
                </a:cubicBezTo>
                <a:cubicBezTo>
                  <a:pt x="1411253" y="5157491"/>
                  <a:pt x="1411253" y="5157491"/>
                  <a:pt x="1406865" y="5156315"/>
                </a:cubicBezTo>
                <a:cubicBezTo>
                  <a:pt x="1406865" y="5156315"/>
                  <a:pt x="1406865" y="5156315"/>
                  <a:pt x="1405688" y="5160705"/>
                </a:cubicBezTo>
                <a:cubicBezTo>
                  <a:pt x="1410078" y="5161881"/>
                  <a:pt x="1408901" y="5166270"/>
                  <a:pt x="1413290" y="5167446"/>
                </a:cubicBezTo>
                <a:cubicBezTo>
                  <a:pt x="1413290" y="5167446"/>
                  <a:pt x="1417678" y="5168622"/>
                  <a:pt x="1417678" y="5168622"/>
                </a:cubicBezTo>
                <a:cubicBezTo>
                  <a:pt x="1415326" y="5177399"/>
                  <a:pt x="1447770" y="5214314"/>
                  <a:pt x="1441343" y="5203186"/>
                </a:cubicBezTo>
                <a:cubicBezTo>
                  <a:pt x="1428177" y="5199658"/>
                  <a:pt x="1450436" y="5186806"/>
                  <a:pt x="1436095" y="5187668"/>
                </a:cubicBezTo>
                <a:cubicBezTo>
                  <a:pt x="1430530" y="5190880"/>
                  <a:pt x="1422929" y="5184139"/>
                  <a:pt x="1420891" y="5174186"/>
                </a:cubicBezTo>
                <a:cubicBezTo>
                  <a:pt x="1425279" y="5175362"/>
                  <a:pt x="1425279" y="5175362"/>
                  <a:pt x="1424105" y="5179751"/>
                </a:cubicBezTo>
                <a:cubicBezTo>
                  <a:pt x="1428494" y="5180927"/>
                  <a:pt x="1428494" y="5180927"/>
                  <a:pt x="1428494" y="5180927"/>
                </a:cubicBezTo>
                <a:cubicBezTo>
                  <a:pt x="1432882" y="5182103"/>
                  <a:pt x="1429669" y="5176539"/>
                  <a:pt x="1429669" y="5176539"/>
                </a:cubicBezTo>
                <a:cubicBezTo>
                  <a:pt x="1426456" y="5170973"/>
                  <a:pt x="1426456" y="5170973"/>
                  <a:pt x="1426456" y="5170973"/>
                </a:cubicBezTo>
                <a:cubicBezTo>
                  <a:pt x="1430844" y="5172150"/>
                  <a:pt x="1430844" y="5172150"/>
                  <a:pt x="1430844" y="5172150"/>
                </a:cubicBezTo>
                <a:cubicBezTo>
                  <a:pt x="1429669" y="5176539"/>
                  <a:pt x="1434057" y="5177713"/>
                  <a:pt x="1434057" y="5177713"/>
                </a:cubicBezTo>
                <a:cubicBezTo>
                  <a:pt x="1434057" y="5177713"/>
                  <a:pt x="1435233" y="5173325"/>
                  <a:pt x="1435233" y="5173325"/>
                </a:cubicBezTo>
                <a:cubicBezTo>
                  <a:pt x="1432022" y="5167761"/>
                  <a:pt x="1432022" y="5167761"/>
                  <a:pt x="1432022" y="5167761"/>
                </a:cubicBezTo>
                <a:cubicBezTo>
                  <a:pt x="1428808" y="5162195"/>
                  <a:pt x="1428808" y="5162195"/>
                  <a:pt x="1428808" y="5162195"/>
                </a:cubicBezTo>
                <a:cubicBezTo>
                  <a:pt x="1428808" y="5162195"/>
                  <a:pt x="1436408" y="5168936"/>
                  <a:pt x="1436408" y="5168936"/>
                </a:cubicBezTo>
                <a:cubicBezTo>
                  <a:pt x="1439622" y="5174501"/>
                  <a:pt x="1439622" y="5174501"/>
                  <a:pt x="1439622" y="5174501"/>
                </a:cubicBezTo>
                <a:cubicBezTo>
                  <a:pt x="1442835" y="5180066"/>
                  <a:pt x="1442835" y="5180066"/>
                  <a:pt x="1442835" y="5180066"/>
                </a:cubicBezTo>
                <a:cubicBezTo>
                  <a:pt x="1441659" y="5184454"/>
                  <a:pt x="1444872" y="5190020"/>
                  <a:pt x="1449261" y="5191195"/>
                </a:cubicBezTo>
                <a:cubicBezTo>
                  <a:pt x="1453649" y="5192371"/>
                  <a:pt x="1454825" y="5187982"/>
                  <a:pt x="1451612" y="5182418"/>
                </a:cubicBezTo>
                <a:cubicBezTo>
                  <a:pt x="1451612" y="5182418"/>
                  <a:pt x="1451612" y="5182418"/>
                  <a:pt x="1452788" y="5178029"/>
                </a:cubicBezTo>
                <a:cubicBezTo>
                  <a:pt x="1462427" y="5194723"/>
                  <a:pt x="1449261" y="5191195"/>
                  <a:pt x="1464465" y="5204675"/>
                </a:cubicBezTo>
                <a:cubicBezTo>
                  <a:pt x="1460075" y="5203500"/>
                  <a:pt x="1460075" y="5203500"/>
                  <a:pt x="1460075" y="5203500"/>
                </a:cubicBezTo>
                <a:cubicBezTo>
                  <a:pt x="1460075" y="5203500"/>
                  <a:pt x="1460075" y="5203500"/>
                  <a:pt x="1458898" y="5207889"/>
                </a:cubicBezTo>
                <a:cubicBezTo>
                  <a:pt x="1463288" y="5209065"/>
                  <a:pt x="1463288" y="5209065"/>
                  <a:pt x="1463288" y="5209065"/>
                </a:cubicBezTo>
                <a:cubicBezTo>
                  <a:pt x="1463288" y="5209065"/>
                  <a:pt x="1467676" y="5210241"/>
                  <a:pt x="1467676" y="5210241"/>
                </a:cubicBezTo>
                <a:cubicBezTo>
                  <a:pt x="1470889" y="5215806"/>
                  <a:pt x="1470889" y="5215806"/>
                  <a:pt x="1470889" y="5215806"/>
                </a:cubicBezTo>
                <a:cubicBezTo>
                  <a:pt x="1474102" y="5221370"/>
                  <a:pt x="1474102" y="5221370"/>
                  <a:pt x="1480528" y="5232500"/>
                </a:cubicBezTo>
                <a:cubicBezTo>
                  <a:pt x="1491657" y="5226074"/>
                  <a:pt x="1503332" y="5252723"/>
                  <a:pt x="1506860" y="5239556"/>
                </a:cubicBezTo>
                <a:cubicBezTo>
                  <a:pt x="1498082" y="5237204"/>
                  <a:pt x="1496045" y="5227248"/>
                  <a:pt x="1488444" y="5220510"/>
                </a:cubicBezTo>
                <a:cubicBezTo>
                  <a:pt x="1496045" y="5227248"/>
                  <a:pt x="1496045" y="5227248"/>
                  <a:pt x="1497221" y="5222862"/>
                </a:cubicBezTo>
                <a:cubicBezTo>
                  <a:pt x="1497221" y="5222862"/>
                  <a:pt x="1497221" y="5222862"/>
                  <a:pt x="1498397" y="5218473"/>
                </a:cubicBezTo>
                <a:cubicBezTo>
                  <a:pt x="1503647" y="5233991"/>
                  <a:pt x="1513285" y="5250684"/>
                  <a:pt x="1524100" y="5262990"/>
                </a:cubicBezTo>
                <a:lnTo>
                  <a:pt x="1529803" y="5271505"/>
                </a:lnTo>
                <a:lnTo>
                  <a:pt x="1437995" y="5112967"/>
                </a:lnTo>
                <a:cubicBezTo>
                  <a:pt x="1391099" y="5026739"/>
                  <a:pt x="1347692" y="4938662"/>
                  <a:pt x="1311258" y="4846888"/>
                </a:cubicBezTo>
                <a:cubicBezTo>
                  <a:pt x="1274208" y="4751420"/>
                  <a:pt x="1243161" y="4655268"/>
                  <a:pt x="1218056" y="4558384"/>
                </a:cubicBezTo>
                <a:lnTo>
                  <a:pt x="1201334" y="4484933"/>
                </a:lnTo>
                <a:lnTo>
                  <a:pt x="1197261" y="4477118"/>
                </a:lnTo>
                <a:cubicBezTo>
                  <a:pt x="1191190" y="4460277"/>
                  <a:pt x="1187268" y="4435413"/>
                  <a:pt x="1180039" y="4422892"/>
                </a:cubicBezTo>
                <a:cubicBezTo>
                  <a:pt x="1180039" y="4422892"/>
                  <a:pt x="1181216" y="4418505"/>
                  <a:pt x="1181216" y="4418505"/>
                </a:cubicBezTo>
                <a:cubicBezTo>
                  <a:pt x="1182392" y="4414117"/>
                  <a:pt x="1182392" y="4414117"/>
                  <a:pt x="1182392" y="4414117"/>
                </a:cubicBezTo>
                <a:cubicBezTo>
                  <a:pt x="1182392" y="4414117"/>
                  <a:pt x="1178003" y="4412939"/>
                  <a:pt x="1178003" y="4412939"/>
                </a:cubicBezTo>
                <a:cubicBezTo>
                  <a:pt x="1172754" y="4397422"/>
                  <a:pt x="1177142" y="4398598"/>
                  <a:pt x="1175105" y="4388646"/>
                </a:cubicBezTo>
                <a:cubicBezTo>
                  <a:pt x="1175105" y="4388646"/>
                  <a:pt x="1176282" y="4384256"/>
                  <a:pt x="1176282" y="4384256"/>
                </a:cubicBezTo>
                <a:cubicBezTo>
                  <a:pt x="1176282" y="4384256"/>
                  <a:pt x="1173069" y="4378691"/>
                  <a:pt x="1173069" y="4378691"/>
                </a:cubicBezTo>
                <a:cubicBezTo>
                  <a:pt x="1171892" y="4383080"/>
                  <a:pt x="1171892" y="4383080"/>
                  <a:pt x="1171892" y="4383080"/>
                </a:cubicBezTo>
                <a:cubicBezTo>
                  <a:pt x="1164606" y="4357608"/>
                  <a:pt x="1163746" y="4343266"/>
                  <a:pt x="1154106" y="4326573"/>
                </a:cubicBezTo>
                <a:cubicBezTo>
                  <a:pt x="1158496" y="4327748"/>
                  <a:pt x="1158496" y="4327748"/>
                  <a:pt x="1158496" y="4327748"/>
                </a:cubicBezTo>
                <a:lnTo>
                  <a:pt x="1159672" y="4323360"/>
                </a:lnTo>
                <a:cubicBezTo>
                  <a:pt x="1160847" y="4318970"/>
                  <a:pt x="1156459" y="4317795"/>
                  <a:pt x="1156459" y="4317795"/>
                </a:cubicBezTo>
                <a:cubicBezTo>
                  <a:pt x="1156459" y="4317795"/>
                  <a:pt x="1156459" y="4317795"/>
                  <a:pt x="1152070" y="4316619"/>
                </a:cubicBezTo>
                <a:cubicBezTo>
                  <a:pt x="1153245" y="4312229"/>
                  <a:pt x="1153245" y="4312229"/>
                  <a:pt x="1153245" y="4312229"/>
                </a:cubicBezTo>
                <a:cubicBezTo>
                  <a:pt x="1147997" y="4296712"/>
                  <a:pt x="1153561" y="4293499"/>
                  <a:pt x="1151524" y="4283546"/>
                </a:cubicBezTo>
                <a:cubicBezTo>
                  <a:pt x="1147136" y="4282370"/>
                  <a:pt x="1145960" y="4286759"/>
                  <a:pt x="1143923" y="4276806"/>
                </a:cubicBezTo>
                <a:cubicBezTo>
                  <a:pt x="1145099" y="4272417"/>
                  <a:pt x="1140710" y="4271240"/>
                  <a:pt x="1141886" y="4266851"/>
                </a:cubicBezTo>
                <a:cubicBezTo>
                  <a:pt x="1146275" y="4268028"/>
                  <a:pt x="1146275" y="4268028"/>
                  <a:pt x="1147451" y="4263640"/>
                </a:cubicBezTo>
                <a:cubicBezTo>
                  <a:pt x="1147451" y="4263640"/>
                  <a:pt x="1148626" y="4259250"/>
                  <a:pt x="1144238" y="4258074"/>
                </a:cubicBezTo>
                <a:cubicBezTo>
                  <a:pt x="1144238" y="4258074"/>
                  <a:pt x="1145414" y="4253685"/>
                  <a:pt x="1141026" y="4252510"/>
                </a:cubicBezTo>
                <a:cubicBezTo>
                  <a:pt x="1138988" y="4242556"/>
                  <a:pt x="1126454" y="4201567"/>
                  <a:pt x="1129664" y="4207132"/>
                </a:cubicBezTo>
                <a:cubicBezTo>
                  <a:pt x="1119712" y="4209167"/>
                  <a:pt x="1139304" y="4223827"/>
                  <a:pt x="1129350" y="4225863"/>
                </a:cubicBezTo>
                <a:cubicBezTo>
                  <a:pt x="1132563" y="4231426"/>
                  <a:pt x="1135776" y="4236993"/>
                  <a:pt x="1137813" y="4246945"/>
                </a:cubicBezTo>
                <a:cubicBezTo>
                  <a:pt x="1137813" y="4246945"/>
                  <a:pt x="1137813" y="4246945"/>
                  <a:pt x="1136636" y="4251335"/>
                </a:cubicBezTo>
                <a:cubicBezTo>
                  <a:pt x="1136636" y="4251335"/>
                  <a:pt x="1135460" y="4255723"/>
                  <a:pt x="1135460" y="4255723"/>
                </a:cubicBezTo>
                <a:cubicBezTo>
                  <a:pt x="1134284" y="4260111"/>
                  <a:pt x="1137498" y="4265676"/>
                  <a:pt x="1137498" y="4265676"/>
                </a:cubicBezTo>
                <a:cubicBezTo>
                  <a:pt x="1133970" y="4278841"/>
                  <a:pt x="1145960" y="4286759"/>
                  <a:pt x="1150033" y="4306665"/>
                </a:cubicBezTo>
                <a:cubicBezTo>
                  <a:pt x="1145645" y="4305489"/>
                  <a:pt x="1144468" y="4309878"/>
                  <a:pt x="1147682" y="4315442"/>
                </a:cubicBezTo>
                <a:cubicBezTo>
                  <a:pt x="1146506" y="4319832"/>
                  <a:pt x="1146506" y="4319832"/>
                  <a:pt x="1146506" y="4319832"/>
                </a:cubicBezTo>
                <a:cubicBezTo>
                  <a:pt x="1146506" y="4319832"/>
                  <a:pt x="1145330" y="4324220"/>
                  <a:pt x="1144154" y="4328609"/>
                </a:cubicBezTo>
                <a:cubicBezTo>
                  <a:pt x="1148541" y="4329785"/>
                  <a:pt x="1147366" y="4334175"/>
                  <a:pt x="1148541" y="4329785"/>
                </a:cubicBezTo>
                <a:cubicBezTo>
                  <a:pt x="1148541" y="4329785"/>
                  <a:pt x="1152931" y="4330961"/>
                  <a:pt x="1152931" y="4330961"/>
                </a:cubicBezTo>
                <a:cubicBezTo>
                  <a:pt x="1149404" y="4344127"/>
                  <a:pt x="1159358" y="4342089"/>
                  <a:pt x="1161393" y="4352045"/>
                </a:cubicBezTo>
                <a:cubicBezTo>
                  <a:pt x="1162255" y="4366386"/>
                  <a:pt x="1164291" y="4376340"/>
                  <a:pt x="1167504" y="4381903"/>
                </a:cubicBezTo>
                <a:cubicBezTo>
                  <a:pt x="1167504" y="4381903"/>
                  <a:pt x="1166328" y="4386292"/>
                  <a:pt x="1166328" y="4386292"/>
                </a:cubicBezTo>
                <a:cubicBezTo>
                  <a:pt x="1166328" y="4386292"/>
                  <a:pt x="1166328" y="4386292"/>
                  <a:pt x="1165152" y="4390680"/>
                </a:cubicBezTo>
                <a:cubicBezTo>
                  <a:pt x="1171576" y="4401812"/>
                  <a:pt x="1171576" y="4401812"/>
                  <a:pt x="1173615" y="4411764"/>
                </a:cubicBezTo>
                <a:cubicBezTo>
                  <a:pt x="1174791" y="4407376"/>
                  <a:pt x="1174791" y="4407376"/>
                  <a:pt x="1170402" y="4406199"/>
                </a:cubicBezTo>
                <a:cubicBezTo>
                  <a:pt x="1170402" y="4406199"/>
                  <a:pt x="1170402" y="4406199"/>
                  <a:pt x="1169226" y="4410588"/>
                </a:cubicBezTo>
                <a:cubicBezTo>
                  <a:pt x="1169226" y="4410588"/>
                  <a:pt x="1172439" y="4416153"/>
                  <a:pt x="1172439" y="4416153"/>
                </a:cubicBezTo>
                <a:cubicBezTo>
                  <a:pt x="1175651" y="4421717"/>
                  <a:pt x="1175651" y="4421717"/>
                  <a:pt x="1175651" y="4421717"/>
                </a:cubicBezTo>
                <a:cubicBezTo>
                  <a:pt x="1174474" y="4426105"/>
                  <a:pt x="1174474" y="4426105"/>
                  <a:pt x="1176512" y="4436059"/>
                </a:cubicBezTo>
                <a:cubicBezTo>
                  <a:pt x="1177688" y="4431671"/>
                  <a:pt x="1180902" y="4437235"/>
                  <a:pt x="1182936" y="4447190"/>
                </a:cubicBezTo>
                <a:cubicBezTo>
                  <a:pt x="1178550" y="4446013"/>
                  <a:pt x="1179726" y="4441624"/>
                  <a:pt x="1175336" y="4440449"/>
                </a:cubicBezTo>
                <a:cubicBezTo>
                  <a:pt x="1180585" y="4455966"/>
                  <a:pt x="1182936" y="4447190"/>
                  <a:pt x="1184974" y="4457141"/>
                </a:cubicBezTo>
                <a:cubicBezTo>
                  <a:pt x="1185836" y="4471484"/>
                  <a:pt x="1183799" y="4461530"/>
                  <a:pt x="1192260" y="4482614"/>
                </a:cubicBezTo>
                <a:cubicBezTo>
                  <a:pt x="1186696" y="4485827"/>
                  <a:pt x="1183484" y="4480262"/>
                  <a:pt x="1179095" y="4479085"/>
                </a:cubicBezTo>
                <a:cubicBezTo>
                  <a:pt x="1185521" y="4490215"/>
                  <a:pt x="1188732" y="4495780"/>
                  <a:pt x="1191946" y="4501343"/>
                </a:cubicBezTo>
                <a:cubicBezTo>
                  <a:pt x="1187556" y="4500168"/>
                  <a:pt x="1187556" y="4500168"/>
                  <a:pt x="1187556" y="4500168"/>
                </a:cubicBezTo>
                <a:cubicBezTo>
                  <a:pt x="1187556" y="4500168"/>
                  <a:pt x="1187556" y="4500168"/>
                  <a:pt x="1186381" y="4504557"/>
                </a:cubicBezTo>
                <a:cubicBezTo>
                  <a:pt x="1186381" y="4504557"/>
                  <a:pt x="1190769" y="4505732"/>
                  <a:pt x="1189595" y="4510122"/>
                </a:cubicBezTo>
                <a:cubicBezTo>
                  <a:pt x="1192806" y="4515686"/>
                  <a:pt x="1194843" y="4525640"/>
                  <a:pt x="1199232" y="4526816"/>
                </a:cubicBezTo>
                <a:cubicBezTo>
                  <a:pt x="1199232" y="4526816"/>
                  <a:pt x="1202444" y="4532380"/>
                  <a:pt x="1201270" y="4536768"/>
                </a:cubicBezTo>
                <a:cubicBezTo>
                  <a:pt x="1201270" y="4536768"/>
                  <a:pt x="1201270" y="4536768"/>
                  <a:pt x="1204483" y="4542334"/>
                </a:cubicBezTo>
                <a:cubicBezTo>
                  <a:pt x="1204483" y="4542334"/>
                  <a:pt x="1204483" y="4542334"/>
                  <a:pt x="1205658" y="4537945"/>
                </a:cubicBezTo>
                <a:cubicBezTo>
                  <a:pt x="1205658" y="4537945"/>
                  <a:pt x="1205658" y="4537945"/>
                  <a:pt x="1206834" y="4533557"/>
                </a:cubicBezTo>
                <a:cubicBezTo>
                  <a:pt x="1216472" y="4550251"/>
                  <a:pt x="1217334" y="4564593"/>
                  <a:pt x="1219369" y="4574546"/>
                </a:cubicBezTo>
                <a:cubicBezTo>
                  <a:pt x="1214982" y="4573370"/>
                  <a:pt x="1211768" y="4567804"/>
                  <a:pt x="1207380" y="4566629"/>
                </a:cubicBezTo>
                <a:cubicBezTo>
                  <a:pt x="1214666" y="4592101"/>
                  <a:pt x="1221953" y="4617572"/>
                  <a:pt x="1226656" y="4600018"/>
                </a:cubicBezTo>
                <a:cubicBezTo>
                  <a:pt x="1229555" y="4624313"/>
                  <a:pt x="1229555" y="4624313"/>
                  <a:pt x="1239192" y="4641007"/>
                </a:cubicBezTo>
                <a:cubicBezTo>
                  <a:pt x="1239192" y="4641007"/>
                  <a:pt x="1234802" y="4639830"/>
                  <a:pt x="1235979" y="4635441"/>
                </a:cubicBezTo>
                <a:cubicBezTo>
                  <a:pt x="1235979" y="4635441"/>
                  <a:pt x="1231591" y="4634266"/>
                  <a:pt x="1231591" y="4634266"/>
                </a:cubicBezTo>
                <a:cubicBezTo>
                  <a:pt x="1228377" y="4628702"/>
                  <a:pt x="1227201" y="4633090"/>
                  <a:pt x="1227201" y="4633090"/>
                </a:cubicBezTo>
                <a:cubicBezTo>
                  <a:pt x="1226027" y="4637479"/>
                  <a:pt x="1226027" y="4637479"/>
                  <a:pt x="1229238" y="4643044"/>
                </a:cubicBezTo>
                <a:cubicBezTo>
                  <a:pt x="1224851" y="4641868"/>
                  <a:pt x="1224851" y="4641868"/>
                  <a:pt x="1224851" y="4641868"/>
                </a:cubicBezTo>
                <a:cubicBezTo>
                  <a:pt x="1226027" y="4637479"/>
                  <a:pt x="1221636" y="4636303"/>
                  <a:pt x="1221636" y="4636303"/>
                </a:cubicBezTo>
                <a:cubicBezTo>
                  <a:pt x="1222813" y="4631914"/>
                  <a:pt x="1222813" y="4631914"/>
                  <a:pt x="1222813" y="4631914"/>
                </a:cubicBezTo>
                <a:cubicBezTo>
                  <a:pt x="1222813" y="4631914"/>
                  <a:pt x="1219601" y="4626351"/>
                  <a:pt x="1219601" y="4626351"/>
                </a:cubicBezTo>
                <a:cubicBezTo>
                  <a:pt x="1219601" y="4626351"/>
                  <a:pt x="1216388" y="4620785"/>
                  <a:pt x="1216388" y="4620785"/>
                </a:cubicBezTo>
                <a:cubicBezTo>
                  <a:pt x="1198602" y="4564277"/>
                  <a:pt x="1184029" y="4513335"/>
                  <a:pt x="1166244" y="4456826"/>
                </a:cubicBezTo>
                <a:cubicBezTo>
                  <a:pt x="1167419" y="4452437"/>
                  <a:pt x="1167419" y="4452437"/>
                  <a:pt x="1167419" y="4452437"/>
                </a:cubicBezTo>
                <a:cubicBezTo>
                  <a:pt x="1168595" y="4448050"/>
                  <a:pt x="1164208" y="4446875"/>
                  <a:pt x="1164208" y="4446875"/>
                </a:cubicBezTo>
                <a:cubicBezTo>
                  <a:pt x="1154568" y="4430178"/>
                  <a:pt x="1158957" y="4431356"/>
                  <a:pt x="1153709" y="4415837"/>
                </a:cubicBezTo>
                <a:cubicBezTo>
                  <a:pt x="1154884" y="4411449"/>
                  <a:pt x="1156060" y="4407060"/>
                  <a:pt x="1152847" y="4401495"/>
                </a:cubicBezTo>
                <a:cubicBezTo>
                  <a:pt x="1154023" y="4397107"/>
                  <a:pt x="1149633" y="4395931"/>
                  <a:pt x="1149633" y="4395931"/>
                </a:cubicBezTo>
                <a:cubicBezTo>
                  <a:pt x="1144385" y="4380413"/>
                  <a:pt x="1143524" y="4366070"/>
                  <a:pt x="1135922" y="4359331"/>
                </a:cubicBezTo>
                <a:cubicBezTo>
                  <a:pt x="1135922" y="4359331"/>
                  <a:pt x="1132709" y="4353765"/>
                  <a:pt x="1132709" y="4353765"/>
                </a:cubicBezTo>
                <a:cubicBezTo>
                  <a:pt x="1133885" y="4349376"/>
                  <a:pt x="1135061" y="4344987"/>
                  <a:pt x="1136237" y="4340599"/>
                </a:cubicBezTo>
                <a:cubicBezTo>
                  <a:pt x="1131849" y="4339423"/>
                  <a:pt x="1128951" y="4315129"/>
                  <a:pt x="1122525" y="4303999"/>
                </a:cubicBezTo>
                <a:cubicBezTo>
                  <a:pt x="1122525" y="4303999"/>
                  <a:pt x="1123701" y="4299610"/>
                  <a:pt x="1119313" y="4298434"/>
                </a:cubicBezTo>
                <a:cubicBezTo>
                  <a:pt x="1120488" y="4294045"/>
                  <a:pt x="1120488" y="4294045"/>
                  <a:pt x="1120488" y="4294045"/>
                </a:cubicBezTo>
                <a:cubicBezTo>
                  <a:pt x="1113517" y="4249843"/>
                  <a:pt x="1107721" y="4201253"/>
                  <a:pt x="1096361" y="4155872"/>
                </a:cubicBezTo>
                <a:cubicBezTo>
                  <a:pt x="1097537" y="4151485"/>
                  <a:pt x="1094325" y="4145920"/>
                  <a:pt x="1091113" y="4140355"/>
                </a:cubicBezTo>
                <a:cubicBezTo>
                  <a:pt x="1092288" y="4135967"/>
                  <a:pt x="1093464" y="4131578"/>
                  <a:pt x="1094640" y="4127188"/>
                </a:cubicBezTo>
                <a:cubicBezTo>
                  <a:pt x="1093464" y="4131578"/>
                  <a:pt x="1090251" y="4126014"/>
                  <a:pt x="1085862" y="4124836"/>
                </a:cubicBezTo>
                <a:cubicBezTo>
                  <a:pt x="1087038" y="4120449"/>
                  <a:pt x="1083826" y="4114884"/>
                  <a:pt x="1083826" y="4114884"/>
                </a:cubicBezTo>
                <a:cubicBezTo>
                  <a:pt x="1080928" y="4090588"/>
                  <a:pt x="1082419" y="4067468"/>
                  <a:pt x="1078345" y="4047561"/>
                </a:cubicBezTo>
                <a:cubicBezTo>
                  <a:pt x="1078345" y="4047561"/>
                  <a:pt x="1079521" y="4043174"/>
                  <a:pt x="1079521" y="4043174"/>
                </a:cubicBezTo>
                <a:cubicBezTo>
                  <a:pt x="1080697" y="4038785"/>
                  <a:pt x="1080697" y="4038785"/>
                  <a:pt x="1081873" y="4034397"/>
                </a:cubicBezTo>
                <a:cubicBezTo>
                  <a:pt x="1077484" y="4033220"/>
                  <a:pt x="1077484" y="4033220"/>
                  <a:pt x="1077484" y="4033220"/>
                </a:cubicBezTo>
                <a:cubicBezTo>
                  <a:pt x="1071373" y="4003360"/>
                  <a:pt x="1064088" y="3977887"/>
                  <a:pt x="1064402" y="3959157"/>
                </a:cubicBezTo>
                <a:cubicBezTo>
                  <a:pt x="1054764" y="3942464"/>
                  <a:pt x="1056571" y="3900614"/>
                  <a:pt x="1052811" y="3861976"/>
                </a:cubicBezTo>
                <a:cubicBezTo>
                  <a:pt x="1046386" y="3850845"/>
                  <a:pt x="1050228" y="3818949"/>
                  <a:pt x="1048192" y="3808995"/>
                </a:cubicBezTo>
                <a:cubicBezTo>
                  <a:pt x="1048192" y="3808995"/>
                  <a:pt x="1049368" y="3804606"/>
                  <a:pt x="1049368" y="3804606"/>
                </a:cubicBezTo>
                <a:cubicBezTo>
                  <a:pt x="1049368" y="3804606"/>
                  <a:pt x="1050544" y="3800218"/>
                  <a:pt x="1050544" y="3800218"/>
                </a:cubicBezTo>
                <a:cubicBezTo>
                  <a:pt x="1051720" y="3795829"/>
                  <a:pt x="1051720" y="3795829"/>
                  <a:pt x="1051720" y="3795829"/>
                </a:cubicBezTo>
                <a:cubicBezTo>
                  <a:pt x="1048507" y="3790265"/>
                  <a:pt x="1048507" y="3790265"/>
                  <a:pt x="1047332" y="3794654"/>
                </a:cubicBezTo>
                <a:cubicBezTo>
                  <a:pt x="1046471" y="3780311"/>
                  <a:pt x="1044119" y="3789088"/>
                  <a:pt x="1039730" y="3787912"/>
                </a:cubicBezTo>
                <a:cubicBezTo>
                  <a:pt x="1047647" y="3775922"/>
                  <a:pt x="1034481" y="3772394"/>
                  <a:pt x="1039185" y="3754841"/>
                </a:cubicBezTo>
                <a:cubicBezTo>
                  <a:pt x="1033620" y="3758052"/>
                  <a:pt x="1037148" y="3744886"/>
                  <a:pt x="1032759" y="3743710"/>
                </a:cubicBezTo>
                <a:cubicBezTo>
                  <a:pt x="1036833" y="3763618"/>
                  <a:pt x="1032990" y="3795514"/>
                  <a:pt x="1040591" y="3802254"/>
                </a:cubicBezTo>
                <a:cubicBezTo>
                  <a:pt x="1040591" y="3802254"/>
                  <a:pt x="1039415" y="3806644"/>
                  <a:pt x="1038239" y="3811032"/>
                </a:cubicBezTo>
                <a:cubicBezTo>
                  <a:pt x="1038239" y="3811032"/>
                  <a:pt x="1037063" y="3815421"/>
                  <a:pt x="1041452" y="3816598"/>
                </a:cubicBezTo>
                <a:cubicBezTo>
                  <a:pt x="1034396" y="3842930"/>
                  <a:pt x="1041683" y="3868400"/>
                  <a:pt x="1044581" y="3892697"/>
                </a:cubicBezTo>
                <a:cubicBezTo>
                  <a:pt x="1051236" y="3955629"/>
                  <a:pt x="1053505" y="4017386"/>
                  <a:pt x="1062511" y="4071543"/>
                </a:cubicBezTo>
                <a:cubicBezTo>
                  <a:pt x="1069482" y="4115746"/>
                  <a:pt x="1070575" y="4181890"/>
                  <a:pt x="1087185" y="4242788"/>
                </a:cubicBezTo>
                <a:cubicBezTo>
                  <a:pt x="1089222" y="4252740"/>
                  <a:pt x="1096823" y="4259481"/>
                  <a:pt x="1094470" y="4268258"/>
                </a:cubicBezTo>
                <a:cubicBezTo>
                  <a:pt x="1105830" y="4313637"/>
                  <a:pt x="1108414" y="4356662"/>
                  <a:pt x="1117737" y="4392087"/>
                </a:cubicBezTo>
                <a:cubicBezTo>
                  <a:pt x="1129412" y="4418735"/>
                  <a:pt x="1124163" y="4403217"/>
                  <a:pt x="1130272" y="4433077"/>
                </a:cubicBezTo>
                <a:cubicBezTo>
                  <a:pt x="1135208" y="4467325"/>
                  <a:pt x="1145707" y="4498362"/>
                  <a:pt x="1158558" y="4520621"/>
                </a:cubicBezTo>
                <a:cubicBezTo>
                  <a:pt x="1165529" y="4564823"/>
                  <a:pt x="1195306" y="4629248"/>
                  <a:pt x="1207841" y="4670237"/>
                </a:cubicBezTo>
                <a:cubicBezTo>
                  <a:pt x="1213091" y="4685755"/>
                  <a:pt x="1218656" y="4682542"/>
                  <a:pt x="1223905" y="4698060"/>
                </a:cubicBezTo>
                <a:cubicBezTo>
                  <a:pt x="1213953" y="4700098"/>
                  <a:pt x="1225627" y="4726744"/>
                  <a:pt x="1235264" y="4743438"/>
                </a:cubicBezTo>
                <a:cubicBezTo>
                  <a:pt x="1235264" y="4743438"/>
                  <a:pt x="1239653" y="4744614"/>
                  <a:pt x="1242867" y="4750180"/>
                </a:cubicBezTo>
                <a:cubicBezTo>
                  <a:pt x="1252505" y="4766873"/>
                  <a:pt x="1253051" y="4799946"/>
                  <a:pt x="1270290" y="4823381"/>
                </a:cubicBezTo>
                <a:cubicBezTo>
                  <a:pt x="1273503" y="4828945"/>
                  <a:pt x="1279068" y="4825733"/>
                  <a:pt x="1285493" y="4836862"/>
                </a:cubicBezTo>
                <a:cubicBezTo>
                  <a:pt x="1285493" y="4836862"/>
                  <a:pt x="1281965" y="4850028"/>
                  <a:pt x="1289567" y="4856770"/>
                </a:cubicBezTo>
                <a:cubicBezTo>
                  <a:pt x="1311741" y="4914453"/>
                  <a:pt x="1354684" y="4982404"/>
                  <a:pt x="1383598" y="5032486"/>
                </a:cubicBezTo>
                <a:cubicBezTo>
                  <a:pt x="1396449" y="5054745"/>
                  <a:pt x="1408125" y="5081392"/>
                  <a:pt x="1424188" y="5109216"/>
                </a:cubicBezTo>
                <a:cubicBezTo>
                  <a:pt x="1430614" y="5120345"/>
                  <a:pt x="1445815" y="5133827"/>
                  <a:pt x="1452243" y="5144956"/>
                </a:cubicBezTo>
                <a:cubicBezTo>
                  <a:pt x="1452243" y="5144956"/>
                  <a:pt x="1457491" y="5160475"/>
                  <a:pt x="1457491" y="5160475"/>
                </a:cubicBezTo>
                <a:cubicBezTo>
                  <a:pt x="1463918" y="5171603"/>
                  <a:pt x="1468306" y="5172779"/>
                  <a:pt x="1471520" y="5178344"/>
                </a:cubicBezTo>
                <a:cubicBezTo>
                  <a:pt x="1470343" y="5182734"/>
                  <a:pt x="1470343" y="5182734"/>
                  <a:pt x="1470343" y="5182734"/>
                </a:cubicBezTo>
                <a:cubicBezTo>
                  <a:pt x="1457178" y="5179205"/>
                  <a:pt x="1458668" y="5156086"/>
                  <a:pt x="1451927" y="5163687"/>
                </a:cubicBezTo>
                <a:cubicBezTo>
                  <a:pt x="1451927" y="5163687"/>
                  <a:pt x="1451927" y="5163687"/>
                  <a:pt x="1453103" y="5159298"/>
                </a:cubicBezTo>
                <a:cubicBezTo>
                  <a:pt x="1445502" y="5152557"/>
                  <a:pt x="1445502" y="5152557"/>
                  <a:pt x="1445502" y="5152557"/>
                </a:cubicBezTo>
                <a:cubicBezTo>
                  <a:pt x="1445502" y="5152557"/>
                  <a:pt x="1441112" y="5151381"/>
                  <a:pt x="1441112" y="5151381"/>
                </a:cubicBezTo>
                <a:cubicBezTo>
                  <a:pt x="1441112" y="5151381"/>
                  <a:pt x="1442290" y="5146993"/>
                  <a:pt x="1437901" y="5145818"/>
                </a:cubicBezTo>
                <a:cubicBezTo>
                  <a:pt x="1437901" y="5145818"/>
                  <a:pt x="1433513" y="5144641"/>
                  <a:pt x="1433513" y="5144641"/>
                </a:cubicBezTo>
                <a:cubicBezTo>
                  <a:pt x="1423874" y="5127948"/>
                  <a:pt x="1422698" y="5132336"/>
                  <a:pt x="1413059" y="5115641"/>
                </a:cubicBezTo>
                <a:cubicBezTo>
                  <a:pt x="1413059" y="5115641"/>
                  <a:pt x="1409846" y="5110078"/>
                  <a:pt x="1409846" y="5110078"/>
                </a:cubicBezTo>
                <a:cubicBezTo>
                  <a:pt x="1409846" y="5110078"/>
                  <a:pt x="1409846" y="5110078"/>
                  <a:pt x="1405458" y="5108901"/>
                </a:cubicBezTo>
                <a:cubicBezTo>
                  <a:pt x="1405458" y="5108901"/>
                  <a:pt x="1406634" y="5104513"/>
                  <a:pt x="1406634" y="5104513"/>
                </a:cubicBezTo>
                <a:cubicBezTo>
                  <a:pt x="1404596" y="5094559"/>
                  <a:pt x="1423012" y="5113604"/>
                  <a:pt x="1412199" y="5101300"/>
                </a:cubicBezTo>
                <a:cubicBezTo>
                  <a:pt x="1408985" y="5095735"/>
                  <a:pt x="1403421" y="5098947"/>
                  <a:pt x="1391431" y="5091032"/>
                </a:cubicBezTo>
                <a:cubicBezTo>
                  <a:pt x="1390570" y="5076688"/>
                  <a:pt x="1381793" y="5074337"/>
                  <a:pt x="1370118" y="5047690"/>
                </a:cubicBezTo>
                <a:cubicBezTo>
                  <a:pt x="1374506" y="5048866"/>
                  <a:pt x="1374506" y="5048866"/>
                  <a:pt x="1374506" y="5048866"/>
                </a:cubicBezTo>
                <a:cubicBezTo>
                  <a:pt x="1371293" y="5043301"/>
                  <a:pt x="1371293" y="5043301"/>
                  <a:pt x="1371293" y="5043301"/>
                </a:cubicBezTo>
                <a:cubicBezTo>
                  <a:pt x="1373645" y="5034523"/>
                  <a:pt x="1378894" y="5050041"/>
                  <a:pt x="1383283" y="5051218"/>
                </a:cubicBezTo>
                <a:cubicBezTo>
                  <a:pt x="1378034" y="5035700"/>
                  <a:pt x="1373645" y="5034523"/>
                  <a:pt x="1364867" y="5032171"/>
                </a:cubicBezTo>
                <a:cubicBezTo>
                  <a:pt x="1366043" y="5027782"/>
                  <a:pt x="1366043" y="5027782"/>
                  <a:pt x="1362831" y="5022217"/>
                </a:cubicBezTo>
                <a:cubicBezTo>
                  <a:pt x="1364006" y="5017830"/>
                  <a:pt x="1359618" y="5016653"/>
                  <a:pt x="1359618" y="5016653"/>
                </a:cubicBezTo>
                <a:cubicBezTo>
                  <a:pt x="1354053" y="5019866"/>
                  <a:pt x="1354053" y="5019866"/>
                  <a:pt x="1354053" y="5019866"/>
                </a:cubicBezTo>
                <a:cubicBezTo>
                  <a:pt x="1354369" y="5001136"/>
                  <a:pt x="1342062" y="5011950"/>
                  <a:pt x="1334776" y="4986477"/>
                </a:cubicBezTo>
                <a:cubicBezTo>
                  <a:pt x="1331564" y="4980914"/>
                  <a:pt x="1331564" y="4980914"/>
                  <a:pt x="1331564" y="4980914"/>
                </a:cubicBezTo>
                <a:cubicBezTo>
                  <a:pt x="1331564" y="4980914"/>
                  <a:pt x="1327174" y="4979738"/>
                  <a:pt x="1327174" y="4979738"/>
                </a:cubicBezTo>
                <a:cubicBezTo>
                  <a:pt x="1305862" y="4936396"/>
                  <a:pt x="1286585" y="4903008"/>
                  <a:pt x="1266133" y="4874009"/>
                </a:cubicBezTo>
                <a:cubicBezTo>
                  <a:pt x="1270522" y="4875184"/>
                  <a:pt x="1275226" y="4857629"/>
                  <a:pt x="1265272" y="4859666"/>
                </a:cubicBezTo>
                <a:cubicBezTo>
                  <a:pt x="1267309" y="4869621"/>
                  <a:pt x="1259707" y="4862879"/>
                  <a:pt x="1257670" y="4852926"/>
                </a:cubicBezTo>
                <a:cubicBezTo>
                  <a:pt x="1249209" y="4831843"/>
                  <a:pt x="1229931" y="4798455"/>
                  <a:pt x="1216219" y="4761855"/>
                </a:cubicBezTo>
                <a:cubicBezTo>
                  <a:pt x="1201331" y="4729642"/>
                  <a:pt x="1187620" y="4693041"/>
                  <a:pt x="1175945" y="4666393"/>
                </a:cubicBezTo>
                <a:cubicBezTo>
                  <a:pt x="1179158" y="4671959"/>
                  <a:pt x="1179473" y="4653227"/>
                  <a:pt x="1175083" y="4652052"/>
                </a:cubicBezTo>
                <a:cubicBezTo>
                  <a:pt x="1177120" y="4662005"/>
                  <a:pt x="1172731" y="4660829"/>
                  <a:pt x="1169519" y="4655265"/>
                </a:cubicBezTo>
                <a:cubicBezTo>
                  <a:pt x="1171870" y="4646488"/>
                  <a:pt x="1160195" y="4619839"/>
                  <a:pt x="1151733" y="4598757"/>
                </a:cubicBezTo>
                <a:cubicBezTo>
                  <a:pt x="1143271" y="4577674"/>
                  <a:pt x="1133632" y="4560981"/>
                  <a:pt x="1138021" y="4562157"/>
                </a:cubicBezTo>
                <a:cubicBezTo>
                  <a:pt x="1125170" y="4539897"/>
                  <a:pt x="1121097" y="4519989"/>
                  <a:pt x="1117023" y="4500084"/>
                </a:cubicBezTo>
                <a:cubicBezTo>
                  <a:pt x="1109736" y="4474612"/>
                  <a:pt x="1106838" y="4450317"/>
                  <a:pt x="1091951" y="4418105"/>
                </a:cubicBezTo>
                <a:cubicBezTo>
                  <a:pt x="1091951" y="4418105"/>
                  <a:pt x="1093126" y="4413716"/>
                  <a:pt x="1094302" y="4409327"/>
                </a:cubicBezTo>
                <a:cubicBezTo>
                  <a:pt x="1077923" y="4400235"/>
                  <a:pt x="1080045" y="4339653"/>
                  <a:pt x="1071583" y="4318571"/>
                </a:cubicBezTo>
                <a:cubicBezTo>
                  <a:pt x="1068369" y="4313007"/>
                  <a:pt x="1067193" y="4317394"/>
                  <a:pt x="1065158" y="4307442"/>
                </a:cubicBezTo>
                <a:cubicBezTo>
                  <a:pt x="1059908" y="4291924"/>
                  <a:pt x="1063434" y="4278757"/>
                  <a:pt x="1058186" y="4263240"/>
                </a:cubicBezTo>
                <a:cubicBezTo>
                  <a:pt x="1056149" y="4253285"/>
                  <a:pt x="1052934" y="4247721"/>
                  <a:pt x="1046511" y="4236593"/>
                </a:cubicBezTo>
                <a:cubicBezTo>
                  <a:pt x="1040400" y="4206732"/>
                  <a:pt x="1042206" y="4164881"/>
                  <a:pt x="1037271" y="4130632"/>
                </a:cubicBezTo>
                <a:cubicBezTo>
                  <a:pt x="1029124" y="4090818"/>
                  <a:pt x="1025681" y="4033450"/>
                  <a:pt x="1018709" y="3989247"/>
                </a:cubicBezTo>
                <a:cubicBezTo>
                  <a:pt x="1017849" y="3974906"/>
                  <a:pt x="1012598" y="3959389"/>
                  <a:pt x="1010562" y="3949435"/>
                </a:cubicBezTo>
                <a:cubicBezTo>
                  <a:pt x="1010562" y="3949435"/>
                  <a:pt x="1013775" y="3955000"/>
                  <a:pt x="1013775" y="3955000"/>
                </a:cubicBezTo>
                <a:cubicBezTo>
                  <a:pt x="1014090" y="3936267"/>
                  <a:pt x="1010017" y="3916361"/>
                  <a:pt x="1009155" y="3902019"/>
                </a:cubicBezTo>
                <a:cubicBezTo>
                  <a:pt x="1010331" y="3897631"/>
                  <a:pt x="1012683" y="3888853"/>
                  <a:pt x="1012683" y="3888853"/>
                </a:cubicBezTo>
                <a:cubicBezTo>
                  <a:pt x="1011277" y="3841438"/>
                  <a:pt x="1009008" y="3779681"/>
                  <a:pt x="1006427" y="3736656"/>
                </a:cubicBezTo>
                <a:cubicBezTo>
                  <a:pt x="1006427" y="3736656"/>
                  <a:pt x="1006427" y="3736656"/>
                  <a:pt x="1010815" y="3737831"/>
                </a:cubicBezTo>
                <a:cubicBezTo>
                  <a:pt x="1010815" y="3737831"/>
                  <a:pt x="1011991" y="3733442"/>
                  <a:pt x="1011991" y="3733442"/>
                </a:cubicBezTo>
                <a:cubicBezTo>
                  <a:pt x="1011991" y="3733442"/>
                  <a:pt x="1008780" y="3727878"/>
                  <a:pt x="1008780" y="3727878"/>
                </a:cubicBezTo>
                <a:cubicBezTo>
                  <a:pt x="1007918" y="3713536"/>
                  <a:pt x="1016465" y="3664084"/>
                  <a:pt x="1008548" y="3676075"/>
                </a:cubicBezTo>
                <a:cubicBezTo>
                  <a:pt x="1009723" y="3671686"/>
                  <a:pt x="1009723" y="3671686"/>
                  <a:pt x="1009723" y="3671686"/>
                </a:cubicBezTo>
                <a:cubicBezTo>
                  <a:pt x="1010899" y="3667297"/>
                  <a:pt x="1010899" y="3667297"/>
                  <a:pt x="1010899" y="3667297"/>
                </a:cubicBezTo>
                <a:cubicBezTo>
                  <a:pt x="1006511" y="3666122"/>
                  <a:pt x="1006511" y="3666122"/>
                  <a:pt x="1006511" y="3666122"/>
                </a:cubicBezTo>
                <a:cubicBezTo>
                  <a:pt x="1005335" y="3670511"/>
                  <a:pt x="1005335" y="3670511"/>
                  <a:pt x="1005335" y="3670511"/>
                </a:cubicBezTo>
                <a:cubicBezTo>
                  <a:pt x="995382" y="3672547"/>
                  <a:pt x="1004474" y="3656167"/>
                  <a:pt x="1005650" y="3651779"/>
                </a:cubicBezTo>
                <a:cubicBezTo>
                  <a:pt x="1000595" y="3657482"/>
                  <a:pt x="998363" y="3642771"/>
                  <a:pt x="997430" y="3642962"/>
                </a:cubicBezTo>
                <a:close/>
                <a:moveTo>
                  <a:pt x="292153" y="3621827"/>
                </a:moveTo>
                <a:cubicBezTo>
                  <a:pt x="297342" y="3628869"/>
                  <a:pt x="297190" y="3646368"/>
                  <a:pt x="295256" y="3667352"/>
                </a:cubicBezTo>
                <a:cubicBezTo>
                  <a:pt x="289840" y="3686557"/>
                  <a:pt x="287908" y="3707539"/>
                  <a:pt x="291316" y="3718069"/>
                </a:cubicBezTo>
                <a:cubicBezTo>
                  <a:pt x="289458" y="3730304"/>
                  <a:pt x="285900" y="3737274"/>
                  <a:pt x="280558" y="3747728"/>
                </a:cubicBezTo>
                <a:cubicBezTo>
                  <a:pt x="279515" y="3766969"/>
                  <a:pt x="279401" y="3780093"/>
                  <a:pt x="279732" y="3792347"/>
                </a:cubicBezTo>
                <a:lnTo>
                  <a:pt x="280276" y="3803967"/>
                </a:lnTo>
                <a:lnTo>
                  <a:pt x="283491" y="3800213"/>
                </a:lnTo>
                <a:cubicBezTo>
                  <a:pt x="283080" y="3798984"/>
                  <a:pt x="283031" y="3797151"/>
                  <a:pt x="284937" y="3797799"/>
                </a:cubicBezTo>
                <a:cubicBezTo>
                  <a:pt x="290584" y="3799045"/>
                  <a:pt x="291621" y="3795402"/>
                  <a:pt x="292754" y="3791326"/>
                </a:cubicBezTo>
                <a:cubicBezTo>
                  <a:pt x="292682" y="3790626"/>
                  <a:pt x="293743" y="3789949"/>
                  <a:pt x="294274" y="3789611"/>
                </a:cubicBezTo>
                <a:cubicBezTo>
                  <a:pt x="303009" y="3789261"/>
                  <a:pt x="311816" y="3789611"/>
                  <a:pt x="320720" y="3789525"/>
                </a:cubicBezTo>
                <a:lnTo>
                  <a:pt x="320722" y="3789526"/>
                </a:lnTo>
                <a:cubicBezTo>
                  <a:pt x="324824" y="3789520"/>
                  <a:pt x="329626" y="3793541"/>
                  <a:pt x="333487" y="3796670"/>
                </a:cubicBezTo>
                <a:cubicBezTo>
                  <a:pt x="335032" y="3797922"/>
                  <a:pt x="335780" y="3799682"/>
                  <a:pt x="338218" y="3799992"/>
                </a:cubicBezTo>
                <a:cubicBezTo>
                  <a:pt x="340655" y="3800302"/>
                  <a:pt x="341403" y="3802061"/>
                  <a:pt x="341356" y="3804328"/>
                </a:cubicBezTo>
                <a:cubicBezTo>
                  <a:pt x="341501" y="3805726"/>
                  <a:pt x="341283" y="3807729"/>
                  <a:pt x="342756" y="3808281"/>
                </a:cubicBezTo>
                <a:cubicBezTo>
                  <a:pt x="347437" y="3809770"/>
                  <a:pt x="349224" y="3811986"/>
                  <a:pt x="345991" y="3816284"/>
                </a:cubicBezTo>
                <a:cubicBezTo>
                  <a:pt x="345099" y="3817226"/>
                  <a:pt x="345848" y="3818985"/>
                  <a:pt x="347415" y="3819103"/>
                </a:cubicBezTo>
                <a:cubicBezTo>
                  <a:pt x="352724" y="3819819"/>
                  <a:pt x="349854" y="3823513"/>
                  <a:pt x="350674" y="3825972"/>
                </a:cubicBezTo>
                <a:cubicBezTo>
                  <a:pt x="353379" y="3834312"/>
                  <a:pt x="343801" y="3837437"/>
                  <a:pt x="343996" y="3844768"/>
                </a:cubicBezTo>
                <a:cubicBezTo>
                  <a:pt x="344117" y="3847300"/>
                  <a:pt x="338230" y="3849189"/>
                  <a:pt x="335673" y="3850447"/>
                </a:cubicBezTo>
                <a:cubicBezTo>
                  <a:pt x="329593" y="3853205"/>
                  <a:pt x="325154" y="3860879"/>
                  <a:pt x="316588" y="3857395"/>
                </a:cubicBezTo>
                <a:cubicBezTo>
                  <a:pt x="315116" y="3856843"/>
                  <a:pt x="312679" y="3856533"/>
                  <a:pt x="310555" y="3857886"/>
                </a:cubicBezTo>
                <a:lnTo>
                  <a:pt x="310554" y="3857886"/>
                </a:lnTo>
                <a:cubicBezTo>
                  <a:pt x="307804" y="3860012"/>
                  <a:pt x="305198" y="3859437"/>
                  <a:pt x="302808" y="3856860"/>
                </a:cubicBezTo>
                <a:cubicBezTo>
                  <a:pt x="301095" y="3855343"/>
                  <a:pt x="299092" y="3855128"/>
                  <a:pt x="296920" y="3854649"/>
                </a:cubicBezTo>
                <a:cubicBezTo>
                  <a:pt x="291442" y="3853668"/>
                  <a:pt x="287485" y="3850973"/>
                  <a:pt x="285770" y="3845356"/>
                </a:cubicBezTo>
                <a:cubicBezTo>
                  <a:pt x="284877" y="3842198"/>
                  <a:pt x="282222" y="3839790"/>
                  <a:pt x="278554" y="3839892"/>
                </a:cubicBezTo>
                <a:lnTo>
                  <a:pt x="277597" y="3838391"/>
                </a:lnTo>
                <a:lnTo>
                  <a:pt x="277581" y="3838487"/>
                </a:lnTo>
                <a:cubicBezTo>
                  <a:pt x="277087" y="3844826"/>
                  <a:pt x="277011" y="3853576"/>
                  <a:pt x="276083" y="3859693"/>
                </a:cubicBezTo>
                <a:cubicBezTo>
                  <a:pt x="277787" y="3864958"/>
                  <a:pt x="282899" y="3880753"/>
                  <a:pt x="283051" y="3863252"/>
                </a:cubicBezTo>
                <a:cubicBezTo>
                  <a:pt x="284528" y="3894767"/>
                  <a:pt x="285927" y="3935030"/>
                  <a:pt x="285545" y="3978777"/>
                </a:cubicBezTo>
                <a:cubicBezTo>
                  <a:pt x="283462" y="4017261"/>
                  <a:pt x="286564" y="4062788"/>
                  <a:pt x="287963" y="4103052"/>
                </a:cubicBezTo>
                <a:cubicBezTo>
                  <a:pt x="287963" y="4103052"/>
                  <a:pt x="287888" y="4111802"/>
                  <a:pt x="280919" y="4108242"/>
                </a:cubicBezTo>
                <a:cubicBezTo>
                  <a:pt x="285726" y="4159035"/>
                  <a:pt x="285497" y="4185284"/>
                  <a:pt x="299282" y="4209903"/>
                </a:cubicBezTo>
                <a:cubicBezTo>
                  <a:pt x="299053" y="4236151"/>
                  <a:pt x="304165" y="4251944"/>
                  <a:pt x="304015" y="4269444"/>
                </a:cubicBezTo>
                <a:cubicBezTo>
                  <a:pt x="307422" y="4279974"/>
                  <a:pt x="305793" y="4265961"/>
                  <a:pt x="309279" y="4267738"/>
                </a:cubicBezTo>
                <a:cubicBezTo>
                  <a:pt x="312610" y="4287020"/>
                  <a:pt x="315942" y="4306298"/>
                  <a:pt x="319274" y="4325577"/>
                </a:cubicBezTo>
                <a:cubicBezTo>
                  <a:pt x="308821" y="4320238"/>
                  <a:pt x="313933" y="4336032"/>
                  <a:pt x="313857" y="4344781"/>
                </a:cubicBezTo>
                <a:cubicBezTo>
                  <a:pt x="306812" y="4349971"/>
                  <a:pt x="298216" y="4332398"/>
                  <a:pt x="287840" y="4318306"/>
                </a:cubicBezTo>
                <a:cubicBezTo>
                  <a:pt x="282423" y="4337513"/>
                  <a:pt x="308135" y="4398985"/>
                  <a:pt x="313171" y="4423528"/>
                </a:cubicBezTo>
                <a:cubicBezTo>
                  <a:pt x="314951" y="4420044"/>
                  <a:pt x="314951" y="4420044"/>
                  <a:pt x="314951" y="4420044"/>
                </a:cubicBezTo>
                <a:cubicBezTo>
                  <a:pt x="313248" y="4414778"/>
                  <a:pt x="315028" y="4411293"/>
                  <a:pt x="315028" y="4411293"/>
                </a:cubicBezTo>
                <a:cubicBezTo>
                  <a:pt x="316732" y="4416557"/>
                  <a:pt x="320216" y="4418338"/>
                  <a:pt x="318436" y="4421822"/>
                </a:cubicBezTo>
                <a:cubicBezTo>
                  <a:pt x="323700" y="4420119"/>
                  <a:pt x="332145" y="4455192"/>
                  <a:pt x="325176" y="4451632"/>
                </a:cubicBezTo>
                <a:cubicBezTo>
                  <a:pt x="328659" y="4453412"/>
                  <a:pt x="328659" y="4453412"/>
                  <a:pt x="330365" y="4458676"/>
                </a:cubicBezTo>
                <a:cubicBezTo>
                  <a:pt x="330365" y="4458676"/>
                  <a:pt x="330365" y="4458676"/>
                  <a:pt x="328583" y="4462160"/>
                </a:cubicBezTo>
                <a:cubicBezTo>
                  <a:pt x="328583" y="4462160"/>
                  <a:pt x="326802" y="4465646"/>
                  <a:pt x="326802" y="4465646"/>
                </a:cubicBezTo>
                <a:cubicBezTo>
                  <a:pt x="326802" y="4465646"/>
                  <a:pt x="326802" y="4465646"/>
                  <a:pt x="325100" y="4460381"/>
                </a:cubicBezTo>
                <a:cubicBezTo>
                  <a:pt x="333544" y="4495455"/>
                  <a:pt x="330288" y="4467426"/>
                  <a:pt x="335552" y="4465721"/>
                </a:cubicBezTo>
                <a:cubicBezTo>
                  <a:pt x="340816" y="4464016"/>
                  <a:pt x="344224" y="4474545"/>
                  <a:pt x="344224" y="4474545"/>
                </a:cubicBezTo>
                <a:cubicBezTo>
                  <a:pt x="349489" y="4472841"/>
                  <a:pt x="342749" y="4443031"/>
                  <a:pt x="349640" y="4455341"/>
                </a:cubicBezTo>
                <a:cubicBezTo>
                  <a:pt x="356533" y="4467651"/>
                  <a:pt x="363426" y="4479959"/>
                  <a:pt x="368538" y="4495754"/>
                </a:cubicBezTo>
                <a:cubicBezTo>
                  <a:pt x="370165" y="4509768"/>
                  <a:pt x="377059" y="4522077"/>
                  <a:pt x="380390" y="4541357"/>
                </a:cubicBezTo>
                <a:cubicBezTo>
                  <a:pt x="373346" y="4546546"/>
                  <a:pt x="364825" y="4520222"/>
                  <a:pt x="359637" y="4513178"/>
                </a:cubicBezTo>
                <a:cubicBezTo>
                  <a:pt x="350888" y="4513103"/>
                  <a:pt x="359485" y="4530678"/>
                  <a:pt x="357705" y="4534163"/>
                </a:cubicBezTo>
                <a:cubicBezTo>
                  <a:pt x="362893" y="4541207"/>
                  <a:pt x="364520" y="4555223"/>
                  <a:pt x="368005" y="4557002"/>
                </a:cubicBezTo>
                <a:cubicBezTo>
                  <a:pt x="388300" y="4637678"/>
                  <a:pt x="422838" y="4690474"/>
                  <a:pt x="436242" y="4758842"/>
                </a:cubicBezTo>
                <a:cubicBezTo>
                  <a:pt x="439650" y="4769371"/>
                  <a:pt x="446542" y="4781681"/>
                  <a:pt x="449950" y="4792211"/>
                </a:cubicBezTo>
                <a:cubicBezTo>
                  <a:pt x="452080" y="4798792"/>
                  <a:pt x="453571" y="4803398"/>
                  <a:pt x="454797" y="4807046"/>
                </a:cubicBezTo>
                <a:lnTo>
                  <a:pt x="456109" y="4810705"/>
                </a:lnTo>
                <a:lnTo>
                  <a:pt x="457393" y="4810322"/>
                </a:lnTo>
                <a:cubicBezTo>
                  <a:pt x="463402" y="4811320"/>
                  <a:pt x="468787" y="4812180"/>
                  <a:pt x="470593" y="4804054"/>
                </a:cubicBezTo>
                <a:cubicBezTo>
                  <a:pt x="470904" y="4801172"/>
                  <a:pt x="473267" y="4802349"/>
                  <a:pt x="474622" y="4803631"/>
                </a:cubicBezTo>
                <a:cubicBezTo>
                  <a:pt x="479903" y="4809387"/>
                  <a:pt x="482961" y="4807439"/>
                  <a:pt x="485112" y="4800701"/>
                </a:cubicBezTo>
                <a:cubicBezTo>
                  <a:pt x="486466" y="4796081"/>
                  <a:pt x="488481" y="4795869"/>
                  <a:pt x="490913" y="4799685"/>
                </a:cubicBezTo>
                <a:cubicBezTo>
                  <a:pt x="492373" y="4801974"/>
                  <a:pt x="493312" y="4805133"/>
                  <a:pt x="496993" y="4803323"/>
                </a:cubicBezTo>
                <a:cubicBezTo>
                  <a:pt x="505608" y="4799977"/>
                  <a:pt x="512070" y="4803371"/>
                  <a:pt x="516067" y="4810483"/>
                </a:cubicBezTo>
                <a:cubicBezTo>
                  <a:pt x="518848" y="4815687"/>
                  <a:pt x="521835" y="4817001"/>
                  <a:pt x="526490" y="4816718"/>
                </a:cubicBezTo>
                <a:cubicBezTo>
                  <a:pt x="527463" y="4818243"/>
                  <a:pt x="528437" y="4819770"/>
                  <a:pt x="529409" y="4821297"/>
                </a:cubicBezTo>
                <a:cubicBezTo>
                  <a:pt x="527048" y="4826022"/>
                  <a:pt x="528578" y="4830949"/>
                  <a:pt x="532156" y="4834034"/>
                </a:cubicBezTo>
                <a:cubicBezTo>
                  <a:pt x="538446" y="4839685"/>
                  <a:pt x="539560" y="4846489"/>
                  <a:pt x="537512" y="4854235"/>
                </a:cubicBezTo>
                <a:cubicBezTo>
                  <a:pt x="536818" y="4857360"/>
                  <a:pt x="535880" y="4860104"/>
                  <a:pt x="536819" y="4863263"/>
                </a:cubicBezTo>
                <a:cubicBezTo>
                  <a:pt x="538731" y="4867947"/>
                  <a:pt x="537898" y="4871699"/>
                  <a:pt x="533452" y="4873996"/>
                </a:cubicBezTo>
                <a:cubicBezTo>
                  <a:pt x="530396" y="4875945"/>
                  <a:pt x="529319" y="4879314"/>
                  <a:pt x="529146" y="4881571"/>
                </a:cubicBezTo>
                <a:cubicBezTo>
                  <a:pt x="528489" y="4894870"/>
                  <a:pt x="515775" y="4895998"/>
                  <a:pt x="508481" y="4902258"/>
                </a:cubicBezTo>
                <a:lnTo>
                  <a:pt x="504407" y="4905735"/>
                </a:lnTo>
                <a:lnTo>
                  <a:pt x="513532" y="4925759"/>
                </a:lnTo>
                <a:cubicBezTo>
                  <a:pt x="523832" y="4948598"/>
                  <a:pt x="530648" y="4969657"/>
                  <a:pt x="542653" y="4997760"/>
                </a:cubicBezTo>
                <a:cubicBezTo>
                  <a:pt x="551324" y="5006585"/>
                  <a:pt x="546213" y="4990790"/>
                  <a:pt x="553257" y="4985600"/>
                </a:cubicBezTo>
                <a:cubicBezTo>
                  <a:pt x="558447" y="4992645"/>
                  <a:pt x="558447" y="4992645"/>
                  <a:pt x="561930" y="4994425"/>
                </a:cubicBezTo>
                <a:cubicBezTo>
                  <a:pt x="568823" y="5006735"/>
                  <a:pt x="572249" y="5015076"/>
                  <a:pt x="575676" y="5023418"/>
                </a:cubicBezTo>
                <a:lnTo>
                  <a:pt x="584840" y="5042745"/>
                </a:lnTo>
                <a:lnTo>
                  <a:pt x="586044" y="5038089"/>
                </a:lnTo>
                <a:cubicBezTo>
                  <a:pt x="586798" y="5032943"/>
                  <a:pt x="588526" y="5031767"/>
                  <a:pt x="593786" y="5033172"/>
                </a:cubicBezTo>
                <a:cubicBezTo>
                  <a:pt x="596042" y="5033840"/>
                  <a:pt x="598481" y="5034409"/>
                  <a:pt x="600742" y="5032471"/>
                </a:cubicBezTo>
                <a:cubicBezTo>
                  <a:pt x="606242" y="5027351"/>
                  <a:pt x="612832" y="5026848"/>
                  <a:pt x="619867" y="5028471"/>
                </a:cubicBezTo>
                <a:cubicBezTo>
                  <a:pt x="624463" y="5029526"/>
                  <a:pt x="629175" y="5031229"/>
                  <a:pt x="633922" y="5031254"/>
                </a:cubicBezTo>
                <a:cubicBezTo>
                  <a:pt x="634852" y="5031222"/>
                  <a:pt x="635880" y="5031374"/>
                  <a:pt x="636194" y="5032388"/>
                </a:cubicBezTo>
                <a:cubicBezTo>
                  <a:pt x="637215" y="5037752"/>
                  <a:pt x="641430" y="5038539"/>
                  <a:pt x="645744" y="5039510"/>
                </a:cubicBezTo>
                <a:cubicBezTo>
                  <a:pt x="647055" y="5039746"/>
                  <a:pt x="648647" y="5040063"/>
                  <a:pt x="649176" y="5041908"/>
                </a:cubicBezTo>
                <a:cubicBezTo>
                  <a:pt x="650563" y="5047074"/>
                  <a:pt x="653694" y="5051529"/>
                  <a:pt x="655812" y="5056297"/>
                </a:cubicBezTo>
                <a:cubicBezTo>
                  <a:pt x="657715" y="5060235"/>
                  <a:pt x="659435" y="5064273"/>
                  <a:pt x="658947" y="5069037"/>
                </a:cubicBezTo>
                <a:cubicBezTo>
                  <a:pt x="658645" y="5071095"/>
                  <a:pt x="659606" y="5071994"/>
                  <a:pt x="661481" y="5072396"/>
                </a:cubicBezTo>
                <a:cubicBezTo>
                  <a:pt x="662693" y="5072448"/>
                  <a:pt x="663722" y="5072599"/>
                  <a:pt x="664850" y="5072934"/>
                </a:cubicBezTo>
                <a:cubicBezTo>
                  <a:pt x="665979" y="5073267"/>
                  <a:pt x="667404" y="5074150"/>
                  <a:pt x="667170" y="5075461"/>
                </a:cubicBezTo>
                <a:cubicBezTo>
                  <a:pt x="667035" y="5076955"/>
                  <a:pt x="665374" y="5077384"/>
                  <a:pt x="663981" y="5077431"/>
                </a:cubicBezTo>
                <a:cubicBezTo>
                  <a:pt x="663333" y="5077546"/>
                  <a:pt x="662770" y="5077378"/>
                  <a:pt x="662022" y="5077310"/>
                </a:cubicBezTo>
                <a:cubicBezTo>
                  <a:pt x="656230" y="5076669"/>
                  <a:pt x="654085" y="5079255"/>
                  <a:pt x="656219" y="5084488"/>
                </a:cubicBezTo>
                <a:cubicBezTo>
                  <a:pt x="656533" y="5085502"/>
                  <a:pt x="657030" y="5086416"/>
                  <a:pt x="657244" y="5087247"/>
                </a:cubicBezTo>
                <a:cubicBezTo>
                  <a:pt x="657574" y="5088725"/>
                  <a:pt x="658735" y="5089989"/>
                  <a:pt x="656924" y="5091447"/>
                </a:cubicBezTo>
                <a:cubicBezTo>
                  <a:pt x="655660" y="5092607"/>
                  <a:pt x="654532" y="5092272"/>
                  <a:pt x="653205" y="5091573"/>
                </a:cubicBezTo>
                <a:cubicBezTo>
                  <a:pt x="650651" y="5090356"/>
                  <a:pt x="649471" y="5091233"/>
                  <a:pt x="648919" y="5094137"/>
                </a:cubicBezTo>
                <a:cubicBezTo>
                  <a:pt x="648300" y="5097789"/>
                  <a:pt x="647033" y="5101556"/>
                  <a:pt x="643279" y="5103359"/>
                </a:cubicBezTo>
                <a:cubicBezTo>
                  <a:pt x="640257" y="5104764"/>
                  <a:pt x="639193" y="5106290"/>
                  <a:pt x="641711" y="5109183"/>
                </a:cubicBezTo>
                <a:cubicBezTo>
                  <a:pt x="642291" y="5109815"/>
                  <a:pt x="642605" y="5110828"/>
                  <a:pt x="641707" y="5111790"/>
                </a:cubicBezTo>
                <a:cubicBezTo>
                  <a:pt x="640992" y="5112651"/>
                  <a:pt x="639948" y="5112035"/>
                  <a:pt x="639101" y="5111785"/>
                </a:cubicBezTo>
                <a:cubicBezTo>
                  <a:pt x="637127" y="5111200"/>
                  <a:pt x="635054" y="5110433"/>
                  <a:pt x="633095" y="5110313"/>
                </a:cubicBezTo>
                <a:cubicBezTo>
                  <a:pt x="627669" y="5109472"/>
                  <a:pt x="625576" y="5110846"/>
                  <a:pt x="623046" y="5115773"/>
                </a:cubicBezTo>
                <a:cubicBezTo>
                  <a:pt x="621132" y="5119655"/>
                  <a:pt x="618736" y="5123086"/>
                  <a:pt x="614817" y="5125454"/>
                </a:cubicBezTo>
                <a:cubicBezTo>
                  <a:pt x="611992" y="5127225"/>
                  <a:pt x="610832" y="5125960"/>
                  <a:pt x="610454" y="5123088"/>
                </a:cubicBezTo>
                <a:cubicBezTo>
                  <a:pt x="610109" y="5121145"/>
                  <a:pt x="611257" y="5119338"/>
                  <a:pt x="611475" y="5117562"/>
                </a:cubicBezTo>
                <a:cubicBezTo>
                  <a:pt x="611776" y="5115503"/>
                  <a:pt x="612146" y="5112698"/>
                  <a:pt x="609889" y="5112030"/>
                </a:cubicBezTo>
                <a:cubicBezTo>
                  <a:pt x="607168" y="5111377"/>
                  <a:pt x="605472" y="5113482"/>
                  <a:pt x="604722" y="5116021"/>
                </a:cubicBezTo>
                <a:lnTo>
                  <a:pt x="604465" y="5117025"/>
                </a:lnTo>
                <a:lnTo>
                  <a:pt x="604607" y="5117294"/>
                </a:lnTo>
                <a:cubicBezTo>
                  <a:pt x="621876" y="5143693"/>
                  <a:pt x="635660" y="5168312"/>
                  <a:pt x="638992" y="5187592"/>
                </a:cubicBezTo>
                <a:lnTo>
                  <a:pt x="669483" y="5233126"/>
                </a:lnTo>
                <a:lnTo>
                  <a:pt x="670496" y="5231672"/>
                </a:lnTo>
                <a:cubicBezTo>
                  <a:pt x="671876" y="5230922"/>
                  <a:pt x="673256" y="5230173"/>
                  <a:pt x="674636" y="5229423"/>
                </a:cubicBezTo>
                <a:cubicBezTo>
                  <a:pt x="678583" y="5231753"/>
                  <a:pt x="682941" y="5230727"/>
                  <a:pt x="685827" y="5227816"/>
                </a:cubicBezTo>
                <a:cubicBezTo>
                  <a:pt x="691098" y="5222715"/>
                  <a:pt x="697054" y="5222163"/>
                  <a:pt x="703633" y="5224404"/>
                </a:cubicBezTo>
                <a:cubicBezTo>
                  <a:pt x="706296" y="5225195"/>
                  <a:pt x="708615" y="5226172"/>
                  <a:pt x="711406" y="5225551"/>
                </a:cubicBezTo>
                <a:cubicBezTo>
                  <a:pt x="715575" y="5224180"/>
                  <a:pt x="718772" y="5225127"/>
                  <a:pt x="720490" y="5229115"/>
                </a:cubicBezTo>
                <a:cubicBezTo>
                  <a:pt x="721992" y="5231878"/>
                  <a:pt x="724843" y="5233013"/>
                  <a:pt x="726786" y="5233299"/>
                </a:cubicBezTo>
                <a:cubicBezTo>
                  <a:pt x="738256" y="5234673"/>
                  <a:pt x="738463" y="5245746"/>
                  <a:pt x="743439" y="5252437"/>
                </a:cubicBezTo>
                <a:cubicBezTo>
                  <a:pt x="745473" y="5255359"/>
                  <a:pt x="750764" y="5260984"/>
                  <a:pt x="749099" y="5263678"/>
                </a:cubicBezTo>
                <a:cubicBezTo>
                  <a:pt x="744453" y="5271572"/>
                  <a:pt x="753030" y="5280780"/>
                  <a:pt x="745029" y="5288259"/>
                </a:cubicBezTo>
                <a:cubicBezTo>
                  <a:pt x="742645" y="5290449"/>
                  <a:pt x="743548" y="5296222"/>
                  <a:pt x="737313" y="5293794"/>
                </a:cubicBezTo>
                <a:cubicBezTo>
                  <a:pt x="735527" y="5292975"/>
                  <a:pt x="733645" y="5294444"/>
                  <a:pt x="734051" y="5296013"/>
                </a:cubicBezTo>
                <a:cubicBezTo>
                  <a:pt x="734984" y="5302665"/>
                  <a:pt x="731692" y="5304006"/>
                  <a:pt x="725675" y="5302801"/>
                </a:cubicBezTo>
                <a:lnTo>
                  <a:pt x="725536" y="5302924"/>
                </a:lnTo>
                <a:lnTo>
                  <a:pt x="728972" y="5303864"/>
                </a:lnTo>
                <a:cubicBezTo>
                  <a:pt x="732379" y="5314394"/>
                  <a:pt x="737644" y="5312690"/>
                  <a:pt x="744536" y="5324998"/>
                </a:cubicBezTo>
                <a:cubicBezTo>
                  <a:pt x="735787" y="5324923"/>
                  <a:pt x="744384" y="5342499"/>
                  <a:pt x="730448" y="5335378"/>
                </a:cubicBezTo>
                <a:cubicBezTo>
                  <a:pt x="735559" y="5351173"/>
                  <a:pt x="761501" y="5386397"/>
                  <a:pt x="780625" y="5400560"/>
                </a:cubicBezTo>
                <a:lnTo>
                  <a:pt x="845295" y="5496952"/>
                </a:lnTo>
                <a:lnTo>
                  <a:pt x="851325" y="5487750"/>
                </a:lnTo>
                <a:cubicBezTo>
                  <a:pt x="852503" y="5486489"/>
                  <a:pt x="854071" y="5485947"/>
                  <a:pt x="854486" y="5483857"/>
                </a:cubicBezTo>
                <a:cubicBezTo>
                  <a:pt x="854902" y="5481766"/>
                  <a:pt x="856470" y="5481225"/>
                  <a:pt x="858429" y="5481404"/>
                </a:cubicBezTo>
                <a:cubicBezTo>
                  <a:pt x="859649" y="5481363"/>
                  <a:pt x="861368" y="5481672"/>
                  <a:pt x="861936" y="5480431"/>
                </a:cubicBezTo>
                <a:cubicBezTo>
                  <a:pt x="863508" y="5476469"/>
                  <a:pt x="865534" y="5475058"/>
                  <a:pt x="869057" y="5478115"/>
                </a:cubicBezTo>
                <a:cubicBezTo>
                  <a:pt x="869818" y="5478945"/>
                  <a:pt x="871386" y="5478404"/>
                  <a:pt x="871584" y="5477054"/>
                </a:cubicBezTo>
                <a:cubicBezTo>
                  <a:pt x="872054" y="5474778"/>
                  <a:pt x="873046" y="5474318"/>
                  <a:pt x="874191" y="5474356"/>
                </a:cubicBezTo>
                <a:lnTo>
                  <a:pt x="874193" y="5474355"/>
                </a:lnTo>
                <a:cubicBezTo>
                  <a:pt x="875339" y="5474393"/>
                  <a:pt x="876638" y="5474929"/>
                  <a:pt x="877728" y="5474648"/>
                </a:cubicBezTo>
                <a:cubicBezTo>
                  <a:pt x="885109" y="5472813"/>
                  <a:pt x="887233" y="5481292"/>
                  <a:pt x="893591" y="5481568"/>
                </a:cubicBezTo>
                <a:cubicBezTo>
                  <a:pt x="895789" y="5481616"/>
                  <a:pt x="897068" y="5486825"/>
                  <a:pt x="898002" y="5489115"/>
                </a:cubicBezTo>
                <a:cubicBezTo>
                  <a:pt x="900020" y="5494544"/>
                  <a:pt x="906394" y="5498849"/>
                  <a:pt x="902859" y="5506053"/>
                </a:cubicBezTo>
                <a:cubicBezTo>
                  <a:pt x="902292" y="5507294"/>
                  <a:pt x="901876" y="5509384"/>
                  <a:pt x="902919" y="5511303"/>
                </a:cubicBezTo>
                <a:cubicBezTo>
                  <a:pt x="904592" y="5513812"/>
                  <a:pt x="903937" y="5516033"/>
                  <a:pt x="901562" y="5517945"/>
                </a:cubicBezTo>
                <a:cubicBezTo>
                  <a:pt x="900145" y="5519336"/>
                  <a:pt x="899838" y="5521057"/>
                  <a:pt x="899292" y="5522907"/>
                </a:cubicBezTo>
                <a:cubicBezTo>
                  <a:pt x="898111" y="5527588"/>
                  <a:pt x="895539" y="5530850"/>
                  <a:pt x="890574" y="5531994"/>
                </a:cubicBezTo>
                <a:cubicBezTo>
                  <a:pt x="887787" y="5532577"/>
                  <a:pt x="885542" y="5534729"/>
                  <a:pt x="885408" y="5537909"/>
                </a:cubicBezTo>
                <a:cubicBezTo>
                  <a:pt x="884449" y="5538429"/>
                  <a:pt x="883490" y="5538950"/>
                  <a:pt x="882532" y="5539472"/>
                </a:cubicBezTo>
                <a:lnTo>
                  <a:pt x="881121" y="5539519"/>
                </a:lnTo>
                <a:lnTo>
                  <a:pt x="941537" y="5610194"/>
                </a:lnTo>
                <a:cubicBezTo>
                  <a:pt x="918850" y="5602999"/>
                  <a:pt x="896317" y="5578307"/>
                  <a:pt x="872005" y="5557097"/>
                </a:cubicBezTo>
                <a:lnTo>
                  <a:pt x="853943" y="5533774"/>
                </a:lnTo>
                <a:lnTo>
                  <a:pt x="851364" y="5531235"/>
                </a:lnTo>
                <a:cubicBezTo>
                  <a:pt x="850276" y="5531515"/>
                  <a:pt x="848687" y="5531446"/>
                  <a:pt x="849363" y="5529835"/>
                </a:cubicBezTo>
                <a:cubicBezTo>
                  <a:pt x="850784" y="5525023"/>
                  <a:pt x="847693" y="5523906"/>
                  <a:pt x="844234" y="5522679"/>
                </a:cubicBezTo>
                <a:cubicBezTo>
                  <a:pt x="843624" y="5522699"/>
                  <a:pt x="843102" y="5521739"/>
                  <a:pt x="842842" y="5521260"/>
                </a:cubicBezTo>
                <a:lnTo>
                  <a:pt x="842953" y="5519584"/>
                </a:lnTo>
                <a:lnTo>
                  <a:pt x="827663" y="5499841"/>
                </a:lnTo>
                <a:lnTo>
                  <a:pt x="780846" y="5447129"/>
                </a:lnTo>
                <a:lnTo>
                  <a:pt x="780661" y="5446717"/>
                </a:lnTo>
                <a:cubicBezTo>
                  <a:pt x="779799" y="5445179"/>
                  <a:pt x="778502" y="5443418"/>
                  <a:pt x="776761" y="5442529"/>
                </a:cubicBezTo>
                <a:lnTo>
                  <a:pt x="780846" y="5447129"/>
                </a:lnTo>
                <a:lnTo>
                  <a:pt x="781948" y="5449573"/>
                </a:lnTo>
                <a:cubicBezTo>
                  <a:pt x="776684" y="5451278"/>
                  <a:pt x="773199" y="5449498"/>
                  <a:pt x="771496" y="5444233"/>
                </a:cubicBezTo>
                <a:cubicBezTo>
                  <a:pt x="771496" y="5444233"/>
                  <a:pt x="771496" y="5444233"/>
                  <a:pt x="768011" y="5442452"/>
                </a:cubicBezTo>
                <a:cubicBezTo>
                  <a:pt x="795657" y="5482942"/>
                  <a:pt x="830346" y="5518239"/>
                  <a:pt x="845757" y="5556872"/>
                </a:cubicBezTo>
                <a:cubicBezTo>
                  <a:pt x="866588" y="5576302"/>
                  <a:pt x="896090" y="5604556"/>
                  <a:pt x="887264" y="5613230"/>
                </a:cubicBezTo>
                <a:cubicBezTo>
                  <a:pt x="862952" y="5592020"/>
                  <a:pt x="847310" y="5579637"/>
                  <a:pt x="823073" y="5549678"/>
                </a:cubicBezTo>
                <a:cubicBezTo>
                  <a:pt x="823073" y="5549678"/>
                  <a:pt x="824854" y="5546195"/>
                  <a:pt x="831822" y="5549753"/>
                </a:cubicBezTo>
                <a:cubicBezTo>
                  <a:pt x="831822" y="5549753"/>
                  <a:pt x="809289" y="5525060"/>
                  <a:pt x="800540" y="5524985"/>
                </a:cubicBezTo>
                <a:cubicBezTo>
                  <a:pt x="797133" y="5514456"/>
                  <a:pt x="795427" y="5509191"/>
                  <a:pt x="800693" y="5507486"/>
                </a:cubicBezTo>
                <a:cubicBezTo>
                  <a:pt x="786757" y="5500365"/>
                  <a:pt x="764376" y="5458172"/>
                  <a:pt x="747031" y="5440524"/>
                </a:cubicBezTo>
                <a:cubicBezTo>
                  <a:pt x="741841" y="5433479"/>
                  <a:pt x="738358" y="5431699"/>
                  <a:pt x="733170" y="5424654"/>
                </a:cubicBezTo>
                <a:cubicBezTo>
                  <a:pt x="689883" y="5371783"/>
                  <a:pt x="657202" y="5306750"/>
                  <a:pt x="624446" y="5250468"/>
                </a:cubicBezTo>
                <a:cubicBezTo>
                  <a:pt x="612366" y="5231115"/>
                  <a:pt x="584644" y="5199377"/>
                  <a:pt x="595173" y="5195966"/>
                </a:cubicBezTo>
                <a:cubicBezTo>
                  <a:pt x="589984" y="5188922"/>
                  <a:pt x="585667" y="5182322"/>
                  <a:pt x="581776" y="5177039"/>
                </a:cubicBezTo>
                <a:lnTo>
                  <a:pt x="573961" y="5169086"/>
                </a:lnTo>
                <a:lnTo>
                  <a:pt x="571965" y="5170283"/>
                </a:lnTo>
                <a:cubicBezTo>
                  <a:pt x="567300" y="5169975"/>
                  <a:pt x="565986" y="5172348"/>
                  <a:pt x="567639" y="5177133"/>
                </a:cubicBezTo>
                <a:cubicBezTo>
                  <a:pt x="567738" y="5177315"/>
                  <a:pt x="567838" y="5177498"/>
                  <a:pt x="567937" y="5177680"/>
                </a:cubicBezTo>
                <a:cubicBezTo>
                  <a:pt x="568647" y="5179425"/>
                  <a:pt x="569176" y="5181269"/>
                  <a:pt x="567631" y="5182345"/>
                </a:cubicBezTo>
                <a:cubicBezTo>
                  <a:pt x="566185" y="5183604"/>
                  <a:pt x="565275" y="5181494"/>
                  <a:pt x="564231" y="5180878"/>
                </a:cubicBezTo>
                <a:cubicBezTo>
                  <a:pt x="558128" y="5176616"/>
                  <a:pt x="552270" y="5176722"/>
                  <a:pt x="546289" y="5181393"/>
                </a:cubicBezTo>
                <a:cubicBezTo>
                  <a:pt x="544294" y="5182949"/>
                  <a:pt x="542617" y="5182913"/>
                  <a:pt x="540711" y="5181581"/>
                </a:cubicBezTo>
                <a:cubicBezTo>
                  <a:pt x="539567" y="5180782"/>
                  <a:pt x="538606" y="5179884"/>
                  <a:pt x="537461" y="5179085"/>
                </a:cubicBezTo>
                <a:cubicBezTo>
                  <a:pt x="535936" y="5178020"/>
                  <a:pt x="534541" y="5178067"/>
                  <a:pt x="533096" y="5179326"/>
                </a:cubicBezTo>
                <a:lnTo>
                  <a:pt x="532379" y="5180775"/>
                </a:lnTo>
                <a:lnTo>
                  <a:pt x="510407" y="5174207"/>
                </a:lnTo>
                <a:lnTo>
                  <a:pt x="513337" y="5173014"/>
                </a:lnTo>
                <a:cubicBezTo>
                  <a:pt x="514997" y="5172586"/>
                  <a:pt x="515728" y="5172188"/>
                  <a:pt x="515748" y="5170046"/>
                </a:cubicBezTo>
                <a:cubicBezTo>
                  <a:pt x="515486" y="5167822"/>
                  <a:pt x="514175" y="5167586"/>
                  <a:pt x="512681" y="5167451"/>
                </a:cubicBezTo>
                <a:cubicBezTo>
                  <a:pt x="511652" y="5167299"/>
                  <a:pt x="510822" y="5167514"/>
                  <a:pt x="509710" y="5167645"/>
                </a:cubicBezTo>
                <a:cubicBezTo>
                  <a:pt x="504979" y="5168084"/>
                  <a:pt x="504201" y="5167086"/>
                  <a:pt x="505817" y="5162657"/>
                </a:cubicBezTo>
                <a:cubicBezTo>
                  <a:pt x="506249" y="5161711"/>
                  <a:pt x="506766" y="5160484"/>
                  <a:pt x="506169" y="5159387"/>
                </a:cubicBezTo>
                <a:cubicBezTo>
                  <a:pt x="505292" y="5158206"/>
                  <a:pt x="503830" y="5159000"/>
                  <a:pt x="502718" y="5159131"/>
                </a:cubicBezTo>
                <a:cubicBezTo>
                  <a:pt x="501789" y="5159163"/>
                  <a:pt x="500958" y="5159377"/>
                  <a:pt x="500227" y="5159774"/>
                </a:cubicBezTo>
                <a:cubicBezTo>
                  <a:pt x="498525" y="5160344"/>
                  <a:pt x="497471" y="5160147"/>
                  <a:pt x="496889" y="5159457"/>
                </a:cubicBezTo>
                <a:cubicBezTo>
                  <a:pt x="496308" y="5158767"/>
                  <a:pt x="496197" y="5157583"/>
                  <a:pt x="496382" y="5156181"/>
                </a:cubicBezTo>
                <a:cubicBezTo>
                  <a:pt x="496934" y="5153277"/>
                  <a:pt x="497851" y="5150174"/>
                  <a:pt x="498403" y="5147269"/>
                </a:cubicBezTo>
                <a:cubicBezTo>
                  <a:pt x="499121" y="5143801"/>
                  <a:pt x="499093" y="5140264"/>
                  <a:pt x="495860" y="5138232"/>
                </a:cubicBezTo>
                <a:cubicBezTo>
                  <a:pt x="493472" y="5136452"/>
                  <a:pt x="493790" y="5134858"/>
                  <a:pt x="494739" y="5132685"/>
                </a:cubicBezTo>
                <a:cubicBezTo>
                  <a:pt x="496903" y="5127958"/>
                  <a:pt x="497856" y="5123179"/>
                  <a:pt x="493979" y="5118655"/>
                </a:cubicBezTo>
                <a:cubicBezTo>
                  <a:pt x="492917" y="5117574"/>
                  <a:pt x="493268" y="5116911"/>
                  <a:pt x="494447" y="5116033"/>
                </a:cubicBezTo>
                <a:cubicBezTo>
                  <a:pt x="503003" y="5110437"/>
                  <a:pt x="508591" y="5102429"/>
                  <a:pt x="512754" y="5093537"/>
                </a:cubicBezTo>
                <a:cubicBezTo>
                  <a:pt x="513703" y="5091365"/>
                  <a:pt x="514997" y="5091134"/>
                  <a:pt x="517039" y="5090972"/>
                </a:cubicBezTo>
                <a:cubicBezTo>
                  <a:pt x="521321" y="5091014"/>
                  <a:pt x="526068" y="5091039"/>
                  <a:pt x="529027" y="5087773"/>
                </a:cubicBezTo>
                <a:cubicBezTo>
                  <a:pt x="531986" y="5084508"/>
                  <a:pt x="535041" y="5084032"/>
                  <a:pt x="538957" y="5084272"/>
                </a:cubicBezTo>
                <a:cubicBezTo>
                  <a:pt x="540169" y="5084324"/>
                  <a:pt x="541281" y="5084193"/>
                  <a:pt x="542676" y="5084146"/>
                </a:cubicBezTo>
                <a:lnTo>
                  <a:pt x="560622" y="5087838"/>
                </a:lnTo>
                <a:lnTo>
                  <a:pt x="511218" y="4990490"/>
                </a:lnTo>
                <a:cubicBezTo>
                  <a:pt x="502546" y="4981667"/>
                  <a:pt x="497358" y="4974621"/>
                  <a:pt x="493949" y="4964092"/>
                </a:cubicBezTo>
                <a:cubicBezTo>
                  <a:pt x="488799" y="4952673"/>
                  <a:pt x="484075" y="4942569"/>
                  <a:pt x="479673" y="4933180"/>
                </a:cubicBezTo>
                <a:lnTo>
                  <a:pt x="467533" y="4906992"/>
                </a:lnTo>
                <a:lnTo>
                  <a:pt x="467421" y="4906969"/>
                </a:lnTo>
                <a:cubicBezTo>
                  <a:pt x="464711" y="4904404"/>
                  <a:pt x="458145" y="4905906"/>
                  <a:pt x="460436" y="4898541"/>
                </a:cubicBezTo>
                <a:cubicBezTo>
                  <a:pt x="461236" y="4896423"/>
                  <a:pt x="459393" y="4894377"/>
                  <a:pt x="457621" y="4894970"/>
                </a:cubicBezTo>
                <a:cubicBezTo>
                  <a:pt x="450049" y="4896577"/>
                  <a:pt x="448242" y="4892900"/>
                  <a:pt x="449144" y="4885885"/>
                </a:cubicBezTo>
                <a:cubicBezTo>
                  <a:pt x="449316" y="4883628"/>
                  <a:pt x="446572" y="4882694"/>
                  <a:pt x="444834" y="4881655"/>
                </a:cubicBezTo>
                <a:cubicBezTo>
                  <a:pt x="441847" y="4880340"/>
                  <a:pt x="440005" y="4878295"/>
                  <a:pt x="441081" y="4874925"/>
                </a:cubicBezTo>
                <a:cubicBezTo>
                  <a:pt x="442158" y="4871555"/>
                  <a:pt x="440315" y="4869509"/>
                  <a:pt x="439620" y="4866733"/>
                </a:cubicBezTo>
                <a:lnTo>
                  <a:pt x="438492" y="4851614"/>
                </a:lnTo>
                <a:lnTo>
                  <a:pt x="428436" y="4851528"/>
                </a:lnTo>
                <a:cubicBezTo>
                  <a:pt x="421542" y="4839219"/>
                  <a:pt x="416354" y="4832175"/>
                  <a:pt x="412870" y="4830394"/>
                </a:cubicBezTo>
                <a:cubicBezTo>
                  <a:pt x="412870" y="4830394"/>
                  <a:pt x="414574" y="4835659"/>
                  <a:pt x="414574" y="4835659"/>
                </a:cubicBezTo>
                <a:cubicBezTo>
                  <a:pt x="412794" y="4839144"/>
                  <a:pt x="412794" y="4839144"/>
                  <a:pt x="412794" y="4839144"/>
                </a:cubicBezTo>
                <a:cubicBezTo>
                  <a:pt x="409310" y="4837364"/>
                  <a:pt x="407606" y="4832100"/>
                  <a:pt x="409386" y="4828614"/>
                </a:cubicBezTo>
                <a:cubicBezTo>
                  <a:pt x="409386" y="4828614"/>
                  <a:pt x="405902" y="4826835"/>
                  <a:pt x="407683" y="4823350"/>
                </a:cubicBezTo>
                <a:cubicBezTo>
                  <a:pt x="397153" y="4826760"/>
                  <a:pt x="388557" y="4809185"/>
                  <a:pt x="380039" y="4782861"/>
                </a:cubicBezTo>
                <a:cubicBezTo>
                  <a:pt x="371517" y="4756537"/>
                  <a:pt x="361292" y="4724949"/>
                  <a:pt x="352773" y="4698626"/>
                </a:cubicBezTo>
                <a:cubicBezTo>
                  <a:pt x="354629" y="4686391"/>
                  <a:pt x="361368" y="4716199"/>
                  <a:pt x="363149" y="4712715"/>
                </a:cubicBezTo>
                <a:cubicBezTo>
                  <a:pt x="363149" y="4712715"/>
                  <a:pt x="361444" y="4707451"/>
                  <a:pt x="361444" y="4707451"/>
                </a:cubicBezTo>
                <a:cubicBezTo>
                  <a:pt x="359742" y="4702186"/>
                  <a:pt x="356256" y="4700405"/>
                  <a:pt x="361522" y="4698700"/>
                </a:cubicBezTo>
                <a:cubicBezTo>
                  <a:pt x="361522" y="4698700"/>
                  <a:pt x="361522" y="4698700"/>
                  <a:pt x="363225" y="4703965"/>
                </a:cubicBezTo>
                <a:cubicBezTo>
                  <a:pt x="363225" y="4703965"/>
                  <a:pt x="363225" y="4703965"/>
                  <a:pt x="366709" y="4705745"/>
                </a:cubicBezTo>
                <a:cubicBezTo>
                  <a:pt x="361598" y="4689951"/>
                  <a:pt x="356486" y="4674155"/>
                  <a:pt x="361752" y="4672452"/>
                </a:cubicBezTo>
                <a:cubicBezTo>
                  <a:pt x="370422" y="4681276"/>
                  <a:pt x="378943" y="4707601"/>
                  <a:pt x="384130" y="4714644"/>
                </a:cubicBezTo>
                <a:cubicBezTo>
                  <a:pt x="384130" y="4714644"/>
                  <a:pt x="384130" y="4714644"/>
                  <a:pt x="382428" y="4709380"/>
                </a:cubicBezTo>
                <a:cubicBezTo>
                  <a:pt x="380723" y="4704115"/>
                  <a:pt x="380723" y="4704115"/>
                  <a:pt x="379018" y="4698851"/>
                </a:cubicBezTo>
                <a:cubicBezTo>
                  <a:pt x="379018" y="4698851"/>
                  <a:pt x="382503" y="4700631"/>
                  <a:pt x="382503" y="4700631"/>
                </a:cubicBezTo>
                <a:cubicBezTo>
                  <a:pt x="380723" y="4704115"/>
                  <a:pt x="384207" y="4705894"/>
                  <a:pt x="384207" y="4705894"/>
                </a:cubicBezTo>
                <a:cubicBezTo>
                  <a:pt x="379018" y="4698851"/>
                  <a:pt x="380876" y="4686616"/>
                  <a:pt x="377467" y="4676087"/>
                </a:cubicBezTo>
                <a:cubicBezTo>
                  <a:pt x="362131" y="4628704"/>
                  <a:pt x="339826" y="4577761"/>
                  <a:pt x="326270" y="4526894"/>
                </a:cubicBezTo>
                <a:cubicBezTo>
                  <a:pt x="321158" y="4511099"/>
                  <a:pt x="321234" y="4502350"/>
                  <a:pt x="317902" y="4483070"/>
                </a:cubicBezTo>
                <a:cubicBezTo>
                  <a:pt x="306051" y="4437467"/>
                  <a:pt x="294275" y="4383114"/>
                  <a:pt x="282423" y="4337513"/>
                </a:cubicBezTo>
                <a:cubicBezTo>
                  <a:pt x="274055" y="4293689"/>
                  <a:pt x="265611" y="4258616"/>
                  <a:pt x="270952" y="4248160"/>
                </a:cubicBezTo>
                <a:cubicBezTo>
                  <a:pt x="270952" y="4248160"/>
                  <a:pt x="270952" y="4248160"/>
                  <a:pt x="272732" y="4244677"/>
                </a:cubicBezTo>
                <a:cubicBezTo>
                  <a:pt x="272732" y="4244677"/>
                  <a:pt x="272732" y="4244677"/>
                  <a:pt x="271027" y="4239412"/>
                </a:cubicBezTo>
                <a:cubicBezTo>
                  <a:pt x="267544" y="4237631"/>
                  <a:pt x="269324" y="4234147"/>
                  <a:pt x="271104" y="4230661"/>
                </a:cubicBezTo>
                <a:cubicBezTo>
                  <a:pt x="271104" y="4230661"/>
                  <a:pt x="271104" y="4230661"/>
                  <a:pt x="272808" y="4235926"/>
                </a:cubicBezTo>
                <a:cubicBezTo>
                  <a:pt x="272808" y="4235926"/>
                  <a:pt x="272808" y="4235926"/>
                  <a:pt x="274512" y="4241191"/>
                </a:cubicBezTo>
                <a:cubicBezTo>
                  <a:pt x="274665" y="4223693"/>
                  <a:pt x="271333" y="4204414"/>
                  <a:pt x="269704" y="4190398"/>
                </a:cubicBezTo>
                <a:cubicBezTo>
                  <a:pt x="274969" y="4188695"/>
                  <a:pt x="275122" y="4171194"/>
                  <a:pt x="282090" y="4174755"/>
                </a:cubicBezTo>
                <a:cubicBezTo>
                  <a:pt x="267135" y="4083623"/>
                  <a:pt x="278196" y="4018967"/>
                  <a:pt x="257748" y="3955789"/>
                </a:cubicBezTo>
                <a:cubicBezTo>
                  <a:pt x="259986" y="3899806"/>
                  <a:pt x="276007" y="3868443"/>
                  <a:pt x="271276" y="3808900"/>
                </a:cubicBezTo>
                <a:cubicBezTo>
                  <a:pt x="273056" y="3805415"/>
                  <a:pt x="274913" y="3793182"/>
                  <a:pt x="273209" y="3787916"/>
                </a:cubicBezTo>
                <a:cubicBezTo>
                  <a:pt x="273437" y="3761667"/>
                  <a:pt x="273741" y="3726669"/>
                  <a:pt x="275750" y="3696935"/>
                </a:cubicBezTo>
                <a:cubicBezTo>
                  <a:pt x="277759" y="3667202"/>
                  <a:pt x="285032" y="3635764"/>
                  <a:pt x="292153" y="3621827"/>
                </a:cubicBezTo>
                <a:close/>
                <a:moveTo>
                  <a:pt x="267785" y="3482107"/>
                </a:moveTo>
                <a:cubicBezTo>
                  <a:pt x="270504" y="3482537"/>
                  <a:pt x="273106" y="3483852"/>
                  <a:pt x="275542" y="3485543"/>
                </a:cubicBezTo>
                <a:cubicBezTo>
                  <a:pt x="280169" y="3488542"/>
                  <a:pt x="284936" y="3490905"/>
                  <a:pt x="287349" y="3496396"/>
                </a:cubicBezTo>
                <a:cubicBezTo>
                  <a:pt x="289622" y="3502516"/>
                  <a:pt x="293683" y="3508037"/>
                  <a:pt x="291746" y="3515219"/>
                </a:cubicBezTo>
                <a:cubicBezTo>
                  <a:pt x="291182" y="3517742"/>
                  <a:pt x="290372" y="3519879"/>
                  <a:pt x="288159" y="3522372"/>
                </a:cubicBezTo>
                <a:cubicBezTo>
                  <a:pt x="285033" y="3525986"/>
                  <a:pt x="281625" y="3530864"/>
                  <a:pt x="286705" y="3536276"/>
                </a:cubicBezTo>
                <a:cubicBezTo>
                  <a:pt x="288561" y="3538333"/>
                  <a:pt x="286734" y="3540579"/>
                  <a:pt x="287083" y="3541979"/>
                </a:cubicBezTo>
                <a:cubicBezTo>
                  <a:pt x="289073" y="3549363"/>
                  <a:pt x="286156" y="3555010"/>
                  <a:pt x="282361" y="3560131"/>
                </a:cubicBezTo>
                <a:cubicBezTo>
                  <a:pt x="278396" y="3561578"/>
                  <a:pt x="274817" y="3562780"/>
                  <a:pt x="271342" y="3564993"/>
                </a:cubicBezTo>
                <a:cubicBezTo>
                  <a:pt x="267867" y="3567190"/>
                  <a:pt x="262921" y="3567099"/>
                  <a:pt x="259416" y="3565026"/>
                </a:cubicBezTo>
                <a:cubicBezTo>
                  <a:pt x="256542" y="3563076"/>
                  <a:pt x="254404" y="3562275"/>
                  <a:pt x="251352" y="3562600"/>
                </a:cubicBezTo>
                <a:cubicBezTo>
                  <a:pt x="248411" y="3557987"/>
                  <a:pt x="245471" y="3553374"/>
                  <a:pt x="242530" y="3548760"/>
                </a:cubicBezTo>
                <a:cubicBezTo>
                  <a:pt x="245166" y="3544376"/>
                  <a:pt x="246294" y="3539331"/>
                  <a:pt x="245633" y="3534888"/>
                </a:cubicBezTo>
                <a:cubicBezTo>
                  <a:pt x="245603" y="3530580"/>
                  <a:pt x="244942" y="3526136"/>
                  <a:pt x="244667" y="3521445"/>
                </a:cubicBezTo>
                <a:cubicBezTo>
                  <a:pt x="244638" y="3517140"/>
                  <a:pt x="244362" y="3512447"/>
                  <a:pt x="242298" y="3508358"/>
                </a:cubicBezTo>
                <a:cubicBezTo>
                  <a:pt x="240865" y="3504407"/>
                  <a:pt x="242202" y="3501391"/>
                  <a:pt x="243679" y="3497748"/>
                </a:cubicBezTo>
                <a:cubicBezTo>
                  <a:pt x="245157" y="3494102"/>
                  <a:pt x="249263" y="3492023"/>
                  <a:pt x="249478" y="3488102"/>
                </a:cubicBezTo>
                <a:cubicBezTo>
                  <a:pt x="252181" y="3486378"/>
                  <a:pt x="254498" y="3484903"/>
                  <a:pt x="257201" y="3483179"/>
                </a:cubicBezTo>
                <a:cubicBezTo>
                  <a:pt x="257936" y="3484333"/>
                  <a:pt x="258567" y="3484472"/>
                  <a:pt x="259339" y="3483980"/>
                </a:cubicBezTo>
                <a:cubicBezTo>
                  <a:pt x="262235" y="3482131"/>
                  <a:pt x="265068" y="3481677"/>
                  <a:pt x="267785" y="3482107"/>
                </a:cubicBezTo>
                <a:close/>
                <a:moveTo>
                  <a:pt x="1199637" y="3454482"/>
                </a:moveTo>
                <a:cubicBezTo>
                  <a:pt x="1199637" y="3454482"/>
                  <a:pt x="1198460" y="3458873"/>
                  <a:pt x="1201673" y="3464432"/>
                </a:cubicBezTo>
                <a:cubicBezTo>
                  <a:pt x="1199321" y="3473209"/>
                  <a:pt x="1198146" y="3477596"/>
                  <a:pt x="1196970" y="3481986"/>
                </a:cubicBezTo>
                <a:cubicBezTo>
                  <a:pt x="1193756" y="3476421"/>
                  <a:pt x="1194932" y="3472034"/>
                  <a:pt x="1196108" y="3467644"/>
                </a:cubicBezTo>
                <a:cubicBezTo>
                  <a:pt x="1196108" y="3467644"/>
                  <a:pt x="1196108" y="3467644"/>
                  <a:pt x="1197284" y="3463260"/>
                </a:cubicBezTo>
                <a:cubicBezTo>
                  <a:pt x="1198460" y="3458873"/>
                  <a:pt x="1198460" y="3458873"/>
                  <a:pt x="1198460" y="3458873"/>
                </a:cubicBezTo>
                <a:close/>
                <a:moveTo>
                  <a:pt x="12191999" y="3433020"/>
                </a:moveTo>
                <a:lnTo>
                  <a:pt x="12191999" y="3464861"/>
                </a:lnTo>
                <a:lnTo>
                  <a:pt x="12186336" y="3462251"/>
                </a:lnTo>
                <a:cubicBezTo>
                  <a:pt x="12185679" y="3458486"/>
                  <a:pt x="12185180" y="3455104"/>
                  <a:pt x="12183761" y="3451653"/>
                </a:cubicBezTo>
                <a:cubicBezTo>
                  <a:pt x="12182342" y="3448202"/>
                  <a:pt x="12183212" y="3443808"/>
                  <a:pt x="12185635" y="3441018"/>
                </a:cubicBezTo>
                <a:cubicBezTo>
                  <a:pt x="12187834" y="3438768"/>
                  <a:pt x="12188888" y="3436990"/>
                  <a:pt x="12189086" y="3434218"/>
                </a:cubicBezTo>
                <a:close/>
                <a:moveTo>
                  <a:pt x="0" y="3404521"/>
                </a:moveTo>
                <a:lnTo>
                  <a:pt x="5568" y="3405741"/>
                </a:lnTo>
                <a:cubicBezTo>
                  <a:pt x="8509" y="3410353"/>
                  <a:pt x="11449" y="3414966"/>
                  <a:pt x="14390" y="3419580"/>
                </a:cubicBezTo>
                <a:cubicBezTo>
                  <a:pt x="12808" y="3422207"/>
                  <a:pt x="12630" y="3424484"/>
                  <a:pt x="13187" y="3427910"/>
                </a:cubicBezTo>
                <a:cubicBezTo>
                  <a:pt x="13603" y="3431972"/>
                  <a:pt x="11599" y="3436492"/>
                  <a:pt x="8123" y="3438709"/>
                </a:cubicBezTo>
                <a:lnTo>
                  <a:pt x="0" y="3445826"/>
                </a:lnTo>
                <a:close/>
                <a:moveTo>
                  <a:pt x="205362" y="3224992"/>
                </a:moveTo>
                <a:cubicBezTo>
                  <a:pt x="209464" y="3224986"/>
                  <a:pt x="214266" y="3229009"/>
                  <a:pt x="218128" y="3232137"/>
                </a:cubicBezTo>
                <a:cubicBezTo>
                  <a:pt x="219672" y="3233391"/>
                  <a:pt x="220421" y="3235147"/>
                  <a:pt x="222858" y="3235457"/>
                </a:cubicBezTo>
                <a:cubicBezTo>
                  <a:pt x="225295" y="3235768"/>
                  <a:pt x="226044" y="3237529"/>
                  <a:pt x="225996" y="3239795"/>
                </a:cubicBezTo>
                <a:cubicBezTo>
                  <a:pt x="226142" y="3241193"/>
                  <a:pt x="225924" y="3243194"/>
                  <a:pt x="227396" y="3243748"/>
                </a:cubicBezTo>
                <a:cubicBezTo>
                  <a:pt x="232078" y="3245237"/>
                  <a:pt x="233864" y="3247453"/>
                  <a:pt x="230631" y="3251749"/>
                </a:cubicBezTo>
                <a:cubicBezTo>
                  <a:pt x="229739" y="3252691"/>
                  <a:pt x="230488" y="3254452"/>
                  <a:pt x="232056" y="3254570"/>
                </a:cubicBezTo>
                <a:cubicBezTo>
                  <a:pt x="237365" y="3255286"/>
                  <a:pt x="234494" y="3258980"/>
                  <a:pt x="235315" y="3261437"/>
                </a:cubicBezTo>
                <a:cubicBezTo>
                  <a:pt x="238020" y="3269779"/>
                  <a:pt x="228441" y="3272903"/>
                  <a:pt x="228636" y="3280234"/>
                </a:cubicBezTo>
                <a:cubicBezTo>
                  <a:pt x="228757" y="3282765"/>
                  <a:pt x="222870" y="3284655"/>
                  <a:pt x="220313" y="3285912"/>
                </a:cubicBezTo>
                <a:cubicBezTo>
                  <a:pt x="214233" y="3288669"/>
                  <a:pt x="209795" y="3296346"/>
                  <a:pt x="201229" y="3292860"/>
                </a:cubicBezTo>
                <a:cubicBezTo>
                  <a:pt x="199756" y="3292308"/>
                  <a:pt x="197319" y="3291999"/>
                  <a:pt x="195196" y="3293351"/>
                </a:cubicBezTo>
                <a:cubicBezTo>
                  <a:pt x="192446" y="3295478"/>
                  <a:pt x="189840" y="3294903"/>
                  <a:pt x="187450" y="3292326"/>
                </a:cubicBezTo>
                <a:cubicBezTo>
                  <a:pt x="185737" y="3290810"/>
                  <a:pt x="183734" y="3290595"/>
                  <a:pt x="181562" y="3290116"/>
                </a:cubicBezTo>
                <a:cubicBezTo>
                  <a:pt x="176084" y="3289135"/>
                  <a:pt x="172127" y="3286438"/>
                  <a:pt x="170413" y="3280822"/>
                </a:cubicBezTo>
                <a:cubicBezTo>
                  <a:pt x="169518" y="3277665"/>
                  <a:pt x="166863" y="3275257"/>
                  <a:pt x="163196" y="3275358"/>
                </a:cubicBezTo>
                <a:cubicBezTo>
                  <a:pt x="162519" y="3274298"/>
                  <a:pt x="161844" y="3273236"/>
                  <a:pt x="161168" y="3272177"/>
                </a:cubicBezTo>
                <a:cubicBezTo>
                  <a:pt x="162712" y="3269329"/>
                  <a:pt x="162759" y="3267063"/>
                  <a:pt x="160297" y="3263786"/>
                </a:cubicBezTo>
                <a:cubicBezTo>
                  <a:pt x="156990" y="3259184"/>
                  <a:pt x="156748" y="3254121"/>
                  <a:pt x="161380" y="3249678"/>
                </a:cubicBezTo>
                <a:cubicBezTo>
                  <a:pt x="163599" y="3247888"/>
                  <a:pt x="161886" y="3246373"/>
                  <a:pt x="160872" y="3244781"/>
                </a:cubicBezTo>
                <a:cubicBezTo>
                  <a:pt x="159182" y="3242132"/>
                  <a:pt x="159906" y="3240925"/>
                  <a:pt x="163211" y="3241426"/>
                </a:cubicBezTo>
                <a:cubicBezTo>
                  <a:pt x="168086" y="3242046"/>
                  <a:pt x="170209" y="3240694"/>
                  <a:pt x="168132" y="3235680"/>
                </a:cubicBezTo>
                <a:cubicBezTo>
                  <a:pt x="167722" y="3234451"/>
                  <a:pt x="167673" y="3232618"/>
                  <a:pt x="169579" y="3233266"/>
                </a:cubicBezTo>
                <a:cubicBezTo>
                  <a:pt x="175226" y="3234512"/>
                  <a:pt x="176263" y="3230870"/>
                  <a:pt x="177396" y="3226792"/>
                </a:cubicBezTo>
                <a:cubicBezTo>
                  <a:pt x="177323" y="3226094"/>
                  <a:pt x="178385" y="3225417"/>
                  <a:pt x="178916" y="3225078"/>
                </a:cubicBezTo>
                <a:cubicBezTo>
                  <a:pt x="187651" y="3224728"/>
                  <a:pt x="196458" y="3225079"/>
                  <a:pt x="205362" y="3224992"/>
                </a:cubicBezTo>
                <a:close/>
                <a:moveTo>
                  <a:pt x="731284" y="3213200"/>
                </a:moveTo>
                <a:lnTo>
                  <a:pt x="731002" y="3213582"/>
                </a:lnTo>
                <a:cubicBezTo>
                  <a:pt x="728537" y="3216398"/>
                  <a:pt x="725871" y="3218690"/>
                  <a:pt x="723038" y="3219523"/>
                </a:cubicBezTo>
                <a:lnTo>
                  <a:pt x="698367" y="3226704"/>
                </a:lnTo>
                <a:lnTo>
                  <a:pt x="700685" y="3228296"/>
                </a:lnTo>
                <a:cubicBezTo>
                  <a:pt x="702609" y="3232963"/>
                  <a:pt x="702511" y="3238792"/>
                  <a:pt x="701957" y="3244505"/>
                </a:cubicBezTo>
                <a:cubicBezTo>
                  <a:pt x="698767" y="3270991"/>
                  <a:pt x="693754" y="3296997"/>
                  <a:pt x="690563" y="3323477"/>
                </a:cubicBezTo>
                <a:cubicBezTo>
                  <a:pt x="689944" y="3333075"/>
                  <a:pt x="691147" y="3343158"/>
                  <a:pt x="694173" y="3353718"/>
                </a:cubicBezTo>
                <a:cubicBezTo>
                  <a:pt x="715229" y="3326172"/>
                  <a:pt x="721706" y="3294722"/>
                  <a:pt x="724540" y="3262275"/>
                </a:cubicBezTo>
                <a:close/>
                <a:moveTo>
                  <a:pt x="480890" y="3149514"/>
                </a:moveTo>
                <a:cubicBezTo>
                  <a:pt x="484991" y="3149510"/>
                  <a:pt x="489794" y="3153528"/>
                  <a:pt x="493656" y="3156660"/>
                </a:cubicBezTo>
                <a:cubicBezTo>
                  <a:pt x="495200" y="3157911"/>
                  <a:pt x="495949" y="3159670"/>
                  <a:pt x="498385" y="3159981"/>
                </a:cubicBezTo>
                <a:cubicBezTo>
                  <a:pt x="500823" y="3160292"/>
                  <a:pt x="501571" y="3162051"/>
                  <a:pt x="501524" y="3164319"/>
                </a:cubicBezTo>
                <a:cubicBezTo>
                  <a:pt x="501669" y="3165718"/>
                  <a:pt x="501452" y="3167720"/>
                  <a:pt x="502924" y="3168273"/>
                </a:cubicBezTo>
                <a:cubicBezTo>
                  <a:pt x="507606" y="3169761"/>
                  <a:pt x="509392" y="3171978"/>
                  <a:pt x="506160" y="3176279"/>
                </a:cubicBezTo>
                <a:cubicBezTo>
                  <a:pt x="505267" y="3177219"/>
                  <a:pt x="506015" y="3178978"/>
                  <a:pt x="507584" y="3179095"/>
                </a:cubicBezTo>
                <a:cubicBezTo>
                  <a:pt x="512893" y="3179813"/>
                  <a:pt x="510022" y="3183508"/>
                  <a:pt x="510843" y="3185965"/>
                </a:cubicBezTo>
                <a:cubicBezTo>
                  <a:pt x="513547" y="3194309"/>
                  <a:pt x="503969" y="3197433"/>
                  <a:pt x="504164" y="3204766"/>
                </a:cubicBezTo>
                <a:cubicBezTo>
                  <a:pt x="504286" y="3207296"/>
                  <a:pt x="498398" y="3209185"/>
                  <a:pt x="495841" y="3210442"/>
                </a:cubicBezTo>
                <a:cubicBezTo>
                  <a:pt x="489761" y="3213200"/>
                  <a:pt x="485322" y="3220875"/>
                  <a:pt x="476756" y="3217391"/>
                </a:cubicBezTo>
                <a:cubicBezTo>
                  <a:pt x="475284" y="3216839"/>
                  <a:pt x="472847" y="3216527"/>
                  <a:pt x="470724" y="3217881"/>
                </a:cubicBezTo>
                <a:cubicBezTo>
                  <a:pt x="467973" y="3220008"/>
                  <a:pt x="465367" y="3219432"/>
                  <a:pt x="462978" y="3216855"/>
                </a:cubicBezTo>
                <a:cubicBezTo>
                  <a:pt x="461264" y="3215338"/>
                  <a:pt x="459262" y="3215126"/>
                  <a:pt x="457090" y="3214645"/>
                </a:cubicBezTo>
                <a:cubicBezTo>
                  <a:pt x="451613" y="3213663"/>
                  <a:pt x="447655" y="3210971"/>
                  <a:pt x="445939" y="3205355"/>
                </a:cubicBezTo>
                <a:cubicBezTo>
                  <a:pt x="445047" y="3202196"/>
                  <a:pt x="442392" y="3199787"/>
                  <a:pt x="438724" y="3199889"/>
                </a:cubicBezTo>
                <a:cubicBezTo>
                  <a:pt x="438048" y="3198827"/>
                  <a:pt x="437372" y="3197766"/>
                  <a:pt x="436696" y="3196707"/>
                </a:cubicBezTo>
                <a:cubicBezTo>
                  <a:pt x="438240" y="3193861"/>
                  <a:pt x="438287" y="3191590"/>
                  <a:pt x="435825" y="3188314"/>
                </a:cubicBezTo>
                <a:cubicBezTo>
                  <a:pt x="432519" y="3183712"/>
                  <a:pt x="432276" y="3178648"/>
                  <a:pt x="436908" y="3174203"/>
                </a:cubicBezTo>
                <a:cubicBezTo>
                  <a:pt x="439127" y="3172415"/>
                  <a:pt x="437414" y="3170899"/>
                  <a:pt x="436400" y="3169308"/>
                </a:cubicBezTo>
                <a:cubicBezTo>
                  <a:pt x="434710" y="3166656"/>
                  <a:pt x="435434" y="3165448"/>
                  <a:pt x="438739" y="3165952"/>
                </a:cubicBezTo>
                <a:cubicBezTo>
                  <a:pt x="443614" y="3166572"/>
                  <a:pt x="445737" y="3165216"/>
                  <a:pt x="443660" y="3160203"/>
                </a:cubicBezTo>
                <a:cubicBezTo>
                  <a:pt x="443249" y="3158974"/>
                  <a:pt x="443201" y="3157140"/>
                  <a:pt x="445107" y="3157789"/>
                </a:cubicBezTo>
                <a:cubicBezTo>
                  <a:pt x="450755" y="3159036"/>
                  <a:pt x="451791" y="3155391"/>
                  <a:pt x="452924" y="3151313"/>
                </a:cubicBezTo>
                <a:cubicBezTo>
                  <a:pt x="452851" y="3150617"/>
                  <a:pt x="453914" y="3149939"/>
                  <a:pt x="454444" y="3149601"/>
                </a:cubicBezTo>
                <a:cubicBezTo>
                  <a:pt x="463179" y="3149252"/>
                  <a:pt x="471985" y="3149600"/>
                  <a:pt x="480890" y="3149514"/>
                </a:cubicBezTo>
                <a:close/>
                <a:moveTo>
                  <a:pt x="1255075" y="3107170"/>
                </a:moveTo>
                <a:cubicBezTo>
                  <a:pt x="1259464" y="3108346"/>
                  <a:pt x="1259464" y="3108346"/>
                  <a:pt x="1259464" y="3108346"/>
                </a:cubicBezTo>
                <a:cubicBezTo>
                  <a:pt x="1258287" y="3112736"/>
                  <a:pt x="1258287" y="3112736"/>
                  <a:pt x="1258287" y="3112736"/>
                </a:cubicBezTo>
                <a:cubicBezTo>
                  <a:pt x="1259464" y="3108346"/>
                  <a:pt x="1255075" y="3107170"/>
                  <a:pt x="1255075" y="3107170"/>
                </a:cubicBezTo>
                <a:close/>
                <a:moveTo>
                  <a:pt x="12189604" y="2993845"/>
                </a:moveTo>
                <a:lnTo>
                  <a:pt x="12191999" y="2994022"/>
                </a:lnTo>
                <a:lnTo>
                  <a:pt x="12191999" y="3061490"/>
                </a:lnTo>
                <a:lnTo>
                  <a:pt x="12190970" y="3062349"/>
                </a:lnTo>
                <a:cubicBezTo>
                  <a:pt x="12189785" y="3062181"/>
                  <a:pt x="12188496" y="3061479"/>
                  <a:pt x="12187335" y="3061649"/>
                </a:cubicBezTo>
                <a:cubicBezTo>
                  <a:pt x="12179470" y="3062726"/>
                  <a:pt x="12178214" y="3053690"/>
                  <a:pt x="12171648" y="3052692"/>
                </a:cubicBezTo>
                <a:cubicBezTo>
                  <a:pt x="12169372" y="3052397"/>
                  <a:pt x="12168629" y="3046848"/>
                  <a:pt x="12167917" y="3044367"/>
                </a:cubicBezTo>
                <a:cubicBezTo>
                  <a:pt x="12167173" y="3041438"/>
                  <a:pt x="12165268" y="3038678"/>
                  <a:pt x="12164108" y="3035766"/>
                </a:cubicBezTo>
                <a:lnTo>
                  <a:pt x="12164108" y="3035764"/>
                </a:lnTo>
                <a:cubicBezTo>
                  <a:pt x="12162950" y="3032852"/>
                  <a:pt x="12162534" y="3029787"/>
                  <a:pt x="12164771" y="3026247"/>
                </a:cubicBezTo>
                <a:cubicBezTo>
                  <a:pt x="12165498" y="3025022"/>
                  <a:pt x="12166164" y="3022901"/>
                  <a:pt x="12165298" y="3020792"/>
                </a:cubicBezTo>
                <a:cubicBezTo>
                  <a:pt x="12163841" y="3018000"/>
                  <a:pt x="12164771" y="3015770"/>
                  <a:pt x="12167448" y="3014052"/>
                </a:cubicBezTo>
                <a:cubicBezTo>
                  <a:pt x="12169074" y="3012766"/>
                  <a:pt x="12169584" y="3011016"/>
                  <a:pt x="12170359" y="3009156"/>
                </a:cubicBezTo>
                <a:cubicBezTo>
                  <a:pt x="12172108" y="3004430"/>
                  <a:pt x="12175143" y="3001334"/>
                  <a:pt x="12180422" y="3000703"/>
                </a:cubicBezTo>
                <a:cubicBezTo>
                  <a:pt x="12183380" y="3000411"/>
                  <a:pt x="12185950" y="2998429"/>
                  <a:pt x="12186445" y="2995142"/>
                </a:cubicBezTo>
                <a:cubicBezTo>
                  <a:pt x="12187498" y="2994710"/>
                  <a:pt x="12188551" y="2994278"/>
                  <a:pt x="12189604" y="2993845"/>
                </a:cubicBezTo>
                <a:close/>
                <a:moveTo>
                  <a:pt x="1383146" y="2962736"/>
                </a:moveTo>
                <a:cubicBezTo>
                  <a:pt x="1378757" y="2961562"/>
                  <a:pt x="1378757" y="2961562"/>
                  <a:pt x="1377581" y="2965952"/>
                </a:cubicBezTo>
                <a:cubicBezTo>
                  <a:pt x="1368919" y="2989498"/>
                  <a:pt x="1357983" y="3017145"/>
                  <a:pt x="1344560" y="3045304"/>
                </a:cubicBezTo>
                <a:lnTo>
                  <a:pt x="1327291" y="3074981"/>
                </a:lnTo>
                <a:lnTo>
                  <a:pt x="1331462" y="3072802"/>
                </a:lnTo>
                <a:lnTo>
                  <a:pt x="1336725" y="3071293"/>
                </a:lnTo>
                <a:lnTo>
                  <a:pt x="1347185" y="3053062"/>
                </a:lnTo>
                <a:cubicBezTo>
                  <a:pt x="1360902" y="3023807"/>
                  <a:pt x="1372131" y="2995062"/>
                  <a:pt x="1380794" y="2971516"/>
                </a:cubicBezTo>
                <a:cubicBezTo>
                  <a:pt x="1381969" y="2967123"/>
                  <a:pt x="1381969" y="2967123"/>
                  <a:pt x="1381969" y="2967123"/>
                </a:cubicBezTo>
                <a:cubicBezTo>
                  <a:pt x="1381969" y="2967123"/>
                  <a:pt x="1383146" y="2962736"/>
                  <a:pt x="1383146" y="2962736"/>
                </a:cubicBezTo>
                <a:close/>
                <a:moveTo>
                  <a:pt x="45329" y="2915671"/>
                </a:moveTo>
                <a:cubicBezTo>
                  <a:pt x="46789" y="2917963"/>
                  <a:pt x="47726" y="2921121"/>
                  <a:pt x="51409" y="2919310"/>
                </a:cubicBezTo>
                <a:cubicBezTo>
                  <a:pt x="60024" y="2915964"/>
                  <a:pt x="66485" y="2919357"/>
                  <a:pt x="70482" y="2926470"/>
                </a:cubicBezTo>
                <a:cubicBezTo>
                  <a:pt x="73263" y="2931672"/>
                  <a:pt x="76251" y="2932986"/>
                  <a:pt x="80906" y="2932704"/>
                </a:cubicBezTo>
                <a:cubicBezTo>
                  <a:pt x="81879" y="2934230"/>
                  <a:pt x="82851" y="2935756"/>
                  <a:pt x="83825" y="2937282"/>
                </a:cubicBezTo>
                <a:cubicBezTo>
                  <a:pt x="81464" y="2942008"/>
                  <a:pt x="82994" y="2946936"/>
                  <a:pt x="86572" y="2950022"/>
                </a:cubicBezTo>
                <a:cubicBezTo>
                  <a:pt x="92861" y="2955670"/>
                  <a:pt x="93975" y="2962475"/>
                  <a:pt x="91928" y="2970221"/>
                </a:cubicBezTo>
                <a:cubicBezTo>
                  <a:pt x="91233" y="2973346"/>
                  <a:pt x="90296" y="2976091"/>
                  <a:pt x="91235" y="2979248"/>
                </a:cubicBezTo>
                <a:cubicBezTo>
                  <a:pt x="93146" y="2983932"/>
                  <a:pt x="92313" y="2987683"/>
                  <a:pt x="87868" y="2989980"/>
                </a:cubicBezTo>
                <a:cubicBezTo>
                  <a:pt x="84811" y="2991929"/>
                  <a:pt x="83735" y="2995297"/>
                  <a:pt x="83562" y="2997555"/>
                </a:cubicBezTo>
                <a:cubicBezTo>
                  <a:pt x="82904" y="3010854"/>
                  <a:pt x="70190" y="3011984"/>
                  <a:pt x="62897" y="3018242"/>
                </a:cubicBezTo>
                <a:cubicBezTo>
                  <a:pt x="59702" y="3020816"/>
                  <a:pt x="53659" y="3027354"/>
                  <a:pt x="50427" y="3025656"/>
                </a:cubicBezTo>
                <a:cubicBezTo>
                  <a:pt x="40977" y="3020947"/>
                  <a:pt x="31079" y="3031552"/>
                  <a:pt x="21837" y="3022954"/>
                </a:cubicBezTo>
                <a:cubicBezTo>
                  <a:pt x="19126" y="3020389"/>
                  <a:pt x="12562" y="3021890"/>
                  <a:pt x="14852" y="3014526"/>
                </a:cubicBezTo>
                <a:cubicBezTo>
                  <a:pt x="15651" y="3012407"/>
                  <a:pt x="13809" y="3010359"/>
                  <a:pt x="12037" y="3010956"/>
                </a:cubicBezTo>
                <a:cubicBezTo>
                  <a:pt x="4465" y="3012561"/>
                  <a:pt x="2658" y="3008886"/>
                  <a:pt x="3559" y="3001867"/>
                </a:cubicBezTo>
                <a:lnTo>
                  <a:pt x="0" y="2998374"/>
                </a:lnTo>
                <a:lnTo>
                  <a:pt x="0" y="2945670"/>
                </a:lnTo>
                <a:lnTo>
                  <a:pt x="8648" y="2927251"/>
                </a:lnTo>
                <a:cubicBezTo>
                  <a:pt x="9412" y="2926762"/>
                  <a:pt x="10940" y="2925789"/>
                  <a:pt x="11809" y="2926310"/>
                </a:cubicBezTo>
                <a:cubicBezTo>
                  <a:pt x="17818" y="2927307"/>
                  <a:pt x="23203" y="2928166"/>
                  <a:pt x="25007" y="2920043"/>
                </a:cubicBezTo>
                <a:cubicBezTo>
                  <a:pt x="25319" y="2917160"/>
                  <a:pt x="27681" y="2918337"/>
                  <a:pt x="29037" y="2919619"/>
                </a:cubicBezTo>
                <a:cubicBezTo>
                  <a:pt x="34319" y="2925376"/>
                  <a:pt x="37375" y="2923426"/>
                  <a:pt x="39528" y="2916689"/>
                </a:cubicBezTo>
                <a:cubicBezTo>
                  <a:pt x="40881" y="2912068"/>
                  <a:pt x="42896" y="2911858"/>
                  <a:pt x="45329" y="2915671"/>
                </a:cubicBezTo>
                <a:close/>
                <a:moveTo>
                  <a:pt x="1300390" y="2902937"/>
                </a:moveTo>
                <a:lnTo>
                  <a:pt x="1304574" y="2904055"/>
                </a:lnTo>
                <a:lnTo>
                  <a:pt x="1302301" y="2911160"/>
                </a:lnTo>
                <a:cubicBezTo>
                  <a:pt x="1301907" y="2919217"/>
                  <a:pt x="1308932" y="2919335"/>
                  <a:pt x="1302111" y="2931618"/>
                </a:cubicBezTo>
                <a:cubicBezTo>
                  <a:pt x="1297723" y="2930442"/>
                  <a:pt x="1297723" y="2930442"/>
                  <a:pt x="1296548" y="2934829"/>
                </a:cubicBezTo>
                <a:cubicBezTo>
                  <a:pt x="1295372" y="2939216"/>
                  <a:pt x="1295372" y="2939216"/>
                  <a:pt x="1295372" y="2939216"/>
                </a:cubicBezTo>
                <a:cubicBezTo>
                  <a:pt x="1290983" y="2938040"/>
                  <a:pt x="1290983" y="2938040"/>
                  <a:pt x="1289807" y="2942431"/>
                </a:cubicBezTo>
                <a:cubicBezTo>
                  <a:pt x="1289807" y="2942431"/>
                  <a:pt x="1289807" y="2942431"/>
                  <a:pt x="1288631" y="2946819"/>
                </a:cubicBezTo>
                <a:cubicBezTo>
                  <a:pt x="1293020" y="2947995"/>
                  <a:pt x="1294196" y="2943608"/>
                  <a:pt x="1293020" y="2947995"/>
                </a:cubicBezTo>
                <a:cubicBezTo>
                  <a:pt x="1289492" y="2961161"/>
                  <a:pt x="1281575" y="2973152"/>
                  <a:pt x="1288000" y="2984280"/>
                </a:cubicBezTo>
                <a:cubicBezTo>
                  <a:pt x="1284789" y="2978717"/>
                  <a:pt x="1284789" y="2978717"/>
                  <a:pt x="1283612" y="2983103"/>
                </a:cubicBezTo>
                <a:cubicBezTo>
                  <a:pt x="1278047" y="2986315"/>
                  <a:pt x="1281261" y="2991882"/>
                  <a:pt x="1281261" y="2991882"/>
                </a:cubicBezTo>
                <a:cubicBezTo>
                  <a:pt x="1281261" y="2991882"/>
                  <a:pt x="1281261" y="2991882"/>
                  <a:pt x="1280084" y="2996270"/>
                </a:cubicBezTo>
                <a:cubicBezTo>
                  <a:pt x="1267779" y="3007082"/>
                  <a:pt x="1277417" y="3023780"/>
                  <a:pt x="1263936" y="3038985"/>
                </a:cubicBezTo>
                <a:cubicBezTo>
                  <a:pt x="1268325" y="3040160"/>
                  <a:pt x="1268325" y="3040160"/>
                  <a:pt x="1268325" y="3040160"/>
                </a:cubicBezTo>
                <a:cubicBezTo>
                  <a:pt x="1263936" y="3038985"/>
                  <a:pt x="1262760" y="3043373"/>
                  <a:pt x="1262760" y="3043373"/>
                </a:cubicBezTo>
                <a:cubicBezTo>
                  <a:pt x="1261584" y="3047764"/>
                  <a:pt x="1261584" y="3047764"/>
                  <a:pt x="1265973" y="3048939"/>
                </a:cubicBezTo>
                <a:cubicBezTo>
                  <a:pt x="1262446" y="3062109"/>
                  <a:pt x="1258917" y="3075272"/>
                  <a:pt x="1258917" y="3075272"/>
                </a:cubicBezTo>
                <a:cubicBezTo>
                  <a:pt x="1255389" y="3088439"/>
                  <a:pt x="1265658" y="3067672"/>
                  <a:pt x="1259778" y="3089612"/>
                </a:cubicBezTo>
                <a:cubicBezTo>
                  <a:pt x="1256566" y="3084050"/>
                  <a:pt x="1251001" y="3087263"/>
                  <a:pt x="1254213" y="3092829"/>
                </a:cubicBezTo>
                <a:cubicBezTo>
                  <a:pt x="1257426" y="3098390"/>
                  <a:pt x="1267695" y="3077623"/>
                  <a:pt x="1261815" y="3099567"/>
                </a:cubicBezTo>
                <a:cubicBezTo>
                  <a:pt x="1261815" y="3099567"/>
                  <a:pt x="1261815" y="3099567"/>
                  <a:pt x="1257426" y="3098390"/>
                </a:cubicBezTo>
                <a:cubicBezTo>
                  <a:pt x="1257426" y="3098390"/>
                  <a:pt x="1257426" y="3098390"/>
                  <a:pt x="1256250" y="3102780"/>
                </a:cubicBezTo>
                <a:cubicBezTo>
                  <a:pt x="1256250" y="3102780"/>
                  <a:pt x="1255075" y="3107170"/>
                  <a:pt x="1255075" y="3107170"/>
                </a:cubicBezTo>
                <a:cubicBezTo>
                  <a:pt x="1253899" y="3111559"/>
                  <a:pt x="1253899" y="3111559"/>
                  <a:pt x="1253899" y="3111559"/>
                </a:cubicBezTo>
                <a:cubicBezTo>
                  <a:pt x="1252722" y="3115950"/>
                  <a:pt x="1252722" y="3115950"/>
                  <a:pt x="1252722" y="3115950"/>
                </a:cubicBezTo>
                <a:cubicBezTo>
                  <a:pt x="1248333" y="3114772"/>
                  <a:pt x="1247158" y="3119163"/>
                  <a:pt x="1245982" y="3123552"/>
                </a:cubicBezTo>
                <a:cubicBezTo>
                  <a:pt x="1250370" y="3124729"/>
                  <a:pt x="1249194" y="3129115"/>
                  <a:pt x="1248019" y="3133506"/>
                </a:cubicBezTo>
                <a:cubicBezTo>
                  <a:pt x="1242454" y="3136719"/>
                  <a:pt x="1238926" y="3149882"/>
                  <a:pt x="1236575" y="3158663"/>
                </a:cubicBezTo>
                <a:cubicBezTo>
                  <a:pt x="1245982" y="3123552"/>
                  <a:pt x="1249509" y="3110383"/>
                  <a:pt x="1253353" y="3078485"/>
                </a:cubicBezTo>
                <a:cubicBezTo>
                  <a:pt x="1243399" y="3080522"/>
                  <a:pt x="1243714" y="3061792"/>
                  <a:pt x="1249594" y="3039849"/>
                </a:cubicBezTo>
                <a:cubicBezTo>
                  <a:pt x="1255475" y="3017901"/>
                  <a:pt x="1261353" y="2995957"/>
                  <a:pt x="1256964" y="2994775"/>
                </a:cubicBezTo>
                <a:cubicBezTo>
                  <a:pt x="1258455" y="2971661"/>
                  <a:pt x="1275465" y="2943289"/>
                  <a:pt x="1285733" y="2922524"/>
                </a:cubicBezTo>
                <a:cubicBezTo>
                  <a:pt x="1284556" y="2926916"/>
                  <a:pt x="1284556" y="2926916"/>
                  <a:pt x="1288947" y="2928088"/>
                </a:cubicBezTo>
                <a:cubicBezTo>
                  <a:pt x="1288947" y="2928088"/>
                  <a:pt x="1290122" y="2923701"/>
                  <a:pt x="1290122" y="2923701"/>
                </a:cubicBezTo>
                <a:cubicBezTo>
                  <a:pt x="1299214" y="2907323"/>
                  <a:pt x="1299214" y="2907323"/>
                  <a:pt x="1299214" y="2907323"/>
                </a:cubicBezTo>
                <a:cubicBezTo>
                  <a:pt x="1300390" y="2902937"/>
                  <a:pt x="1300390" y="2902937"/>
                  <a:pt x="1300390" y="2902937"/>
                </a:cubicBezTo>
                <a:close/>
                <a:moveTo>
                  <a:pt x="1305956" y="2899725"/>
                </a:moveTo>
                <a:cubicBezTo>
                  <a:pt x="1305956" y="2899725"/>
                  <a:pt x="1305956" y="2899725"/>
                  <a:pt x="1304779" y="2904111"/>
                </a:cubicBezTo>
                <a:lnTo>
                  <a:pt x="1304574" y="2904055"/>
                </a:lnTo>
                <a:close/>
                <a:moveTo>
                  <a:pt x="1302743" y="2894162"/>
                </a:moveTo>
                <a:lnTo>
                  <a:pt x="1302937" y="2894496"/>
                </a:lnTo>
                <a:lnTo>
                  <a:pt x="1301566" y="2898548"/>
                </a:lnTo>
                <a:cubicBezTo>
                  <a:pt x="1301566" y="2898548"/>
                  <a:pt x="1301566" y="2898548"/>
                  <a:pt x="1302743" y="2894162"/>
                </a:cubicBezTo>
                <a:close/>
                <a:moveTo>
                  <a:pt x="1074759" y="2884816"/>
                </a:moveTo>
                <a:cubicBezTo>
                  <a:pt x="1071389" y="2888616"/>
                  <a:pt x="1068900" y="2889126"/>
                  <a:pt x="1066266" y="2890183"/>
                </a:cubicBezTo>
                <a:lnTo>
                  <a:pt x="1060693" y="2895330"/>
                </a:lnTo>
                <a:lnTo>
                  <a:pt x="1070589" y="2892444"/>
                </a:lnTo>
                <a:lnTo>
                  <a:pt x="1071990" y="2892625"/>
                </a:lnTo>
                <a:close/>
                <a:moveTo>
                  <a:pt x="567129" y="2674905"/>
                </a:moveTo>
                <a:cubicBezTo>
                  <a:pt x="568949" y="2673140"/>
                  <a:pt x="574259" y="2676309"/>
                  <a:pt x="576893" y="2677396"/>
                </a:cubicBezTo>
                <a:cubicBezTo>
                  <a:pt x="582982" y="2680136"/>
                  <a:pt x="591674" y="2678390"/>
                  <a:pt x="594723" y="2687122"/>
                </a:cubicBezTo>
                <a:cubicBezTo>
                  <a:pt x="595281" y="2688591"/>
                  <a:pt x="596660" y="2690626"/>
                  <a:pt x="599079" y="2691323"/>
                </a:cubicBezTo>
                <a:cubicBezTo>
                  <a:pt x="602492" y="2691982"/>
                  <a:pt x="603783" y="2694317"/>
                  <a:pt x="603429" y="2697814"/>
                </a:cubicBezTo>
                <a:cubicBezTo>
                  <a:pt x="603424" y="2700103"/>
                  <a:pt x="604587" y="2701746"/>
                  <a:pt x="605663" y="2703693"/>
                </a:cubicBezTo>
                <a:cubicBezTo>
                  <a:pt x="608547" y="2708451"/>
                  <a:pt x="609142" y="2713204"/>
                  <a:pt x="606061" y="2718204"/>
                </a:cubicBezTo>
                <a:cubicBezTo>
                  <a:pt x="604283" y="2720962"/>
                  <a:pt x="604231" y="2724547"/>
                  <a:pt x="606731" y="2727231"/>
                </a:cubicBezTo>
                <a:cubicBezTo>
                  <a:pt x="606383" y="2728438"/>
                  <a:pt x="606034" y="2729645"/>
                  <a:pt x="605686" y="2730855"/>
                </a:cubicBezTo>
                <a:cubicBezTo>
                  <a:pt x="602528" y="2731580"/>
                  <a:pt x="600797" y="2733042"/>
                  <a:pt x="599965" y="2737055"/>
                </a:cubicBezTo>
                <a:cubicBezTo>
                  <a:pt x="598699" y="2742578"/>
                  <a:pt x="595060" y="2746108"/>
                  <a:pt x="588662" y="2745570"/>
                </a:cubicBezTo>
                <a:cubicBezTo>
                  <a:pt x="585855" y="2745088"/>
                  <a:pt x="585848" y="2747375"/>
                  <a:pt x="585326" y="2749188"/>
                </a:cubicBezTo>
                <a:cubicBezTo>
                  <a:pt x="584454" y="2752207"/>
                  <a:pt x="583070" y="2752461"/>
                  <a:pt x="581262" y="2749650"/>
                </a:cubicBezTo>
                <a:cubicBezTo>
                  <a:pt x="578504" y="2745582"/>
                  <a:pt x="576085" y="2744884"/>
                  <a:pt x="573696" y="2749757"/>
                </a:cubicBezTo>
                <a:cubicBezTo>
                  <a:pt x="573045" y="2750879"/>
                  <a:pt x="571702" y="2752124"/>
                  <a:pt x="570929" y="2750266"/>
                </a:cubicBezTo>
                <a:cubicBezTo>
                  <a:pt x="568131" y="2745207"/>
                  <a:pt x="564712" y="2746836"/>
                  <a:pt x="560904" y="2748681"/>
                </a:cubicBezTo>
                <a:cubicBezTo>
                  <a:pt x="560427" y="2749198"/>
                  <a:pt x="559218" y="2748850"/>
                  <a:pt x="558613" y="2748673"/>
                </a:cubicBezTo>
                <a:cubicBezTo>
                  <a:pt x="552576" y="2742352"/>
                  <a:pt x="547016" y="2735513"/>
                  <a:pt x="541067" y="2728886"/>
                </a:cubicBezTo>
                <a:cubicBezTo>
                  <a:pt x="538350" y="2725815"/>
                  <a:pt x="538192" y="2719553"/>
                  <a:pt x="537988" y="2714587"/>
                </a:cubicBezTo>
                <a:cubicBezTo>
                  <a:pt x="537906" y="2712599"/>
                  <a:pt x="538731" y="2710874"/>
                  <a:pt x="537353" y="2708841"/>
                </a:cubicBezTo>
                <a:cubicBezTo>
                  <a:pt x="535974" y="2706807"/>
                  <a:pt x="536800" y="2705082"/>
                  <a:pt x="538532" y="2703619"/>
                </a:cubicBezTo>
                <a:cubicBezTo>
                  <a:pt x="539486" y="2702585"/>
                  <a:pt x="541131" y="2701425"/>
                  <a:pt x="540573" y="2699956"/>
                </a:cubicBezTo>
                <a:cubicBezTo>
                  <a:pt x="538595" y="2695458"/>
                  <a:pt x="539077" y="2692652"/>
                  <a:pt x="544438" y="2692237"/>
                </a:cubicBezTo>
                <a:cubicBezTo>
                  <a:pt x="545735" y="2692285"/>
                  <a:pt x="546560" y="2690559"/>
                  <a:pt x="545612" y="2689304"/>
                </a:cubicBezTo>
                <a:cubicBezTo>
                  <a:pt x="542640" y="2684849"/>
                  <a:pt x="547309" y="2684560"/>
                  <a:pt x="548611" y="2682319"/>
                </a:cubicBezTo>
                <a:cubicBezTo>
                  <a:pt x="553082" y="2674776"/>
                  <a:pt x="561758" y="2679899"/>
                  <a:pt x="567129" y="2674905"/>
                </a:cubicBezTo>
                <a:close/>
                <a:moveTo>
                  <a:pt x="1810292" y="2663879"/>
                </a:moveTo>
                <a:lnTo>
                  <a:pt x="1805322" y="2667018"/>
                </a:lnTo>
                <a:cubicBezTo>
                  <a:pt x="1797428" y="2674974"/>
                  <a:pt x="1788697" y="2686067"/>
                  <a:pt x="1779484" y="2698946"/>
                </a:cubicBezTo>
                <a:cubicBezTo>
                  <a:pt x="1761059" y="2724712"/>
                  <a:pt x="1749802" y="2752394"/>
                  <a:pt x="1741423" y="2769334"/>
                </a:cubicBezTo>
                <a:lnTo>
                  <a:pt x="1743592" y="2766688"/>
                </a:lnTo>
                <a:lnTo>
                  <a:pt x="1781436" y="2703093"/>
                </a:lnTo>
                <a:close/>
                <a:moveTo>
                  <a:pt x="1850002" y="2609913"/>
                </a:moveTo>
                <a:lnTo>
                  <a:pt x="1842587" y="2617521"/>
                </a:lnTo>
                <a:cubicBezTo>
                  <a:pt x="1839087" y="2621620"/>
                  <a:pt x="1836410" y="2625339"/>
                  <a:pt x="1834936" y="2628603"/>
                </a:cubicBezTo>
                <a:lnTo>
                  <a:pt x="1834837" y="2630524"/>
                </a:lnTo>
                <a:close/>
                <a:moveTo>
                  <a:pt x="1873269" y="2578253"/>
                </a:moveTo>
                <a:lnTo>
                  <a:pt x="1873252" y="2578317"/>
                </a:lnTo>
                <a:lnTo>
                  <a:pt x="1873293" y="2578260"/>
                </a:lnTo>
                <a:close/>
                <a:moveTo>
                  <a:pt x="1875696" y="2540530"/>
                </a:moveTo>
                <a:cubicBezTo>
                  <a:pt x="1875696" y="2540530"/>
                  <a:pt x="1875696" y="2540530"/>
                  <a:pt x="1874738" y="2544109"/>
                </a:cubicBezTo>
                <a:lnTo>
                  <a:pt x="1873842" y="2543870"/>
                </a:lnTo>
                <a:close/>
                <a:moveTo>
                  <a:pt x="176869" y="2514032"/>
                </a:moveTo>
                <a:cubicBezTo>
                  <a:pt x="178549" y="2512860"/>
                  <a:pt x="179274" y="2515207"/>
                  <a:pt x="180314" y="2515980"/>
                </a:cubicBezTo>
                <a:cubicBezTo>
                  <a:pt x="186309" y="2521208"/>
                  <a:pt x="192547" y="2521768"/>
                  <a:pt x="199439" y="2517490"/>
                </a:cubicBezTo>
                <a:cubicBezTo>
                  <a:pt x="201736" y="2516065"/>
                  <a:pt x="203513" y="2516296"/>
                  <a:pt x="205387" y="2517928"/>
                </a:cubicBezTo>
                <a:cubicBezTo>
                  <a:pt x="206511" y="2518909"/>
                  <a:pt x="207430" y="2519973"/>
                  <a:pt x="208554" y="2520954"/>
                </a:cubicBezTo>
                <a:cubicBezTo>
                  <a:pt x="210053" y="2522261"/>
                  <a:pt x="211539" y="2522371"/>
                  <a:pt x="213220" y="2521198"/>
                </a:cubicBezTo>
                <a:lnTo>
                  <a:pt x="214147" y="2519741"/>
                </a:lnTo>
                <a:lnTo>
                  <a:pt x="236743" y="2529238"/>
                </a:lnTo>
                <a:lnTo>
                  <a:pt x="233492" y="2530170"/>
                </a:lnTo>
                <a:cubicBezTo>
                  <a:pt x="231679" y="2530436"/>
                  <a:pt x="230857" y="2530773"/>
                  <a:pt x="230591" y="2533048"/>
                </a:cubicBezTo>
                <a:cubicBezTo>
                  <a:pt x="230614" y="2535442"/>
                  <a:pt x="231981" y="2535842"/>
                  <a:pt x="233552" y="2536156"/>
                </a:cubicBezTo>
                <a:cubicBezTo>
                  <a:pt x="234627" y="2536435"/>
                  <a:pt x="235535" y="2536303"/>
                  <a:pt x="236731" y="2536291"/>
                </a:cubicBezTo>
                <a:cubicBezTo>
                  <a:pt x="241808" y="2536366"/>
                  <a:pt x="242522" y="2537515"/>
                  <a:pt x="240297" y="2542037"/>
                </a:cubicBezTo>
                <a:cubicBezTo>
                  <a:pt x="239729" y="2542993"/>
                  <a:pt x="239039" y="2544237"/>
                  <a:pt x="239547" y="2545471"/>
                </a:cubicBezTo>
                <a:cubicBezTo>
                  <a:pt x="240344" y="2546827"/>
                  <a:pt x="241989" y="2546150"/>
                  <a:pt x="243186" y="2546139"/>
                </a:cubicBezTo>
                <a:cubicBezTo>
                  <a:pt x="244177" y="2546212"/>
                  <a:pt x="245083" y="2546079"/>
                  <a:pt x="245906" y="2545741"/>
                </a:cubicBezTo>
                <a:cubicBezTo>
                  <a:pt x="247779" y="2545331"/>
                  <a:pt x="248877" y="2545661"/>
                  <a:pt x="249416" y="2546461"/>
                </a:cubicBezTo>
                <a:cubicBezTo>
                  <a:pt x="249956" y="2547261"/>
                  <a:pt x="249937" y="2548531"/>
                  <a:pt x="249580" y="2550001"/>
                </a:cubicBezTo>
                <a:cubicBezTo>
                  <a:pt x="248661" y="2553023"/>
                  <a:pt x="247331" y="2556215"/>
                  <a:pt x="246411" y="2559238"/>
                </a:cubicBezTo>
                <a:cubicBezTo>
                  <a:pt x="245250" y="2562841"/>
                  <a:pt x="244875" y="2566602"/>
                  <a:pt x="248078" y="2569131"/>
                </a:cubicBezTo>
                <a:cubicBezTo>
                  <a:pt x="250411" y="2571297"/>
                  <a:pt x="249890" y="2572954"/>
                  <a:pt x="248633" y="2575154"/>
                </a:cubicBezTo>
                <a:cubicBezTo>
                  <a:pt x="245791" y="2579930"/>
                  <a:pt x="244231" y="2584899"/>
                  <a:pt x="247833" y="2590150"/>
                </a:cubicBezTo>
                <a:cubicBezTo>
                  <a:pt x="248836" y="2591420"/>
                  <a:pt x="248389" y="2592085"/>
                  <a:pt x="247034" y="2592883"/>
                </a:cubicBezTo>
                <a:cubicBezTo>
                  <a:pt x="237302" y="2597848"/>
                  <a:pt x="230446" y="2605718"/>
                  <a:pt x="225004" y="2614689"/>
                </a:cubicBezTo>
                <a:cubicBezTo>
                  <a:pt x="223747" y="2616889"/>
                  <a:pt x="222344" y="2616985"/>
                  <a:pt x="220156" y="2616923"/>
                </a:cubicBezTo>
                <a:cubicBezTo>
                  <a:pt x="215610" y="2616390"/>
                  <a:pt x="210569" y="2615818"/>
                  <a:pt x="207051" y="2618949"/>
                </a:cubicBezTo>
                <a:cubicBezTo>
                  <a:pt x="203532" y="2622079"/>
                  <a:pt x="200232" y="2622235"/>
                  <a:pt x="196098" y="2621531"/>
                </a:cubicBezTo>
                <a:cubicBezTo>
                  <a:pt x="194816" y="2621337"/>
                  <a:pt x="193619" y="2621347"/>
                  <a:pt x="192132" y="2621238"/>
                </a:cubicBezTo>
                <a:cubicBezTo>
                  <a:pt x="185072" y="2621016"/>
                  <a:pt x="178254" y="2620215"/>
                  <a:pt x="172754" y="2615024"/>
                </a:cubicBezTo>
                <a:cubicBezTo>
                  <a:pt x="171836" y="2613960"/>
                  <a:pt x="171014" y="2614298"/>
                  <a:pt x="169986" y="2614720"/>
                </a:cubicBezTo>
                <a:cubicBezTo>
                  <a:pt x="166987" y="2616194"/>
                  <a:pt x="161872" y="2624790"/>
                  <a:pt x="162234" y="2628007"/>
                </a:cubicBezTo>
                <a:cubicBezTo>
                  <a:pt x="163067" y="2632954"/>
                  <a:pt x="162415" y="2637791"/>
                  <a:pt x="160189" y="2642313"/>
                </a:cubicBezTo>
                <a:cubicBezTo>
                  <a:pt x="157444" y="2648492"/>
                  <a:pt x="154240" y="2654138"/>
                  <a:pt x="151203" y="2660195"/>
                </a:cubicBezTo>
                <a:cubicBezTo>
                  <a:pt x="150478" y="2661936"/>
                  <a:pt x="149402" y="2661657"/>
                  <a:pt x="148036" y="2661258"/>
                </a:cubicBezTo>
                <a:cubicBezTo>
                  <a:pt x="141992" y="2659417"/>
                  <a:pt x="141992" y="2659417"/>
                  <a:pt x="140769" y="2665209"/>
                </a:cubicBezTo>
                <a:cubicBezTo>
                  <a:pt x="139378" y="2670589"/>
                  <a:pt x="137408" y="2671640"/>
                  <a:pt x="131980" y="2669546"/>
                </a:cubicBezTo>
                <a:cubicBezTo>
                  <a:pt x="129660" y="2668577"/>
                  <a:pt x="127133" y="2667693"/>
                  <a:pt x="124509" y="2669494"/>
                </a:cubicBezTo>
                <a:cubicBezTo>
                  <a:pt x="118077" y="2674303"/>
                  <a:pt x="111017" y="2674082"/>
                  <a:pt x="103727" y="2671551"/>
                </a:cubicBezTo>
                <a:cubicBezTo>
                  <a:pt x="98964" y="2669903"/>
                  <a:pt x="94153" y="2667555"/>
                  <a:pt x="89112" y="2666983"/>
                </a:cubicBezTo>
                <a:cubicBezTo>
                  <a:pt x="88120" y="2666911"/>
                  <a:pt x="87045" y="2666632"/>
                  <a:pt x="86827" y="2665519"/>
                </a:cubicBezTo>
                <a:cubicBezTo>
                  <a:pt x="86356" y="2659702"/>
                  <a:pt x="81968" y="2658381"/>
                  <a:pt x="77495" y="2656855"/>
                </a:cubicBezTo>
                <a:cubicBezTo>
                  <a:pt x="76130" y="2656455"/>
                  <a:pt x="74474" y="2655935"/>
                  <a:pt x="74123" y="2653915"/>
                </a:cubicBezTo>
                <a:cubicBezTo>
                  <a:pt x="73242" y="2648267"/>
                  <a:pt x="70426" y="2643174"/>
                  <a:pt x="68722" y="2637863"/>
                </a:cubicBezTo>
                <a:cubicBezTo>
                  <a:pt x="67151" y="2633461"/>
                  <a:pt x="65786" y="2628973"/>
                  <a:pt x="66850" y="2623967"/>
                </a:cubicBezTo>
                <a:cubicBezTo>
                  <a:pt x="67407" y="2621815"/>
                  <a:pt x="66488" y="2620750"/>
                  <a:pt x="64542" y="2620108"/>
                </a:cubicBezTo>
                <a:cubicBezTo>
                  <a:pt x="63260" y="2619914"/>
                  <a:pt x="62185" y="2619635"/>
                  <a:pt x="61024" y="2619151"/>
                </a:cubicBezTo>
                <a:cubicBezTo>
                  <a:pt x="59864" y="2618666"/>
                  <a:pt x="58449" y="2617565"/>
                  <a:pt x="58849" y="2616199"/>
                </a:cubicBezTo>
                <a:cubicBezTo>
                  <a:pt x="59163" y="2614626"/>
                  <a:pt x="60977" y="2614362"/>
                  <a:pt x="62464" y="2614471"/>
                </a:cubicBezTo>
                <a:cubicBezTo>
                  <a:pt x="63164" y="2614423"/>
                  <a:pt x="63745" y="2614665"/>
                  <a:pt x="64530" y="2614823"/>
                </a:cubicBezTo>
                <a:cubicBezTo>
                  <a:pt x="70611" y="2616169"/>
                  <a:pt x="73187" y="2613667"/>
                  <a:pt x="71519" y="2607862"/>
                </a:cubicBezTo>
                <a:cubicBezTo>
                  <a:pt x="71302" y="2606748"/>
                  <a:pt x="70879" y="2605720"/>
                  <a:pt x="70746" y="2604813"/>
                </a:cubicBezTo>
                <a:cubicBezTo>
                  <a:pt x="70565" y="2603204"/>
                  <a:pt x="69477" y="2601729"/>
                  <a:pt x="71569" y="2600387"/>
                </a:cubicBezTo>
                <a:cubicBezTo>
                  <a:pt x="73044" y="2599299"/>
                  <a:pt x="74204" y="2599784"/>
                  <a:pt x="75534" y="2600679"/>
                </a:cubicBezTo>
                <a:cubicBezTo>
                  <a:pt x="78109" y="2602265"/>
                  <a:pt x="79463" y="2601468"/>
                  <a:pt x="80382" y="2598445"/>
                </a:cubicBezTo>
                <a:cubicBezTo>
                  <a:pt x="81459" y="2594635"/>
                  <a:pt x="83236" y="2590779"/>
                  <a:pt x="87432" y="2589293"/>
                </a:cubicBezTo>
                <a:cubicBezTo>
                  <a:pt x="90805" y="2588147"/>
                  <a:pt x="92111" y="2586648"/>
                  <a:pt x="89766" y="2583283"/>
                </a:cubicBezTo>
                <a:cubicBezTo>
                  <a:pt x="89222" y="2582547"/>
                  <a:pt x="89005" y="2581433"/>
                  <a:pt x="90069" y="2580514"/>
                </a:cubicBezTo>
                <a:cubicBezTo>
                  <a:pt x="90928" y="2579680"/>
                  <a:pt x="91966" y="2580455"/>
                  <a:pt x="92837" y="2580818"/>
                </a:cubicBezTo>
                <a:cubicBezTo>
                  <a:pt x="94868" y="2581665"/>
                  <a:pt x="96984" y="2582719"/>
                  <a:pt x="99051" y="2583070"/>
                </a:cubicBezTo>
                <a:cubicBezTo>
                  <a:pt x="104721" y="2584586"/>
                  <a:pt x="107102" y="2583366"/>
                  <a:pt x="110355" y="2578420"/>
                </a:cubicBezTo>
                <a:cubicBezTo>
                  <a:pt x="112833" y="2574515"/>
                  <a:pt x="115772" y="2571143"/>
                  <a:pt x="120209" y="2569078"/>
                </a:cubicBezTo>
                <a:cubicBezTo>
                  <a:pt x="123413" y="2567518"/>
                  <a:pt x="124501" y="2568995"/>
                  <a:pt x="124573" y="2572091"/>
                </a:cubicBezTo>
                <a:cubicBezTo>
                  <a:pt x="124718" y="2574195"/>
                  <a:pt x="123291" y="2575984"/>
                  <a:pt x="122856" y="2577847"/>
                </a:cubicBezTo>
                <a:cubicBezTo>
                  <a:pt x="122299" y="2579999"/>
                  <a:pt x="121586" y="2582938"/>
                  <a:pt x="123906" y="2583906"/>
                </a:cubicBezTo>
                <a:cubicBezTo>
                  <a:pt x="126723" y="2584911"/>
                  <a:pt x="128767" y="2582869"/>
                  <a:pt x="129855" y="2580257"/>
                </a:cubicBezTo>
                <a:cubicBezTo>
                  <a:pt x="130338" y="2579096"/>
                  <a:pt x="130653" y="2577524"/>
                  <a:pt x="131343" y="2576278"/>
                </a:cubicBezTo>
                <a:cubicBezTo>
                  <a:pt x="131947" y="2574828"/>
                  <a:pt x="132842" y="2573498"/>
                  <a:pt x="134788" y="2574140"/>
                </a:cubicBezTo>
                <a:cubicBezTo>
                  <a:pt x="136444" y="2574661"/>
                  <a:pt x="136335" y="2576149"/>
                  <a:pt x="135815" y="2577805"/>
                </a:cubicBezTo>
                <a:cubicBezTo>
                  <a:pt x="135500" y="2579376"/>
                  <a:pt x="134981" y="2581033"/>
                  <a:pt x="134871" y="2582521"/>
                </a:cubicBezTo>
                <a:cubicBezTo>
                  <a:pt x="134399" y="2584880"/>
                  <a:pt x="135862" y="2586682"/>
                  <a:pt x="137687" y="2587614"/>
                </a:cubicBezTo>
                <a:cubicBezTo>
                  <a:pt x="139512" y="2588546"/>
                  <a:pt x="141024" y="2586963"/>
                  <a:pt x="142209" y="2585754"/>
                </a:cubicBezTo>
                <a:cubicBezTo>
                  <a:pt x="148134" y="2579710"/>
                  <a:pt x="146987" y="2568160"/>
                  <a:pt x="139795" y="2562944"/>
                </a:cubicBezTo>
                <a:cubicBezTo>
                  <a:pt x="136386" y="2560499"/>
                  <a:pt x="136495" y="2559011"/>
                  <a:pt x="139615" y="2557248"/>
                </a:cubicBezTo>
                <a:cubicBezTo>
                  <a:pt x="144705" y="2554433"/>
                  <a:pt x="147183" y="2550528"/>
                  <a:pt x="146834" y="2544420"/>
                </a:cubicBezTo>
                <a:cubicBezTo>
                  <a:pt x="146653" y="2542812"/>
                  <a:pt x="146750" y="2540127"/>
                  <a:pt x="149265" y="2539814"/>
                </a:cubicBezTo>
                <a:cubicBezTo>
                  <a:pt x="154910" y="2538934"/>
                  <a:pt x="158381" y="2535102"/>
                  <a:pt x="161391" y="2530737"/>
                </a:cubicBezTo>
                <a:cubicBezTo>
                  <a:pt x="163628" y="2527413"/>
                  <a:pt x="166252" y="2525613"/>
                  <a:pt x="170882" y="2526353"/>
                </a:cubicBezTo>
                <a:cubicBezTo>
                  <a:pt x="175803" y="2527214"/>
                  <a:pt x="177471" y="2524845"/>
                  <a:pt x="176264" y="2519570"/>
                </a:cubicBezTo>
                <a:cubicBezTo>
                  <a:pt x="176178" y="2519366"/>
                  <a:pt x="176094" y="2519160"/>
                  <a:pt x="176009" y="2518954"/>
                </a:cubicBezTo>
                <a:cubicBezTo>
                  <a:pt x="175454" y="2517018"/>
                  <a:pt x="175103" y="2514999"/>
                  <a:pt x="176869" y="2514032"/>
                </a:cubicBezTo>
                <a:close/>
                <a:moveTo>
                  <a:pt x="12018787" y="2511040"/>
                </a:moveTo>
                <a:cubicBezTo>
                  <a:pt x="12021250" y="2513007"/>
                  <a:pt x="12023413" y="2513442"/>
                  <a:pt x="12026974" y="2511646"/>
                </a:cubicBezTo>
                <a:cubicBezTo>
                  <a:pt x="12031949" y="2509268"/>
                  <a:pt x="12036841" y="2509904"/>
                  <a:pt x="12040303" y="2515104"/>
                </a:cubicBezTo>
                <a:cubicBezTo>
                  <a:pt x="12041635" y="2517536"/>
                  <a:pt x="12043380" y="2516155"/>
                  <a:pt x="12045079" y="2515457"/>
                </a:cubicBezTo>
                <a:cubicBezTo>
                  <a:pt x="12047906" y="2514293"/>
                  <a:pt x="12048938" y="2515194"/>
                  <a:pt x="12047890" y="2518274"/>
                </a:cubicBezTo>
                <a:cubicBezTo>
                  <a:pt x="12046459" y="2522836"/>
                  <a:pt x="12047391" y="2525102"/>
                  <a:pt x="12052550" y="2523974"/>
                </a:cubicBezTo>
                <a:cubicBezTo>
                  <a:pt x="12053797" y="2523792"/>
                  <a:pt x="12055561" y="2524059"/>
                  <a:pt x="12054613" y="2525774"/>
                </a:cubicBezTo>
                <a:cubicBezTo>
                  <a:pt x="12052450" y="2530968"/>
                  <a:pt x="12055762" y="2532586"/>
                  <a:pt x="12059472" y="2534370"/>
                </a:cubicBezTo>
                <a:cubicBezTo>
                  <a:pt x="12060155" y="2534422"/>
                  <a:pt x="12060621" y="2535555"/>
                  <a:pt x="12060855" y="2536120"/>
                </a:cubicBezTo>
                <a:cubicBezTo>
                  <a:pt x="12059691" y="2544547"/>
                  <a:pt x="12057845" y="2552922"/>
                  <a:pt x="12056397" y="2561465"/>
                </a:cubicBezTo>
                <a:cubicBezTo>
                  <a:pt x="12055699" y="2565394"/>
                  <a:pt x="12051024" y="2569304"/>
                  <a:pt x="12047363" y="2572466"/>
                </a:cubicBezTo>
                <a:cubicBezTo>
                  <a:pt x="12045899" y="2573730"/>
                  <a:pt x="12044086" y="2574145"/>
                  <a:pt x="12043370" y="2576427"/>
                </a:cubicBezTo>
                <a:cubicBezTo>
                  <a:pt x="12042656" y="2578707"/>
                  <a:pt x="12040842" y="2579123"/>
                  <a:pt x="12038678" y="2578688"/>
                </a:cubicBezTo>
                <a:cubicBezTo>
                  <a:pt x="12037314" y="2578587"/>
                  <a:pt x="12035435" y="2578036"/>
                  <a:pt x="12034652" y="2579351"/>
                </a:cubicBezTo>
                <a:cubicBezTo>
                  <a:pt x="12032423" y="2583579"/>
                  <a:pt x="12029994" y="2584910"/>
                  <a:pt x="12026433" y="2581077"/>
                </a:cubicBezTo>
                <a:cubicBezTo>
                  <a:pt x="12025683" y="2580060"/>
                  <a:pt x="12023870" y="2580475"/>
                  <a:pt x="12023488" y="2581956"/>
                </a:cubicBezTo>
                <a:cubicBezTo>
                  <a:pt x="12021890" y="2586919"/>
                  <a:pt x="12018845" y="2583535"/>
                  <a:pt x="12016349" y="2583900"/>
                </a:cubicBezTo>
                <a:cubicBezTo>
                  <a:pt x="12007898" y="2585059"/>
                  <a:pt x="12006548" y="2575349"/>
                  <a:pt x="11999493" y="2574277"/>
                </a:cubicBezTo>
                <a:cubicBezTo>
                  <a:pt x="11997047" y="2573959"/>
                  <a:pt x="11996248" y="2567996"/>
                  <a:pt x="11995482" y="2565330"/>
                </a:cubicBezTo>
                <a:cubicBezTo>
                  <a:pt x="11993884" y="2559035"/>
                  <a:pt x="11987294" y="2553467"/>
                  <a:pt x="11992102" y="2545859"/>
                </a:cubicBezTo>
                <a:cubicBezTo>
                  <a:pt x="11992885" y="2544544"/>
                  <a:pt x="11993599" y="2542263"/>
                  <a:pt x="11992667" y="2539997"/>
                </a:cubicBezTo>
                <a:cubicBezTo>
                  <a:pt x="11991104" y="2536999"/>
                  <a:pt x="11992102" y="2534601"/>
                  <a:pt x="11994979" y="2532755"/>
                </a:cubicBezTo>
                <a:cubicBezTo>
                  <a:pt x="11996726" y="2531375"/>
                  <a:pt x="11997275" y="2529493"/>
                  <a:pt x="11998107" y="2527494"/>
                </a:cubicBezTo>
                <a:cubicBezTo>
                  <a:pt x="11999988" y="2522417"/>
                  <a:pt x="12003247" y="2519089"/>
                  <a:pt x="12008921" y="2518410"/>
                </a:cubicBezTo>
                <a:cubicBezTo>
                  <a:pt x="12012099" y="2518097"/>
                  <a:pt x="12014861" y="2515967"/>
                  <a:pt x="12015393" y="2512436"/>
                </a:cubicBezTo>
                <a:cubicBezTo>
                  <a:pt x="12016525" y="2511971"/>
                  <a:pt x="12017656" y="2511505"/>
                  <a:pt x="12018787" y="2511040"/>
                </a:cubicBezTo>
                <a:close/>
                <a:moveTo>
                  <a:pt x="1914914" y="2508827"/>
                </a:moveTo>
                <a:cubicBezTo>
                  <a:pt x="1906790" y="2510487"/>
                  <a:pt x="1901286" y="2516686"/>
                  <a:pt x="1892203" y="2521928"/>
                </a:cubicBezTo>
                <a:cubicBezTo>
                  <a:pt x="1896745" y="2519308"/>
                  <a:pt x="1897702" y="2515729"/>
                  <a:pt x="1897702" y="2515729"/>
                </a:cubicBezTo>
                <a:cubicBezTo>
                  <a:pt x="1902246" y="2513107"/>
                  <a:pt x="1902246" y="2513107"/>
                  <a:pt x="1903207" y="2509526"/>
                </a:cubicBezTo>
                <a:cubicBezTo>
                  <a:pt x="1899622" y="2508567"/>
                  <a:pt x="1898663" y="2512147"/>
                  <a:pt x="1898663" y="2512147"/>
                </a:cubicBezTo>
                <a:cubicBezTo>
                  <a:pt x="1894121" y="2514767"/>
                  <a:pt x="1893162" y="2518348"/>
                  <a:pt x="1893162" y="2518348"/>
                </a:cubicBezTo>
                <a:cubicBezTo>
                  <a:pt x="1893162" y="2518348"/>
                  <a:pt x="1888619" y="2520966"/>
                  <a:pt x="1888619" y="2520966"/>
                </a:cubicBezTo>
                <a:cubicBezTo>
                  <a:pt x="1883117" y="2527167"/>
                  <a:pt x="1877615" y="2533368"/>
                  <a:pt x="1873073" y="2535988"/>
                </a:cubicBezTo>
                <a:cubicBezTo>
                  <a:pt x="1873073" y="2535988"/>
                  <a:pt x="1873073" y="2535988"/>
                  <a:pt x="1872114" y="2539570"/>
                </a:cubicBezTo>
                <a:cubicBezTo>
                  <a:pt x="1872114" y="2539570"/>
                  <a:pt x="1871155" y="2543147"/>
                  <a:pt x="1871155" y="2543147"/>
                </a:cubicBezTo>
                <a:lnTo>
                  <a:pt x="1873842" y="2543870"/>
                </a:lnTo>
                <a:lnTo>
                  <a:pt x="1871986" y="2547208"/>
                </a:lnTo>
                <a:cubicBezTo>
                  <a:pt x="1871507" y="2548998"/>
                  <a:pt x="1871027" y="2550790"/>
                  <a:pt x="1868275" y="2553891"/>
                </a:cubicBezTo>
                <a:cubicBezTo>
                  <a:pt x="1868981" y="2565591"/>
                  <a:pt x="1881902" y="2546031"/>
                  <a:pt x="1889069" y="2547949"/>
                </a:cubicBezTo>
                <a:cubicBezTo>
                  <a:pt x="1877106" y="2563932"/>
                  <a:pt x="1879731" y="2568473"/>
                  <a:pt x="1874230" y="2574672"/>
                </a:cubicBezTo>
                <a:lnTo>
                  <a:pt x="1874979" y="2575969"/>
                </a:lnTo>
                <a:lnTo>
                  <a:pt x="1889036" y="2556867"/>
                </a:lnTo>
                <a:lnTo>
                  <a:pt x="1921416" y="2521543"/>
                </a:lnTo>
                <a:lnTo>
                  <a:pt x="1915444" y="2517602"/>
                </a:lnTo>
                <a:cubicBezTo>
                  <a:pt x="1915267" y="2514679"/>
                  <a:pt x="1916226" y="2511095"/>
                  <a:pt x="1914914" y="2508827"/>
                </a:cubicBezTo>
                <a:close/>
                <a:moveTo>
                  <a:pt x="155803" y="2495219"/>
                </a:moveTo>
                <a:lnTo>
                  <a:pt x="156158" y="2495369"/>
                </a:lnTo>
                <a:lnTo>
                  <a:pt x="155885" y="2495736"/>
                </a:lnTo>
                <a:close/>
                <a:moveTo>
                  <a:pt x="1997000" y="2439085"/>
                </a:moveTo>
                <a:lnTo>
                  <a:pt x="1984697" y="2450930"/>
                </a:lnTo>
                <a:lnTo>
                  <a:pt x="1985280" y="2451493"/>
                </a:lnTo>
                <a:lnTo>
                  <a:pt x="1985427" y="2451711"/>
                </a:lnTo>
                <a:close/>
                <a:moveTo>
                  <a:pt x="2031006" y="2424812"/>
                </a:moveTo>
                <a:lnTo>
                  <a:pt x="2026461" y="2433693"/>
                </a:lnTo>
                <a:lnTo>
                  <a:pt x="2027424" y="2432923"/>
                </a:lnTo>
                <a:lnTo>
                  <a:pt x="2026813" y="2435200"/>
                </a:lnTo>
                <a:lnTo>
                  <a:pt x="2025219" y="2436120"/>
                </a:lnTo>
                <a:lnTo>
                  <a:pt x="2021986" y="2442435"/>
                </a:lnTo>
                <a:lnTo>
                  <a:pt x="2032315" y="2428999"/>
                </a:lnTo>
                <a:lnTo>
                  <a:pt x="2027424" y="2432923"/>
                </a:lnTo>
                <a:lnTo>
                  <a:pt x="2027772" y="2431618"/>
                </a:lnTo>
                <a:cubicBezTo>
                  <a:pt x="2032315" y="2428999"/>
                  <a:pt x="2032315" y="2428999"/>
                  <a:pt x="2033274" y="2425418"/>
                </a:cubicBezTo>
                <a:close/>
                <a:moveTo>
                  <a:pt x="1550906" y="2424413"/>
                </a:moveTo>
                <a:cubicBezTo>
                  <a:pt x="1550906" y="2424413"/>
                  <a:pt x="1550906" y="2424413"/>
                  <a:pt x="1549731" y="2428799"/>
                </a:cubicBezTo>
                <a:cubicBezTo>
                  <a:pt x="1548555" y="2433189"/>
                  <a:pt x="1548555" y="2433189"/>
                  <a:pt x="1548555" y="2433189"/>
                </a:cubicBezTo>
                <a:lnTo>
                  <a:pt x="1547624" y="2434236"/>
                </a:lnTo>
                <a:close/>
                <a:moveTo>
                  <a:pt x="673386" y="2391736"/>
                </a:moveTo>
                <a:lnTo>
                  <a:pt x="673878" y="2392015"/>
                </a:lnTo>
                <a:lnTo>
                  <a:pt x="673513" y="2392215"/>
                </a:lnTo>
                <a:close/>
                <a:moveTo>
                  <a:pt x="34054" y="2362353"/>
                </a:moveTo>
                <a:cubicBezTo>
                  <a:pt x="36954" y="2363887"/>
                  <a:pt x="39123" y="2362540"/>
                  <a:pt x="41771" y="2362360"/>
                </a:cubicBezTo>
                <a:cubicBezTo>
                  <a:pt x="48391" y="2361908"/>
                  <a:pt x="56723" y="2361206"/>
                  <a:pt x="61198" y="2364363"/>
                </a:cubicBezTo>
                <a:cubicBezTo>
                  <a:pt x="70855" y="2371294"/>
                  <a:pt x="80739" y="2377677"/>
                  <a:pt x="90008" y="2384767"/>
                </a:cubicBezTo>
                <a:cubicBezTo>
                  <a:pt x="90328" y="2385543"/>
                  <a:pt x="90967" y="2387098"/>
                  <a:pt x="90351" y="2387807"/>
                </a:cubicBezTo>
                <a:cubicBezTo>
                  <a:pt x="88457" y="2393128"/>
                  <a:pt x="86791" y="2397902"/>
                  <a:pt x="93914" y="2400878"/>
                </a:cubicBezTo>
                <a:cubicBezTo>
                  <a:pt x="96494" y="2401635"/>
                  <a:pt x="95032" y="2403598"/>
                  <a:pt x="93640" y="2404625"/>
                </a:cubicBezTo>
                <a:cubicBezTo>
                  <a:pt x="87523" y="2408504"/>
                  <a:pt x="88801" y="2411612"/>
                  <a:pt x="94600" y="2414679"/>
                </a:cubicBezTo>
                <a:cubicBezTo>
                  <a:pt x="98595" y="2416670"/>
                  <a:pt x="98458" y="2418544"/>
                  <a:pt x="94578" y="2420140"/>
                </a:cubicBezTo>
                <a:cubicBezTo>
                  <a:pt x="92250" y="2421098"/>
                  <a:pt x="89214" y="2421438"/>
                  <a:pt x="90263" y="2425095"/>
                </a:cubicBezTo>
                <a:cubicBezTo>
                  <a:pt x="91909" y="2433505"/>
                  <a:pt x="87754" y="2438848"/>
                  <a:pt x="80610" y="2441332"/>
                </a:cubicBezTo>
                <a:cubicBezTo>
                  <a:pt x="75405" y="2443019"/>
                  <a:pt x="73716" y="2445531"/>
                  <a:pt x="73214" y="2449826"/>
                </a:cubicBezTo>
                <a:cubicBezTo>
                  <a:pt x="71662" y="2450465"/>
                  <a:pt x="70109" y="2451104"/>
                  <a:pt x="68558" y="2451741"/>
                </a:cubicBezTo>
                <a:cubicBezTo>
                  <a:pt x="64631" y="2448815"/>
                  <a:pt x="59883" y="2449405"/>
                  <a:pt x="56482" y="2452166"/>
                </a:cubicBezTo>
                <a:cubicBezTo>
                  <a:pt x="50296" y="2456982"/>
                  <a:pt x="43904" y="2456886"/>
                  <a:pt x="37170" y="2453751"/>
                </a:cubicBezTo>
                <a:cubicBezTo>
                  <a:pt x="34430" y="2452606"/>
                  <a:pt x="32079" y="2451302"/>
                  <a:pt x="29042" y="2451642"/>
                </a:cubicBezTo>
                <a:cubicBezTo>
                  <a:pt x="24454" y="2452621"/>
                  <a:pt x="21167" y="2451247"/>
                  <a:pt x="19797" y="2446814"/>
                </a:cubicBezTo>
                <a:cubicBezTo>
                  <a:pt x="18519" y="2443705"/>
                  <a:pt x="15618" y="2442172"/>
                  <a:pt x="13587" y="2441645"/>
                </a:cubicBezTo>
                <a:cubicBezTo>
                  <a:pt x="7572" y="2440258"/>
                  <a:pt x="4826" y="2436617"/>
                  <a:pt x="3020" y="2432363"/>
                </a:cubicBezTo>
                <a:lnTo>
                  <a:pt x="0" y="2424433"/>
                </a:lnTo>
                <a:lnTo>
                  <a:pt x="0" y="2382435"/>
                </a:lnTo>
                <a:lnTo>
                  <a:pt x="500" y="2381154"/>
                </a:lnTo>
                <a:cubicBezTo>
                  <a:pt x="3285" y="2379100"/>
                  <a:pt x="2988" y="2372862"/>
                  <a:pt x="9334" y="2376158"/>
                </a:cubicBezTo>
                <a:cubicBezTo>
                  <a:pt x="11138" y="2377232"/>
                  <a:pt x="13306" y="2375886"/>
                  <a:pt x="13054" y="2374173"/>
                </a:cubicBezTo>
                <a:cubicBezTo>
                  <a:pt x="12826" y="2366998"/>
                  <a:pt x="16478" y="2365950"/>
                  <a:pt x="22733" y="2367920"/>
                </a:cubicBezTo>
                <a:cubicBezTo>
                  <a:pt x="24764" y="2368446"/>
                  <a:pt x="26066" y="2366095"/>
                  <a:pt x="27298" y="2364679"/>
                </a:cubicBezTo>
                <a:cubicBezTo>
                  <a:pt x="28987" y="2362167"/>
                  <a:pt x="31156" y="2360821"/>
                  <a:pt x="34054" y="2362353"/>
                </a:cubicBezTo>
                <a:close/>
                <a:moveTo>
                  <a:pt x="441146" y="2349308"/>
                </a:moveTo>
                <a:cubicBezTo>
                  <a:pt x="443494" y="2351183"/>
                  <a:pt x="445555" y="2351598"/>
                  <a:pt x="448948" y="2349886"/>
                </a:cubicBezTo>
                <a:cubicBezTo>
                  <a:pt x="453688" y="2347621"/>
                  <a:pt x="458350" y="2348228"/>
                  <a:pt x="461649" y="2353182"/>
                </a:cubicBezTo>
                <a:cubicBezTo>
                  <a:pt x="462918" y="2355499"/>
                  <a:pt x="464582" y="2354184"/>
                  <a:pt x="466200" y="2353519"/>
                </a:cubicBezTo>
                <a:cubicBezTo>
                  <a:pt x="468895" y="2352410"/>
                  <a:pt x="469878" y="2353268"/>
                  <a:pt x="468880" y="2356202"/>
                </a:cubicBezTo>
                <a:cubicBezTo>
                  <a:pt x="467516" y="2360551"/>
                  <a:pt x="468405" y="2362709"/>
                  <a:pt x="473320" y="2361634"/>
                </a:cubicBezTo>
                <a:cubicBezTo>
                  <a:pt x="474509" y="2361460"/>
                  <a:pt x="476189" y="2361715"/>
                  <a:pt x="475286" y="2363349"/>
                </a:cubicBezTo>
                <a:cubicBezTo>
                  <a:pt x="473225" y="2368299"/>
                  <a:pt x="476381" y="2369842"/>
                  <a:pt x="479917" y="2371541"/>
                </a:cubicBezTo>
                <a:cubicBezTo>
                  <a:pt x="480568" y="2371590"/>
                  <a:pt x="481011" y="2372670"/>
                  <a:pt x="481234" y="2373209"/>
                </a:cubicBezTo>
                <a:cubicBezTo>
                  <a:pt x="480124" y="2381239"/>
                  <a:pt x="478365" y="2389221"/>
                  <a:pt x="476987" y="2397361"/>
                </a:cubicBezTo>
                <a:cubicBezTo>
                  <a:pt x="476321" y="2401105"/>
                  <a:pt x="471866" y="2404832"/>
                  <a:pt x="468377" y="2407844"/>
                </a:cubicBezTo>
                <a:cubicBezTo>
                  <a:pt x="466983" y="2409050"/>
                  <a:pt x="465255" y="2409445"/>
                  <a:pt x="464572" y="2411619"/>
                </a:cubicBezTo>
                <a:cubicBezTo>
                  <a:pt x="463891" y="2413792"/>
                  <a:pt x="462163" y="2414188"/>
                  <a:pt x="460101" y="2413773"/>
                </a:cubicBezTo>
                <a:cubicBezTo>
                  <a:pt x="458801" y="2413677"/>
                  <a:pt x="457010" y="2413152"/>
                  <a:pt x="456264" y="2414405"/>
                </a:cubicBezTo>
                <a:cubicBezTo>
                  <a:pt x="454140" y="2418435"/>
                  <a:pt x="451825" y="2419703"/>
                  <a:pt x="448432" y="2416050"/>
                </a:cubicBezTo>
                <a:cubicBezTo>
                  <a:pt x="447719" y="2415081"/>
                  <a:pt x="445990" y="2415476"/>
                  <a:pt x="445625" y="2416888"/>
                </a:cubicBezTo>
                <a:cubicBezTo>
                  <a:pt x="444103" y="2421616"/>
                  <a:pt x="441202" y="2418392"/>
                  <a:pt x="438824" y="2418739"/>
                </a:cubicBezTo>
                <a:cubicBezTo>
                  <a:pt x="430769" y="2419845"/>
                  <a:pt x="429483" y="2410591"/>
                  <a:pt x="422760" y="2409570"/>
                </a:cubicBezTo>
                <a:cubicBezTo>
                  <a:pt x="420430" y="2409267"/>
                  <a:pt x="419668" y="2403584"/>
                  <a:pt x="418938" y="2401045"/>
                </a:cubicBezTo>
                <a:cubicBezTo>
                  <a:pt x="417416" y="2395045"/>
                  <a:pt x="411135" y="2389739"/>
                  <a:pt x="415718" y="2382490"/>
                </a:cubicBezTo>
                <a:cubicBezTo>
                  <a:pt x="416462" y="2381237"/>
                  <a:pt x="417144" y="2379062"/>
                  <a:pt x="416256" y="2376903"/>
                </a:cubicBezTo>
                <a:cubicBezTo>
                  <a:pt x="414765" y="2374046"/>
                  <a:pt x="415716" y="2371761"/>
                  <a:pt x="418459" y="2370001"/>
                </a:cubicBezTo>
                <a:cubicBezTo>
                  <a:pt x="420124" y="2368686"/>
                  <a:pt x="420647" y="2366893"/>
                  <a:pt x="421440" y="2364989"/>
                </a:cubicBezTo>
                <a:cubicBezTo>
                  <a:pt x="423231" y="2360150"/>
                  <a:pt x="426338" y="2356979"/>
                  <a:pt x="431745" y="2356332"/>
                </a:cubicBezTo>
                <a:cubicBezTo>
                  <a:pt x="434773" y="2356033"/>
                  <a:pt x="437405" y="2354004"/>
                  <a:pt x="437913" y="2350640"/>
                </a:cubicBezTo>
                <a:cubicBezTo>
                  <a:pt x="438990" y="2350196"/>
                  <a:pt x="440068" y="2349752"/>
                  <a:pt x="441146" y="2349308"/>
                </a:cubicBezTo>
                <a:close/>
                <a:moveTo>
                  <a:pt x="829437" y="2305154"/>
                </a:moveTo>
                <a:cubicBezTo>
                  <a:pt x="834241" y="2306482"/>
                  <a:pt x="838934" y="2309014"/>
                  <a:pt x="843693" y="2309680"/>
                </a:cubicBezTo>
                <a:cubicBezTo>
                  <a:pt x="847736" y="2310377"/>
                  <a:pt x="856636" y="2310591"/>
                  <a:pt x="857498" y="2314138"/>
                </a:cubicBezTo>
                <a:cubicBezTo>
                  <a:pt x="860212" y="2324341"/>
                  <a:pt x="874712" y="2324757"/>
                  <a:pt x="874371" y="2337376"/>
                </a:cubicBezTo>
                <a:cubicBezTo>
                  <a:pt x="874238" y="2341105"/>
                  <a:pt x="879705" y="2345040"/>
                  <a:pt x="872665" y="2348188"/>
                </a:cubicBezTo>
                <a:cubicBezTo>
                  <a:pt x="870548" y="2348989"/>
                  <a:pt x="870230" y="2351725"/>
                  <a:pt x="871846" y="2352662"/>
                </a:cubicBezTo>
                <a:cubicBezTo>
                  <a:pt x="878058" y="2357281"/>
                  <a:pt x="876493" y="2361068"/>
                  <a:pt x="870634" y="2365029"/>
                </a:cubicBezTo>
                <a:cubicBezTo>
                  <a:pt x="868826" y="2366392"/>
                  <a:pt x="869940" y="2369068"/>
                  <a:pt x="870309" y="2371059"/>
                </a:cubicBezTo>
                <a:cubicBezTo>
                  <a:pt x="871297" y="2374169"/>
                  <a:pt x="870979" y="2376903"/>
                  <a:pt x="867740" y="2378324"/>
                </a:cubicBezTo>
                <a:cubicBezTo>
                  <a:pt x="864500" y="2379744"/>
                  <a:pt x="864183" y="2382478"/>
                  <a:pt x="862559" y="2384836"/>
                </a:cubicBezTo>
                <a:cubicBezTo>
                  <a:pt x="858500" y="2390728"/>
                  <a:pt x="853503" y="2398235"/>
                  <a:pt x="847837" y="2399897"/>
                </a:cubicBezTo>
                <a:cubicBezTo>
                  <a:pt x="835506" y="2403404"/>
                  <a:pt x="823485" y="2407471"/>
                  <a:pt x="811280" y="2410542"/>
                </a:cubicBezTo>
                <a:cubicBezTo>
                  <a:pt x="810410" y="2410288"/>
                  <a:pt x="808669" y="2409787"/>
                  <a:pt x="808484" y="2408792"/>
                </a:cubicBezTo>
                <a:cubicBezTo>
                  <a:pt x="805260" y="2403623"/>
                  <a:pt x="802346" y="2399014"/>
                  <a:pt x="795056" y="2403032"/>
                </a:cubicBezTo>
                <a:cubicBezTo>
                  <a:pt x="792687" y="2404703"/>
                  <a:pt x="792008" y="2402153"/>
                  <a:pt x="792074" y="2400285"/>
                </a:cubicBezTo>
                <a:cubicBezTo>
                  <a:pt x="792902" y="2392519"/>
                  <a:pt x="789419" y="2391514"/>
                  <a:pt x="782940" y="2394354"/>
                </a:cubicBezTo>
                <a:cubicBezTo>
                  <a:pt x="778580" y="2396392"/>
                  <a:pt x="777089" y="2395020"/>
                  <a:pt x="778344" y="2390672"/>
                </a:cubicBezTo>
                <a:cubicBezTo>
                  <a:pt x="779097" y="2388064"/>
                  <a:pt x="780845" y="2385272"/>
                  <a:pt x="777053" y="2383706"/>
                </a:cubicBezTo>
                <a:cubicBezTo>
                  <a:pt x="768848" y="2379454"/>
                  <a:pt x="767122" y="2372361"/>
                  <a:pt x="769817" y="2364661"/>
                </a:cubicBezTo>
                <a:cubicBezTo>
                  <a:pt x="771883" y="2359134"/>
                  <a:pt x="770895" y="2356023"/>
                  <a:pt x="767604" y="2352718"/>
                </a:cubicBezTo>
                <a:cubicBezTo>
                  <a:pt x="768106" y="2350979"/>
                  <a:pt x="768609" y="2349240"/>
                  <a:pt x="769111" y="2347502"/>
                </a:cubicBezTo>
                <a:cubicBezTo>
                  <a:pt x="774217" y="2346148"/>
                  <a:pt x="776904" y="2341743"/>
                  <a:pt x="776853" y="2337018"/>
                </a:cubicBezTo>
                <a:cubicBezTo>
                  <a:pt x="776934" y="2328563"/>
                  <a:pt x="781304" y="2323230"/>
                  <a:pt x="788468" y="2319647"/>
                </a:cubicBezTo>
                <a:cubicBezTo>
                  <a:pt x="791273" y="2318100"/>
                  <a:pt x="793951" y="2316990"/>
                  <a:pt x="795700" y="2314198"/>
                </a:cubicBezTo>
                <a:cubicBezTo>
                  <a:pt x="797951" y="2309666"/>
                  <a:pt x="801316" y="2307811"/>
                  <a:pt x="805980" y="2309629"/>
                </a:cubicBezTo>
                <a:cubicBezTo>
                  <a:pt x="809463" y="2310635"/>
                  <a:pt x="812702" y="2309214"/>
                  <a:pt x="814510" y="2307852"/>
                </a:cubicBezTo>
                <a:cubicBezTo>
                  <a:pt x="819717" y="2303703"/>
                  <a:pt x="824632" y="2303827"/>
                  <a:pt x="829437" y="2305154"/>
                </a:cubicBezTo>
                <a:close/>
                <a:moveTo>
                  <a:pt x="1713326" y="2289186"/>
                </a:moveTo>
                <a:lnTo>
                  <a:pt x="1714088" y="2289389"/>
                </a:lnTo>
                <a:lnTo>
                  <a:pt x="1708684" y="2295402"/>
                </a:lnTo>
                <a:close/>
                <a:moveTo>
                  <a:pt x="1724257" y="2276097"/>
                </a:moveTo>
                <a:lnTo>
                  <a:pt x="1719183" y="2281348"/>
                </a:lnTo>
                <a:lnTo>
                  <a:pt x="1713326" y="2289186"/>
                </a:lnTo>
                <a:lnTo>
                  <a:pt x="1709699" y="2288213"/>
                </a:lnTo>
                <a:cubicBezTo>
                  <a:pt x="1715263" y="2284997"/>
                  <a:pt x="1720829" y="2281785"/>
                  <a:pt x="1722005" y="2277398"/>
                </a:cubicBezTo>
                <a:close/>
                <a:moveTo>
                  <a:pt x="1731858" y="2269343"/>
                </a:moveTo>
                <a:lnTo>
                  <a:pt x="1727568" y="2274180"/>
                </a:lnTo>
                <a:lnTo>
                  <a:pt x="1724257" y="2276097"/>
                </a:lnTo>
                <a:lnTo>
                  <a:pt x="1730470" y="2269667"/>
                </a:lnTo>
                <a:close/>
                <a:moveTo>
                  <a:pt x="1741050" y="2258980"/>
                </a:moveTo>
                <a:cubicBezTo>
                  <a:pt x="1739874" y="2263373"/>
                  <a:pt x="1734309" y="2266585"/>
                  <a:pt x="1738698" y="2267757"/>
                </a:cubicBezTo>
                <a:lnTo>
                  <a:pt x="1731858" y="2269343"/>
                </a:lnTo>
                <a:lnTo>
                  <a:pt x="1734309" y="2266585"/>
                </a:lnTo>
                <a:cubicBezTo>
                  <a:pt x="1735485" y="2262191"/>
                  <a:pt x="1735485" y="2262191"/>
                  <a:pt x="1735485" y="2262191"/>
                </a:cubicBezTo>
                <a:cubicBezTo>
                  <a:pt x="1735485" y="2262191"/>
                  <a:pt x="1735485" y="2262191"/>
                  <a:pt x="1741050" y="2258980"/>
                </a:cubicBezTo>
                <a:close/>
                <a:moveTo>
                  <a:pt x="12047544" y="2247450"/>
                </a:moveTo>
                <a:cubicBezTo>
                  <a:pt x="12049836" y="2249280"/>
                  <a:pt x="12051848" y="2249685"/>
                  <a:pt x="12055161" y="2248013"/>
                </a:cubicBezTo>
                <a:cubicBezTo>
                  <a:pt x="12059791" y="2245802"/>
                  <a:pt x="12064343" y="2246394"/>
                  <a:pt x="12067565" y="2251232"/>
                </a:cubicBezTo>
                <a:cubicBezTo>
                  <a:pt x="12068804" y="2253495"/>
                  <a:pt x="12070430" y="2252210"/>
                  <a:pt x="12072009" y="2251561"/>
                </a:cubicBezTo>
                <a:cubicBezTo>
                  <a:pt x="12074640" y="2250477"/>
                  <a:pt x="12075601" y="2251315"/>
                  <a:pt x="12074626" y="2254182"/>
                </a:cubicBezTo>
                <a:cubicBezTo>
                  <a:pt x="12073295" y="2258427"/>
                  <a:pt x="12074161" y="2260535"/>
                  <a:pt x="12078961" y="2259486"/>
                </a:cubicBezTo>
                <a:cubicBezTo>
                  <a:pt x="12080123" y="2259316"/>
                  <a:pt x="12081764" y="2259565"/>
                  <a:pt x="12080883" y="2261161"/>
                </a:cubicBezTo>
                <a:cubicBezTo>
                  <a:pt x="12078869" y="2265994"/>
                  <a:pt x="12081951" y="2267500"/>
                  <a:pt x="12085404" y="2269162"/>
                </a:cubicBezTo>
                <a:cubicBezTo>
                  <a:pt x="12086040" y="2269208"/>
                  <a:pt x="12086472" y="2270262"/>
                  <a:pt x="12086690" y="2270789"/>
                </a:cubicBezTo>
                <a:cubicBezTo>
                  <a:pt x="12085606" y="2278631"/>
                  <a:pt x="12083888" y="2286425"/>
                  <a:pt x="12082542" y="2294375"/>
                </a:cubicBezTo>
                <a:cubicBezTo>
                  <a:pt x="12081892" y="2298031"/>
                  <a:pt x="12077542" y="2301670"/>
                  <a:pt x="12074136" y="2304612"/>
                </a:cubicBezTo>
                <a:cubicBezTo>
                  <a:pt x="12072773" y="2305789"/>
                  <a:pt x="12071085" y="2306175"/>
                  <a:pt x="12070420" y="2308298"/>
                </a:cubicBezTo>
                <a:cubicBezTo>
                  <a:pt x="12069754" y="2310420"/>
                  <a:pt x="12068066" y="2310807"/>
                  <a:pt x="12066053" y="2310402"/>
                </a:cubicBezTo>
                <a:cubicBezTo>
                  <a:pt x="12064784" y="2310308"/>
                  <a:pt x="12063034" y="2309795"/>
                  <a:pt x="12062306" y="2311019"/>
                </a:cubicBezTo>
                <a:cubicBezTo>
                  <a:pt x="12060232" y="2314953"/>
                  <a:pt x="12057971" y="2316192"/>
                  <a:pt x="12054658" y="2312625"/>
                </a:cubicBezTo>
                <a:cubicBezTo>
                  <a:pt x="12053962" y="2311679"/>
                  <a:pt x="12052274" y="2312065"/>
                  <a:pt x="12051917" y="2313444"/>
                </a:cubicBezTo>
                <a:cubicBezTo>
                  <a:pt x="12050432" y="2318061"/>
                  <a:pt x="12047597" y="2314913"/>
                  <a:pt x="12045275" y="2315252"/>
                </a:cubicBezTo>
                <a:cubicBezTo>
                  <a:pt x="12037410" y="2316330"/>
                  <a:pt x="12036154" y="2307294"/>
                  <a:pt x="12029589" y="2306297"/>
                </a:cubicBezTo>
                <a:cubicBezTo>
                  <a:pt x="12027312" y="2306001"/>
                  <a:pt x="12026568" y="2300452"/>
                  <a:pt x="12025857" y="2297972"/>
                </a:cubicBezTo>
                <a:cubicBezTo>
                  <a:pt x="12024370" y="2292112"/>
                  <a:pt x="12018238" y="2286931"/>
                  <a:pt x="12022711" y="2279852"/>
                </a:cubicBezTo>
                <a:cubicBezTo>
                  <a:pt x="12023438" y="2278628"/>
                  <a:pt x="12024104" y="2276505"/>
                  <a:pt x="12023238" y="2274397"/>
                </a:cubicBezTo>
                <a:cubicBezTo>
                  <a:pt x="12021781" y="2271607"/>
                  <a:pt x="12022711" y="2269376"/>
                  <a:pt x="12025388" y="2267657"/>
                </a:cubicBezTo>
                <a:cubicBezTo>
                  <a:pt x="12027014" y="2266372"/>
                  <a:pt x="12027524" y="2264622"/>
                  <a:pt x="12028298" y="2262762"/>
                </a:cubicBezTo>
                <a:cubicBezTo>
                  <a:pt x="12030048" y="2258037"/>
                  <a:pt x="12033083" y="2254939"/>
                  <a:pt x="12038362" y="2254308"/>
                </a:cubicBezTo>
                <a:cubicBezTo>
                  <a:pt x="12041320" y="2254017"/>
                  <a:pt x="12043890" y="2252035"/>
                  <a:pt x="12044385" y="2248750"/>
                </a:cubicBezTo>
                <a:cubicBezTo>
                  <a:pt x="12045438" y="2248316"/>
                  <a:pt x="12046491" y="2247883"/>
                  <a:pt x="12047544" y="2247450"/>
                </a:cubicBezTo>
                <a:close/>
                <a:moveTo>
                  <a:pt x="594653" y="2216586"/>
                </a:moveTo>
                <a:cubicBezTo>
                  <a:pt x="600014" y="2219632"/>
                  <a:pt x="606204" y="2220670"/>
                  <a:pt x="611831" y="2222792"/>
                </a:cubicBezTo>
                <a:cubicBezTo>
                  <a:pt x="616602" y="2224420"/>
                  <a:pt x="621308" y="2226276"/>
                  <a:pt x="624821" y="2230534"/>
                </a:cubicBezTo>
                <a:cubicBezTo>
                  <a:pt x="626266" y="2232448"/>
                  <a:pt x="627781" y="2232386"/>
                  <a:pt x="629628" y="2231173"/>
                </a:cubicBezTo>
                <a:cubicBezTo>
                  <a:pt x="630652" y="2230220"/>
                  <a:pt x="631609" y="2229500"/>
                  <a:pt x="632797" y="2228844"/>
                </a:cubicBezTo>
                <a:cubicBezTo>
                  <a:pt x="633984" y="2228189"/>
                  <a:pt x="635863" y="2227734"/>
                  <a:pt x="636749" y="2228987"/>
                </a:cubicBezTo>
                <a:cubicBezTo>
                  <a:pt x="637866" y="2230306"/>
                  <a:pt x="636873" y="2232017"/>
                  <a:pt x="635783" y="2233199"/>
                </a:cubicBezTo>
                <a:cubicBezTo>
                  <a:pt x="635354" y="2233823"/>
                  <a:pt x="634759" y="2234150"/>
                  <a:pt x="634099" y="2234708"/>
                </a:cubicBezTo>
                <a:cubicBezTo>
                  <a:pt x="628884" y="2238941"/>
                  <a:pt x="629269" y="2242794"/>
                  <a:pt x="635291" y="2245280"/>
                </a:cubicBezTo>
                <a:cubicBezTo>
                  <a:pt x="636376" y="2245843"/>
                  <a:pt x="637529" y="2246175"/>
                  <a:pt x="638383" y="2246672"/>
                </a:cubicBezTo>
                <a:cubicBezTo>
                  <a:pt x="639863" y="2247598"/>
                  <a:pt x="641839" y="2247669"/>
                  <a:pt x="641569" y="2250336"/>
                </a:cubicBezTo>
                <a:cubicBezTo>
                  <a:pt x="641498" y="2252311"/>
                  <a:pt x="640311" y="2252966"/>
                  <a:pt x="638662" y="2253489"/>
                </a:cubicBezTo>
                <a:cubicBezTo>
                  <a:pt x="635596" y="2254598"/>
                  <a:pt x="635361" y="2256277"/>
                  <a:pt x="637298" y="2259081"/>
                </a:cubicBezTo>
                <a:cubicBezTo>
                  <a:pt x="639792" y="2262545"/>
                  <a:pt x="641857" y="2266635"/>
                  <a:pt x="640297" y="2271174"/>
                </a:cubicBezTo>
                <a:cubicBezTo>
                  <a:pt x="639003" y="2274791"/>
                  <a:pt x="639393" y="2276900"/>
                  <a:pt x="643806" y="2277175"/>
                </a:cubicBezTo>
                <a:cubicBezTo>
                  <a:pt x="644793" y="2277211"/>
                  <a:pt x="645879" y="2277774"/>
                  <a:pt x="645942" y="2279289"/>
                </a:cubicBezTo>
                <a:cubicBezTo>
                  <a:pt x="646070" y="2280574"/>
                  <a:pt x="644718" y="2280932"/>
                  <a:pt x="643828" y="2281423"/>
                </a:cubicBezTo>
                <a:cubicBezTo>
                  <a:pt x="641751" y="2282570"/>
                  <a:pt x="639441" y="2283650"/>
                  <a:pt x="637757" y="2285159"/>
                </a:cubicBezTo>
                <a:cubicBezTo>
                  <a:pt x="632676" y="2288931"/>
                  <a:pt x="632109" y="2291761"/>
                  <a:pt x="634102" y="2297825"/>
                </a:cubicBezTo>
                <a:cubicBezTo>
                  <a:pt x="635737" y="2302537"/>
                  <a:pt x="636614" y="2307281"/>
                  <a:pt x="635382" y="2312414"/>
                </a:cubicBezTo>
                <a:cubicBezTo>
                  <a:pt x="634549" y="2316164"/>
                  <a:pt x="632572" y="2316093"/>
                  <a:pt x="629910" y="2314077"/>
                </a:cubicBezTo>
                <a:cubicBezTo>
                  <a:pt x="628036" y="2312788"/>
                  <a:pt x="627482" y="2310383"/>
                  <a:pt x="626202" y="2308767"/>
                </a:cubicBezTo>
                <a:cubicBezTo>
                  <a:pt x="624757" y="2306852"/>
                  <a:pt x="622754" y="2304278"/>
                  <a:pt x="620380" y="2305588"/>
                </a:cubicBezTo>
                <a:cubicBezTo>
                  <a:pt x="617641" y="2307293"/>
                  <a:pt x="617996" y="2310389"/>
                  <a:pt x="619471" y="2313060"/>
                </a:cubicBezTo>
                <a:cubicBezTo>
                  <a:pt x="620127" y="2314246"/>
                  <a:pt x="621244" y="2315566"/>
                  <a:pt x="621832" y="2316984"/>
                </a:cubicBezTo>
                <a:cubicBezTo>
                  <a:pt x="622653" y="2318469"/>
                  <a:pt x="623175" y="2320116"/>
                  <a:pt x="621328" y="2321330"/>
                </a:cubicBezTo>
                <a:cubicBezTo>
                  <a:pt x="619777" y="2322379"/>
                  <a:pt x="618594" y="2321289"/>
                  <a:pt x="617544" y="2319739"/>
                </a:cubicBezTo>
                <a:cubicBezTo>
                  <a:pt x="616427" y="2318419"/>
                  <a:pt x="615377" y="2316867"/>
                  <a:pt x="614194" y="2315778"/>
                </a:cubicBezTo>
                <a:cubicBezTo>
                  <a:pt x="612519" y="2313797"/>
                  <a:pt x="610016" y="2313823"/>
                  <a:pt x="608005" y="2314740"/>
                </a:cubicBezTo>
                <a:cubicBezTo>
                  <a:pt x="605993" y="2315656"/>
                  <a:pt x="606316" y="2317995"/>
                  <a:pt x="606543" y="2319806"/>
                </a:cubicBezTo>
                <a:cubicBezTo>
                  <a:pt x="607672" y="2328863"/>
                  <a:pt x="618195" y="2335643"/>
                  <a:pt x="627424" y="2333068"/>
                </a:cubicBezTo>
                <a:cubicBezTo>
                  <a:pt x="631774" y="2331828"/>
                  <a:pt x="632957" y="2332919"/>
                  <a:pt x="632356" y="2336736"/>
                </a:cubicBezTo>
                <a:cubicBezTo>
                  <a:pt x="631319" y="2342923"/>
                  <a:pt x="632953" y="2347635"/>
                  <a:pt x="638345" y="2351438"/>
                </a:cubicBezTo>
                <a:cubicBezTo>
                  <a:pt x="639825" y="2352364"/>
                  <a:pt x="642027" y="2354246"/>
                  <a:pt x="640605" y="2356580"/>
                </a:cubicBezTo>
                <a:cubicBezTo>
                  <a:pt x="637561" y="2361938"/>
                  <a:pt x="638469" y="2367439"/>
                  <a:pt x="640134" y="2372909"/>
                </a:cubicBezTo>
                <a:cubicBezTo>
                  <a:pt x="641441" y="2377029"/>
                  <a:pt x="641202" y="2380452"/>
                  <a:pt x="637472" y="2383865"/>
                </a:cubicBezTo>
                <a:cubicBezTo>
                  <a:pt x="633443" y="2387443"/>
                  <a:pt x="634326" y="2390442"/>
                  <a:pt x="639590" y="2392959"/>
                </a:cubicBezTo>
                <a:cubicBezTo>
                  <a:pt x="639820" y="2393026"/>
                  <a:pt x="640050" y="2393089"/>
                  <a:pt x="640280" y="2393158"/>
                </a:cubicBezTo>
                <a:cubicBezTo>
                  <a:pt x="642287" y="2393984"/>
                  <a:pt x="644228" y="2395046"/>
                  <a:pt x="643860" y="2397184"/>
                </a:cubicBezTo>
                <a:cubicBezTo>
                  <a:pt x="643723" y="2399390"/>
                  <a:pt x="641255" y="2398430"/>
                  <a:pt x="639904" y="2398784"/>
                </a:cubicBezTo>
                <a:cubicBezTo>
                  <a:pt x="631468" y="2400342"/>
                  <a:pt x="626811" y="2405237"/>
                  <a:pt x="625801" y="2413925"/>
                </a:cubicBezTo>
                <a:cubicBezTo>
                  <a:pt x="625463" y="2416820"/>
                  <a:pt x="624077" y="2418168"/>
                  <a:pt x="621441" y="2418654"/>
                </a:cubicBezTo>
                <a:cubicBezTo>
                  <a:pt x="619858" y="2418946"/>
                  <a:pt x="618343" y="2419007"/>
                  <a:pt x="616761" y="2419300"/>
                </a:cubicBezTo>
                <a:cubicBezTo>
                  <a:pt x="614653" y="2419688"/>
                  <a:pt x="613563" y="2420870"/>
                  <a:pt x="613425" y="2423076"/>
                </a:cubicBezTo>
                <a:lnTo>
                  <a:pt x="614034" y="2424836"/>
                </a:lnTo>
                <a:lnTo>
                  <a:pt x="590857" y="2437548"/>
                </a:lnTo>
                <a:lnTo>
                  <a:pt x="592250" y="2434178"/>
                </a:lnTo>
                <a:cubicBezTo>
                  <a:pt x="593242" y="2432467"/>
                  <a:pt x="593508" y="2431547"/>
                  <a:pt x="591768" y="2429797"/>
                </a:cubicBezTo>
                <a:cubicBezTo>
                  <a:pt x="589729" y="2428211"/>
                  <a:pt x="588475" y="2429096"/>
                  <a:pt x="587155" y="2430212"/>
                </a:cubicBezTo>
                <a:cubicBezTo>
                  <a:pt x="586198" y="2430934"/>
                  <a:pt x="585702" y="2431789"/>
                  <a:pt x="584909" y="2432806"/>
                </a:cubicBezTo>
                <a:cubicBezTo>
                  <a:pt x="581439" y="2437044"/>
                  <a:pt x="579990" y="2436875"/>
                  <a:pt x="577664" y="2431963"/>
                </a:cubicBezTo>
                <a:cubicBezTo>
                  <a:pt x="577239" y="2430843"/>
                  <a:pt x="576650" y="2429424"/>
                  <a:pt x="575267" y="2429027"/>
                </a:cubicBezTo>
                <a:cubicBezTo>
                  <a:pt x="573588" y="2428790"/>
                  <a:pt x="573056" y="2430633"/>
                  <a:pt x="572263" y="2431651"/>
                </a:cubicBezTo>
                <a:cubicBezTo>
                  <a:pt x="571537" y="2432439"/>
                  <a:pt x="571040" y="2433295"/>
                  <a:pt x="570774" y="2434216"/>
                </a:cubicBezTo>
                <a:cubicBezTo>
                  <a:pt x="569864" y="2436073"/>
                  <a:pt x="568849" y="2436778"/>
                  <a:pt x="567812" y="2436696"/>
                </a:cubicBezTo>
                <a:cubicBezTo>
                  <a:pt x="566775" y="2436616"/>
                  <a:pt x="565714" y="2435749"/>
                  <a:pt x="564713" y="2434462"/>
                </a:cubicBezTo>
                <a:cubicBezTo>
                  <a:pt x="562777" y="2431658"/>
                  <a:pt x="560974" y="2428393"/>
                  <a:pt x="559038" y="2425590"/>
                </a:cubicBezTo>
                <a:cubicBezTo>
                  <a:pt x="556773" y="2422190"/>
                  <a:pt x="553850" y="2419351"/>
                  <a:pt x="549565" y="2420359"/>
                </a:cubicBezTo>
                <a:cubicBezTo>
                  <a:pt x="546171" y="2420878"/>
                  <a:pt x="545121" y="2419327"/>
                  <a:pt x="544106" y="2416788"/>
                </a:cubicBezTo>
                <a:cubicBezTo>
                  <a:pt x="541980" y="2411186"/>
                  <a:pt x="538830" y="2406534"/>
                  <a:pt x="531979" y="2406054"/>
                </a:cubicBezTo>
                <a:cubicBezTo>
                  <a:pt x="530234" y="2406049"/>
                  <a:pt x="529972" y="2405225"/>
                  <a:pt x="530208" y="2403547"/>
                </a:cubicBezTo>
                <a:cubicBezTo>
                  <a:pt x="532543" y="2391997"/>
                  <a:pt x="530496" y="2380929"/>
                  <a:pt x="526570" y="2370315"/>
                </a:cubicBezTo>
                <a:cubicBezTo>
                  <a:pt x="525556" y="2367778"/>
                  <a:pt x="526416" y="2366528"/>
                  <a:pt x="527935" y="2364722"/>
                </a:cubicBezTo>
                <a:cubicBezTo>
                  <a:pt x="531436" y="2361242"/>
                  <a:pt x="535300" y="2357367"/>
                  <a:pt x="535016" y="2352298"/>
                </a:cubicBezTo>
                <a:cubicBezTo>
                  <a:pt x="534732" y="2347225"/>
                  <a:pt x="536815" y="2344334"/>
                  <a:pt x="540182" y="2341314"/>
                </a:cubicBezTo>
                <a:cubicBezTo>
                  <a:pt x="541206" y="2340363"/>
                  <a:pt x="541999" y="2339344"/>
                  <a:pt x="543089" y="2338162"/>
                </a:cubicBezTo>
                <a:cubicBezTo>
                  <a:pt x="548011" y="2332349"/>
                  <a:pt x="553262" y="2327129"/>
                  <a:pt x="561335" y="2325967"/>
                </a:cubicBezTo>
                <a:cubicBezTo>
                  <a:pt x="562850" y="2325905"/>
                  <a:pt x="563116" y="2324983"/>
                  <a:pt x="563449" y="2323832"/>
                </a:cubicBezTo>
                <a:cubicBezTo>
                  <a:pt x="564215" y="2320311"/>
                  <a:pt x="560387" y="2310225"/>
                  <a:pt x="557428" y="2308374"/>
                </a:cubicBezTo>
                <a:cubicBezTo>
                  <a:pt x="552692" y="2305759"/>
                  <a:pt x="549045" y="2301963"/>
                  <a:pt x="546718" y="2297050"/>
                </a:cubicBezTo>
                <a:cubicBezTo>
                  <a:pt x="543343" y="2290588"/>
                  <a:pt x="540724" y="2284094"/>
                  <a:pt x="537646" y="2277467"/>
                </a:cubicBezTo>
                <a:cubicBezTo>
                  <a:pt x="536662" y="2275686"/>
                  <a:pt x="537619" y="2274965"/>
                  <a:pt x="538873" y="2274079"/>
                </a:cubicBezTo>
                <a:cubicBezTo>
                  <a:pt x="544482" y="2270211"/>
                  <a:pt x="544482" y="2270211"/>
                  <a:pt x="540411" y="2265293"/>
                </a:cubicBezTo>
                <a:cubicBezTo>
                  <a:pt x="536800" y="2260509"/>
                  <a:pt x="537234" y="2258140"/>
                  <a:pt x="542643" y="2254962"/>
                </a:cubicBezTo>
                <a:cubicBezTo>
                  <a:pt x="545019" y="2253651"/>
                  <a:pt x="547460" y="2252111"/>
                  <a:pt x="547699" y="2248687"/>
                </a:cubicBezTo>
                <a:cubicBezTo>
                  <a:pt x="547952" y="2240028"/>
                  <a:pt x="552875" y="2234215"/>
                  <a:pt x="559902" y="2229757"/>
                </a:cubicBezTo>
                <a:cubicBezTo>
                  <a:pt x="564488" y="2226839"/>
                  <a:pt x="569699" y="2224352"/>
                  <a:pt x="573562" y="2220478"/>
                </a:cubicBezTo>
                <a:cubicBezTo>
                  <a:pt x="574289" y="2219690"/>
                  <a:pt x="575245" y="2218968"/>
                  <a:pt x="576331" y="2219531"/>
                </a:cubicBezTo>
                <a:cubicBezTo>
                  <a:pt x="581560" y="2223036"/>
                  <a:pt x="585618" y="2220216"/>
                  <a:pt x="589907" y="2217463"/>
                </a:cubicBezTo>
                <a:cubicBezTo>
                  <a:pt x="591161" y="2216577"/>
                  <a:pt x="592712" y="2215528"/>
                  <a:pt x="594653" y="2216586"/>
                </a:cubicBezTo>
                <a:close/>
                <a:moveTo>
                  <a:pt x="1713685" y="2198744"/>
                </a:moveTo>
                <a:cubicBezTo>
                  <a:pt x="1715075" y="2197940"/>
                  <a:pt x="1717270" y="2198530"/>
                  <a:pt x="1718875" y="2201309"/>
                </a:cubicBezTo>
                <a:cubicBezTo>
                  <a:pt x="1714488" y="2200137"/>
                  <a:pt x="1714488" y="2200137"/>
                  <a:pt x="1713311" y="2204523"/>
                </a:cubicBezTo>
                <a:cubicBezTo>
                  <a:pt x="1711704" y="2201742"/>
                  <a:pt x="1712292" y="2199549"/>
                  <a:pt x="1713685" y="2198744"/>
                </a:cubicBezTo>
                <a:close/>
                <a:moveTo>
                  <a:pt x="1830399" y="2188859"/>
                </a:moveTo>
                <a:lnTo>
                  <a:pt x="1822696" y="2195935"/>
                </a:lnTo>
                <a:lnTo>
                  <a:pt x="1822709" y="2195615"/>
                </a:lnTo>
                <a:cubicBezTo>
                  <a:pt x="1824540" y="2193169"/>
                  <a:pt x="1827618" y="2190465"/>
                  <a:pt x="1830399" y="2188859"/>
                </a:cubicBezTo>
                <a:close/>
                <a:moveTo>
                  <a:pt x="2301609" y="2177720"/>
                </a:moveTo>
                <a:lnTo>
                  <a:pt x="2236356" y="2226569"/>
                </a:lnTo>
                <a:cubicBezTo>
                  <a:pt x="2218185" y="2237049"/>
                  <a:pt x="2189971" y="2256339"/>
                  <a:pt x="2164379" y="2280185"/>
                </a:cubicBezTo>
                <a:cubicBezTo>
                  <a:pt x="2136165" y="2299488"/>
                  <a:pt x="2114157" y="2324292"/>
                  <a:pt x="2102192" y="2340271"/>
                </a:cubicBezTo>
                <a:cubicBezTo>
                  <a:pt x="2083048" y="2354335"/>
                  <a:pt x="2062959" y="2371976"/>
                  <a:pt x="2050993" y="2387958"/>
                </a:cubicBezTo>
                <a:cubicBezTo>
                  <a:pt x="2050993" y="2387958"/>
                  <a:pt x="2047411" y="2387000"/>
                  <a:pt x="2046451" y="2390579"/>
                </a:cubicBezTo>
                <a:cubicBezTo>
                  <a:pt x="2041907" y="2393195"/>
                  <a:pt x="2041907" y="2393195"/>
                  <a:pt x="2040948" y="2396776"/>
                </a:cubicBezTo>
                <a:lnTo>
                  <a:pt x="2026464" y="2410717"/>
                </a:lnTo>
                <a:lnTo>
                  <a:pt x="2036878" y="2408978"/>
                </a:lnTo>
                <a:lnTo>
                  <a:pt x="2044532" y="2397734"/>
                </a:lnTo>
                <a:cubicBezTo>
                  <a:pt x="2043573" y="2401315"/>
                  <a:pt x="2043573" y="2401315"/>
                  <a:pt x="2043573" y="2401315"/>
                </a:cubicBezTo>
                <a:cubicBezTo>
                  <a:pt x="2043573" y="2401315"/>
                  <a:pt x="2048115" y="2398693"/>
                  <a:pt x="2049076" y="2395111"/>
                </a:cubicBezTo>
                <a:cubicBezTo>
                  <a:pt x="2052658" y="2396078"/>
                  <a:pt x="2053617" y="2392497"/>
                  <a:pt x="2053617" y="2392497"/>
                </a:cubicBezTo>
                <a:cubicBezTo>
                  <a:pt x="2081128" y="2361497"/>
                  <a:pt x="2110320" y="2338611"/>
                  <a:pt x="2140200" y="2327431"/>
                </a:cubicBezTo>
                <a:cubicBezTo>
                  <a:pt x="2136615" y="2326473"/>
                  <a:pt x="2135657" y="2330052"/>
                  <a:pt x="2135657" y="2330052"/>
                </a:cubicBezTo>
                <a:cubicBezTo>
                  <a:pt x="2134695" y="2333634"/>
                  <a:pt x="2134695" y="2333634"/>
                  <a:pt x="2138280" y="2334593"/>
                </a:cubicBezTo>
                <a:cubicBezTo>
                  <a:pt x="2138280" y="2334593"/>
                  <a:pt x="2139238" y="2331013"/>
                  <a:pt x="2139238" y="2331013"/>
                </a:cubicBezTo>
                <a:cubicBezTo>
                  <a:pt x="2139238" y="2331013"/>
                  <a:pt x="2139238" y="2331013"/>
                  <a:pt x="2140200" y="2327431"/>
                </a:cubicBezTo>
                <a:cubicBezTo>
                  <a:pt x="2143784" y="2328391"/>
                  <a:pt x="2144743" y="2324810"/>
                  <a:pt x="2144743" y="2324810"/>
                </a:cubicBezTo>
                <a:cubicBezTo>
                  <a:pt x="2147367" y="2329352"/>
                  <a:pt x="2157412" y="2320533"/>
                  <a:pt x="2167455" y="2311709"/>
                </a:cubicBezTo>
                <a:cubicBezTo>
                  <a:pt x="2164830" y="2307171"/>
                  <a:pt x="2159332" y="2313370"/>
                  <a:pt x="2159332" y="2313370"/>
                </a:cubicBezTo>
                <a:cubicBezTo>
                  <a:pt x="2160290" y="2309790"/>
                  <a:pt x="2160290" y="2309790"/>
                  <a:pt x="2160290" y="2309790"/>
                </a:cubicBezTo>
                <a:cubicBezTo>
                  <a:pt x="2161248" y="2306208"/>
                  <a:pt x="2161248" y="2306208"/>
                  <a:pt x="2161248" y="2306208"/>
                </a:cubicBezTo>
                <a:cubicBezTo>
                  <a:pt x="2161248" y="2306208"/>
                  <a:pt x="2156706" y="2308832"/>
                  <a:pt x="2156706" y="2308832"/>
                </a:cubicBezTo>
                <a:cubicBezTo>
                  <a:pt x="2166750" y="2300007"/>
                  <a:pt x="2163167" y="2299048"/>
                  <a:pt x="2177754" y="2287607"/>
                </a:cubicBezTo>
                <a:cubicBezTo>
                  <a:pt x="2176793" y="2291184"/>
                  <a:pt x="2176793" y="2291184"/>
                  <a:pt x="2176793" y="2291184"/>
                </a:cubicBezTo>
                <a:cubicBezTo>
                  <a:pt x="2176793" y="2291184"/>
                  <a:pt x="2176793" y="2291184"/>
                  <a:pt x="2172250" y="2293809"/>
                </a:cubicBezTo>
                <a:cubicBezTo>
                  <a:pt x="2171292" y="2297388"/>
                  <a:pt x="2171292" y="2297388"/>
                  <a:pt x="2171292" y="2297388"/>
                </a:cubicBezTo>
                <a:cubicBezTo>
                  <a:pt x="2174876" y="2298349"/>
                  <a:pt x="2179418" y="2295728"/>
                  <a:pt x="2180376" y="2292148"/>
                </a:cubicBezTo>
                <a:cubicBezTo>
                  <a:pt x="2180376" y="2292148"/>
                  <a:pt x="2183961" y="2293109"/>
                  <a:pt x="2184919" y="2289528"/>
                </a:cubicBezTo>
                <a:cubicBezTo>
                  <a:pt x="2192086" y="2291448"/>
                  <a:pt x="2205713" y="2283588"/>
                  <a:pt x="2223884" y="2273108"/>
                </a:cubicBezTo>
                <a:cubicBezTo>
                  <a:pt x="2231177" y="2267387"/>
                  <a:pt x="2238708" y="2260770"/>
                  <a:pt x="2245229" y="2254355"/>
                </a:cubicBezTo>
                <a:lnTo>
                  <a:pt x="2251607" y="2247046"/>
                </a:lnTo>
                <a:lnTo>
                  <a:pt x="2256890" y="2229083"/>
                </a:lnTo>
                <a:cubicBezTo>
                  <a:pt x="2262319" y="2220129"/>
                  <a:pt x="2269781" y="2213271"/>
                  <a:pt x="2278764" y="2208775"/>
                </a:cubicBezTo>
                <a:lnTo>
                  <a:pt x="2303977" y="2194332"/>
                </a:lnTo>
                <a:lnTo>
                  <a:pt x="2305303" y="2193447"/>
                </a:lnTo>
                <a:close/>
                <a:moveTo>
                  <a:pt x="151573" y="2114518"/>
                </a:moveTo>
                <a:cubicBezTo>
                  <a:pt x="155143" y="2117641"/>
                  <a:pt x="159563" y="2119496"/>
                  <a:pt x="163727" y="2119619"/>
                </a:cubicBezTo>
                <a:cubicBezTo>
                  <a:pt x="167662" y="2120297"/>
                  <a:pt x="171827" y="2120419"/>
                  <a:pt x="176152" y="2120935"/>
                </a:cubicBezTo>
                <a:cubicBezTo>
                  <a:pt x="180087" y="2121612"/>
                  <a:pt x="184413" y="2122129"/>
                  <a:pt x="188484" y="2120913"/>
                </a:cubicBezTo>
                <a:cubicBezTo>
                  <a:pt x="192325" y="2120251"/>
                  <a:pt x="194858" y="2121964"/>
                  <a:pt x="197943" y="2123908"/>
                </a:cubicBezTo>
                <a:cubicBezTo>
                  <a:pt x="201029" y="2125853"/>
                  <a:pt x="202253" y="2129941"/>
                  <a:pt x="205797" y="2130778"/>
                </a:cubicBezTo>
                <a:cubicBezTo>
                  <a:pt x="206927" y="2133527"/>
                  <a:pt x="207897" y="2135884"/>
                  <a:pt x="209028" y="2138632"/>
                </a:cubicBezTo>
                <a:cubicBezTo>
                  <a:pt x="207855" y="2139115"/>
                  <a:pt x="207625" y="2139668"/>
                  <a:pt x="207949" y="2140453"/>
                </a:cubicBezTo>
                <a:cubicBezTo>
                  <a:pt x="210371" y="2146343"/>
                  <a:pt x="207755" y="2151093"/>
                  <a:pt x="203872" y="2154986"/>
                </a:cubicBezTo>
                <a:cubicBezTo>
                  <a:pt x="200379" y="2158719"/>
                  <a:pt x="197439" y="2162683"/>
                  <a:pt x="192034" y="2163987"/>
                </a:cubicBezTo>
                <a:cubicBezTo>
                  <a:pt x="186077" y="2165061"/>
                  <a:pt x="180375" y="2167866"/>
                  <a:pt x="174136" y="2164923"/>
                </a:cubicBezTo>
                <a:cubicBezTo>
                  <a:pt x="171926" y="2163996"/>
                  <a:pt x="170108" y="2162906"/>
                  <a:pt x="168195" y="2160480"/>
                </a:cubicBezTo>
                <a:cubicBezTo>
                  <a:pt x="165406" y="2157036"/>
                  <a:pt x="161514" y="2153128"/>
                  <a:pt x="155744" y="2156879"/>
                </a:cubicBezTo>
                <a:cubicBezTo>
                  <a:pt x="153560" y="2158236"/>
                  <a:pt x="151809" y="2156201"/>
                  <a:pt x="150474" y="2156291"/>
                </a:cubicBezTo>
                <a:cubicBezTo>
                  <a:pt x="143413" y="2156901"/>
                  <a:pt x="138737" y="2153315"/>
                  <a:pt x="134683" y="2149014"/>
                </a:cubicBezTo>
                <a:cubicBezTo>
                  <a:pt x="134011" y="2145158"/>
                  <a:pt x="133501" y="2141695"/>
                  <a:pt x="132046" y="2138161"/>
                </a:cubicBezTo>
                <a:cubicBezTo>
                  <a:pt x="130593" y="2134627"/>
                  <a:pt x="131484" y="2130128"/>
                  <a:pt x="133966" y="2127271"/>
                </a:cubicBezTo>
                <a:cubicBezTo>
                  <a:pt x="136218" y="2124967"/>
                  <a:pt x="137297" y="2123146"/>
                  <a:pt x="137500" y="2120308"/>
                </a:cubicBezTo>
                <a:cubicBezTo>
                  <a:pt x="142191" y="2118377"/>
                  <a:pt x="146883" y="2116448"/>
                  <a:pt x="151573" y="2114518"/>
                </a:cubicBezTo>
                <a:close/>
                <a:moveTo>
                  <a:pt x="788976" y="2103352"/>
                </a:moveTo>
                <a:cubicBezTo>
                  <a:pt x="792682" y="2105371"/>
                  <a:pt x="795949" y="2107264"/>
                  <a:pt x="799909" y="2108406"/>
                </a:cubicBezTo>
                <a:cubicBezTo>
                  <a:pt x="803868" y="2109549"/>
                  <a:pt x="807070" y="2113319"/>
                  <a:pt x="807818" y="2117332"/>
                </a:cubicBezTo>
                <a:cubicBezTo>
                  <a:pt x="808253" y="2120778"/>
                  <a:pt x="809067" y="2122911"/>
                  <a:pt x="811328" y="2124987"/>
                </a:cubicBezTo>
                <a:cubicBezTo>
                  <a:pt x="809811" y="2130243"/>
                  <a:pt x="808294" y="2135499"/>
                  <a:pt x="806777" y="2140755"/>
                </a:cubicBezTo>
                <a:cubicBezTo>
                  <a:pt x="801745" y="2141675"/>
                  <a:pt x="797213" y="2144163"/>
                  <a:pt x="794316" y="2147596"/>
                </a:cubicBezTo>
                <a:cubicBezTo>
                  <a:pt x="791106" y="2150466"/>
                  <a:pt x="788207" y="2153899"/>
                  <a:pt x="784870" y="2157207"/>
                </a:cubicBezTo>
                <a:cubicBezTo>
                  <a:pt x="781659" y="2160075"/>
                  <a:pt x="778321" y="2163383"/>
                  <a:pt x="776618" y="2167635"/>
                </a:cubicBezTo>
                <a:cubicBezTo>
                  <a:pt x="774599" y="2171324"/>
                  <a:pt x="771454" y="2172313"/>
                  <a:pt x="767743" y="2173615"/>
                </a:cubicBezTo>
                <a:cubicBezTo>
                  <a:pt x="764031" y="2174916"/>
                  <a:pt x="759758" y="2173208"/>
                  <a:pt x="756672" y="2175639"/>
                </a:cubicBezTo>
                <a:cubicBezTo>
                  <a:pt x="753593" y="2174749"/>
                  <a:pt x="750953" y="2173988"/>
                  <a:pt x="747873" y="2173099"/>
                </a:cubicBezTo>
                <a:cubicBezTo>
                  <a:pt x="748253" y="2171785"/>
                  <a:pt x="747939" y="2171220"/>
                  <a:pt x="747060" y="2170966"/>
                </a:cubicBezTo>
                <a:cubicBezTo>
                  <a:pt x="740460" y="2169062"/>
                  <a:pt x="738204" y="2163665"/>
                  <a:pt x="737522" y="2157775"/>
                </a:cubicBezTo>
                <a:cubicBezTo>
                  <a:pt x="736713" y="2152322"/>
                  <a:pt x="735337" y="2147180"/>
                  <a:pt x="737860" y="2141740"/>
                </a:cubicBezTo>
                <a:cubicBezTo>
                  <a:pt x="740950" y="2135989"/>
                  <a:pt x="742407" y="2129293"/>
                  <a:pt x="749076" y="2125999"/>
                </a:cubicBezTo>
                <a:cubicBezTo>
                  <a:pt x="751342" y="2124754"/>
                  <a:pt x="753481" y="2123948"/>
                  <a:pt x="756814" y="2123961"/>
                </a:cubicBezTo>
                <a:cubicBezTo>
                  <a:pt x="761593" y="2123917"/>
                  <a:pt x="767503" y="2123251"/>
                  <a:pt x="768207" y="2115861"/>
                </a:cubicBezTo>
                <a:cubicBezTo>
                  <a:pt x="768525" y="2113107"/>
                  <a:pt x="771418" y="2112993"/>
                  <a:pt x="772237" y="2111806"/>
                </a:cubicBezTo>
                <a:cubicBezTo>
                  <a:pt x="776459" y="2105433"/>
                  <a:pt x="782624" y="2103891"/>
                  <a:pt x="788976" y="2103352"/>
                </a:cubicBezTo>
                <a:close/>
                <a:moveTo>
                  <a:pt x="417319" y="2085489"/>
                </a:moveTo>
                <a:cubicBezTo>
                  <a:pt x="419666" y="2087364"/>
                  <a:pt x="421728" y="2087779"/>
                  <a:pt x="425121" y="2086067"/>
                </a:cubicBezTo>
                <a:cubicBezTo>
                  <a:pt x="429861" y="2083801"/>
                  <a:pt x="434523" y="2084408"/>
                  <a:pt x="437822" y="2089362"/>
                </a:cubicBezTo>
                <a:cubicBezTo>
                  <a:pt x="439090" y="2091680"/>
                  <a:pt x="440755" y="2090364"/>
                  <a:pt x="442372" y="2089699"/>
                </a:cubicBezTo>
                <a:cubicBezTo>
                  <a:pt x="445068" y="2088591"/>
                  <a:pt x="446050" y="2089448"/>
                  <a:pt x="445052" y="2092383"/>
                </a:cubicBezTo>
                <a:cubicBezTo>
                  <a:pt x="443689" y="2096731"/>
                  <a:pt x="444577" y="2098889"/>
                  <a:pt x="449493" y="2097814"/>
                </a:cubicBezTo>
                <a:cubicBezTo>
                  <a:pt x="450681" y="2097640"/>
                  <a:pt x="452362" y="2097896"/>
                  <a:pt x="451458" y="2099529"/>
                </a:cubicBezTo>
                <a:cubicBezTo>
                  <a:pt x="449398" y="2104479"/>
                  <a:pt x="452553" y="2106021"/>
                  <a:pt x="456090" y="2107722"/>
                </a:cubicBezTo>
                <a:cubicBezTo>
                  <a:pt x="456739" y="2107770"/>
                  <a:pt x="457184" y="2108850"/>
                  <a:pt x="457406" y="2109390"/>
                </a:cubicBezTo>
                <a:cubicBezTo>
                  <a:pt x="456297" y="2117419"/>
                  <a:pt x="454538" y="2125401"/>
                  <a:pt x="453159" y="2133541"/>
                </a:cubicBezTo>
                <a:cubicBezTo>
                  <a:pt x="452494" y="2137286"/>
                  <a:pt x="448038" y="2141012"/>
                  <a:pt x="444550" y="2144024"/>
                </a:cubicBezTo>
                <a:cubicBezTo>
                  <a:pt x="443155" y="2145229"/>
                  <a:pt x="441426" y="2145624"/>
                  <a:pt x="440745" y="2147799"/>
                </a:cubicBezTo>
                <a:cubicBezTo>
                  <a:pt x="440064" y="2149972"/>
                  <a:pt x="438336" y="2150367"/>
                  <a:pt x="436274" y="2149954"/>
                </a:cubicBezTo>
                <a:cubicBezTo>
                  <a:pt x="434974" y="2149857"/>
                  <a:pt x="433182" y="2149332"/>
                  <a:pt x="432437" y="2150585"/>
                </a:cubicBezTo>
                <a:cubicBezTo>
                  <a:pt x="430312" y="2154615"/>
                  <a:pt x="427998" y="2155883"/>
                  <a:pt x="424605" y="2152229"/>
                </a:cubicBezTo>
                <a:cubicBezTo>
                  <a:pt x="423890" y="2151260"/>
                  <a:pt x="422162" y="2151656"/>
                  <a:pt x="421798" y="2153068"/>
                </a:cubicBezTo>
                <a:cubicBezTo>
                  <a:pt x="420276" y="2157797"/>
                  <a:pt x="417374" y="2154573"/>
                  <a:pt x="414996" y="2154920"/>
                </a:cubicBezTo>
                <a:cubicBezTo>
                  <a:pt x="406941" y="2156025"/>
                  <a:pt x="405656" y="2146771"/>
                  <a:pt x="398933" y="2145750"/>
                </a:cubicBezTo>
                <a:cubicBezTo>
                  <a:pt x="396602" y="2145446"/>
                  <a:pt x="395841" y="2139765"/>
                  <a:pt x="395111" y="2137225"/>
                </a:cubicBezTo>
                <a:cubicBezTo>
                  <a:pt x="393588" y="2131224"/>
                  <a:pt x="387308" y="2125918"/>
                  <a:pt x="391889" y="2118669"/>
                </a:cubicBezTo>
                <a:cubicBezTo>
                  <a:pt x="392635" y="2117416"/>
                  <a:pt x="393317" y="2115243"/>
                  <a:pt x="392428" y="2113084"/>
                </a:cubicBezTo>
                <a:cubicBezTo>
                  <a:pt x="390937" y="2110226"/>
                  <a:pt x="391889" y="2107941"/>
                  <a:pt x="394631" y="2106182"/>
                </a:cubicBezTo>
                <a:cubicBezTo>
                  <a:pt x="396296" y="2104866"/>
                  <a:pt x="396819" y="2103073"/>
                  <a:pt x="397612" y="2101170"/>
                </a:cubicBezTo>
                <a:cubicBezTo>
                  <a:pt x="399403" y="2096330"/>
                  <a:pt x="402510" y="2093159"/>
                  <a:pt x="407917" y="2092512"/>
                </a:cubicBezTo>
                <a:cubicBezTo>
                  <a:pt x="410946" y="2092213"/>
                  <a:pt x="413578" y="2090185"/>
                  <a:pt x="414085" y="2086820"/>
                </a:cubicBezTo>
                <a:cubicBezTo>
                  <a:pt x="415163" y="2086377"/>
                  <a:pt x="416241" y="2085932"/>
                  <a:pt x="417319" y="2085489"/>
                </a:cubicBezTo>
                <a:close/>
                <a:moveTo>
                  <a:pt x="2928371" y="2079100"/>
                </a:moveTo>
                <a:lnTo>
                  <a:pt x="2928081" y="2080134"/>
                </a:lnTo>
                <a:lnTo>
                  <a:pt x="2928529" y="2079961"/>
                </a:lnTo>
                <a:close/>
                <a:moveTo>
                  <a:pt x="2913905" y="2070337"/>
                </a:moveTo>
                <a:lnTo>
                  <a:pt x="2786679" y="2116909"/>
                </a:lnTo>
                <a:lnTo>
                  <a:pt x="2611391" y="2210073"/>
                </a:lnTo>
                <a:cubicBezTo>
                  <a:pt x="2578870" y="2230472"/>
                  <a:pt x="2544402" y="2248211"/>
                  <a:pt x="2511632" y="2267156"/>
                </a:cubicBezTo>
                <a:cubicBezTo>
                  <a:pt x="2508960" y="2269103"/>
                  <a:pt x="2506475" y="2272139"/>
                  <a:pt x="2503744" y="2273718"/>
                </a:cubicBezTo>
                <a:lnTo>
                  <a:pt x="2500035" y="2272853"/>
                </a:lnTo>
                <a:lnTo>
                  <a:pt x="2449168" y="2306321"/>
                </a:lnTo>
                <a:lnTo>
                  <a:pt x="2493695" y="2270016"/>
                </a:lnTo>
                <a:lnTo>
                  <a:pt x="2489686" y="2261287"/>
                </a:lnTo>
                <a:cubicBezTo>
                  <a:pt x="2489836" y="2257705"/>
                  <a:pt x="2491472" y="2254061"/>
                  <a:pt x="2493900" y="2250665"/>
                </a:cubicBezTo>
                <a:cubicBezTo>
                  <a:pt x="2504819" y="2235363"/>
                  <a:pt x="2519381" y="2223949"/>
                  <a:pt x="2534675" y="2216903"/>
                </a:cubicBezTo>
                <a:cubicBezTo>
                  <a:pt x="2578605" y="2193093"/>
                  <a:pt x="2621693" y="2166426"/>
                  <a:pt x="2666296" y="2142124"/>
                </a:cubicBezTo>
                <a:lnTo>
                  <a:pt x="2724658" y="2113068"/>
                </a:lnTo>
                <a:lnTo>
                  <a:pt x="2726147" y="2112178"/>
                </a:lnTo>
                <a:lnTo>
                  <a:pt x="2729836" y="2110490"/>
                </a:lnTo>
                <a:lnTo>
                  <a:pt x="2734632" y="2108102"/>
                </a:lnTo>
                <a:lnTo>
                  <a:pt x="2736718" y="2107336"/>
                </a:lnTo>
                <a:lnTo>
                  <a:pt x="2801923" y="2077462"/>
                </a:lnTo>
                <a:lnTo>
                  <a:pt x="2798871" y="2075023"/>
                </a:lnTo>
                <a:cubicBezTo>
                  <a:pt x="2795907" y="2073811"/>
                  <a:pt x="2792743" y="2073357"/>
                  <a:pt x="2789511" y="2073055"/>
                </a:cubicBezTo>
                <a:lnTo>
                  <a:pt x="2785162" y="2071955"/>
                </a:lnTo>
                <a:lnTo>
                  <a:pt x="2692598" y="2107276"/>
                </a:lnTo>
                <a:lnTo>
                  <a:pt x="2492106" y="2212288"/>
                </a:lnTo>
                <a:lnTo>
                  <a:pt x="2469378" y="2225334"/>
                </a:lnTo>
                <a:cubicBezTo>
                  <a:pt x="2464045" y="2228755"/>
                  <a:pt x="2458847" y="2232998"/>
                  <a:pt x="2452624" y="2236148"/>
                </a:cubicBezTo>
                <a:lnTo>
                  <a:pt x="2448781" y="2236860"/>
                </a:lnTo>
                <a:lnTo>
                  <a:pt x="2243250" y="2383592"/>
                </a:lnTo>
                <a:cubicBezTo>
                  <a:pt x="2174582" y="2440217"/>
                  <a:pt x="2109111" y="2502276"/>
                  <a:pt x="2046942" y="2569962"/>
                </a:cubicBezTo>
                <a:lnTo>
                  <a:pt x="1962364" y="2675535"/>
                </a:lnTo>
                <a:lnTo>
                  <a:pt x="1906914" y="2764553"/>
                </a:lnTo>
                <a:lnTo>
                  <a:pt x="1916101" y="2766945"/>
                </a:lnTo>
                <a:cubicBezTo>
                  <a:pt x="1919416" y="2767942"/>
                  <a:pt x="1922351" y="2769689"/>
                  <a:pt x="1923876" y="2774054"/>
                </a:cubicBezTo>
                <a:cubicBezTo>
                  <a:pt x="1924435" y="2775523"/>
                  <a:pt x="1925813" y="2777559"/>
                  <a:pt x="1928232" y="2778255"/>
                </a:cubicBezTo>
                <a:cubicBezTo>
                  <a:pt x="1931646" y="2778915"/>
                  <a:pt x="1932937" y="2781250"/>
                  <a:pt x="1932583" y="2784745"/>
                </a:cubicBezTo>
                <a:cubicBezTo>
                  <a:pt x="1932577" y="2787037"/>
                  <a:pt x="1933740" y="2788679"/>
                  <a:pt x="1934817" y="2790626"/>
                </a:cubicBezTo>
                <a:cubicBezTo>
                  <a:pt x="1937701" y="2795383"/>
                  <a:pt x="1938296" y="2800135"/>
                  <a:pt x="1935215" y="2805133"/>
                </a:cubicBezTo>
                <a:cubicBezTo>
                  <a:pt x="1933436" y="2807892"/>
                  <a:pt x="1933385" y="2811477"/>
                  <a:pt x="1935885" y="2814162"/>
                </a:cubicBezTo>
                <a:cubicBezTo>
                  <a:pt x="1935536" y="2815369"/>
                  <a:pt x="1935187" y="2816577"/>
                  <a:pt x="1934839" y="2817784"/>
                </a:cubicBezTo>
                <a:cubicBezTo>
                  <a:pt x="1931681" y="2818511"/>
                  <a:pt x="1929949" y="2819971"/>
                  <a:pt x="1929118" y="2823988"/>
                </a:cubicBezTo>
                <a:cubicBezTo>
                  <a:pt x="1927852" y="2829511"/>
                  <a:pt x="1924212" y="2833040"/>
                  <a:pt x="1917816" y="2832503"/>
                </a:cubicBezTo>
                <a:cubicBezTo>
                  <a:pt x="1915007" y="2832020"/>
                  <a:pt x="1915002" y="2834307"/>
                  <a:pt x="1914478" y="2836120"/>
                </a:cubicBezTo>
                <a:cubicBezTo>
                  <a:pt x="1913607" y="2839140"/>
                  <a:pt x="1912223" y="2839394"/>
                  <a:pt x="1910415" y="2836582"/>
                </a:cubicBezTo>
                <a:cubicBezTo>
                  <a:pt x="1907658" y="2832514"/>
                  <a:pt x="1905239" y="2831817"/>
                  <a:pt x="1902850" y="2836690"/>
                </a:cubicBezTo>
                <a:cubicBezTo>
                  <a:pt x="1902199" y="2837809"/>
                  <a:pt x="1900856" y="2839057"/>
                  <a:pt x="1900081" y="2837199"/>
                </a:cubicBezTo>
                <a:cubicBezTo>
                  <a:pt x="1897284" y="2832138"/>
                  <a:pt x="1893866" y="2833769"/>
                  <a:pt x="1890057" y="2835614"/>
                </a:cubicBezTo>
                <a:cubicBezTo>
                  <a:pt x="1889580" y="2836131"/>
                  <a:pt x="1888371" y="2835782"/>
                  <a:pt x="1887766" y="2835606"/>
                </a:cubicBezTo>
                <a:lnTo>
                  <a:pt x="1874439" y="2820576"/>
                </a:lnTo>
                <a:lnTo>
                  <a:pt x="1816290" y="2931799"/>
                </a:lnTo>
                <a:cubicBezTo>
                  <a:pt x="1803441" y="2955880"/>
                  <a:pt x="1786486" y="2975588"/>
                  <a:pt x="1796624" y="3005951"/>
                </a:cubicBezTo>
                <a:cubicBezTo>
                  <a:pt x="1802925" y="3023459"/>
                  <a:pt x="1789253" y="3042622"/>
                  <a:pt x="1782147" y="3060683"/>
                </a:cubicBezTo>
                <a:cubicBezTo>
                  <a:pt x="1738687" y="3154003"/>
                  <a:pt x="1707812" y="3251973"/>
                  <a:pt x="1678581" y="3349644"/>
                </a:cubicBezTo>
                <a:cubicBezTo>
                  <a:pt x="1676395" y="3356758"/>
                  <a:pt x="1673935" y="3362235"/>
                  <a:pt x="1680232" y="3369607"/>
                </a:cubicBezTo>
                <a:cubicBezTo>
                  <a:pt x="1693913" y="3370689"/>
                  <a:pt x="1693360" y="3357309"/>
                  <a:pt x="1695544" y="3350186"/>
                </a:cubicBezTo>
                <a:cubicBezTo>
                  <a:pt x="1737612" y="3198058"/>
                  <a:pt x="1799931" y="3056026"/>
                  <a:pt x="1871279" y="2917548"/>
                </a:cubicBezTo>
                <a:cubicBezTo>
                  <a:pt x="1873739" y="2912077"/>
                  <a:pt x="1876200" y="2906600"/>
                  <a:pt x="1878660" y="2901129"/>
                </a:cubicBezTo>
                <a:cubicBezTo>
                  <a:pt x="1882486" y="2893743"/>
                  <a:pt x="1888505" y="2889363"/>
                  <a:pt x="1896443" y="2896470"/>
                </a:cubicBezTo>
                <a:cubicBezTo>
                  <a:pt x="1907389" y="2901389"/>
                  <a:pt x="1903289" y="2907136"/>
                  <a:pt x="1899460" y="2914527"/>
                </a:cubicBezTo>
                <a:cubicBezTo>
                  <a:pt x="1883672" y="2941204"/>
                  <a:pt x="1869489" y="2968676"/>
                  <a:pt x="1856399" y="2996673"/>
                </a:cubicBezTo>
                <a:lnTo>
                  <a:pt x="1842847" y="3028340"/>
                </a:lnTo>
                <a:lnTo>
                  <a:pt x="1918347" y="2898251"/>
                </a:lnTo>
                <a:cubicBezTo>
                  <a:pt x="1986213" y="2796470"/>
                  <a:pt x="2062849" y="2701986"/>
                  <a:pt x="2146913" y="2615572"/>
                </a:cubicBezTo>
                <a:lnTo>
                  <a:pt x="2258301" y="2510965"/>
                </a:lnTo>
                <a:lnTo>
                  <a:pt x="2255458" y="2505845"/>
                </a:lnTo>
                <a:cubicBezTo>
                  <a:pt x="2257595" y="2498443"/>
                  <a:pt x="2259731" y="2491042"/>
                  <a:pt x="2261869" y="2483641"/>
                </a:cubicBezTo>
                <a:cubicBezTo>
                  <a:pt x="2266120" y="2482864"/>
                  <a:pt x="2268690" y="2480933"/>
                  <a:pt x="2271795" y="2477152"/>
                </a:cubicBezTo>
                <a:cubicBezTo>
                  <a:pt x="2275698" y="2472933"/>
                  <a:pt x="2282342" y="2470841"/>
                  <a:pt x="2287918" y="2472452"/>
                </a:cubicBezTo>
                <a:lnTo>
                  <a:pt x="2301286" y="2474185"/>
                </a:lnTo>
                <a:lnTo>
                  <a:pt x="2419981" y="2381321"/>
                </a:lnTo>
                <a:lnTo>
                  <a:pt x="2465133" y="2352297"/>
                </a:lnTo>
                <a:lnTo>
                  <a:pt x="2467644" y="2350295"/>
                </a:lnTo>
                <a:lnTo>
                  <a:pt x="2490292" y="2327626"/>
                </a:lnTo>
                <a:lnTo>
                  <a:pt x="2570884" y="2279342"/>
                </a:lnTo>
                <a:lnTo>
                  <a:pt x="2696123" y="2197560"/>
                </a:lnTo>
                <a:lnTo>
                  <a:pt x="2908966" y="2087852"/>
                </a:lnTo>
                <a:close/>
                <a:moveTo>
                  <a:pt x="11560177" y="2006425"/>
                </a:moveTo>
                <a:cubicBezTo>
                  <a:pt x="11558270" y="2006397"/>
                  <a:pt x="11555804" y="2006328"/>
                  <a:pt x="11555082" y="2008521"/>
                </a:cubicBezTo>
                <a:cubicBezTo>
                  <a:pt x="11554360" y="2010714"/>
                  <a:pt x="11554618" y="2013318"/>
                  <a:pt x="11556865" y="2014831"/>
                </a:cubicBezTo>
                <a:cubicBezTo>
                  <a:pt x="11558132" y="2015936"/>
                  <a:pt x="11559862" y="2016849"/>
                  <a:pt x="11561360" y="2017859"/>
                </a:cubicBezTo>
                <a:cubicBezTo>
                  <a:pt x="11563091" y="2018773"/>
                  <a:pt x="11564358" y="2019878"/>
                  <a:pt x="11563445" y="2021607"/>
                </a:cubicBezTo>
                <a:lnTo>
                  <a:pt x="11559370" y="2022540"/>
                </a:lnTo>
                <a:lnTo>
                  <a:pt x="11594267" y="2059689"/>
                </a:lnTo>
                <a:lnTo>
                  <a:pt x="11633896" y="2110568"/>
                </a:lnTo>
                <a:lnTo>
                  <a:pt x="11637471" y="2108321"/>
                </a:lnTo>
                <a:cubicBezTo>
                  <a:pt x="11644016" y="2104366"/>
                  <a:pt x="11650724" y="2105395"/>
                  <a:pt x="11657749" y="2105662"/>
                </a:cubicBezTo>
                <a:cubicBezTo>
                  <a:pt x="11665310" y="2105709"/>
                  <a:pt x="11672463" y="2107817"/>
                  <a:pt x="11675795" y="2115917"/>
                </a:cubicBezTo>
                <a:lnTo>
                  <a:pt x="11676909" y="2116208"/>
                </a:lnTo>
                <a:lnTo>
                  <a:pt x="11655760" y="2090118"/>
                </a:lnTo>
                <a:lnTo>
                  <a:pt x="11605617" y="2037144"/>
                </a:lnTo>
                <a:lnTo>
                  <a:pt x="11602251" y="2037612"/>
                </a:lnTo>
                <a:cubicBezTo>
                  <a:pt x="11599990" y="2039355"/>
                  <a:pt x="11597783" y="2037282"/>
                  <a:pt x="11596654" y="2035851"/>
                </a:cubicBezTo>
                <a:cubicBezTo>
                  <a:pt x="11592090" y="2030684"/>
                  <a:pt x="11587009" y="2029523"/>
                  <a:pt x="11580702" y="2031306"/>
                </a:cubicBezTo>
                <a:cubicBezTo>
                  <a:pt x="11576807" y="2032366"/>
                  <a:pt x="11575540" y="2031262"/>
                  <a:pt x="11576330" y="2026602"/>
                </a:cubicBezTo>
                <a:cubicBezTo>
                  <a:pt x="11577952" y="2016723"/>
                  <a:pt x="11569714" y="2006566"/>
                  <a:pt x="11560177" y="2006425"/>
                </a:cubicBezTo>
                <a:close/>
                <a:moveTo>
                  <a:pt x="1930371" y="2003698"/>
                </a:moveTo>
                <a:lnTo>
                  <a:pt x="1926029" y="2007512"/>
                </a:lnTo>
                <a:cubicBezTo>
                  <a:pt x="1926617" y="2005319"/>
                  <a:pt x="1928009" y="2004516"/>
                  <a:pt x="1929948" y="2003860"/>
                </a:cubicBezTo>
                <a:close/>
                <a:moveTo>
                  <a:pt x="3140180" y="1998474"/>
                </a:moveTo>
                <a:lnTo>
                  <a:pt x="2973305" y="2049522"/>
                </a:lnTo>
                <a:lnTo>
                  <a:pt x="2971125" y="2063043"/>
                </a:lnTo>
                <a:lnTo>
                  <a:pt x="2970922" y="2063638"/>
                </a:lnTo>
                <a:close/>
                <a:moveTo>
                  <a:pt x="701131" y="1980273"/>
                </a:moveTo>
                <a:cubicBezTo>
                  <a:pt x="704031" y="1981807"/>
                  <a:pt x="706199" y="1980459"/>
                  <a:pt x="708848" y="1980279"/>
                </a:cubicBezTo>
                <a:cubicBezTo>
                  <a:pt x="715468" y="1979827"/>
                  <a:pt x="723799" y="1979126"/>
                  <a:pt x="728274" y="1982282"/>
                </a:cubicBezTo>
                <a:cubicBezTo>
                  <a:pt x="737931" y="1989213"/>
                  <a:pt x="747816" y="1995595"/>
                  <a:pt x="757085" y="2002685"/>
                </a:cubicBezTo>
                <a:cubicBezTo>
                  <a:pt x="757405" y="2003463"/>
                  <a:pt x="758044" y="2005017"/>
                  <a:pt x="757428" y="2005725"/>
                </a:cubicBezTo>
                <a:cubicBezTo>
                  <a:pt x="755534" y="2011047"/>
                  <a:pt x="753867" y="2015820"/>
                  <a:pt x="760991" y="2018797"/>
                </a:cubicBezTo>
                <a:cubicBezTo>
                  <a:pt x="763570" y="2019553"/>
                  <a:pt x="762109" y="2021517"/>
                  <a:pt x="760717" y="2022544"/>
                </a:cubicBezTo>
                <a:cubicBezTo>
                  <a:pt x="754599" y="2026424"/>
                  <a:pt x="755878" y="2029531"/>
                  <a:pt x="761677" y="2032597"/>
                </a:cubicBezTo>
                <a:cubicBezTo>
                  <a:pt x="765672" y="2034589"/>
                  <a:pt x="765535" y="2036463"/>
                  <a:pt x="761655" y="2038059"/>
                </a:cubicBezTo>
                <a:cubicBezTo>
                  <a:pt x="759326" y="2039016"/>
                  <a:pt x="756290" y="2039356"/>
                  <a:pt x="757340" y="2043013"/>
                </a:cubicBezTo>
                <a:cubicBezTo>
                  <a:pt x="758986" y="2051423"/>
                  <a:pt x="754831" y="2056766"/>
                  <a:pt x="747686" y="2059251"/>
                </a:cubicBezTo>
                <a:cubicBezTo>
                  <a:pt x="742482" y="2060938"/>
                  <a:pt x="740793" y="2063450"/>
                  <a:pt x="740291" y="2067745"/>
                </a:cubicBezTo>
                <a:cubicBezTo>
                  <a:pt x="738739" y="2068384"/>
                  <a:pt x="737187" y="2069022"/>
                  <a:pt x="735634" y="2069661"/>
                </a:cubicBezTo>
                <a:cubicBezTo>
                  <a:pt x="731707" y="2066732"/>
                  <a:pt x="726959" y="2067323"/>
                  <a:pt x="723558" y="2070085"/>
                </a:cubicBezTo>
                <a:cubicBezTo>
                  <a:pt x="717373" y="2074902"/>
                  <a:pt x="710981" y="2074805"/>
                  <a:pt x="704246" y="2071669"/>
                </a:cubicBezTo>
                <a:cubicBezTo>
                  <a:pt x="701507" y="2070524"/>
                  <a:pt x="699155" y="2069220"/>
                  <a:pt x="696119" y="2069560"/>
                </a:cubicBezTo>
                <a:cubicBezTo>
                  <a:pt x="691531" y="2070540"/>
                  <a:pt x="688244" y="2069166"/>
                  <a:pt x="686874" y="2064733"/>
                </a:cubicBezTo>
                <a:cubicBezTo>
                  <a:pt x="685595" y="2061624"/>
                  <a:pt x="682695" y="2060091"/>
                  <a:pt x="680664" y="2059564"/>
                </a:cubicBezTo>
                <a:cubicBezTo>
                  <a:pt x="668633" y="2056789"/>
                  <a:pt x="669682" y="2045001"/>
                  <a:pt x="665161" y="2037320"/>
                </a:cubicBezTo>
                <a:cubicBezTo>
                  <a:pt x="663335" y="2033982"/>
                  <a:pt x="658357" y="2027399"/>
                  <a:pt x="660434" y="2024726"/>
                </a:cubicBezTo>
                <a:cubicBezTo>
                  <a:pt x="666278" y="2016872"/>
                  <a:pt x="658218" y="2006104"/>
                  <a:pt x="667577" y="1999073"/>
                </a:cubicBezTo>
                <a:cubicBezTo>
                  <a:pt x="670362" y="1997020"/>
                  <a:pt x="670064" y="1990782"/>
                  <a:pt x="676411" y="1994076"/>
                </a:cubicBezTo>
                <a:cubicBezTo>
                  <a:pt x="678214" y="1995152"/>
                  <a:pt x="680383" y="1993806"/>
                  <a:pt x="680132" y="1992092"/>
                </a:cubicBezTo>
                <a:cubicBezTo>
                  <a:pt x="679902" y="1984917"/>
                  <a:pt x="683555" y="1983869"/>
                  <a:pt x="689810" y="1985838"/>
                </a:cubicBezTo>
                <a:cubicBezTo>
                  <a:pt x="691842" y="1986366"/>
                  <a:pt x="693142" y="1984013"/>
                  <a:pt x="694375" y="1982598"/>
                </a:cubicBezTo>
                <a:cubicBezTo>
                  <a:pt x="696064" y="1980086"/>
                  <a:pt x="698232" y="1978740"/>
                  <a:pt x="701131" y="1980273"/>
                </a:cubicBezTo>
                <a:close/>
                <a:moveTo>
                  <a:pt x="11975466" y="1973253"/>
                </a:moveTo>
                <a:cubicBezTo>
                  <a:pt x="11978297" y="1974750"/>
                  <a:pt x="11980415" y="1973436"/>
                  <a:pt x="11983000" y="1973258"/>
                </a:cubicBezTo>
                <a:cubicBezTo>
                  <a:pt x="11989466" y="1972818"/>
                  <a:pt x="11997602" y="1972133"/>
                  <a:pt x="12001971" y="1975215"/>
                </a:cubicBezTo>
                <a:cubicBezTo>
                  <a:pt x="12011401" y="1981983"/>
                  <a:pt x="12021054" y="1988216"/>
                  <a:pt x="12030106" y="1995139"/>
                </a:cubicBezTo>
                <a:cubicBezTo>
                  <a:pt x="12030419" y="1995898"/>
                  <a:pt x="12031042" y="1997416"/>
                  <a:pt x="12030440" y="1998107"/>
                </a:cubicBezTo>
                <a:cubicBezTo>
                  <a:pt x="12028592" y="2003304"/>
                  <a:pt x="12026964" y="2007966"/>
                  <a:pt x="12033919" y="2010872"/>
                </a:cubicBezTo>
                <a:cubicBezTo>
                  <a:pt x="12036439" y="2011610"/>
                  <a:pt x="12035012" y="2013528"/>
                  <a:pt x="12033652" y="2014531"/>
                </a:cubicBezTo>
                <a:cubicBezTo>
                  <a:pt x="12027679" y="2018319"/>
                  <a:pt x="12028927" y="2021355"/>
                  <a:pt x="12034590" y="2024349"/>
                </a:cubicBezTo>
                <a:cubicBezTo>
                  <a:pt x="12038492" y="2026293"/>
                  <a:pt x="12038357" y="2028122"/>
                  <a:pt x="12034568" y="2029682"/>
                </a:cubicBezTo>
                <a:cubicBezTo>
                  <a:pt x="12032294" y="2030618"/>
                  <a:pt x="12029329" y="2030949"/>
                  <a:pt x="12030355" y="2034520"/>
                </a:cubicBezTo>
                <a:cubicBezTo>
                  <a:pt x="12031962" y="2042732"/>
                  <a:pt x="12027905" y="2047950"/>
                  <a:pt x="12020928" y="2050376"/>
                </a:cubicBezTo>
                <a:cubicBezTo>
                  <a:pt x="12015845" y="2052024"/>
                  <a:pt x="12014196" y="2054477"/>
                  <a:pt x="12013707" y="2058670"/>
                </a:cubicBezTo>
                <a:cubicBezTo>
                  <a:pt x="12012190" y="2059294"/>
                  <a:pt x="12010675" y="2059918"/>
                  <a:pt x="12009158" y="2060541"/>
                </a:cubicBezTo>
                <a:cubicBezTo>
                  <a:pt x="12005325" y="2057682"/>
                  <a:pt x="12000687" y="2058259"/>
                  <a:pt x="11997366" y="2060956"/>
                </a:cubicBezTo>
                <a:cubicBezTo>
                  <a:pt x="11991325" y="2065660"/>
                  <a:pt x="11985083" y="2065566"/>
                  <a:pt x="11978508" y="2062503"/>
                </a:cubicBezTo>
                <a:cubicBezTo>
                  <a:pt x="11975833" y="2061386"/>
                  <a:pt x="11973536" y="2060112"/>
                  <a:pt x="11970571" y="2060444"/>
                </a:cubicBezTo>
                <a:cubicBezTo>
                  <a:pt x="11966090" y="2061400"/>
                  <a:pt x="11962880" y="2060060"/>
                  <a:pt x="11961543" y="2055730"/>
                </a:cubicBezTo>
                <a:cubicBezTo>
                  <a:pt x="11960293" y="2052694"/>
                  <a:pt x="11957463" y="2051196"/>
                  <a:pt x="11955479" y="2050683"/>
                </a:cubicBezTo>
                <a:cubicBezTo>
                  <a:pt x="11943730" y="2047973"/>
                  <a:pt x="11944755" y="2036461"/>
                  <a:pt x="11940339" y="2028960"/>
                </a:cubicBezTo>
                <a:cubicBezTo>
                  <a:pt x="11938557" y="2025702"/>
                  <a:pt x="11933696" y="2019272"/>
                  <a:pt x="11935724" y="2016663"/>
                </a:cubicBezTo>
                <a:cubicBezTo>
                  <a:pt x="11941431" y="2008992"/>
                  <a:pt x="11933559" y="1998477"/>
                  <a:pt x="11942699" y="1991612"/>
                </a:cubicBezTo>
                <a:cubicBezTo>
                  <a:pt x="11945418" y="1989606"/>
                  <a:pt x="11945128" y="1983515"/>
                  <a:pt x="11951325" y="1986732"/>
                </a:cubicBezTo>
                <a:cubicBezTo>
                  <a:pt x="11953086" y="1987782"/>
                  <a:pt x="11955205" y="1986468"/>
                  <a:pt x="11954958" y="1984794"/>
                </a:cubicBezTo>
                <a:cubicBezTo>
                  <a:pt x="11954735" y="1977788"/>
                  <a:pt x="11958301" y="1976765"/>
                  <a:pt x="11964410" y="1978688"/>
                </a:cubicBezTo>
                <a:cubicBezTo>
                  <a:pt x="11966395" y="1979203"/>
                  <a:pt x="11967664" y="1976905"/>
                  <a:pt x="11968868" y="1975523"/>
                </a:cubicBezTo>
                <a:cubicBezTo>
                  <a:pt x="11970517" y="1973071"/>
                  <a:pt x="11972634" y="1971756"/>
                  <a:pt x="11975466" y="1973253"/>
                </a:cubicBezTo>
                <a:close/>
                <a:moveTo>
                  <a:pt x="1188836" y="1948646"/>
                </a:moveTo>
                <a:cubicBezTo>
                  <a:pt x="1193640" y="1949973"/>
                  <a:pt x="1198333" y="1952506"/>
                  <a:pt x="1203092" y="1953172"/>
                </a:cubicBezTo>
                <a:cubicBezTo>
                  <a:pt x="1207136" y="1953869"/>
                  <a:pt x="1216034" y="1954082"/>
                  <a:pt x="1216898" y="1957628"/>
                </a:cubicBezTo>
                <a:cubicBezTo>
                  <a:pt x="1219612" y="1967831"/>
                  <a:pt x="1234111" y="1968248"/>
                  <a:pt x="1233770" y="1980866"/>
                </a:cubicBezTo>
                <a:cubicBezTo>
                  <a:pt x="1233637" y="1984596"/>
                  <a:pt x="1239104" y="1988529"/>
                  <a:pt x="1232064" y="1991678"/>
                </a:cubicBezTo>
                <a:cubicBezTo>
                  <a:pt x="1229946" y="1992480"/>
                  <a:pt x="1229628" y="1995214"/>
                  <a:pt x="1231245" y="1996151"/>
                </a:cubicBezTo>
                <a:cubicBezTo>
                  <a:pt x="1237457" y="2000770"/>
                  <a:pt x="1235893" y="2004559"/>
                  <a:pt x="1230033" y="2008518"/>
                </a:cubicBezTo>
                <a:cubicBezTo>
                  <a:pt x="1228225" y="2009881"/>
                  <a:pt x="1229339" y="2012557"/>
                  <a:pt x="1229708" y="2014547"/>
                </a:cubicBezTo>
                <a:cubicBezTo>
                  <a:pt x="1230696" y="2017658"/>
                  <a:pt x="1230378" y="2020393"/>
                  <a:pt x="1227139" y="2021813"/>
                </a:cubicBezTo>
                <a:cubicBezTo>
                  <a:pt x="1223900" y="2023233"/>
                  <a:pt x="1223582" y="2025967"/>
                  <a:pt x="1221958" y="2028324"/>
                </a:cubicBezTo>
                <a:cubicBezTo>
                  <a:pt x="1217899" y="2034217"/>
                  <a:pt x="1212903" y="2041725"/>
                  <a:pt x="1207236" y="2043387"/>
                </a:cubicBezTo>
                <a:cubicBezTo>
                  <a:pt x="1194905" y="2046892"/>
                  <a:pt x="1182885" y="2050958"/>
                  <a:pt x="1170679" y="2054030"/>
                </a:cubicBezTo>
                <a:cubicBezTo>
                  <a:pt x="1169809" y="2053779"/>
                  <a:pt x="1168067" y="2053275"/>
                  <a:pt x="1167883" y="2052281"/>
                </a:cubicBezTo>
                <a:cubicBezTo>
                  <a:pt x="1164660" y="2047111"/>
                  <a:pt x="1161745" y="2042502"/>
                  <a:pt x="1154454" y="2046521"/>
                </a:cubicBezTo>
                <a:cubicBezTo>
                  <a:pt x="1152085" y="2048192"/>
                  <a:pt x="1151407" y="2045641"/>
                  <a:pt x="1151474" y="2043776"/>
                </a:cubicBezTo>
                <a:cubicBezTo>
                  <a:pt x="1152300" y="2036008"/>
                  <a:pt x="1148818" y="2035003"/>
                  <a:pt x="1142339" y="2037843"/>
                </a:cubicBezTo>
                <a:cubicBezTo>
                  <a:pt x="1137978" y="2039880"/>
                  <a:pt x="1136488" y="2038509"/>
                  <a:pt x="1137743" y="2034161"/>
                </a:cubicBezTo>
                <a:cubicBezTo>
                  <a:pt x="1138496" y="2031552"/>
                  <a:pt x="1140244" y="2028760"/>
                  <a:pt x="1136452" y="2027194"/>
                </a:cubicBezTo>
                <a:cubicBezTo>
                  <a:pt x="1128248" y="2022942"/>
                  <a:pt x="1126521" y="2015850"/>
                  <a:pt x="1129216" y="2008150"/>
                </a:cubicBezTo>
                <a:cubicBezTo>
                  <a:pt x="1131283" y="2002624"/>
                  <a:pt x="1130295" y="1999513"/>
                  <a:pt x="1127004" y="1996208"/>
                </a:cubicBezTo>
                <a:cubicBezTo>
                  <a:pt x="1127506" y="1994468"/>
                  <a:pt x="1128007" y="1992729"/>
                  <a:pt x="1128509" y="1990991"/>
                </a:cubicBezTo>
                <a:cubicBezTo>
                  <a:pt x="1133616" y="1989638"/>
                  <a:pt x="1136302" y="1985233"/>
                  <a:pt x="1136251" y="1980508"/>
                </a:cubicBezTo>
                <a:cubicBezTo>
                  <a:pt x="1136334" y="1972054"/>
                  <a:pt x="1140703" y="1966722"/>
                  <a:pt x="1147867" y="1963137"/>
                </a:cubicBezTo>
                <a:cubicBezTo>
                  <a:pt x="1150672" y="1961592"/>
                  <a:pt x="1153350" y="1960482"/>
                  <a:pt x="1155100" y="1957689"/>
                </a:cubicBezTo>
                <a:cubicBezTo>
                  <a:pt x="1157351" y="1953158"/>
                  <a:pt x="1160716" y="1951303"/>
                  <a:pt x="1165378" y="1953119"/>
                </a:cubicBezTo>
                <a:cubicBezTo>
                  <a:pt x="1168861" y="1954125"/>
                  <a:pt x="1172102" y="1952705"/>
                  <a:pt x="1173909" y="1951343"/>
                </a:cubicBezTo>
                <a:cubicBezTo>
                  <a:pt x="1179116" y="1947194"/>
                  <a:pt x="1184031" y="1947317"/>
                  <a:pt x="1188836" y="1948646"/>
                </a:cubicBezTo>
                <a:close/>
                <a:moveTo>
                  <a:pt x="11736418" y="1947087"/>
                </a:moveTo>
                <a:cubicBezTo>
                  <a:pt x="11736418" y="1947087"/>
                  <a:pt x="11739710" y="1947962"/>
                  <a:pt x="11738836" y="1951254"/>
                </a:cubicBezTo>
                <a:cubicBezTo>
                  <a:pt x="11735544" y="1950383"/>
                  <a:pt x="11735544" y="1950383"/>
                  <a:pt x="11735544" y="1950383"/>
                </a:cubicBezTo>
                <a:cubicBezTo>
                  <a:pt x="11735544" y="1950383"/>
                  <a:pt x="11732253" y="1949511"/>
                  <a:pt x="11732253" y="1949511"/>
                </a:cubicBezTo>
                <a:cubicBezTo>
                  <a:pt x="11733125" y="1946214"/>
                  <a:pt x="11733125" y="1946214"/>
                  <a:pt x="11736418" y="1947087"/>
                </a:cubicBezTo>
                <a:close/>
                <a:moveTo>
                  <a:pt x="33877" y="1923174"/>
                </a:moveTo>
                <a:cubicBezTo>
                  <a:pt x="36398" y="1925188"/>
                  <a:pt x="38614" y="1925634"/>
                  <a:pt x="42260" y="1923795"/>
                </a:cubicBezTo>
                <a:cubicBezTo>
                  <a:pt x="47355" y="1921360"/>
                  <a:pt x="52364" y="1922011"/>
                  <a:pt x="55909" y="1927336"/>
                </a:cubicBezTo>
                <a:cubicBezTo>
                  <a:pt x="57271" y="1929826"/>
                  <a:pt x="59061" y="1928413"/>
                  <a:pt x="60799" y="1927698"/>
                </a:cubicBezTo>
                <a:cubicBezTo>
                  <a:pt x="63696" y="1926506"/>
                  <a:pt x="64752" y="1927428"/>
                  <a:pt x="63679" y="1930582"/>
                </a:cubicBezTo>
                <a:cubicBezTo>
                  <a:pt x="62214" y="1935254"/>
                  <a:pt x="63168" y="1937574"/>
                  <a:pt x="68450" y="1936419"/>
                </a:cubicBezTo>
                <a:cubicBezTo>
                  <a:pt x="69728" y="1936232"/>
                  <a:pt x="71535" y="1936506"/>
                  <a:pt x="70563" y="1938262"/>
                </a:cubicBezTo>
                <a:cubicBezTo>
                  <a:pt x="68349" y="1943581"/>
                  <a:pt x="71740" y="1945239"/>
                  <a:pt x="75539" y="1947066"/>
                </a:cubicBezTo>
                <a:cubicBezTo>
                  <a:pt x="76239" y="1947118"/>
                  <a:pt x="76715" y="1948278"/>
                  <a:pt x="76954" y="1948857"/>
                </a:cubicBezTo>
                <a:cubicBezTo>
                  <a:pt x="75762" y="1957486"/>
                  <a:pt x="73872" y="1966063"/>
                  <a:pt x="72390" y="1974811"/>
                </a:cubicBezTo>
                <a:cubicBezTo>
                  <a:pt x="71674" y="1978835"/>
                  <a:pt x="66887" y="1982839"/>
                  <a:pt x="63139" y="1986076"/>
                </a:cubicBezTo>
                <a:cubicBezTo>
                  <a:pt x="61639" y="1987372"/>
                  <a:pt x="59782" y="1987796"/>
                  <a:pt x="59050" y="1990132"/>
                </a:cubicBezTo>
                <a:cubicBezTo>
                  <a:pt x="58317" y="1992468"/>
                  <a:pt x="56460" y="1992893"/>
                  <a:pt x="54246" y="1992448"/>
                </a:cubicBezTo>
                <a:cubicBezTo>
                  <a:pt x="52849" y="1992344"/>
                  <a:pt x="50923" y="1991780"/>
                  <a:pt x="50122" y="1993126"/>
                </a:cubicBezTo>
                <a:cubicBezTo>
                  <a:pt x="47839" y="1997457"/>
                  <a:pt x="45352" y="1998819"/>
                  <a:pt x="41705" y="1994893"/>
                </a:cubicBezTo>
                <a:cubicBezTo>
                  <a:pt x="40938" y="1993853"/>
                  <a:pt x="39081" y="1994278"/>
                  <a:pt x="38689" y="1995795"/>
                </a:cubicBezTo>
                <a:cubicBezTo>
                  <a:pt x="37054" y="2000875"/>
                  <a:pt x="33936" y="1997411"/>
                  <a:pt x="31379" y="1997785"/>
                </a:cubicBezTo>
                <a:cubicBezTo>
                  <a:pt x="22724" y="1998972"/>
                  <a:pt x="21343" y="1989028"/>
                  <a:pt x="14118" y="1987931"/>
                </a:cubicBezTo>
                <a:cubicBezTo>
                  <a:pt x="11613" y="1987605"/>
                  <a:pt x="10794" y="1981499"/>
                  <a:pt x="10011" y="1978769"/>
                </a:cubicBezTo>
                <a:cubicBezTo>
                  <a:pt x="8374" y="1972322"/>
                  <a:pt x="1627" y="1966620"/>
                  <a:pt x="6549" y="1958830"/>
                </a:cubicBezTo>
                <a:cubicBezTo>
                  <a:pt x="7350" y="1957484"/>
                  <a:pt x="8083" y="1955148"/>
                  <a:pt x="7129" y="1952828"/>
                </a:cubicBezTo>
                <a:cubicBezTo>
                  <a:pt x="5527" y="1949757"/>
                  <a:pt x="6549" y="1947302"/>
                  <a:pt x="9496" y="1945411"/>
                </a:cubicBezTo>
                <a:cubicBezTo>
                  <a:pt x="11285" y="1943997"/>
                  <a:pt x="11847" y="1942070"/>
                  <a:pt x="12699" y="1940025"/>
                </a:cubicBezTo>
                <a:cubicBezTo>
                  <a:pt x="14624" y="1934824"/>
                  <a:pt x="17963" y="1931416"/>
                  <a:pt x="23773" y="1930722"/>
                </a:cubicBezTo>
                <a:cubicBezTo>
                  <a:pt x="27027" y="1930400"/>
                  <a:pt x="29856" y="1928220"/>
                  <a:pt x="30401" y="1924605"/>
                </a:cubicBezTo>
                <a:cubicBezTo>
                  <a:pt x="31560" y="1924128"/>
                  <a:pt x="32718" y="1923651"/>
                  <a:pt x="33877" y="1923174"/>
                </a:cubicBezTo>
                <a:close/>
                <a:moveTo>
                  <a:pt x="8142407" y="1923150"/>
                </a:moveTo>
                <a:lnTo>
                  <a:pt x="8131978" y="1932830"/>
                </a:lnTo>
                <a:lnTo>
                  <a:pt x="8147226" y="1952766"/>
                </a:lnTo>
                <a:lnTo>
                  <a:pt x="8157375" y="1945538"/>
                </a:lnTo>
                <a:close/>
                <a:moveTo>
                  <a:pt x="329548" y="1856074"/>
                </a:moveTo>
                <a:cubicBezTo>
                  <a:pt x="335046" y="1856107"/>
                  <a:pt x="340248" y="1857641"/>
                  <a:pt x="342671" y="1863531"/>
                </a:cubicBezTo>
                <a:cubicBezTo>
                  <a:pt x="342994" y="1864317"/>
                  <a:pt x="343547" y="1864549"/>
                  <a:pt x="344719" y="1864066"/>
                </a:cubicBezTo>
                <a:cubicBezTo>
                  <a:pt x="345850" y="1866815"/>
                  <a:pt x="346818" y="1869171"/>
                  <a:pt x="347949" y="1871920"/>
                </a:cubicBezTo>
                <a:cubicBezTo>
                  <a:pt x="346020" y="1875009"/>
                  <a:pt x="348027" y="1878775"/>
                  <a:pt x="347203" y="1882328"/>
                </a:cubicBezTo>
                <a:cubicBezTo>
                  <a:pt x="346379" y="1885881"/>
                  <a:pt x="345785" y="1888880"/>
                  <a:pt x="342590" y="1891112"/>
                </a:cubicBezTo>
                <a:cubicBezTo>
                  <a:pt x="338842" y="1893114"/>
                  <a:pt x="336131" y="1896523"/>
                  <a:pt x="333812" y="1899773"/>
                </a:cubicBezTo>
                <a:cubicBezTo>
                  <a:pt x="331102" y="1903184"/>
                  <a:pt x="328230" y="1906203"/>
                  <a:pt x="325910" y="1909452"/>
                </a:cubicBezTo>
                <a:cubicBezTo>
                  <a:pt x="323038" y="1912471"/>
                  <a:pt x="321203" y="1916898"/>
                  <a:pt x="320864" y="1921629"/>
                </a:cubicBezTo>
                <a:cubicBezTo>
                  <a:pt x="316172" y="1923559"/>
                  <a:pt x="311482" y="1925488"/>
                  <a:pt x="306790" y="1927418"/>
                </a:cubicBezTo>
                <a:cubicBezTo>
                  <a:pt x="304648" y="1925544"/>
                  <a:pt x="302600" y="1925009"/>
                  <a:pt x="299379" y="1924957"/>
                </a:cubicBezTo>
                <a:cubicBezTo>
                  <a:pt x="295606" y="1924673"/>
                  <a:pt x="291806" y="1922104"/>
                  <a:pt x="290353" y="1918570"/>
                </a:cubicBezTo>
                <a:cubicBezTo>
                  <a:pt x="288899" y="1915035"/>
                  <a:pt x="286825" y="1912216"/>
                  <a:pt x="284589" y="1909003"/>
                </a:cubicBezTo>
                <a:cubicBezTo>
                  <a:pt x="284444" y="1903095"/>
                  <a:pt x="285241" y="1897257"/>
                  <a:pt x="290689" y="1892720"/>
                </a:cubicBezTo>
                <a:cubicBezTo>
                  <a:pt x="291700" y="1891845"/>
                  <a:pt x="291513" y="1889168"/>
                  <a:pt x="294020" y="1888596"/>
                </a:cubicBezTo>
                <a:cubicBezTo>
                  <a:pt x="300759" y="1887201"/>
                  <a:pt x="300776" y="1881685"/>
                  <a:pt x="300333" y="1877275"/>
                </a:cubicBezTo>
                <a:cubicBezTo>
                  <a:pt x="299983" y="1874205"/>
                  <a:pt x="300510" y="1872151"/>
                  <a:pt x="301427" y="1869937"/>
                </a:cubicBezTo>
                <a:cubicBezTo>
                  <a:pt x="303790" y="1863457"/>
                  <a:pt x="309815" y="1861437"/>
                  <a:pt x="314803" y="1858008"/>
                </a:cubicBezTo>
                <a:cubicBezTo>
                  <a:pt x="319561" y="1855132"/>
                  <a:pt x="324440" y="1855880"/>
                  <a:pt x="329548" y="1856074"/>
                </a:cubicBezTo>
                <a:close/>
                <a:moveTo>
                  <a:pt x="8058960" y="1804199"/>
                </a:moveTo>
                <a:lnTo>
                  <a:pt x="8042228" y="1814726"/>
                </a:lnTo>
                <a:lnTo>
                  <a:pt x="8036183" y="1819455"/>
                </a:lnTo>
                <a:lnTo>
                  <a:pt x="8068664" y="1854355"/>
                </a:lnTo>
                <a:lnTo>
                  <a:pt x="8083953" y="1839131"/>
                </a:lnTo>
                <a:close/>
                <a:moveTo>
                  <a:pt x="2305545" y="1769529"/>
                </a:moveTo>
                <a:lnTo>
                  <a:pt x="2304765" y="1770316"/>
                </a:lnTo>
                <a:cubicBezTo>
                  <a:pt x="2299200" y="1773527"/>
                  <a:pt x="2299200" y="1773527"/>
                  <a:pt x="2299200" y="1773527"/>
                </a:cubicBezTo>
                <a:cubicBezTo>
                  <a:pt x="2298022" y="1777915"/>
                  <a:pt x="2293634" y="1776740"/>
                  <a:pt x="2288070" y="1779952"/>
                </a:cubicBezTo>
                <a:close/>
                <a:moveTo>
                  <a:pt x="2307988" y="1767065"/>
                </a:moveTo>
                <a:lnTo>
                  <a:pt x="2309877" y="1767096"/>
                </a:lnTo>
                <a:lnTo>
                  <a:pt x="2306093" y="1769203"/>
                </a:lnTo>
                <a:lnTo>
                  <a:pt x="2305545" y="1769529"/>
                </a:lnTo>
                <a:close/>
                <a:moveTo>
                  <a:pt x="2401948" y="1758726"/>
                </a:moveTo>
                <a:lnTo>
                  <a:pt x="2396347" y="1762071"/>
                </a:lnTo>
                <a:lnTo>
                  <a:pt x="2396382" y="1761940"/>
                </a:lnTo>
                <a:cubicBezTo>
                  <a:pt x="2396382" y="1761940"/>
                  <a:pt x="2396382" y="1761940"/>
                  <a:pt x="2401948" y="1758726"/>
                </a:cubicBezTo>
                <a:close/>
                <a:moveTo>
                  <a:pt x="928044" y="1743740"/>
                </a:moveTo>
                <a:cubicBezTo>
                  <a:pt x="935149" y="1749520"/>
                  <a:pt x="945542" y="1742424"/>
                  <a:pt x="951734" y="1751457"/>
                </a:cubicBezTo>
                <a:cubicBezTo>
                  <a:pt x="953540" y="1754145"/>
                  <a:pt x="959384" y="1754119"/>
                  <a:pt x="956046" y="1759920"/>
                </a:cubicBezTo>
                <a:cubicBezTo>
                  <a:pt x="954968" y="1761560"/>
                  <a:pt x="956138" y="1763642"/>
                  <a:pt x="957750" y="1763476"/>
                </a:cubicBezTo>
                <a:cubicBezTo>
                  <a:pt x="964466" y="1763555"/>
                  <a:pt x="965298" y="1767010"/>
                  <a:pt x="963202" y="1772775"/>
                </a:cubicBezTo>
                <a:cubicBezTo>
                  <a:pt x="962627" y="1774655"/>
                  <a:pt x="964773" y="1775964"/>
                  <a:pt x="966047" y="1777174"/>
                </a:cubicBezTo>
                <a:cubicBezTo>
                  <a:pt x="968326" y="1778855"/>
                  <a:pt x="969497" y="1780935"/>
                  <a:pt x="967946" y="1783585"/>
                </a:cubicBezTo>
                <a:cubicBezTo>
                  <a:pt x="966395" y="1786232"/>
                  <a:pt x="967566" y="1788316"/>
                  <a:pt x="967627" y="1790797"/>
                </a:cubicBezTo>
                <a:cubicBezTo>
                  <a:pt x="967780" y="1797004"/>
                  <a:pt x="968098" y="1804823"/>
                  <a:pt x="964966" y="1808877"/>
                </a:cubicBezTo>
                <a:cubicBezTo>
                  <a:pt x="958095" y="1817623"/>
                  <a:pt x="951728" y="1826605"/>
                  <a:pt x="944724" y="1834980"/>
                </a:cubicBezTo>
                <a:cubicBezTo>
                  <a:pt x="943984" y="1835247"/>
                  <a:pt x="942506" y="1835782"/>
                  <a:pt x="941868" y="1835177"/>
                </a:cubicBezTo>
                <a:cubicBezTo>
                  <a:pt x="936970" y="1833191"/>
                  <a:pt x="932575" y="1831439"/>
                  <a:pt x="929505" y="1837977"/>
                </a:cubicBezTo>
                <a:cubicBezTo>
                  <a:pt x="928693" y="1840358"/>
                  <a:pt x="926916" y="1838913"/>
                  <a:pt x="926013" y="1837569"/>
                </a:cubicBezTo>
                <a:cubicBezTo>
                  <a:pt x="922635" y="1831695"/>
                  <a:pt x="919677" y="1832762"/>
                  <a:pt x="916576" y="1838058"/>
                </a:cubicBezTo>
                <a:cubicBezTo>
                  <a:pt x="914553" y="1841712"/>
                  <a:pt x="912807" y="1841508"/>
                  <a:pt x="911472" y="1837815"/>
                </a:cubicBezTo>
                <a:cubicBezTo>
                  <a:pt x="910672" y="1835601"/>
                  <a:pt x="910476" y="1832749"/>
                  <a:pt x="907015" y="1833582"/>
                </a:cubicBezTo>
                <a:cubicBezTo>
                  <a:pt x="899088" y="1834778"/>
                  <a:pt x="894262" y="1830679"/>
                  <a:pt x="892230" y="1823899"/>
                </a:cubicBezTo>
                <a:cubicBezTo>
                  <a:pt x="890863" y="1818965"/>
                  <a:pt x="888584" y="1817284"/>
                  <a:pt x="884590" y="1816640"/>
                </a:cubicBezTo>
                <a:cubicBezTo>
                  <a:pt x="884056" y="1815164"/>
                  <a:pt x="883522" y="1813687"/>
                  <a:pt x="882988" y="1812210"/>
                </a:cubicBezTo>
                <a:cubicBezTo>
                  <a:pt x="885884" y="1808658"/>
                  <a:pt x="885525" y="1804194"/>
                  <a:pt x="883081" y="1800903"/>
                </a:cubicBezTo>
                <a:cubicBezTo>
                  <a:pt x="878830" y="1794925"/>
                  <a:pt x="879180" y="1788954"/>
                  <a:pt x="882384" y="1782785"/>
                </a:cubicBezTo>
                <a:cubicBezTo>
                  <a:pt x="883566" y="1780270"/>
                  <a:pt x="884880" y="1778127"/>
                  <a:pt x="884685" y="1775275"/>
                </a:cubicBezTo>
                <a:cubicBezTo>
                  <a:pt x="883957" y="1770946"/>
                  <a:pt x="885374" y="1767929"/>
                  <a:pt x="889574" y="1766830"/>
                </a:cubicBezTo>
                <a:cubicBezTo>
                  <a:pt x="892532" y="1765761"/>
                  <a:pt x="894082" y="1763115"/>
                  <a:pt x="894657" y="1761235"/>
                </a:cubicBezTo>
                <a:cubicBezTo>
                  <a:pt x="897739" y="1750101"/>
                  <a:pt x="908717" y="1751561"/>
                  <a:pt x="916080" y="1747647"/>
                </a:cubicBezTo>
                <a:cubicBezTo>
                  <a:pt x="919274" y="1746074"/>
                  <a:pt x="925630" y="1741690"/>
                  <a:pt x="928044" y="1743740"/>
                </a:cubicBezTo>
                <a:close/>
                <a:moveTo>
                  <a:pt x="2340626" y="1742046"/>
                </a:moveTo>
                <a:lnTo>
                  <a:pt x="2340505" y="1742262"/>
                </a:lnTo>
                <a:lnTo>
                  <a:pt x="2340322" y="1742214"/>
                </a:lnTo>
                <a:close/>
                <a:moveTo>
                  <a:pt x="2346071" y="1739050"/>
                </a:moveTo>
                <a:lnTo>
                  <a:pt x="2340626" y="1742046"/>
                </a:lnTo>
                <a:lnTo>
                  <a:pt x="2341643" y="1740214"/>
                </a:lnTo>
                <a:cubicBezTo>
                  <a:pt x="2342486" y="1739264"/>
                  <a:pt x="2343877" y="1738462"/>
                  <a:pt x="2346071" y="1739050"/>
                </a:cubicBezTo>
                <a:close/>
                <a:moveTo>
                  <a:pt x="8201475" y="1706196"/>
                </a:moveTo>
                <a:lnTo>
                  <a:pt x="8194286" y="1711439"/>
                </a:lnTo>
                <a:cubicBezTo>
                  <a:pt x="8177314" y="1723829"/>
                  <a:pt x="8160010" y="1736621"/>
                  <a:pt x="8144839" y="1748467"/>
                </a:cubicBezTo>
                <a:cubicBezTo>
                  <a:pt x="8133368" y="1752540"/>
                  <a:pt x="8122180" y="1759554"/>
                  <a:pt x="8111134" y="1768033"/>
                </a:cubicBezTo>
                <a:lnTo>
                  <a:pt x="8094050" y="1782790"/>
                </a:lnTo>
                <a:lnTo>
                  <a:pt x="8094971" y="1783936"/>
                </a:lnTo>
                <a:cubicBezTo>
                  <a:pt x="8096775" y="1788324"/>
                  <a:pt x="8103746" y="1780330"/>
                  <a:pt x="8109155" y="1793492"/>
                </a:cubicBezTo>
                <a:lnTo>
                  <a:pt x="8116424" y="1808987"/>
                </a:lnTo>
                <a:lnTo>
                  <a:pt x="8210110" y="1729321"/>
                </a:lnTo>
                <a:lnTo>
                  <a:pt x="8200019" y="1715127"/>
                </a:lnTo>
                <a:cubicBezTo>
                  <a:pt x="8200019" y="1715127"/>
                  <a:pt x="8204405" y="1713326"/>
                  <a:pt x="8204405" y="1713326"/>
                </a:cubicBezTo>
                <a:cubicBezTo>
                  <a:pt x="8206207" y="1717712"/>
                  <a:pt x="8208792" y="1711522"/>
                  <a:pt x="8202601" y="1708939"/>
                </a:cubicBezTo>
                <a:close/>
                <a:moveTo>
                  <a:pt x="7970997" y="1681243"/>
                </a:moveTo>
                <a:lnTo>
                  <a:pt x="7934209" y="1709890"/>
                </a:lnTo>
                <a:lnTo>
                  <a:pt x="7963991" y="1741890"/>
                </a:lnTo>
                <a:lnTo>
                  <a:pt x="7995961" y="1716137"/>
                </a:lnTo>
                <a:close/>
                <a:moveTo>
                  <a:pt x="10049" y="1659355"/>
                </a:moveTo>
                <a:cubicBezTo>
                  <a:pt x="12571" y="1661369"/>
                  <a:pt x="14786" y="1661815"/>
                  <a:pt x="18432" y="1659975"/>
                </a:cubicBezTo>
                <a:cubicBezTo>
                  <a:pt x="23526" y="1657541"/>
                  <a:pt x="28536" y="1658192"/>
                  <a:pt x="32080" y="1663516"/>
                </a:cubicBezTo>
                <a:cubicBezTo>
                  <a:pt x="33444" y="1666007"/>
                  <a:pt x="35233" y="1664593"/>
                  <a:pt x="36971" y="1663879"/>
                </a:cubicBezTo>
                <a:cubicBezTo>
                  <a:pt x="39868" y="1662687"/>
                  <a:pt x="40924" y="1663608"/>
                  <a:pt x="39851" y="1666763"/>
                </a:cubicBezTo>
                <a:cubicBezTo>
                  <a:pt x="38386" y="1671434"/>
                  <a:pt x="39341" y="1673754"/>
                  <a:pt x="44623" y="1672599"/>
                </a:cubicBezTo>
                <a:cubicBezTo>
                  <a:pt x="45901" y="1672412"/>
                  <a:pt x="47706" y="1672686"/>
                  <a:pt x="46736" y="1674442"/>
                </a:cubicBezTo>
                <a:cubicBezTo>
                  <a:pt x="44521" y="1679762"/>
                  <a:pt x="47912" y="1681418"/>
                  <a:pt x="51712" y="1683246"/>
                </a:cubicBezTo>
                <a:cubicBezTo>
                  <a:pt x="52410" y="1683298"/>
                  <a:pt x="52888" y="1684458"/>
                  <a:pt x="53126" y="1685038"/>
                </a:cubicBezTo>
                <a:cubicBezTo>
                  <a:pt x="51934" y="1693666"/>
                  <a:pt x="50044" y="1702243"/>
                  <a:pt x="48562" y="1710991"/>
                </a:cubicBezTo>
                <a:cubicBezTo>
                  <a:pt x="47847" y="1715015"/>
                  <a:pt x="43060" y="1719019"/>
                  <a:pt x="39311" y="1722257"/>
                </a:cubicBezTo>
                <a:cubicBezTo>
                  <a:pt x="37812" y="1723552"/>
                  <a:pt x="35955" y="1723976"/>
                  <a:pt x="35223" y="1726312"/>
                </a:cubicBezTo>
                <a:cubicBezTo>
                  <a:pt x="34490" y="1728648"/>
                  <a:pt x="32633" y="1729073"/>
                  <a:pt x="30417" y="1728628"/>
                </a:cubicBezTo>
                <a:cubicBezTo>
                  <a:pt x="29020" y="1728524"/>
                  <a:pt x="27096" y="1727960"/>
                  <a:pt x="26294" y="1729307"/>
                </a:cubicBezTo>
                <a:cubicBezTo>
                  <a:pt x="24012" y="1733637"/>
                  <a:pt x="21524" y="1735000"/>
                  <a:pt x="17878" y="1731074"/>
                </a:cubicBezTo>
                <a:cubicBezTo>
                  <a:pt x="17110" y="1730033"/>
                  <a:pt x="15253" y="1730458"/>
                  <a:pt x="14862" y="1731976"/>
                </a:cubicBezTo>
                <a:cubicBezTo>
                  <a:pt x="13226" y="1737057"/>
                  <a:pt x="10108" y="1733592"/>
                  <a:pt x="7552" y="1733965"/>
                </a:cubicBezTo>
                <a:lnTo>
                  <a:pt x="0" y="1730612"/>
                </a:lnTo>
                <a:lnTo>
                  <a:pt x="0" y="1666852"/>
                </a:lnTo>
                <a:lnTo>
                  <a:pt x="6574" y="1660785"/>
                </a:lnTo>
                <a:cubicBezTo>
                  <a:pt x="7731" y="1660308"/>
                  <a:pt x="8890" y="1659832"/>
                  <a:pt x="10049" y="1659355"/>
                </a:cubicBezTo>
                <a:close/>
                <a:moveTo>
                  <a:pt x="8327378" y="1631809"/>
                </a:moveTo>
                <a:lnTo>
                  <a:pt x="8309506" y="1641367"/>
                </a:lnTo>
                <a:lnTo>
                  <a:pt x="8270749" y="1661648"/>
                </a:lnTo>
                <a:lnTo>
                  <a:pt x="8281054" y="1675507"/>
                </a:lnTo>
                <a:lnTo>
                  <a:pt x="8333174" y="1638870"/>
                </a:lnTo>
                <a:close/>
                <a:moveTo>
                  <a:pt x="11509262" y="1601475"/>
                </a:moveTo>
                <a:cubicBezTo>
                  <a:pt x="11513193" y="1600985"/>
                  <a:pt x="11517037" y="1603578"/>
                  <a:pt x="11520594" y="1601841"/>
                </a:cubicBezTo>
                <a:cubicBezTo>
                  <a:pt x="11523438" y="1603373"/>
                  <a:pt x="11525874" y="1604686"/>
                  <a:pt x="11528717" y="1606217"/>
                </a:cubicBezTo>
                <a:cubicBezTo>
                  <a:pt x="11528063" y="1607430"/>
                  <a:pt x="11528252" y="1608053"/>
                  <a:pt x="11529064" y="1608491"/>
                </a:cubicBezTo>
                <a:cubicBezTo>
                  <a:pt x="11535157" y="1611773"/>
                  <a:pt x="11536228" y="1617568"/>
                  <a:pt x="11535646" y="1623514"/>
                </a:cubicBezTo>
                <a:cubicBezTo>
                  <a:pt x="11535281" y="1629058"/>
                  <a:pt x="11535540" y="1634412"/>
                  <a:pt x="11531896" y="1639232"/>
                </a:cubicBezTo>
                <a:cubicBezTo>
                  <a:pt x="11527626" y="1644237"/>
                  <a:pt x="11524765" y="1650522"/>
                  <a:pt x="11517496" y="1652344"/>
                </a:cubicBezTo>
                <a:cubicBezTo>
                  <a:pt x="11514999" y="1653085"/>
                  <a:pt x="11512721" y="1653423"/>
                  <a:pt x="11509442" y="1652701"/>
                </a:cubicBezTo>
                <a:cubicBezTo>
                  <a:pt x="11504727" y="1651726"/>
                  <a:pt x="11498762" y="1651121"/>
                  <a:pt x="11496496" y="1658247"/>
                </a:cubicBezTo>
                <a:cubicBezTo>
                  <a:pt x="11495596" y="1660893"/>
                  <a:pt x="11492722" y="1660389"/>
                  <a:pt x="11491662" y="1661384"/>
                </a:cubicBezTo>
                <a:cubicBezTo>
                  <a:pt x="11486146" y="1666759"/>
                  <a:pt x="11479747" y="1666964"/>
                  <a:pt x="11473377" y="1666141"/>
                </a:cubicBezTo>
                <a:cubicBezTo>
                  <a:pt x="11470157" y="1663363"/>
                  <a:pt x="11467344" y="1660804"/>
                  <a:pt x="11463688" y="1658834"/>
                </a:cubicBezTo>
                <a:cubicBezTo>
                  <a:pt x="11460032" y="1656865"/>
                  <a:pt x="11457683" y="1652469"/>
                  <a:pt x="11457802" y="1648360"/>
                </a:cubicBezTo>
                <a:cubicBezTo>
                  <a:pt x="11458108" y="1644872"/>
                  <a:pt x="11457760" y="1642598"/>
                  <a:pt x="11455977" y="1640072"/>
                </a:cubicBezTo>
                <a:cubicBezTo>
                  <a:pt x="11458592" y="1635219"/>
                  <a:pt x="11461206" y="1630368"/>
                  <a:pt x="11463820" y="1625515"/>
                </a:cubicBezTo>
                <a:cubicBezTo>
                  <a:pt x="11468971" y="1625682"/>
                  <a:pt x="11473962" y="1624197"/>
                  <a:pt x="11477547" y="1621433"/>
                </a:cubicBezTo>
                <a:cubicBezTo>
                  <a:pt x="11481321" y="1619291"/>
                  <a:pt x="11484906" y="1616527"/>
                  <a:pt x="11488898" y="1613982"/>
                </a:cubicBezTo>
                <a:cubicBezTo>
                  <a:pt x="11492671" y="1611842"/>
                  <a:pt x="11496663" y="1609297"/>
                  <a:pt x="11499247" y="1605471"/>
                </a:cubicBezTo>
                <a:cubicBezTo>
                  <a:pt x="11502021" y="1602270"/>
                  <a:pt x="11505329" y="1601966"/>
                  <a:pt x="11509262" y="1601475"/>
                </a:cubicBezTo>
                <a:close/>
                <a:moveTo>
                  <a:pt x="8092885" y="1595365"/>
                </a:moveTo>
                <a:lnTo>
                  <a:pt x="8000810" y="1658026"/>
                </a:lnTo>
                <a:lnTo>
                  <a:pt x="7992044" y="1664852"/>
                </a:lnTo>
                <a:lnTo>
                  <a:pt x="7991431" y="1666324"/>
                </a:lnTo>
                <a:cubicBezTo>
                  <a:pt x="7993790" y="1669922"/>
                  <a:pt x="7998657" y="1675131"/>
                  <a:pt x="8004489" y="1680749"/>
                </a:cubicBezTo>
                <a:lnTo>
                  <a:pt x="8021279" y="1695745"/>
                </a:lnTo>
                <a:lnTo>
                  <a:pt x="8043420" y="1677910"/>
                </a:lnTo>
                <a:lnTo>
                  <a:pt x="8123974" y="1623142"/>
                </a:lnTo>
                <a:lnTo>
                  <a:pt x="8116959" y="1615374"/>
                </a:lnTo>
                <a:cubicBezTo>
                  <a:pt x="8109667" y="1608355"/>
                  <a:pt x="8102512" y="1602642"/>
                  <a:pt x="8095871" y="1598961"/>
                </a:cubicBezTo>
                <a:close/>
                <a:moveTo>
                  <a:pt x="11331747" y="1585925"/>
                </a:moveTo>
                <a:cubicBezTo>
                  <a:pt x="11347336" y="1593583"/>
                  <a:pt x="11372803" y="1603859"/>
                  <a:pt x="11396524" y="1620727"/>
                </a:cubicBezTo>
                <a:cubicBezTo>
                  <a:pt x="11420245" y="1637596"/>
                  <a:pt x="11437383" y="1652716"/>
                  <a:pt x="11438054" y="1663475"/>
                </a:cubicBezTo>
                <a:cubicBezTo>
                  <a:pt x="11438927" y="1660181"/>
                  <a:pt x="11438927" y="1660181"/>
                  <a:pt x="11442220" y="1661053"/>
                </a:cubicBezTo>
                <a:cubicBezTo>
                  <a:pt x="11444638" y="1665219"/>
                  <a:pt x="11451224" y="1666965"/>
                  <a:pt x="11450352" y="1670260"/>
                </a:cubicBezTo>
                <a:cubicBezTo>
                  <a:pt x="11450352" y="1670260"/>
                  <a:pt x="11453644" y="1671132"/>
                  <a:pt x="11452771" y="1674427"/>
                </a:cubicBezTo>
                <a:cubicBezTo>
                  <a:pt x="11452771" y="1674427"/>
                  <a:pt x="11452771" y="1674427"/>
                  <a:pt x="11453644" y="1671132"/>
                </a:cubicBezTo>
                <a:cubicBezTo>
                  <a:pt x="11461976" y="1666288"/>
                  <a:pt x="11478238" y="1684703"/>
                  <a:pt x="11497792" y="1703993"/>
                </a:cubicBezTo>
                <a:cubicBezTo>
                  <a:pt x="11497792" y="1703993"/>
                  <a:pt x="11497792" y="1703993"/>
                  <a:pt x="11501085" y="1704864"/>
                </a:cubicBezTo>
                <a:cubicBezTo>
                  <a:pt x="11501960" y="1701569"/>
                  <a:pt x="11501960" y="1701569"/>
                  <a:pt x="11504378" y="1705737"/>
                </a:cubicBezTo>
                <a:cubicBezTo>
                  <a:pt x="11504378" y="1705737"/>
                  <a:pt x="11507670" y="1706610"/>
                  <a:pt x="11507670" y="1706610"/>
                </a:cubicBezTo>
                <a:cubicBezTo>
                  <a:pt x="11506796" y="1709905"/>
                  <a:pt x="11506796" y="1709905"/>
                  <a:pt x="11506796" y="1709905"/>
                </a:cubicBezTo>
                <a:cubicBezTo>
                  <a:pt x="11506796" y="1709905"/>
                  <a:pt x="11506796" y="1709905"/>
                  <a:pt x="11510964" y="1707483"/>
                </a:cubicBezTo>
                <a:cubicBezTo>
                  <a:pt x="11516674" y="1712522"/>
                  <a:pt x="11520840" y="1710101"/>
                  <a:pt x="11535558" y="1721053"/>
                </a:cubicBezTo>
                <a:cubicBezTo>
                  <a:pt x="11537303" y="1714462"/>
                  <a:pt x="11519294" y="1702638"/>
                  <a:pt x="11530046" y="1701960"/>
                </a:cubicBezTo>
                <a:cubicBezTo>
                  <a:pt x="11532902" y="1704480"/>
                  <a:pt x="11534547" y="1704916"/>
                  <a:pt x="11536194" y="1705353"/>
                </a:cubicBezTo>
                <a:lnTo>
                  <a:pt x="11539268" y="1707048"/>
                </a:lnTo>
                <a:lnTo>
                  <a:pt x="11539050" y="1707872"/>
                </a:lnTo>
                <a:cubicBezTo>
                  <a:pt x="11542342" y="1708745"/>
                  <a:pt x="11542342" y="1708745"/>
                  <a:pt x="11542342" y="1708745"/>
                </a:cubicBezTo>
                <a:lnTo>
                  <a:pt x="11539268" y="1707048"/>
                </a:lnTo>
                <a:lnTo>
                  <a:pt x="11539923" y="1704578"/>
                </a:lnTo>
                <a:cubicBezTo>
                  <a:pt x="11539923" y="1704578"/>
                  <a:pt x="11543216" y="1705449"/>
                  <a:pt x="11543216" y="1705449"/>
                </a:cubicBezTo>
                <a:cubicBezTo>
                  <a:pt x="11546508" y="1706322"/>
                  <a:pt x="11546508" y="1706322"/>
                  <a:pt x="11546508" y="1706322"/>
                </a:cubicBezTo>
                <a:cubicBezTo>
                  <a:pt x="11548927" y="1710490"/>
                  <a:pt x="11554640" y="1715530"/>
                  <a:pt x="11560351" y="1720570"/>
                </a:cubicBezTo>
                <a:cubicBezTo>
                  <a:pt x="11560351" y="1720570"/>
                  <a:pt x="11562771" y="1724738"/>
                  <a:pt x="11562771" y="1724738"/>
                </a:cubicBezTo>
                <a:cubicBezTo>
                  <a:pt x="11562771" y="1724738"/>
                  <a:pt x="11566062" y="1725611"/>
                  <a:pt x="11568482" y="1729778"/>
                </a:cubicBezTo>
                <a:cubicBezTo>
                  <a:pt x="11568482" y="1729778"/>
                  <a:pt x="11571775" y="1730651"/>
                  <a:pt x="11570902" y="1733946"/>
                </a:cubicBezTo>
                <a:cubicBezTo>
                  <a:pt x="11567610" y="1733074"/>
                  <a:pt x="11567610" y="1733074"/>
                  <a:pt x="11565191" y="1728906"/>
                </a:cubicBezTo>
                <a:cubicBezTo>
                  <a:pt x="11565191" y="1728906"/>
                  <a:pt x="11561897" y="1728032"/>
                  <a:pt x="11559478" y="1723865"/>
                </a:cubicBezTo>
                <a:cubicBezTo>
                  <a:pt x="11564316" y="1732201"/>
                  <a:pt x="11570028" y="1737243"/>
                  <a:pt x="11571576" y="1744704"/>
                </a:cubicBezTo>
                <a:cubicBezTo>
                  <a:pt x="11567409" y="1747128"/>
                  <a:pt x="11558405" y="1741213"/>
                  <a:pt x="11559076" y="1751972"/>
                </a:cubicBezTo>
                <a:cubicBezTo>
                  <a:pt x="11602354" y="1788125"/>
                  <a:pt x="11637498" y="1815074"/>
                  <a:pt x="11674861" y="1860241"/>
                </a:cubicBezTo>
                <a:cubicBezTo>
                  <a:pt x="11678153" y="1861114"/>
                  <a:pt x="11678153" y="1861114"/>
                  <a:pt x="11680573" y="1865282"/>
                </a:cubicBezTo>
                <a:cubicBezTo>
                  <a:pt x="11683866" y="1866154"/>
                  <a:pt x="11682992" y="1869450"/>
                  <a:pt x="11682992" y="1869450"/>
                </a:cubicBezTo>
                <a:cubicBezTo>
                  <a:pt x="11697709" y="1880401"/>
                  <a:pt x="11713971" y="1898817"/>
                  <a:pt x="11726940" y="1916361"/>
                </a:cubicBezTo>
                <a:cubicBezTo>
                  <a:pt x="11741657" y="1927315"/>
                  <a:pt x="11764504" y="1947477"/>
                  <a:pt x="11782314" y="1973355"/>
                </a:cubicBezTo>
                <a:cubicBezTo>
                  <a:pt x="11804288" y="1996813"/>
                  <a:pt x="11822097" y="2022690"/>
                  <a:pt x="11831773" y="2039360"/>
                </a:cubicBezTo>
                <a:cubicBezTo>
                  <a:pt x="11855292" y="2070280"/>
                  <a:pt x="11881233" y="2105365"/>
                  <a:pt x="11904754" y="2136286"/>
                </a:cubicBezTo>
                <a:cubicBezTo>
                  <a:pt x="11924981" y="2166336"/>
                  <a:pt x="11941917" y="2195510"/>
                  <a:pt x="11945681" y="2221190"/>
                </a:cubicBezTo>
                <a:cubicBezTo>
                  <a:pt x="11943261" y="2217023"/>
                  <a:pt x="11940843" y="2212857"/>
                  <a:pt x="11938423" y="2208695"/>
                </a:cubicBezTo>
                <a:cubicBezTo>
                  <a:pt x="11938423" y="2208695"/>
                  <a:pt x="11938423" y="2208695"/>
                  <a:pt x="11939969" y="2216155"/>
                </a:cubicBezTo>
                <a:cubicBezTo>
                  <a:pt x="11943261" y="2217023"/>
                  <a:pt x="11942388" y="2220322"/>
                  <a:pt x="11942388" y="2220322"/>
                </a:cubicBezTo>
                <a:cubicBezTo>
                  <a:pt x="11939096" y="2219449"/>
                  <a:pt x="11939096" y="2219449"/>
                  <a:pt x="11936677" y="2215281"/>
                </a:cubicBezTo>
                <a:cubicBezTo>
                  <a:pt x="11936677" y="2215281"/>
                  <a:pt x="11936677" y="2215281"/>
                  <a:pt x="11933384" y="2214409"/>
                </a:cubicBezTo>
                <a:cubicBezTo>
                  <a:pt x="11950318" y="2243578"/>
                  <a:pt x="11969674" y="2276912"/>
                  <a:pt x="11990775" y="2303670"/>
                </a:cubicBezTo>
                <a:cubicBezTo>
                  <a:pt x="11994539" y="2329354"/>
                  <a:pt x="12016314" y="2366867"/>
                  <a:pt x="12028209" y="2401754"/>
                </a:cubicBezTo>
                <a:cubicBezTo>
                  <a:pt x="12006636" y="2350196"/>
                  <a:pt x="11966854" y="2300858"/>
                  <a:pt x="11941987" y="2248422"/>
                </a:cubicBezTo>
                <a:cubicBezTo>
                  <a:pt x="11935602" y="2232627"/>
                  <a:pt x="11932984" y="2242506"/>
                  <a:pt x="11924852" y="2233305"/>
                </a:cubicBezTo>
                <a:cubicBezTo>
                  <a:pt x="11912755" y="2212469"/>
                  <a:pt x="11908790" y="2200841"/>
                  <a:pt x="11904825" y="2189205"/>
                </a:cubicBezTo>
                <a:cubicBezTo>
                  <a:pt x="11895147" y="2172535"/>
                  <a:pt x="11887689" y="2174087"/>
                  <a:pt x="11877138" y="2160708"/>
                </a:cubicBezTo>
                <a:cubicBezTo>
                  <a:pt x="11870753" y="2144909"/>
                  <a:pt x="11864369" y="2129110"/>
                  <a:pt x="11857984" y="2113311"/>
                </a:cubicBezTo>
                <a:cubicBezTo>
                  <a:pt x="11857984" y="2113311"/>
                  <a:pt x="11857984" y="2113311"/>
                  <a:pt x="11866316" y="2108466"/>
                </a:cubicBezTo>
                <a:cubicBezTo>
                  <a:pt x="11861477" y="2100129"/>
                  <a:pt x="11854219" y="2087630"/>
                  <a:pt x="11846088" y="2078421"/>
                </a:cubicBezTo>
                <a:cubicBezTo>
                  <a:pt x="11846088" y="2078421"/>
                  <a:pt x="11846088" y="2078421"/>
                  <a:pt x="11845215" y="2081717"/>
                </a:cubicBezTo>
                <a:cubicBezTo>
                  <a:pt x="11848508" y="2082589"/>
                  <a:pt x="11850928" y="2086757"/>
                  <a:pt x="11847634" y="2085884"/>
                </a:cubicBezTo>
                <a:cubicBezTo>
                  <a:pt x="11847634" y="2085884"/>
                  <a:pt x="11844342" y="2085012"/>
                  <a:pt x="11844342" y="2085012"/>
                </a:cubicBezTo>
                <a:cubicBezTo>
                  <a:pt x="11843468" y="2088306"/>
                  <a:pt x="11851599" y="2097515"/>
                  <a:pt x="11845014" y="2095770"/>
                </a:cubicBezTo>
                <a:cubicBezTo>
                  <a:pt x="11833590" y="2085689"/>
                  <a:pt x="11837758" y="2083266"/>
                  <a:pt x="11829626" y="2074058"/>
                </a:cubicBezTo>
                <a:cubicBezTo>
                  <a:pt x="11829626" y="2074058"/>
                  <a:pt x="11829626" y="2074058"/>
                  <a:pt x="11826334" y="2073184"/>
                </a:cubicBezTo>
                <a:cubicBezTo>
                  <a:pt x="11826334" y="2073184"/>
                  <a:pt x="11826334" y="2073184"/>
                  <a:pt x="11827205" y="2069890"/>
                </a:cubicBezTo>
                <a:cubicBezTo>
                  <a:pt x="11823914" y="2069018"/>
                  <a:pt x="11821495" y="2064850"/>
                  <a:pt x="11821495" y="2064850"/>
                </a:cubicBezTo>
                <a:cubicBezTo>
                  <a:pt x="11822369" y="2061555"/>
                  <a:pt x="11822369" y="2061555"/>
                  <a:pt x="11822369" y="2061555"/>
                </a:cubicBezTo>
                <a:cubicBezTo>
                  <a:pt x="11813363" y="2055642"/>
                  <a:pt x="11799519" y="2041393"/>
                  <a:pt x="11788970" y="2028019"/>
                </a:cubicBezTo>
                <a:cubicBezTo>
                  <a:pt x="11779292" y="2011348"/>
                  <a:pt x="11772035" y="1998845"/>
                  <a:pt x="11773781" y="1992254"/>
                </a:cubicBezTo>
                <a:cubicBezTo>
                  <a:pt x="11770489" y="1991382"/>
                  <a:pt x="11771362" y="1988086"/>
                  <a:pt x="11771362" y="1988086"/>
                </a:cubicBezTo>
                <a:cubicBezTo>
                  <a:pt x="11768070" y="1987214"/>
                  <a:pt x="11765649" y="1983045"/>
                  <a:pt x="11766523" y="1979751"/>
                </a:cubicBezTo>
                <a:cubicBezTo>
                  <a:pt x="11766523" y="1979751"/>
                  <a:pt x="11766523" y="1979751"/>
                  <a:pt x="11769815" y="1980624"/>
                </a:cubicBezTo>
                <a:cubicBezTo>
                  <a:pt x="11772234" y="1984790"/>
                  <a:pt x="11772234" y="1984790"/>
                  <a:pt x="11772234" y="1984790"/>
                </a:cubicBezTo>
                <a:cubicBezTo>
                  <a:pt x="11772234" y="1984790"/>
                  <a:pt x="11772234" y="1984790"/>
                  <a:pt x="11775528" y="1985663"/>
                </a:cubicBezTo>
                <a:cubicBezTo>
                  <a:pt x="11764977" y="1972289"/>
                  <a:pt x="11764105" y="1975584"/>
                  <a:pt x="11755972" y="1966376"/>
                </a:cubicBezTo>
                <a:cubicBezTo>
                  <a:pt x="11755972" y="1966376"/>
                  <a:pt x="11758392" y="1970544"/>
                  <a:pt x="11758392" y="1970544"/>
                </a:cubicBezTo>
                <a:cubicBezTo>
                  <a:pt x="11758392" y="1970544"/>
                  <a:pt x="11758392" y="1970544"/>
                  <a:pt x="11755099" y="1969671"/>
                </a:cubicBezTo>
                <a:cubicBezTo>
                  <a:pt x="11755099" y="1969671"/>
                  <a:pt x="11755099" y="1969671"/>
                  <a:pt x="11751806" y="1968799"/>
                </a:cubicBezTo>
                <a:cubicBezTo>
                  <a:pt x="11751806" y="1968799"/>
                  <a:pt x="11757517" y="1973839"/>
                  <a:pt x="11753353" y="1976262"/>
                </a:cubicBezTo>
                <a:cubicBezTo>
                  <a:pt x="11745221" y="1967054"/>
                  <a:pt x="11737091" y="1957845"/>
                  <a:pt x="11741256" y="1955422"/>
                </a:cubicBezTo>
                <a:cubicBezTo>
                  <a:pt x="11741256" y="1955422"/>
                  <a:pt x="11737963" y="1954552"/>
                  <a:pt x="11738836" y="1951254"/>
                </a:cubicBezTo>
                <a:cubicBezTo>
                  <a:pt x="11728485" y="1923824"/>
                  <a:pt x="11707386" y="1897073"/>
                  <a:pt x="11678827" y="1871872"/>
                </a:cubicBezTo>
                <a:cubicBezTo>
                  <a:pt x="11678827" y="1871872"/>
                  <a:pt x="11675534" y="1871000"/>
                  <a:pt x="11676407" y="1867705"/>
                </a:cubicBezTo>
                <a:cubicBezTo>
                  <a:pt x="11673114" y="1866832"/>
                  <a:pt x="11670695" y="1862664"/>
                  <a:pt x="11670695" y="1862664"/>
                </a:cubicBezTo>
                <a:cubicBezTo>
                  <a:pt x="11670695" y="1862664"/>
                  <a:pt x="11670695" y="1862664"/>
                  <a:pt x="11673987" y="1863537"/>
                </a:cubicBezTo>
                <a:cubicBezTo>
                  <a:pt x="11664982" y="1857623"/>
                  <a:pt x="11650268" y="1846671"/>
                  <a:pt x="11643682" y="1844925"/>
                </a:cubicBezTo>
                <a:cubicBezTo>
                  <a:pt x="11646975" y="1845797"/>
                  <a:pt x="11646975" y="1845797"/>
                  <a:pt x="11649394" y="1849965"/>
                </a:cubicBezTo>
                <a:cubicBezTo>
                  <a:pt x="11649394" y="1849965"/>
                  <a:pt x="11648520" y="1853260"/>
                  <a:pt x="11648520" y="1853260"/>
                </a:cubicBezTo>
                <a:cubicBezTo>
                  <a:pt x="11645229" y="1852388"/>
                  <a:pt x="11645229" y="1852388"/>
                  <a:pt x="11642809" y="1848219"/>
                </a:cubicBezTo>
                <a:lnTo>
                  <a:pt x="11641611" y="1847903"/>
                </a:lnTo>
                <a:lnTo>
                  <a:pt x="11640254" y="1846219"/>
                </a:lnTo>
                <a:cubicBezTo>
                  <a:pt x="11639349" y="1844658"/>
                  <a:pt x="11638744" y="1843616"/>
                  <a:pt x="11637096" y="1843181"/>
                </a:cubicBezTo>
                <a:cubicBezTo>
                  <a:pt x="11640388" y="1844052"/>
                  <a:pt x="11639516" y="1847348"/>
                  <a:pt x="11639516" y="1847348"/>
                </a:cubicBezTo>
                <a:lnTo>
                  <a:pt x="11641611" y="1847903"/>
                </a:lnTo>
                <a:lnTo>
                  <a:pt x="11645229" y="1852388"/>
                </a:lnTo>
                <a:cubicBezTo>
                  <a:pt x="11605917" y="1827863"/>
                  <a:pt x="11569427" y="1779399"/>
                  <a:pt x="11530990" y="1751583"/>
                </a:cubicBezTo>
                <a:cubicBezTo>
                  <a:pt x="11531864" y="1748287"/>
                  <a:pt x="11520439" y="1738206"/>
                  <a:pt x="11518020" y="1734038"/>
                </a:cubicBezTo>
                <a:cubicBezTo>
                  <a:pt x="11517147" y="1737334"/>
                  <a:pt x="11517147" y="1737334"/>
                  <a:pt x="11510562" y="1735588"/>
                </a:cubicBezTo>
                <a:cubicBezTo>
                  <a:pt x="11510562" y="1735588"/>
                  <a:pt x="11511435" y="1732293"/>
                  <a:pt x="11508144" y="1731420"/>
                </a:cubicBezTo>
                <a:cubicBezTo>
                  <a:pt x="11504850" y="1730547"/>
                  <a:pt x="11505724" y="1727253"/>
                  <a:pt x="11502431" y="1726380"/>
                </a:cubicBezTo>
                <a:cubicBezTo>
                  <a:pt x="11472998" y="1704476"/>
                  <a:pt x="11469032" y="1692844"/>
                  <a:pt x="11455189" y="1678597"/>
                </a:cubicBezTo>
                <a:cubicBezTo>
                  <a:pt x="11455189" y="1678597"/>
                  <a:pt x="11458483" y="1679471"/>
                  <a:pt x="11457609" y="1682764"/>
                </a:cubicBezTo>
                <a:cubicBezTo>
                  <a:pt x="11457609" y="1682764"/>
                  <a:pt x="11456737" y="1686059"/>
                  <a:pt x="11453443" y="1685186"/>
                </a:cubicBezTo>
                <a:cubicBezTo>
                  <a:pt x="11453443" y="1685186"/>
                  <a:pt x="11451024" y="1681019"/>
                  <a:pt x="11451024" y="1681019"/>
                </a:cubicBezTo>
                <a:cubicBezTo>
                  <a:pt x="11447732" y="1680146"/>
                  <a:pt x="11447732" y="1680146"/>
                  <a:pt x="11447732" y="1680146"/>
                </a:cubicBezTo>
                <a:cubicBezTo>
                  <a:pt x="11431269" y="1675784"/>
                  <a:pt x="11396997" y="1645541"/>
                  <a:pt x="11402909" y="1636528"/>
                </a:cubicBezTo>
                <a:cubicBezTo>
                  <a:pt x="11381609" y="1623829"/>
                  <a:pt x="11348010" y="1604342"/>
                  <a:pt x="11331747" y="1585925"/>
                </a:cubicBezTo>
                <a:close/>
                <a:moveTo>
                  <a:pt x="8467781" y="1556361"/>
                </a:moveTo>
                <a:lnTo>
                  <a:pt x="8423966" y="1578779"/>
                </a:lnTo>
                <a:lnTo>
                  <a:pt x="8407534" y="1588158"/>
                </a:lnTo>
                <a:lnTo>
                  <a:pt x="8408594" y="1589670"/>
                </a:lnTo>
                <a:close/>
                <a:moveTo>
                  <a:pt x="4356339" y="1550368"/>
                </a:moveTo>
                <a:lnTo>
                  <a:pt x="4352843" y="1552385"/>
                </a:lnTo>
                <a:lnTo>
                  <a:pt x="4353380" y="1553320"/>
                </a:lnTo>
                <a:close/>
                <a:moveTo>
                  <a:pt x="4359355" y="1549700"/>
                </a:moveTo>
                <a:lnTo>
                  <a:pt x="4358279" y="1550489"/>
                </a:lnTo>
                <a:lnTo>
                  <a:pt x="4354349" y="1554996"/>
                </a:lnTo>
                <a:lnTo>
                  <a:pt x="4354896" y="1555954"/>
                </a:lnTo>
                <a:lnTo>
                  <a:pt x="4360829" y="1550519"/>
                </a:lnTo>
                <a:close/>
                <a:moveTo>
                  <a:pt x="4257144" y="1540856"/>
                </a:moveTo>
                <a:lnTo>
                  <a:pt x="4257659" y="1541757"/>
                </a:lnTo>
                <a:lnTo>
                  <a:pt x="4279035" y="1548214"/>
                </a:lnTo>
                <a:lnTo>
                  <a:pt x="4280483" y="1546928"/>
                </a:lnTo>
                <a:lnTo>
                  <a:pt x="4279086" y="1546735"/>
                </a:lnTo>
                <a:cubicBezTo>
                  <a:pt x="4279086" y="1546735"/>
                  <a:pt x="4274697" y="1545559"/>
                  <a:pt x="4274697" y="1545559"/>
                </a:cubicBezTo>
                <a:cubicBezTo>
                  <a:pt x="4274697" y="1545559"/>
                  <a:pt x="4274697" y="1545559"/>
                  <a:pt x="4270310" y="1544384"/>
                </a:cubicBezTo>
                <a:cubicBezTo>
                  <a:pt x="4265918" y="1543208"/>
                  <a:pt x="4265918" y="1543208"/>
                  <a:pt x="4261530" y="1542032"/>
                </a:cubicBezTo>
                <a:cubicBezTo>
                  <a:pt x="4257144" y="1540856"/>
                  <a:pt x="4257144" y="1540856"/>
                  <a:pt x="4257144" y="1540856"/>
                </a:cubicBezTo>
                <a:close/>
                <a:moveTo>
                  <a:pt x="4341761" y="1537636"/>
                </a:moveTo>
                <a:lnTo>
                  <a:pt x="4340324" y="1538874"/>
                </a:lnTo>
                <a:lnTo>
                  <a:pt x="4350798" y="1542432"/>
                </a:lnTo>
                <a:cubicBezTo>
                  <a:pt x="4346414" y="1541257"/>
                  <a:pt x="4346414" y="1541257"/>
                  <a:pt x="4346414" y="1541257"/>
                </a:cubicBezTo>
                <a:cubicBezTo>
                  <a:pt x="4346414" y="1541257"/>
                  <a:pt x="4346414" y="1541257"/>
                  <a:pt x="4342026" y="1540081"/>
                </a:cubicBezTo>
                <a:lnTo>
                  <a:pt x="4339661" y="1539447"/>
                </a:lnTo>
                <a:lnTo>
                  <a:pt x="4330236" y="1547579"/>
                </a:lnTo>
                <a:lnTo>
                  <a:pt x="4329167" y="1550748"/>
                </a:lnTo>
                <a:cubicBezTo>
                  <a:pt x="4327737" y="1553893"/>
                  <a:pt x="4325764" y="1556890"/>
                  <a:pt x="4322977" y="1558495"/>
                </a:cubicBezTo>
                <a:lnTo>
                  <a:pt x="4318857" y="1557392"/>
                </a:lnTo>
                <a:lnTo>
                  <a:pt x="4316412" y="1559503"/>
                </a:lnTo>
                <a:lnTo>
                  <a:pt x="4340040" y="1566641"/>
                </a:lnTo>
                <a:lnTo>
                  <a:pt x="4342859" y="1563823"/>
                </a:lnTo>
                <a:lnTo>
                  <a:pt x="4333947" y="1561435"/>
                </a:lnTo>
                <a:cubicBezTo>
                  <a:pt x="4331750" y="1560847"/>
                  <a:pt x="4331750" y="1560847"/>
                  <a:pt x="4331750" y="1560847"/>
                </a:cubicBezTo>
                <a:cubicBezTo>
                  <a:pt x="4337317" y="1557637"/>
                  <a:pt x="4344064" y="1550034"/>
                  <a:pt x="4345235" y="1545646"/>
                </a:cubicBezTo>
                <a:cubicBezTo>
                  <a:pt x="4349629" y="1546822"/>
                  <a:pt x="4354014" y="1547997"/>
                  <a:pt x="4354014" y="1547997"/>
                </a:cubicBezTo>
                <a:lnTo>
                  <a:pt x="4357717" y="1548990"/>
                </a:lnTo>
                <a:lnTo>
                  <a:pt x="4358725" y="1547984"/>
                </a:lnTo>
                <a:lnTo>
                  <a:pt x="4359581" y="1544784"/>
                </a:lnTo>
                <a:lnTo>
                  <a:pt x="4359742" y="1544191"/>
                </a:lnTo>
                <a:close/>
                <a:moveTo>
                  <a:pt x="307628" y="1529937"/>
                </a:moveTo>
                <a:cubicBezTo>
                  <a:pt x="310752" y="1530640"/>
                  <a:pt x="313618" y="1532641"/>
                  <a:pt x="315992" y="1536208"/>
                </a:cubicBezTo>
                <a:cubicBezTo>
                  <a:pt x="317819" y="1539545"/>
                  <a:pt x="320215" y="1537650"/>
                  <a:pt x="322544" y="1536692"/>
                </a:cubicBezTo>
                <a:cubicBezTo>
                  <a:pt x="326424" y="1535096"/>
                  <a:pt x="327840" y="1536331"/>
                  <a:pt x="326402" y="1540557"/>
                </a:cubicBezTo>
                <a:cubicBezTo>
                  <a:pt x="324439" y="1546815"/>
                  <a:pt x="325719" y="1549924"/>
                  <a:pt x="332795" y="1548376"/>
                </a:cubicBezTo>
                <a:cubicBezTo>
                  <a:pt x="334507" y="1548126"/>
                  <a:pt x="336927" y="1548494"/>
                  <a:pt x="335625" y="1550846"/>
                </a:cubicBezTo>
                <a:cubicBezTo>
                  <a:pt x="332659" y="1557972"/>
                  <a:pt x="337202" y="1560192"/>
                  <a:pt x="342293" y="1562641"/>
                </a:cubicBezTo>
                <a:cubicBezTo>
                  <a:pt x="343229" y="1562711"/>
                  <a:pt x="343868" y="1564265"/>
                  <a:pt x="344188" y="1565041"/>
                </a:cubicBezTo>
                <a:cubicBezTo>
                  <a:pt x="342591" y="1576602"/>
                  <a:pt x="340059" y="1588093"/>
                  <a:pt x="338074" y="1599813"/>
                </a:cubicBezTo>
                <a:cubicBezTo>
                  <a:pt x="337116" y="1605203"/>
                  <a:pt x="330702" y="1610568"/>
                  <a:pt x="325680" y="1614906"/>
                </a:cubicBezTo>
                <a:cubicBezTo>
                  <a:pt x="323671" y="1616641"/>
                  <a:pt x="321183" y="1617210"/>
                  <a:pt x="320202" y="1620339"/>
                </a:cubicBezTo>
                <a:cubicBezTo>
                  <a:pt x="319220" y="1623469"/>
                  <a:pt x="316732" y="1624037"/>
                  <a:pt x="313765" y="1623441"/>
                </a:cubicBezTo>
                <a:cubicBezTo>
                  <a:pt x="311893" y="1623303"/>
                  <a:pt x="309313" y="1622547"/>
                  <a:pt x="308241" y="1624351"/>
                </a:cubicBezTo>
                <a:cubicBezTo>
                  <a:pt x="305182" y="1630152"/>
                  <a:pt x="301850" y="1631977"/>
                  <a:pt x="296964" y="1626718"/>
                </a:cubicBezTo>
                <a:cubicBezTo>
                  <a:pt x="295937" y="1625323"/>
                  <a:pt x="293448" y="1625892"/>
                  <a:pt x="292924" y="1627926"/>
                </a:cubicBezTo>
                <a:cubicBezTo>
                  <a:pt x="290732" y="1634733"/>
                  <a:pt x="286555" y="1630091"/>
                  <a:pt x="283131" y="1630592"/>
                </a:cubicBezTo>
                <a:cubicBezTo>
                  <a:pt x="271535" y="1632182"/>
                  <a:pt x="269684" y="1618860"/>
                  <a:pt x="260004" y="1617390"/>
                </a:cubicBezTo>
                <a:cubicBezTo>
                  <a:pt x="256649" y="1616953"/>
                  <a:pt x="255553" y="1608773"/>
                  <a:pt x="254502" y="1605116"/>
                </a:cubicBezTo>
                <a:cubicBezTo>
                  <a:pt x="252310" y="1596477"/>
                  <a:pt x="243269" y="1588838"/>
                  <a:pt x="249865" y="1578402"/>
                </a:cubicBezTo>
                <a:cubicBezTo>
                  <a:pt x="250938" y="1576598"/>
                  <a:pt x="251919" y="1573469"/>
                  <a:pt x="250640" y="1570360"/>
                </a:cubicBezTo>
                <a:cubicBezTo>
                  <a:pt x="248494" y="1566246"/>
                  <a:pt x="249863" y="1562957"/>
                  <a:pt x="253812" y="1560423"/>
                </a:cubicBezTo>
                <a:cubicBezTo>
                  <a:pt x="256208" y="1558529"/>
                  <a:pt x="256962" y="1555947"/>
                  <a:pt x="258103" y="1553207"/>
                </a:cubicBezTo>
                <a:cubicBezTo>
                  <a:pt x="260682" y="1546239"/>
                  <a:pt x="265156" y="1541674"/>
                  <a:pt x="272940" y="1540742"/>
                </a:cubicBezTo>
                <a:cubicBezTo>
                  <a:pt x="277299" y="1540313"/>
                  <a:pt x="281089" y="1537390"/>
                  <a:pt x="281818" y="1532547"/>
                </a:cubicBezTo>
                <a:cubicBezTo>
                  <a:pt x="283371" y="1531909"/>
                  <a:pt x="284923" y="1531271"/>
                  <a:pt x="286475" y="1530632"/>
                </a:cubicBezTo>
                <a:cubicBezTo>
                  <a:pt x="289854" y="1533330"/>
                  <a:pt x="292822" y="1533928"/>
                  <a:pt x="297707" y="1531464"/>
                </a:cubicBezTo>
                <a:cubicBezTo>
                  <a:pt x="301119" y="1529832"/>
                  <a:pt x="304503" y="1529235"/>
                  <a:pt x="307628" y="1529937"/>
                </a:cubicBezTo>
                <a:close/>
                <a:moveTo>
                  <a:pt x="11024398" y="1523075"/>
                </a:moveTo>
                <a:cubicBezTo>
                  <a:pt x="11022418" y="1523478"/>
                  <a:pt x="11020248" y="1524918"/>
                  <a:pt x="11017766" y="1527929"/>
                </a:cubicBezTo>
                <a:cubicBezTo>
                  <a:pt x="11007844" y="1539970"/>
                  <a:pt x="11016975" y="1545247"/>
                  <a:pt x="11026339" y="1552961"/>
                </a:cubicBezTo>
                <a:cubicBezTo>
                  <a:pt x="11078914" y="1587295"/>
                  <a:pt x="11131723" y="1624073"/>
                  <a:pt x="11180990" y="1662422"/>
                </a:cubicBezTo>
                <a:cubicBezTo>
                  <a:pt x="11257738" y="1723133"/>
                  <a:pt x="11330757" y="1786455"/>
                  <a:pt x="11399737" y="1852597"/>
                </a:cubicBezTo>
                <a:lnTo>
                  <a:pt x="11487076" y="1945576"/>
                </a:lnTo>
                <a:lnTo>
                  <a:pt x="11489777" y="1942255"/>
                </a:lnTo>
                <a:cubicBezTo>
                  <a:pt x="11491389" y="1941728"/>
                  <a:pt x="11493337" y="1942349"/>
                  <a:pt x="11496026" y="1943952"/>
                </a:cubicBezTo>
                <a:cubicBezTo>
                  <a:pt x="11501598" y="1947621"/>
                  <a:pt x="11501598" y="1947621"/>
                  <a:pt x="11504977" y="1941354"/>
                </a:cubicBezTo>
                <a:cubicBezTo>
                  <a:pt x="11505754" y="1939951"/>
                  <a:pt x="11506393" y="1938874"/>
                  <a:pt x="11508355" y="1939693"/>
                </a:cubicBezTo>
                <a:lnTo>
                  <a:pt x="11515718" y="1942171"/>
                </a:lnTo>
                <a:lnTo>
                  <a:pt x="11392466" y="1811960"/>
                </a:lnTo>
                <a:cubicBezTo>
                  <a:pt x="11298267" y="1716372"/>
                  <a:pt x="11186429" y="1642192"/>
                  <a:pt x="11079001" y="1562658"/>
                </a:cubicBezTo>
                <a:cubicBezTo>
                  <a:pt x="11065856" y="1554075"/>
                  <a:pt x="11052477" y="1543049"/>
                  <a:pt x="11040435" y="1533129"/>
                </a:cubicBezTo>
                <a:cubicBezTo>
                  <a:pt x="11034592" y="1529998"/>
                  <a:pt x="11030343" y="1521865"/>
                  <a:pt x="11024398" y="1523075"/>
                </a:cubicBezTo>
                <a:close/>
                <a:moveTo>
                  <a:pt x="4274246" y="1516710"/>
                </a:moveTo>
                <a:lnTo>
                  <a:pt x="4273416" y="1518701"/>
                </a:lnTo>
                <a:lnTo>
                  <a:pt x="4264924" y="1527148"/>
                </a:lnTo>
                <a:lnTo>
                  <a:pt x="4268645" y="1528653"/>
                </a:lnTo>
                <a:cubicBezTo>
                  <a:pt x="4276578" y="1531954"/>
                  <a:pt x="4283768" y="1534761"/>
                  <a:pt x="4290011" y="1536141"/>
                </a:cubicBezTo>
                <a:lnTo>
                  <a:pt x="4292841" y="1535946"/>
                </a:lnTo>
                <a:lnTo>
                  <a:pt x="4303591" y="1526398"/>
                </a:lnTo>
                <a:lnTo>
                  <a:pt x="4280388" y="1518519"/>
                </a:lnTo>
                <a:close/>
                <a:moveTo>
                  <a:pt x="8228763" y="1511682"/>
                </a:moveTo>
                <a:lnTo>
                  <a:pt x="8177452" y="1542015"/>
                </a:lnTo>
                <a:lnTo>
                  <a:pt x="8201400" y="1570501"/>
                </a:lnTo>
                <a:lnTo>
                  <a:pt x="8206316" y="1567159"/>
                </a:lnTo>
                <a:lnTo>
                  <a:pt x="8252683" y="1540819"/>
                </a:lnTo>
                <a:close/>
                <a:moveTo>
                  <a:pt x="594462" y="1499428"/>
                </a:moveTo>
                <a:cubicBezTo>
                  <a:pt x="597298" y="1498439"/>
                  <a:pt x="600249" y="1498170"/>
                  <a:pt x="603545" y="1500459"/>
                </a:cubicBezTo>
                <a:cubicBezTo>
                  <a:pt x="604686" y="1501206"/>
                  <a:pt x="606691" y="1501931"/>
                  <a:pt x="608745" y="1501189"/>
                </a:cubicBezTo>
                <a:cubicBezTo>
                  <a:pt x="611476" y="1499911"/>
                  <a:pt x="613573" y="1500893"/>
                  <a:pt x="615106" y="1503528"/>
                </a:cubicBezTo>
                <a:cubicBezTo>
                  <a:pt x="616269" y="1505137"/>
                  <a:pt x="617924" y="1505699"/>
                  <a:pt x="619672" y="1506518"/>
                </a:cubicBezTo>
                <a:cubicBezTo>
                  <a:pt x="624122" y="1508389"/>
                  <a:pt x="626961" y="1511423"/>
                  <a:pt x="627345" y="1516503"/>
                </a:cubicBezTo>
                <a:cubicBezTo>
                  <a:pt x="627502" y="1519346"/>
                  <a:pt x="629292" y="1521887"/>
                  <a:pt x="632417" y="1522498"/>
                </a:cubicBezTo>
                <a:cubicBezTo>
                  <a:pt x="632787" y="1523523"/>
                  <a:pt x="633158" y="1524550"/>
                  <a:pt x="633529" y="1525576"/>
                </a:cubicBezTo>
                <a:cubicBezTo>
                  <a:pt x="631682" y="1527693"/>
                  <a:pt x="631210" y="1529603"/>
                  <a:pt x="632672" y="1532844"/>
                </a:cubicBezTo>
                <a:cubicBezTo>
                  <a:pt x="634597" y="1537367"/>
                  <a:pt x="633842" y="1541700"/>
                  <a:pt x="629077" y="1544583"/>
                </a:cubicBezTo>
                <a:cubicBezTo>
                  <a:pt x="626859" y="1545674"/>
                  <a:pt x="628020" y="1547284"/>
                  <a:pt x="628576" y="1548824"/>
                </a:cubicBezTo>
                <a:cubicBezTo>
                  <a:pt x="629504" y="1551387"/>
                  <a:pt x="628662" y="1552271"/>
                  <a:pt x="625958" y="1551220"/>
                </a:cubicBezTo>
                <a:cubicBezTo>
                  <a:pt x="621950" y="1549768"/>
                  <a:pt x="619896" y="1550511"/>
                  <a:pt x="620701" y="1555149"/>
                </a:cubicBezTo>
                <a:cubicBezTo>
                  <a:pt x="620815" y="1556268"/>
                  <a:pt x="620509" y="1557829"/>
                  <a:pt x="619018" y="1556917"/>
                </a:cubicBezTo>
                <a:cubicBezTo>
                  <a:pt x="614475" y="1554791"/>
                  <a:pt x="612906" y="1557677"/>
                  <a:pt x="611171" y="1560913"/>
                </a:cubicBezTo>
                <a:cubicBezTo>
                  <a:pt x="611100" y="1561520"/>
                  <a:pt x="610073" y="1561890"/>
                  <a:pt x="609560" y="1562076"/>
                </a:cubicBezTo>
                <a:cubicBezTo>
                  <a:pt x="602099" y="1560714"/>
                  <a:pt x="594710" y="1558745"/>
                  <a:pt x="587156" y="1557125"/>
                </a:cubicBezTo>
                <a:cubicBezTo>
                  <a:pt x="583682" y="1556351"/>
                  <a:pt x="580381" y="1552035"/>
                  <a:pt x="577705" y="1548653"/>
                </a:cubicBezTo>
                <a:cubicBezTo>
                  <a:pt x="576636" y="1547300"/>
                  <a:pt x="576336" y="1545668"/>
                  <a:pt x="574333" y="1544942"/>
                </a:cubicBezTo>
                <a:cubicBezTo>
                  <a:pt x="572328" y="1544218"/>
                  <a:pt x="572029" y="1542586"/>
                  <a:pt x="572499" y="1540676"/>
                </a:cubicBezTo>
                <a:cubicBezTo>
                  <a:pt x="572642" y="1539464"/>
                  <a:pt x="573205" y="1537811"/>
                  <a:pt x="572065" y="1537064"/>
                </a:cubicBezTo>
                <a:cubicBezTo>
                  <a:pt x="568384" y="1534914"/>
                  <a:pt x="567293" y="1532699"/>
                  <a:pt x="570846" y="1529676"/>
                </a:cubicBezTo>
                <a:cubicBezTo>
                  <a:pt x="571779" y="1529048"/>
                  <a:pt x="571481" y="1527417"/>
                  <a:pt x="570175" y="1527019"/>
                </a:cubicBezTo>
                <a:cubicBezTo>
                  <a:pt x="565817" y="1525404"/>
                  <a:pt x="568949" y="1522822"/>
                  <a:pt x="568721" y="1520585"/>
                </a:cubicBezTo>
                <a:cubicBezTo>
                  <a:pt x="568015" y="1513011"/>
                  <a:pt x="576717" y="1512185"/>
                  <a:pt x="577945" y="1505943"/>
                </a:cubicBezTo>
                <a:cubicBezTo>
                  <a:pt x="578323" y="1503777"/>
                  <a:pt x="583665" y="1503295"/>
                  <a:pt x="586069" y="1502716"/>
                </a:cubicBezTo>
                <a:cubicBezTo>
                  <a:pt x="588904" y="1502126"/>
                  <a:pt x="591626" y="1500417"/>
                  <a:pt x="594462" y="1499428"/>
                </a:cubicBezTo>
                <a:close/>
                <a:moveTo>
                  <a:pt x="4206736" y="1499134"/>
                </a:moveTo>
                <a:lnTo>
                  <a:pt x="4202886" y="1502803"/>
                </a:lnTo>
                <a:lnTo>
                  <a:pt x="4205957" y="1503628"/>
                </a:lnTo>
                <a:cubicBezTo>
                  <a:pt x="4200399" y="1506840"/>
                  <a:pt x="4204785" y="1508016"/>
                  <a:pt x="4208000" y="1513579"/>
                </a:cubicBezTo>
                <a:cubicBezTo>
                  <a:pt x="4212389" y="1514756"/>
                  <a:pt x="4212389" y="1514756"/>
                  <a:pt x="4212389" y="1514756"/>
                </a:cubicBezTo>
                <a:cubicBezTo>
                  <a:pt x="4213563" y="1510369"/>
                  <a:pt x="4213563" y="1510369"/>
                  <a:pt x="4213563" y="1510369"/>
                </a:cubicBezTo>
                <a:lnTo>
                  <a:pt x="4223666" y="1513075"/>
                </a:lnTo>
                <a:lnTo>
                  <a:pt x="4223111" y="1508606"/>
                </a:lnTo>
                <a:lnTo>
                  <a:pt x="4227953" y="1504201"/>
                </a:lnTo>
                <a:lnTo>
                  <a:pt x="4211529" y="1500415"/>
                </a:lnTo>
                <a:cubicBezTo>
                  <a:pt x="4211529" y="1500415"/>
                  <a:pt x="4207139" y="1499238"/>
                  <a:pt x="4207139" y="1499238"/>
                </a:cubicBezTo>
                <a:close/>
                <a:moveTo>
                  <a:pt x="1543648" y="1490496"/>
                </a:moveTo>
                <a:cubicBezTo>
                  <a:pt x="1542689" y="1494077"/>
                  <a:pt x="1542689" y="1494077"/>
                  <a:pt x="1542689" y="1494077"/>
                </a:cubicBezTo>
                <a:cubicBezTo>
                  <a:pt x="1542689" y="1494077"/>
                  <a:pt x="1541729" y="1497657"/>
                  <a:pt x="1541729" y="1497657"/>
                </a:cubicBezTo>
                <a:cubicBezTo>
                  <a:pt x="1538146" y="1496699"/>
                  <a:pt x="1538146" y="1496699"/>
                  <a:pt x="1539106" y="1493118"/>
                </a:cubicBezTo>
                <a:cubicBezTo>
                  <a:pt x="1539106" y="1493118"/>
                  <a:pt x="1540065" y="1489538"/>
                  <a:pt x="1543648" y="1490496"/>
                </a:cubicBezTo>
                <a:close/>
                <a:moveTo>
                  <a:pt x="842043" y="1487867"/>
                </a:moveTo>
                <a:cubicBezTo>
                  <a:pt x="844879" y="1486878"/>
                  <a:pt x="847830" y="1486609"/>
                  <a:pt x="851125" y="1488898"/>
                </a:cubicBezTo>
                <a:cubicBezTo>
                  <a:pt x="852266" y="1489645"/>
                  <a:pt x="854271" y="1490369"/>
                  <a:pt x="856325" y="1489626"/>
                </a:cubicBezTo>
                <a:cubicBezTo>
                  <a:pt x="859057" y="1488349"/>
                  <a:pt x="861155" y="1489331"/>
                  <a:pt x="862687" y="1491967"/>
                </a:cubicBezTo>
                <a:cubicBezTo>
                  <a:pt x="863850" y="1493577"/>
                  <a:pt x="865505" y="1494138"/>
                  <a:pt x="867252" y="1494956"/>
                </a:cubicBezTo>
                <a:cubicBezTo>
                  <a:pt x="871703" y="1496827"/>
                  <a:pt x="874541" y="1499861"/>
                  <a:pt x="874926" y="1504941"/>
                </a:cubicBezTo>
                <a:cubicBezTo>
                  <a:pt x="875083" y="1507784"/>
                  <a:pt x="876874" y="1510327"/>
                  <a:pt x="879997" y="1510937"/>
                </a:cubicBezTo>
                <a:cubicBezTo>
                  <a:pt x="880368" y="1511963"/>
                  <a:pt x="880738" y="1512988"/>
                  <a:pt x="881110" y="1514014"/>
                </a:cubicBezTo>
                <a:cubicBezTo>
                  <a:pt x="879262" y="1516132"/>
                  <a:pt x="878792" y="1518042"/>
                  <a:pt x="880253" y="1521283"/>
                </a:cubicBezTo>
                <a:cubicBezTo>
                  <a:pt x="882179" y="1525806"/>
                  <a:pt x="881422" y="1530139"/>
                  <a:pt x="876657" y="1533021"/>
                </a:cubicBezTo>
                <a:cubicBezTo>
                  <a:pt x="874439" y="1534113"/>
                  <a:pt x="875602" y="1535722"/>
                  <a:pt x="876158" y="1537261"/>
                </a:cubicBezTo>
                <a:cubicBezTo>
                  <a:pt x="877085" y="1539826"/>
                  <a:pt x="876243" y="1540710"/>
                  <a:pt x="873539" y="1539657"/>
                </a:cubicBezTo>
                <a:cubicBezTo>
                  <a:pt x="869532" y="1538206"/>
                  <a:pt x="867477" y="1538949"/>
                  <a:pt x="868282" y="1543587"/>
                </a:cubicBezTo>
                <a:cubicBezTo>
                  <a:pt x="868396" y="1544706"/>
                  <a:pt x="868089" y="1546267"/>
                  <a:pt x="866598" y="1545356"/>
                </a:cubicBezTo>
                <a:cubicBezTo>
                  <a:pt x="862056" y="1543228"/>
                  <a:pt x="860487" y="1546115"/>
                  <a:pt x="858753" y="1549352"/>
                </a:cubicBezTo>
                <a:cubicBezTo>
                  <a:pt x="858682" y="1549959"/>
                  <a:pt x="857654" y="1550329"/>
                  <a:pt x="857141" y="1550516"/>
                </a:cubicBezTo>
                <a:cubicBezTo>
                  <a:pt x="849679" y="1549152"/>
                  <a:pt x="842290" y="1547183"/>
                  <a:pt x="834737" y="1545565"/>
                </a:cubicBezTo>
                <a:cubicBezTo>
                  <a:pt x="831263" y="1544789"/>
                  <a:pt x="827961" y="1540474"/>
                  <a:pt x="825287" y="1537091"/>
                </a:cubicBezTo>
                <a:cubicBezTo>
                  <a:pt x="824217" y="1535738"/>
                  <a:pt x="823918" y="1534107"/>
                  <a:pt x="821913" y="1533381"/>
                </a:cubicBezTo>
                <a:cubicBezTo>
                  <a:pt x="819909" y="1532656"/>
                  <a:pt x="819609" y="1531025"/>
                  <a:pt x="820081" y="1529115"/>
                </a:cubicBezTo>
                <a:cubicBezTo>
                  <a:pt x="820223" y="1527904"/>
                  <a:pt x="820787" y="1526250"/>
                  <a:pt x="819645" y="1525503"/>
                </a:cubicBezTo>
                <a:cubicBezTo>
                  <a:pt x="815965" y="1523354"/>
                  <a:pt x="814874" y="1521138"/>
                  <a:pt x="818426" y="1518114"/>
                </a:cubicBezTo>
                <a:cubicBezTo>
                  <a:pt x="819361" y="1517486"/>
                  <a:pt x="819061" y="1515855"/>
                  <a:pt x="817756" y="1515457"/>
                </a:cubicBezTo>
                <a:cubicBezTo>
                  <a:pt x="813398" y="1513843"/>
                  <a:pt x="816530" y="1511261"/>
                  <a:pt x="816301" y="1509024"/>
                </a:cubicBezTo>
                <a:cubicBezTo>
                  <a:pt x="815596" y="1501450"/>
                  <a:pt x="824298" y="1500624"/>
                  <a:pt x="825525" y="1494381"/>
                </a:cubicBezTo>
                <a:cubicBezTo>
                  <a:pt x="825904" y="1492215"/>
                  <a:pt x="831247" y="1491733"/>
                  <a:pt x="833650" y="1491155"/>
                </a:cubicBezTo>
                <a:cubicBezTo>
                  <a:pt x="836485" y="1490565"/>
                  <a:pt x="839206" y="1488856"/>
                  <a:pt x="842043" y="1487867"/>
                </a:cubicBezTo>
                <a:close/>
                <a:moveTo>
                  <a:pt x="4147559" y="1484545"/>
                </a:moveTo>
                <a:lnTo>
                  <a:pt x="4144678" y="1487191"/>
                </a:lnTo>
                <a:lnTo>
                  <a:pt x="4157032" y="1490501"/>
                </a:lnTo>
                <a:lnTo>
                  <a:pt x="4164524" y="1492510"/>
                </a:lnTo>
                <a:lnTo>
                  <a:pt x="4168282" y="1489160"/>
                </a:lnTo>
                <a:lnTo>
                  <a:pt x="4160224" y="1487072"/>
                </a:lnTo>
                <a:close/>
                <a:moveTo>
                  <a:pt x="55449" y="1460759"/>
                </a:moveTo>
                <a:lnTo>
                  <a:pt x="55834" y="1460817"/>
                </a:lnTo>
                <a:lnTo>
                  <a:pt x="55708" y="1461121"/>
                </a:lnTo>
                <a:close/>
                <a:moveTo>
                  <a:pt x="7962086" y="1437716"/>
                </a:moveTo>
                <a:lnTo>
                  <a:pt x="7963118" y="1438147"/>
                </a:lnTo>
                <a:cubicBezTo>
                  <a:pt x="7963118" y="1438147"/>
                  <a:pt x="7963118" y="1438147"/>
                  <a:pt x="7964921" y="1442533"/>
                </a:cubicBezTo>
                <a:close/>
                <a:moveTo>
                  <a:pt x="11648643" y="1406296"/>
                </a:moveTo>
                <a:lnTo>
                  <a:pt x="11648664" y="1406793"/>
                </a:lnTo>
                <a:lnTo>
                  <a:pt x="11648240" y="1406415"/>
                </a:lnTo>
                <a:close/>
                <a:moveTo>
                  <a:pt x="4505374" y="1403113"/>
                </a:moveTo>
                <a:lnTo>
                  <a:pt x="4422809" y="1469278"/>
                </a:lnTo>
                <a:lnTo>
                  <a:pt x="4451788" y="1477692"/>
                </a:lnTo>
                <a:lnTo>
                  <a:pt x="4512832" y="1429125"/>
                </a:lnTo>
                <a:lnTo>
                  <a:pt x="4532701" y="1415605"/>
                </a:lnTo>
                <a:lnTo>
                  <a:pt x="4521088" y="1411664"/>
                </a:lnTo>
                <a:close/>
                <a:moveTo>
                  <a:pt x="1051478" y="1397103"/>
                </a:moveTo>
                <a:cubicBezTo>
                  <a:pt x="1057007" y="1397206"/>
                  <a:pt x="1062431" y="1398190"/>
                  <a:pt x="1066451" y="1403466"/>
                </a:cubicBezTo>
                <a:cubicBezTo>
                  <a:pt x="1067228" y="1404446"/>
                  <a:pt x="1069738" y="1404379"/>
                  <a:pt x="1070172" y="1406746"/>
                </a:cubicBezTo>
                <a:cubicBezTo>
                  <a:pt x="1071203" y="1413103"/>
                  <a:pt x="1076359" y="1413344"/>
                  <a:pt x="1080498" y="1413108"/>
                </a:cubicBezTo>
                <a:cubicBezTo>
                  <a:pt x="1083382" y="1412907"/>
                  <a:pt x="1085279" y="1413482"/>
                  <a:pt x="1087312" y="1414431"/>
                </a:cubicBezTo>
                <a:cubicBezTo>
                  <a:pt x="1093274" y="1416901"/>
                  <a:pt x="1094917" y="1422614"/>
                  <a:pt x="1097921" y="1427417"/>
                </a:cubicBezTo>
                <a:cubicBezTo>
                  <a:pt x="1100416" y="1431983"/>
                  <a:pt x="1099519" y="1436513"/>
                  <a:pt x="1099130" y="1441278"/>
                </a:cubicBezTo>
                <a:cubicBezTo>
                  <a:pt x="1098875" y="1446417"/>
                  <a:pt x="1097231" y="1451217"/>
                  <a:pt x="1091627" y="1453244"/>
                </a:cubicBezTo>
                <a:cubicBezTo>
                  <a:pt x="1090879" y="1453514"/>
                  <a:pt x="1090639" y="1454021"/>
                  <a:pt x="1091043" y="1455136"/>
                </a:cubicBezTo>
                <a:cubicBezTo>
                  <a:pt x="1088427" y="1456082"/>
                  <a:pt x="1086186" y="1456892"/>
                  <a:pt x="1083570" y="1457839"/>
                </a:cubicBezTo>
                <a:cubicBezTo>
                  <a:pt x="1080762" y="1455909"/>
                  <a:pt x="1077159" y="1457632"/>
                  <a:pt x="1073872" y="1456719"/>
                </a:cubicBezTo>
                <a:cubicBezTo>
                  <a:pt x="1070584" y="1455803"/>
                  <a:pt x="1067805" y="1455126"/>
                  <a:pt x="1065847" y="1452048"/>
                </a:cubicBezTo>
                <a:cubicBezTo>
                  <a:pt x="1064129" y="1448464"/>
                  <a:pt x="1061051" y="1445791"/>
                  <a:pt x="1058107" y="1443491"/>
                </a:cubicBezTo>
                <a:cubicBezTo>
                  <a:pt x="1055029" y="1440819"/>
                  <a:pt x="1052324" y="1438012"/>
                  <a:pt x="1049381" y="1435711"/>
                </a:cubicBezTo>
                <a:cubicBezTo>
                  <a:pt x="1046676" y="1432905"/>
                  <a:pt x="1042612" y="1431010"/>
                  <a:pt x="1038203" y="1430500"/>
                </a:cubicBezTo>
                <a:cubicBezTo>
                  <a:pt x="1036590" y="1426036"/>
                  <a:pt x="1034976" y="1421573"/>
                  <a:pt x="1033363" y="1417108"/>
                </a:cubicBezTo>
                <a:cubicBezTo>
                  <a:pt x="1035201" y="1415182"/>
                  <a:pt x="1035784" y="1413290"/>
                  <a:pt x="1035964" y="1410281"/>
                </a:cubicBezTo>
                <a:cubicBezTo>
                  <a:pt x="1036383" y="1406766"/>
                  <a:pt x="1038939" y="1403319"/>
                  <a:pt x="1042302" y="1402102"/>
                </a:cubicBezTo>
                <a:cubicBezTo>
                  <a:pt x="1045664" y="1400887"/>
                  <a:pt x="1048384" y="1399062"/>
                  <a:pt x="1051478" y="1397103"/>
                </a:cubicBezTo>
                <a:close/>
                <a:moveTo>
                  <a:pt x="2814110" y="1396697"/>
                </a:moveTo>
                <a:lnTo>
                  <a:pt x="2813589" y="1398643"/>
                </a:lnTo>
                <a:cubicBezTo>
                  <a:pt x="2813589" y="1398643"/>
                  <a:pt x="2813589" y="1398643"/>
                  <a:pt x="2809201" y="1397467"/>
                </a:cubicBezTo>
                <a:close/>
                <a:moveTo>
                  <a:pt x="11739699" y="1379269"/>
                </a:moveTo>
                <a:lnTo>
                  <a:pt x="11737608" y="1382292"/>
                </a:lnTo>
                <a:cubicBezTo>
                  <a:pt x="11736267" y="1383764"/>
                  <a:pt x="11735810" y="1384613"/>
                  <a:pt x="11737150" y="1386708"/>
                </a:cubicBezTo>
                <a:cubicBezTo>
                  <a:pt x="11738819" y="1388705"/>
                  <a:pt x="11740244" y="1388100"/>
                  <a:pt x="11741781" y="1387282"/>
                </a:cubicBezTo>
                <a:cubicBezTo>
                  <a:pt x="11742878" y="1386776"/>
                  <a:pt x="11743549" y="1386040"/>
                  <a:pt x="11744546" y="1385206"/>
                </a:cubicBezTo>
                <a:cubicBezTo>
                  <a:pt x="11748866" y="1381773"/>
                  <a:pt x="11750257" y="1382248"/>
                  <a:pt x="11751501" y="1387580"/>
                </a:cubicBezTo>
                <a:cubicBezTo>
                  <a:pt x="11751680" y="1388776"/>
                  <a:pt x="11751958" y="1390296"/>
                  <a:pt x="11753235" y="1390984"/>
                </a:cubicBezTo>
                <a:cubicBezTo>
                  <a:pt x="11754838" y="1391574"/>
                  <a:pt x="11755755" y="1389873"/>
                  <a:pt x="11756752" y="1389039"/>
                </a:cubicBezTo>
                <a:cubicBezTo>
                  <a:pt x="11757636" y="1388417"/>
                  <a:pt x="11758307" y="1387682"/>
                  <a:pt x="11758766" y="1386831"/>
                </a:cubicBezTo>
                <a:cubicBezTo>
                  <a:pt x="11760058" y="1385196"/>
                  <a:pt x="11761207" y="1384718"/>
                  <a:pt x="11762211" y="1385019"/>
                </a:cubicBezTo>
                <a:cubicBezTo>
                  <a:pt x="11763216" y="1385320"/>
                  <a:pt x="11764075" y="1386400"/>
                  <a:pt x="11764786" y="1387881"/>
                </a:cubicBezTo>
                <a:cubicBezTo>
                  <a:pt x="11766095" y="1391054"/>
                  <a:pt x="11767175" y="1394653"/>
                  <a:pt x="11768484" y="1397828"/>
                </a:cubicBezTo>
                <a:cubicBezTo>
                  <a:pt x="11769990" y="1401656"/>
                  <a:pt x="11772264" y="1405075"/>
                  <a:pt x="11776698" y="1404996"/>
                </a:cubicBezTo>
                <a:cubicBezTo>
                  <a:pt x="11780151" y="1405210"/>
                  <a:pt x="11780854" y="1406961"/>
                  <a:pt x="11781313" y="1409675"/>
                </a:cubicBezTo>
                <a:cubicBezTo>
                  <a:pt x="11782214" y="1415647"/>
                  <a:pt x="11784325" y="1420899"/>
                  <a:pt x="11790967" y="1422831"/>
                </a:cubicBezTo>
                <a:cubicBezTo>
                  <a:pt x="11792685" y="1423208"/>
                  <a:pt x="11792768" y="1424075"/>
                  <a:pt x="11792178" y="1425678"/>
                </a:cubicBezTo>
                <a:cubicBezTo>
                  <a:pt x="11787416" y="1436554"/>
                  <a:pt x="11787074" y="1447890"/>
                  <a:pt x="11788677" y="1459178"/>
                </a:cubicBezTo>
                <a:cubicBezTo>
                  <a:pt x="11789136" y="1461893"/>
                  <a:pt x="11788023" y="1462939"/>
                  <a:pt x="11786141" y="1464394"/>
                </a:cubicBezTo>
                <a:cubicBezTo>
                  <a:pt x="11781952" y="1467075"/>
                  <a:pt x="11777323" y="1470067"/>
                  <a:pt x="11776520" y="1475121"/>
                </a:cubicBezTo>
                <a:cubicBezTo>
                  <a:pt x="11775719" y="1480176"/>
                  <a:pt x="11773052" y="1482578"/>
                  <a:pt x="11769092" y="1484835"/>
                </a:cubicBezTo>
                <a:cubicBezTo>
                  <a:pt x="11767881" y="1485554"/>
                  <a:pt x="11766883" y="1486387"/>
                  <a:pt x="11765558" y="1487319"/>
                </a:cubicBezTo>
                <a:cubicBezTo>
                  <a:pt x="11759471" y="1491995"/>
                  <a:pt x="11753188" y="1496017"/>
                  <a:pt x="11744991" y="1495441"/>
                </a:cubicBezTo>
                <a:cubicBezTo>
                  <a:pt x="11743486" y="1495179"/>
                  <a:pt x="11743027" y="1496028"/>
                  <a:pt x="11742455" y="1497092"/>
                </a:cubicBezTo>
                <a:cubicBezTo>
                  <a:pt x="11740949" y="1500395"/>
                  <a:pt x="11742570" y="1511142"/>
                  <a:pt x="11745090" y="1513598"/>
                </a:cubicBezTo>
                <a:cubicBezTo>
                  <a:pt x="11749196" y="1517182"/>
                  <a:pt x="11751978" y="1521697"/>
                  <a:pt x="11753222" y="1527030"/>
                </a:cubicBezTo>
                <a:cubicBezTo>
                  <a:pt x="11755170" y="1534114"/>
                  <a:pt x="11756364" y="1541066"/>
                  <a:pt x="11757984" y="1548248"/>
                </a:cubicBezTo>
                <a:cubicBezTo>
                  <a:pt x="11758573" y="1550212"/>
                  <a:pt x="11757477" y="1550718"/>
                  <a:pt x="11756053" y="1551322"/>
                </a:cubicBezTo>
                <a:cubicBezTo>
                  <a:pt x="11749706" y="1553937"/>
                  <a:pt x="11749706" y="1553937"/>
                  <a:pt x="11752666" y="1559647"/>
                </a:cubicBezTo>
                <a:cubicBezTo>
                  <a:pt x="11755204" y="1565128"/>
                  <a:pt x="11754270" y="1567368"/>
                  <a:pt x="11748266" y="1569345"/>
                </a:cubicBezTo>
                <a:cubicBezTo>
                  <a:pt x="11745647" y="1570129"/>
                  <a:pt x="11742915" y="1571125"/>
                  <a:pt x="11741950" y="1574446"/>
                </a:cubicBezTo>
                <a:cubicBezTo>
                  <a:pt x="11739855" y="1582919"/>
                  <a:pt x="11733769" y="1587594"/>
                  <a:pt x="11725899" y="1590487"/>
                </a:cubicBezTo>
                <a:cubicBezTo>
                  <a:pt x="11720761" y="1592382"/>
                  <a:pt x="11715100" y="1593721"/>
                  <a:pt x="11710469" y="1596712"/>
                </a:cubicBezTo>
                <a:cubicBezTo>
                  <a:pt x="11709586" y="1597333"/>
                  <a:pt x="11708490" y="1597841"/>
                  <a:pt x="11707540" y="1597055"/>
                </a:cubicBezTo>
                <a:cubicBezTo>
                  <a:pt x="11703140" y="1592489"/>
                  <a:pt x="11698542" y="1594401"/>
                  <a:pt x="11693731" y="1596198"/>
                </a:cubicBezTo>
                <a:cubicBezTo>
                  <a:pt x="11692307" y="1596803"/>
                  <a:pt x="11690556" y="1597506"/>
                  <a:pt x="11688871" y="1596049"/>
                </a:cubicBezTo>
                <a:cubicBezTo>
                  <a:pt x="11684240" y="1591909"/>
                  <a:pt x="11678366" y="1589568"/>
                  <a:pt x="11673279" y="1586278"/>
                </a:cubicBezTo>
                <a:cubicBezTo>
                  <a:pt x="11668925" y="1583660"/>
                  <a:pt x="11664687" y="1580827"/>
                  <a:pt x="11662136" y="1575886"/>
                </a:cubicBezTo>
                <a:cubicBezTo>
                  <a:pt x="11661120" y="1573695"/>
                  <a:pt x="11659615" y="1573432"/>
                  <a:pt x="11657537" y="1574233"/>
                </a:cubicBezTo>
                <a:cubicBezTo>
                  <a:pt x="11656326" y="1574952"/>
                  <a:pt x="11655230" y="1575458"/>
                  <a:pt x="11653921" y="1575850"/>
                </a:cubicBezTo>
                <a:cubicBezTo>
                  <a:pt x="11652613" y="1576242"/>
                  <a:pt x="11650666" y="1576290"/>
                  <a:pt x="11650060" y="1574868"/>
                </a:cubicBezTo>
                <a:cubicBezTo>
                  <a:pt x="11649241" y="1573330"/>
                  <a:pt x="11650583" y="1571858"/>
                  <a:pt x="11651909" y="1570927"/>
                </a:cubicBezTo>
                <a:cubicBezTo>
                  <a:pt x="11652464" y="1570403"/>
                  <a:pt x="11653119" y="1570206"/>
                  <a:pt x="11653888" y="1569798"/>
                </a:cubicBezTo>
                <a:cubicBezTo>
                  <a:pt x="11659926" y="1566742"/>
                  <a:pt x="11660368" y="1562865"/>
                  <a:pt x="11654967" y="1559134"/>
                </a:cubicBezTo>
                <a:cubicBezTo>
                  <a:pt x="11654018" y="1558348"/>
                  <a:pt x="11652955" y="1557776"/>
                  <a:pt x="11652219" y="1557104"/>
                </a:cubicBezTo>
                <a:cubicBezTo>
                  <a:pt x="11650959" y="1555876"/>
                  <a:pt x="11649029" y="1555385"/>
                  <a:pt x="11649862" y="1552817"/>
                </a:cubicBezTo>
                <a:cubicBezTo>
                  <a:pt x="11650353" y="1550888"/>
                  <a:pt x="11651663" y="1550495"/>
                  <a:pt x="11653396" y="1550333"/>
                </a:cubicBezTo>
                <a:cubicBezTo>
                  <a:pt x="11656654" y="1549893"/>
                  <a:pt x="11657242" y="1548289"/>
                  <a:pt x="11655934" y="1545116"/>
                </a:cubicBezTo>
                <a:cubicBezTo>
                  <a:pt x="11654215" y="1541173"/>
                  <a:pt x="11653052" y="1536706"/>
                  <a:pt x="11655556" y="1532569"/>
                </a:cubicBezTo>
                <a:cubicBezTo>
                  <a:pt x="11657601" y="1529282"/>
                  <a:pt x="11657667" y="1527124"/>
                  <a:pt x="11653379" y="1525911"/>
                </a:cubicBezTo>
                <a:cubicBezTo>
                  <a:pt x="11652414" y="1525665"/>
                  <a:pt x="11651466" y="1524880"/>
                  <a:pt x="11651728" y="1523375"/>
                </a:cubicBezTo>
                <a:cubicBezTo>
                  <a:pt x="11651874" y="1522082"/>
                  <a:pt x="11653281" y="1522018"/>
                  <a:pt x="11654264" y="1521723"/>
                </a:cubicBezTo>
                <a:cubicBezTo>
                  <a:pt x="11656554" y="1521037"/>
                  <a:pt x="11659058" y="1520466"/>
                  <a:pt x="11661038" y="1519338"/>
                </a:cubicBezTo>
                <a:cubicBezTo>
                  <a:pt x="11666845" y="1516707"/>
                  <a:pt x="11668007" y="1514041"/>
                  <a:pt x="11667336" y="1507645"/>
                </a:cubicBezTo>
                <a:cubicBezTo>
                  <a:pt x="11666730" y="1502656"/>
                  <a:pt x="11666878" y="1497797"/>
                  <a:pt x="11669184" y="1493006"/>
                </a:cubicBezTo>
                <a:cubicBezTo>
                  <a:pt x="11670805" y="1489490"/>
                  <a:pt x="11672735" y="1489981"/>
                  <a:pt x="11674928" y="1492534"/>
                </a:cubicBezTo>
                <a:cubicBezTo>
                  <a:pt x="11676498" y="1494203"/>
                  <a:pt x="11676531" y="1496690"/>
                  <a:pt x="11677449" y="1498554"/>
                </a:cubicBezTo>
                <a:cubicBezTo>
                  <a:pt x="11678462" y="1500747"/>
                  <a:pt x="11679886" y="1503708"/>
                  <a:pt x="11682504" y="1502924"/>
                </a:cubicBezTo>
                <a:cubicBezTo>
                  <a:pt x="11685563" y="1501829"/>
                  <a:pt x="11685875" y="1498705"/>
                  <a:pt x="11684991" y="1495760"/>
                </a:cubicBezTo>
                <a:cubicBezTo>
                  <a:pt x="11684598" y="1494452"/>
                  <a:pt x="11683781" y="1492914"/>
                  <a:pt x="11683501" y="1491392"/>
                </a:cubicBezTo>
                <a:cubicBezTo>
                  <a:pt x="11683010" y="1489757"/>
                  <a:pt x="11682848" y="1488023"/>
                  <a:pt x="11684925" y="1487222"/>
                </a:cubicBezTo>
                <a:cubicBezTo>
                  <a:pt x="11686677" y="1486519"/>
                  <a:pt x="11687608" y="1487844"/>
                  <a:pt x="11688312" y="1489595"/>
                </a:cubicBezTo>
                <a:cubicBezTo>
                  <a:pt x="11689131" y="1491132"/>
                  <a:pt x="11689835" y="1492883"/>
                  <a:pt x="11690766" y="1494208"/>
                </a:cubicBezTo>
                <a:cubicBezTo>
                  <a:pt x="11691994" y="1496516"/>
                  <a:pt x="11694464" y="1497023"/>
                  <a:pt x="11696641" y="1496549"/>
                </a:cubicBezTo>
                <a:cubicBezTo>
                  <a:pt x="11698817" y="1496077"/>
                  <a:pt x="11698997" y="1493705"/>
                  <a:pt x="11699161" y="1491873"/>
                </a:cubicBezTo>
                <a:cubicBezTo>
                  <a:pt x="11699979" y="1482713"/>
                  <a:pt x="11691060" y="1473795"/>
                  <a:pt x="11681423" y="1474363"/>
                </a:cubicBezTo>
                <a:cubicBezTo>
                  <a:pt x="11676875" y="1474655"/>
                  <a:pt x="11675942" y="1473331"/>
                  <a:pt x="11677349" y="1469700"/>
                </a:cubicBezTo>
                <a:cubicBezTo>
                  <a:pt x="11679688" y="1463829"/>
                  <a:pt x="11679083" y="1458839"/>
                  <a:pt x="11674583" y="1453946"/>
                </a:cubicBezTo>
                <a:cubicBezTo>
                  <a:pt x="11673323" y="1452719"/>
                  <a:pt x="11671556" y="1450396"/>
                  <a:pt x="11673455" y="1448400"/>
                </a:cubicBezTo>
                <a:cubicBezTo>
                  <a:pt x="11677593" y="1443773"/>
                  <a:pt x="11677872" y="1438163"/>
                  <a:pt x="11677397" y="1432421"/>
                </a:cubicBezTo>
                <a:cubicBezTo>
                  <a:pt x="11676988" y="1428086"/>
                  <a:pt x="11677954" y="1424765"/>
                  <a:pt x="11682355" y="1422199"/>
                </a:cubicBezTo>
                <a:cubicBezTo>
                  <a:pt x="11687083" y="1419535"/>
                  <a:pt x="11686854" y="1416394"/>
                  <a:pt x="11682207" y="1412794"/>
                </a:cubicBezTo>
                <a:cubicBezTo>
                  <a:pt x="11681995" y="1412679"/>
                  <a:pt x="11681782" y="1412564"/>
                  <a:pt x="11681569" y="1412450"/>
                </a:cubicBezTo>
                <a:cubicBezTo>
                  <a:pt x="11679769" y="1411206"/>
                  <a:pt x="11678083" y="1409749"/>
                  <a:pt x="11678902" y="1407721"/>
                </a:cubicBezTo>
                <a:cubicBezTo>
                  <a:pt x="11679507" y="1405579"/>
                  <a:pt x="11681732" y="1407052"/>
                  <a:pt x="11683140" y="1406986"/>
                </a:cubicBezTo>
                <a:cubicBezTo>
                  <a:pt x="11691779" y="1407252"/>
                  <a:pt x="11697408" y="1403426"/>
                  <a:pt x="11700254" y="1395085"/>
                </a:cubicBezTo>
                <a:cubicBezTo>
                  <a:pt x="11701203" y="1392305"/>
                  <a:pt x="11702855" y="1391274"/>
                  <a:pt x="11705556" y="1391358"/>
                </a:cubicBezTo>
                <a:cubicBezTo>
                  <a:pt x="11707175" y="1391407"/>
                  <a:pt x="11708680" y="1391670"/>
                  <a:pt x="11710300" y="1391720"/>
                </a:cubicBezTo>
                <a:cubicBezTo>
                  <a:pt x="11712460" y="1391786"/>
                  <a:pt x="11713786" y="1390854"/>
                  <a:pt x="11714391" y="1388711"/>
                </a:cubicBezTo>
                <a:lnTo>
                  <a:pt x="11714167" y="1386848"/>
                </a:lnTo>
                <a:close/>
                <a:moveTo>
                  <a:pt x="1348845" y="1376582"/>
                </a:moveTo>
                <a:cubicBezTo>
                  <a:pt x="1352929" y="1375158"/>
                  <a:pt x="1357177" y="1374770"/>
                  <a:pt x="1361922" y="1378064"/>
                </a:cubicBezTo>
                <a:cubicBezTo>
                  <a:pt x="1363565" y="1379141"/>
                  <a:pt x="1366451" y="1380185"/>
                  <a:pt x="1369407" y="1379116"/>
                </a:cubicBezTo>
                <a:cubicBezTo>
                  <a:pt x="1373340" y="1377276"/>
                  <a:pt x="1376360" y="1378691"/>
                  <a:pt x="1378568" y="1382485"/>
                </a:cubicBezTo>
                <a:cubicBezTo>
                  <a:pt x="1380242" y="1384803"/>
                  <a:pt x="1382624" y="1385610"/>
                  <a:pt x="1385139" y="1386788"/>
                </a:cubicBezTo>
                <a:cubicBezTo>
                  <a:pt x="1391547" y="1389483"/>
                  <a:pt x="1395634" y="1393849"/>
                  <a:pt x="1396187" y="1401163"/>
                </a:cubicBezTo>
                <a:cubicBezTo>
                  <a:pt x="1396413" y="1405258"/>
                  <a:pt x="1398990" y="1408918"/>
                  <a:pt x="1403489" y="1409797"/>
                </a:cubicBezTo>
                <a:cubicBezTo>
                  <a:pt x="1404022" y="1411274"/>
                  <a:pt x="1404556" y="1412751"/>
                  <a:pt x="1405090" y="1414228"/>
                </a:cubicBezTo>
                <a:cubicBezTo>
                  <a:pt x="1402429" y="1417276"/>
                  <a:pt x="1401752" y="1420025"/>
                  <a:pt x="1403857" y="1424693"/>
                </a:cubicBezTo>
                <a:cubicBezTo>
                  <a:pt x="1406629" y="1431206"/>
                  <a:pt x="1405539" y="1437444"/>
                  <a:pt x="1398680" y="1441594"/>
                </a:cubicBezTo>
                <a:cubicBezTo>
                  <a:pt x="1395485" y="1443165"/>
                  <a:pt x="1397159" y="1445482"/>
                  <a:pt x="1397960" y="1447698"/>
                </a:cubicBezTo>
                <a:cubicBezTo>
                  <a:pt x="1399295" y="1451390"/>
                  <a:pt x="1398083" y="1452663"/>
                  <a:pt x="1394191" y="1451148"/>
                </a:cubicBezTo>
                <a:cubicBezTo>
                  <a:pt x="1388421" y="1449059"/>
                  <a:pt x="1385463" y="1450128"/>
                  <a:pt x="1386623" y="1456807"/>
                </a:cubicBezTo>
                <a:cubicBezTo>
                  <a:pt x="1386786" y="1458418"/>
                  <a:pt x="1386345" y="1460665"/>
                  <a:pt x="1384199" y="1459353"/>
                </a:cubicBezTo>
                <a:cubicBezTo>
                  <a:pt x="1377657" y="1456290"/>
                  <a:pt x="1375399" y="1460448"/>
                  <a:pt x="1372903" y="1465107"/>
                </a:cubicBezTo>
                <a:cubicBezTo>
                  <a:pt x="1372800" y="1465980"/>
                  <a:pt x="1371321" y="1466514"/>
                  <a:pt x="1370582" y="1466781"/>
                </a:cubicBezTo>
                <a:cubicBezTo>
                  <a:pt x="1359840" y="1464819"/>
                  <a:pt x="1349202" y="1461985"/>
                  <a:pt x="1338327" y="1459654"/>
                </a:cubicBezTo>
                <a:cubicBezTo>
                  <a:pt x="1333327" y="1458539"/>
                  <a:pt x="1328572" y="1452324"/>
                  <a:pt x="1324722" y="1447453"/>
                </a:cubicBezTo>
                <a:cubicBezTo>
                  <a:pt x="1323181" y="1445506"/>
                  <a:pt x="1322750" y="1443156"/>
                  <a:pt x="1319866" y="1442112"/>
                </a:cubicBezTo>
                <a:cubicBezTo>
                  <a:pt x="1316980" y="1441068"/>
                  <a:pt x="1316549" y="1438720"/>
                  <a:pt x="1317226" y="1435970"/>
                </a:cubicBezTo>
                <a:cubicBezTo>
                  <a:pt x="1317432" y="1434226"/>
                  <a:pt x="1318244" y="1431846"/>
                  <a:pt x="1316601" y="1430770"/>
                </a:cubicBezTo>
                <a:cubicBezTo>
                  <a:pt x="1311302" y="1427675"/>
                  <a:pt x="1309732" y="1424485"/>
                  <a:pt x="1314845" y="1420130"/>
                </a:cubicBezTo>
                <a:cubicBezTo>
                  <a:pt x="1316190" y="1419228"/>
                  <a:pt x="1315760" y="1416879"/>
                  <a:pt x="1313880" y="1416305"/>
                </a:cubicBezTo>
                <a:cubicBezTo>
                  <a:pt x="1307606" y="1413981"/>
                  <a:pt x="1312114" y="1410263"/>
                  <a:pt x="1311787" y="1407043"/>
                </a:cubicBezTo>
                <a:cubicBezTo>
                  <a:pt x="1310770" y="1396138"/>
                  <a:pt x="1323299" y="1394949"/>
                  <a:pt x="1325066" y="1385960"/>
                </a:cubicBezTo>
                <a:cubicBezTo>
                  <a:pt x="1325610" y="1382843"/>
                  <a:pt x="1333301" y="1382149"/>
                  <a:pt x="1336762" y="1381316"/>
                </a:cubicBezTo>
                <a:cubicBezTo>
                  <a:pt x="1340844" y="1380465"/>
                  <a:pt x="1344762" y="1378004"/>
                  <a:pt x="1348845" y="1376582"/>
                </a:cubicBezTo>
                <a:close/>
                <a:moveTo>
                  <a:pt x="4458893" y="1374835"/>
                </a:moveTo>
                <a:lnTo>
                  <a:pt x="4458153" y="1375481"/>
                </a:lnTo>
                <a:cubicBezTo>
                  <a:pt x="4445922" y="1386276"/>
                  <a:pt x="4435657" y="1395622"/>
                  <a:pt x="4426494" y="1404517"/>
                </a:cubicBezTo>
                <a:cubicBezTo>
                  <a:pt x="4419518" y="1412510"/>
                  <a:pt x="4422105" y="1406320"/>
                  <a:pt x="4413330" y="1409926"/>
                </a:cubicBezTo>
                <a:cubicBezTo>
                  <a:pt x="4415131" y="1414314"/>
                  <a:pt x="4412548" y="1420502"/>
                  <a:pt x="4408157" y="1422307"/>
                </a:cubicBezTo>
                <a:cubicBezTo>
                  <a:pt x="4403773" y="1424109"/>
                  <a:pt x="4413330" y="1409926"/>
                  <a:pt x="4401964" y="1419721"/>
                </a:cubicBezTo>
                <a:cubicBezTo>
                  <a:pt x="4389579" y="1436354"/>
                  <a:pt x="4382997" y="1439059"/>
                  <a:pt x="4368708" y="1452859"/>
                </a:cubicBezTo>
                <a:lnTo>
                  <a:pt x="4368187" y="1453415"/>
                </a:lnTo>
                <a:lnTo>
                  <a:pt x="4381421" y="1457258"/>
                </a:lnTo>
                <a:lnTo>
                  <a:pt x="4386476" y="1452767"/>
                </a:lnTo>
                <a:lnTo>
                  <a:pt x="4478478" y="1388488"/>
                </a:lnTo>
                <a:lnTo>
                  <a:pt x="4476848" y="1388051"/>
                </a:lnTo>
                <a:cubicBezTo>
                  <a:pt x="4477726" y="1384759"/>
                  <a:pt x="4475773" y="1382179"/>
                  <a:pt x="4471905" y="1379891"/>
                </a:cubicBezTo>
                <a:close/>
                <a:moveTo>
                  <a:pt x="3359121" y="1367557"/>
                </a:moveTo>
                <a:lnTo>
                  <a:pt x="3308828" y="1376114"/>
                </a:lnTo>
                <a:lnTo>
                  <a:pt x="3279968" y="1380616"/>
                </a:lnTo>
                <a:lnTo>
                  <a:pt x="3266638" y="1403405"/>
                </a:lnTo>
                <a:cubicBezTo>
                  <a:pt x="3254298" y="1421209"/>
                  <a:pt x="3253064" y="1422990"/>
                  <a:pt x="3246586" y="1434478"/>
                </a:cubicBezTo>
                <a:lnTo>
                  <a:pt x="3244962" y="1437362"/>
                </a:lnTo>
                <a:lnTo>
                  <a:pt x="3304083" y="1424394"/>
                </a:lnTo>
                <a:cubicBezTo>
                  <a:pt x="3406002" y="1408202"/>
                  <a:pt x="3507635" y="1397962"/>
                  <a:pt x="3609546" y="1394424"/>
                </a:cubicBezTo>
                <a:lnTo>
                  <a:pt x="3708724" y="1394305"/>
                </a:lnTo>
                <a:lnTo>
                  <a:pt x="3718262" y="1383228"/>
                </a:lnTo>
                <a:lnTo>
                  <a:pt x="3638268" y="1378233"/>
                </a:lnTo>
                <a:cubicBezTo>
                  <a:pt x="3545038" y="1374414"/>
                  <a:pt x="3451674" y="1373569"/>
                  <a:pt x="3359055" y="1369647"/>
                </a:cubicBezTo>
                <a:close/>
                <a:moveTo>
                  <a:pt x="11516879" y="1358885"/>
                </a:moveTo>
                <a:cubicBezTo>
                  <a:pt x="11517682" y="1359318"/>
                  <a:pt x="11519291" y="1360183"/>
                  <a:pt x="11519259" y="1361203"/>
                </a:cubicBezTo>
                <a:cubicBezTo>
                  <a:pt x="11521332" y="1366981"/>
                  <a:pt x="11523220" y="1372141"/>
                  <a:pt x="11531256" y="1369737"/>
                </a:cubicBezTo>
                <a:cubicBezTo>
                  <a:pt x="11533945" y="1368596"/>
                  <a:pt x="11534069" y="1371253"/>
                  <a:pt x="11533606" y="1373075"/>
                </a:cubicBezTo>
                <a:cubicBezTo>
                  <a:pt x="11531137" y="1380548"/>
                  <a:pt x="11534351" y="1382280"/>
                  <a:pt x="11541337" y="1380865"/>
                </a:cubicBezTo>
                <a:cubicBezTo>
                  <a:pt x="11546067" y="1379787"/>
                  <a:pt x="11547241" y="1381456"/>
                  <a:pt x="11545080" y="1385470"/>
                </a:cubicBezTo>
                <a:cubicBezTo>
                  <a:pt x="11543782" y="1387878"/>
                  <a:pt x="11541464" y="1390255"/>
                  <a:pt x="11544865" y="1392605"/>
                </a:cubicBezTo>
                <a:cubicBezTo>
                  <a:pt x="11552038" y="1398541"/>
                  <a:pt x="11552227" y="1405893"/>
                  <a:pt x="11547932" y="1412902"/>
                </a:cubicBezTo>
                <a:cubicBezTo>
                  <a:pt x="11544720" y="1417904"/>
                  <a:pt x="11545030" y="1421178"/>
                  <a:pt x="11547566" y="1425134"/>
                </a:cubicBezTo>
                <a:cubicBezTo>
                  <a:pt x="11546701" y="1426739"/>
                  <a:pt x="11545835" y="1428345"/>
                  <a:pt x="11544971" y="1429951"/>
                </a:cubicBezTo>
                <a:cubicBezTo>
                  <a:pt x="11539654" y="1430194"/>
                  <a:pt x="11536069" y="1433960"/>
                  <a:pt x="11535114" y="1438624"/>
                </a:cubicBezTo>
                <a:cubicBezTo>
                  <a:pt x="11533230" y="1446931"/>
                  <a:pt x="11527791" y="1451252"/>
                  <a:pt x="11519971" y="1453254"/>
                </a:cubicBezTo>
                <a:cubicBezTo>
                  <a:pt x="11516881" y="1454179"/>
                  <a:pt x="11514006" y="1454702"/>
                  <a:pt x="11511688" y="1457079"/>
                </a:cubicBezTo>
                <a:cubicBezTo>
                  <a:pt x="11508507" y="1461062"/>
                  <a:pt x="11504797" y="1462170"/>
                  <a:pt x="11500592" y="1459388"/>
                </a:cubicBezTo>
                <a:cubicBezTo>
                  <a:pt x="11497378" y="1457656"/>
                  <a:pt x="11493884" y="1458363"/>
                  <a:pt x="11491813" y="1459319"/>
                </a:cubicBezTo>
                <a:cubicBezTo>
                  <a:pt x="11479791" y="1465273"/>
                  <a:pt x="11472555" y="1454642"/>
                  <a:pt x="11463466" y="1451299"/>
                </a:cubicBezTo>
                <a:cubicBezTo>
                  <a:pt x="11459633" y="1449752"/>
                  <a:pt x="11450914" y="1447644"/>
                  <a:pt x="11450820" y="1443969"/>
                </a:cubicBezTo>
                <a:cubicBezTo>
                  <a:pt x="11450322" y="1433343"/>
                  <a:pt x="11436133" y="1429842"/>
                  <a:pt x="11439157" y="1417488"/>
                </a:cubicBezTo>
                <a:cubicBezTo>
                  <a:pt x="11440084" y="1413844"/>
                  <a:pt x="11435538" y="1408805"/>
                  <a:pt x="11443142" y="1407205"/>
                </a:cubicBezTo>
                <a:cubicBezTo>
                  <a:pt x="11445399" y="1406867"/>
                  <a:pt x="11446293" y="1404242"/>
                  <a:pt x="11444903" y="1402974"/>
                </a:cubicBezTo>
                <a:cubicBezTo>
                  <a:pt x="11439769" y="1397102"/>
                  <a:pt x="11442117" y="1393706"/>
                  <a:pt x="11448731" y="1391054"/>
                </a:cubicBezTo>
                <a:cubicBezTo>
                  <a:pt x="11450801" y="1390097"/>
                  <a:pt x="11450276" y="1387224"/>
                  <a:pt x="11450337" y="1385185"/>
                </a:cubicBezTo>
                <a:cubicBezTo>
                  <a:pt x="11450026" y="1381911"/>
                  <a:pt x="11450921" y="1379286"/>
                  <a:pt x="11454415" y="1378578"/>
                </a:cubicBezTo>
                <a:cubicBezTo>
                  <a:pt x="11457907" y="1377870"/>
                  <a:pt x="11458803" y="1375245"/>
                  <a:pt x="11460903" y="1373269"/>
                </a:cubicBezTo>
                <a:cubicBezTo>
                  <a:pt x="11466158" y="1368332"/>
                  <a:pt x="11472677" y="1362004"/>
                  <a:pt x="11478611" y="1361576"/>
                </a:cubicBezTo>
                <a:cubicBezTo>
                  <a:pt x="11491502" y="1360751"/>
                  <a:pt x="11504205" y="1359307"/>
                  <a:pt x="11516879" y="1358885"/>
                </a:cubicBezTo>
                <a:close/>
                <a:moveTo>
                  <a:pt x="3740910" y="1353867"/>
                </a:moveTo>
                <a:lnTo>
                  <a:pt x="3732447" y="1354059"/>
                </a:lnTo>
                <a:lnTo>
                  <a:pt x="3742918" y="1354601"/>
                </a:lnTo>
                <a:lnTo>
                  <a:pt x="3743401" y="1354038"/>
                </a:lnTo>
                <a:close/>
                <a:moveTo>
                  <a:pt x="3664153" y="1349028"/>
                </a:moveTo>
                <a:lnTo>
                  <a:pt x="3660936" y="1351299"/>
                </a:lnTo>
                <a:lnTo>
                  <a:pt x="3667561" y="1351277"/>
                </a:lnTo>
                <a:close/>
                <a:moveTo>
                  <a:pt x="4366837" y="1348129"/>
                </a:moveTo>
                <a:lnTo>
                  <a:pt x="4317814" y="1392768"/>
                </a:lnTo>
                <a:lnTo>
                  <a:pt x="4279352" y="1429734"/>
                </a:lnTo>
                <a:lnTo>
                  <a:pt x="4301544" y="1434604"/>
                </a:lnTo>
                <a:lnTo>
                  <a:pt x="4322383" y="1410122"/>
                </a:lnTo>
                <a:cubicBezTo>
                  <a:pt x="4331094" y="1400131"/>
                  <a:pt x="4339168" y="1391687"/>
                  <a:pt x="4347039" y="1385887"/>
                </a:cubicBezTo>
                <a:cubicBezTo>
                  <a:pt x="4350910" y="1376602"/>
                  <a:pt x="4361821" y="1365711"/>
                  <a:pt x="4375469" y="1353691"/>
                </a:cubicBezTo>
                <a:lnTo>
                  <a:pt x="4377476" y="1351949"/>
                </a:lnTo>
                <a:close/>
                <a:moveTo>
                  <a:pt x="52386" y="1347265"/>
                </a:moveTo>
                <a:cubicBezTo>
                  <a:pt x="53684" y="1346936"/>
                  <a:pt x="54353" y="1347070"/>
                  <a:pt x="54508" y="1348441"/>
                </a:cubicBezTo>
                <a:cubicBezTo>
                  <a:pt x="55476" y="1353781"/>
                  <a:pt x="59401" y="1355854"/>
                  <a:pt x="63986" y="1357042"/>
                </a:cubicBezTo>
                <a:cubicBezTo>
                  <a:pt x="66067" y="1357621"/>
                  <a:pt x="67376" y="1358312"/>
                  <a:pt x="67262" y="1361023"/>
                </a:cubicBezTo>
                <a:cubicBezTo>
                  <a:pt x="66838" y="1364476"/>
                  <a:pt x="69321" y="1366527"/>
                  <a:pt x="72185" y="1368013"/>
                </a:cubicBezTo>
                <a:cubicBezTo>
                  <a:pt x="74555" y="1369293"/>
                  <a:pt x="77275" y="1370427"/>
                  <a:pt x="79644" y="1371707"/>
                </a:cubicBezTo>
                <a:cubicBezTo>
                  <a:pt x="80742" y="1372382"/>
                  <a:pt x="81515" y="1373141"/>
                  <a:pt x="81668" y="1373948"/>
                </a:cubicBezTo>
                <a:cubicBezTo>
                  <a:pt x="81821" y="1374757"/>
                  <a:pt x="81354" y="1375615"/>
                  <a:pt x="79974" y="1376489"/>
                </a:cubicBezTo>
                <a:cubicBezTo>
                  <a:pt x="79273" y="1376778"/>
                  <a:pt x="78645" y="1377242"/>
                  <a:pt x="78088" y="1377880"/>
                </a:cubicBezTo>
                <a:cubicBezTo>
                  <a:pt x="77357" y="1378591"/>
                  <a:pt x="75954" y="1379168"/>
                  <a:pt x="76285" y="1380467"/>
                </a:cubicBezTo>
                <a:cubicBezTo>
                  <a:pt x="76717" y="1381519"/>
                  <a:pt x="77881" y="1381859"/>
                  <a:pt x="78798" y="1382096"/>
                </a:cubicBezTo>
                <a:cubicBezTo>
                  <a:pt x="82857" y="1383500"/>
                  <a:pt x="83115" y="1384624"/>
                  <a:pt x="80085" y="1387715"/>
                </a:cubicBezTo>
                <a:cubicBezTo>
                  <a:pt x="79354" y="1388425"/>
                  <a:pt x="78725" y="1388889"/>
                  <a:pt x="78241" y="1389703"/>
                </a:cubicBezTo>
                <a:cubicBezTo>
                  <a:pt x="77478" y="1390836"/>
                  <a:pt x="76891" y="1391897"/>
                  <a:pt x="78312" y="1393361"/>
                </a:cubicBezTo>
                <a:cubicBezTo>
                  <a:pt x="79837" y="1394579"/>
                  <a:pt x="80537" y="1394291"/>
                  <a:pt x="81794" y="1393364"/>
                </a:cubicBezTo>
                <a:lnTo>
                  <a:pt x="84323" y="1391978"/>
                </a:lnTo>
                <a:lnTo>
                  <a:pt x="76335" y="1411281"/>
                </a:lnTo>
                <a:lnTo>
                  <a:pt x="74899" y="1410955"/>
                </a:lnTo>
                <a:cubicBezTo>
                  <a:pt x="73178" y="1411253"/>
                  <a:pt x="72344" y="1412210"/>
                  <a:pt x="72220" y="1413901"/>
                </a:cubicBezTo>
                <a:cubicBezTo>
                  <a:pt x="72127" y="1415169"/>
                  <a:pt x="72209" y="1416365"/>
                  <a:pt x="72116" y="1417632"/>
                </a:cubicBezTo>
                <a:cubicBezTo>
                  <a:pt x="71961" y="1419745"/>
                  <a:pt x="71023" y="1420950"/>
                  <a:pt x="68777" y="1421464"/>
                </a:cubicBezTo>
                <a:cubicBezTo>
                  <a:pt x="62039" y="1423007"/>
                  <a:pt x="58596" y="1427088"/>
                  <a:pt x="58101" y="1433849"/>
                </a:cubicBezTo>
                <a:cubicBezTo>
                  <a:pt x="57936" y="1434941"/>
                  <a:pt x="58903" y="1436796"/>
                  <a:pt x="57183" y="1437094"/>
                </a:cubicBezTo>
                <a:cubicBezTo>
                  <a:pt x="55535" y="1437568"/>
                  <a:pt x="54535" y="1436135"/>
                  <a:pt x="53711" y="1434629"/>
                </a:cubicBezTo>
                <a:cubicBezTo>
                  <a:pt x="53639" y="1434455"/>
                  <a:pt x="53567" y="1434279"/>
                  <a:pt x="53495" y="1434103"/>
                </a:cubicBezTo>
                <a:cubicBezTo>
                  <a:pt x="51064" y="1430186"/>
                  <a:pt x="48633" y="1429751"/>
                  <a:pt x="46170" y="1433224"/>
                </a:cubicBezTo>
                <a:cubicBezTo>
                  <a:pt x="43809" y="1436449"/>
                  <a:pt x="41141" y="1436932"/>
                  <a:pt x="37792" y="1436261"/>
                </a:cubicBezTo>
                <a:cubicBezTo>
                  <a:pt x="33352" y="1435423"/>
                  <a:pt x="28952" y="1435183"/>
                  <a:pt x="25005" y="1438036"/>
                </a:cubicBezTo>
                <a:cubicBezTo>
                  <a:pt x="23295" y="1439355"/>
                  <a:pt x="21626" y="1437788"/>
                  <a:pt x="20770" y="1436704"/>
                </a:cubicBezTo>
                <a:cubicBezTo>
                  <a:pt x="17320" y="1432797"/>
                  <a:pt x="13477" y="1431919"/>
                  <a:pt x="8706" y="1433266"/>
                </a:cubicBezTo>
                <a:cubicBezTo>
                  <a:pt x="5759" y="1434068"/>
                  <a:pt x="4801" y="1433233"/>
                  <a:pt x="5399" y="1429709"/>
                </a:cubicBezTo>
                <a:cubicBezTo>
                  <a:pt x="6012" y="1425973"/>
                  <a:pt x="4761" y="1422184"/>
                  <a:pt x="2455" y="1419316"/>
                </a:cubicBezTo>
                <a:lnTo>
                  <a:pt x="0" y="1418027"/>
                </a:lnTo>
                <a:lnTo>
                  <a:pt x="0" y="1367117"/>
                </a:lnTo>
                <a:lnTo>
                  <a:pt x="2133" y="1363019"/>
                </a:lnTo>
                <a:cubicBezTo>
                  <a:pt x="2968" y="1362061"/>
                  <a:pt x="3699" y="1361350"/>
                  <a:pt x="4359" y="1360463"/>
                </a:cubicBezTo>
                <a:cubicBezTo>
                  <a:pt x="6441" y="1357558"/>
                  <a:pt x="8532" y="1355674"/>
                  <a:pt x="12541" y="1355459"/>
                </a:cubicBezTo>
                <a:cubicBezTo>
                  <a:pt x="16549" y="1355245"/>
                  <a:pt x="19259" y="1351876"/>
                  <a:pt x="21691" y="1348826"/>
                </a:cubicBezTo>
                <a:cubicBezTo>
                  <a:pt x="22980" y="1347476"/>
                  <a:pt x="23886" y="1346694"/>
                  <a:pt x="25968" y="1347272"/>
                </a:cubicBezTo>
                <a:cubicBezTo>
                  <a:pt x="34643" y="1349441"/>
                  <a:pt x="43515" y="1350094"/>
                  <a:pt x="52386" y="1347265"/>
                </a:cubicBezTo>
                <a:close/>
                <a:moveTo>
                  <a:pt x="4310174" y="1327800"/>
                </a:moveTo>
                <a:lnTo>
                  <a:pt x="4309830" y="1328105"/>
                </a:lnTo>
                <a:cubicBezTo>
                  <a:pt x="4289854" y="1346571"/>
                  <a:pt x="4269779" y="1366356"/>
                  <a:pt x="4256228" y="1377054"/>
                </a:cubicBezTo>
                <a:cubicBezTo>
                  <a:pt x="4240485" y="1388653"/>
                  <a:pt x="4234290" y="1386069"/>
                  <a:pt x="4224739" y="1400251"/>
                </a:cubicBezTo>
                <a:cubicBezTo>
                  <a:pt x="4220347" y="1402054"/>
                  <a:pt x="4217960" y="1405600"/>
                  <a:pt x="4215796" y="1409695"/>
                </a:cubicBezTo>
                <a:lnTo>
                  <a:pt x="4212587" y="1415082"/>
                </a:lnTo>
                <a:lnTo>
                  <a:pt x="4238157" y="1420693"/>
                </a:lnTo>
                <a:lnTo>
                  <a:pt x="4238685" y="1420158"/>
                </a:lnTo>
                <a:cubicBezTo>
                  <a:pt x="4257564" y="1402145"/>
                  <a:pt x="4276993" y="1383905"/>
                  <a:pt x="4293126" y="1367017"/>
                </a:cubicBezTo>
                <a:cubicBezTo>
                  <a:pt x="4304489" y="1357222"/>
                  <a:pt x="4314040" y="1343039"/>
                  <a:pt x="4321014" y="1335046"/>
                </a:cubicBezTo>
                <a:cubicBezTo>
                  <a:pt x="4321014" y="1335046"/>
                  <a:pt x="4318429" y="1341236"/>
                  <a:pt x="4318429" y="1341236"/>
                </a:cubicBezTo>
                <a:lnTo>
                  <a:pt x="4326927" y="1333810"/>
                </a:lnTo>
                <a:close/>
                <a:moveTo>
                  <a:pt x="5980953" y="1318339"/>
                </a:moveTo>
                <a:lnTo>
                  <a:pt x="5833013" y="1332381"/>
                </a:lnTo>
                <a:cubicBezTo>
                  <a:pt x="5780221" y="1338829"/>
                  <a:pt x="5727641" y="1347269"/>
                  <a:pt x="5675794" y="1359371"/>
                </a:cubicBezTo>
                <a:cubicBezTo>
                  <a:pt x="5647673" y="1363956"/>
                  <a:pt x="5620603" y="1362362"/>
                  <a:pt x="5601825" y="1390002"/>
                </a:cubicBezTo>
                <a:cubicBezTo>
                  <a:pt x="5591286" y="1406318"/>
                  <a:pt x="5566729" y="1407102"/>
                  <a:pt x="5547248" y="1412639"/>
                </a:cubicBezTo>
                <a:cubicBezTo>
                  <a:pt x="5494768" y="1424148"/>
                  <a:pt x="5443320" y="1439004"/>
                  <a:pt x="5392539" y="1455683"/>
                </a:cubicBezTo>
                <a:lnTo>
                  <a:pt x="5258281" y="1503775"/>
                </a:lnTo>
                <a:lnTo>
                  <a:pt x="5275248" y="1513094"/>
                </a:lnTo>
                <a:lnTo>
                  <a:pt x="5278445" y="1514532"/>
                </a:lnTo>
                <a:lnTo>
                  <a:pt x="5367633" y="1482156"/>
                </a:lnTo>
                <a:cubicBezTo>
                  <a:pt x="5483885" y="1444162"/>
                  <a:pt x="5602395" y="1417333"/>
                  <a:pt x="5722438" y="1395984"/>
                </a:cubicBezTo>
                <a:cubicBezTo>
                  <a:pt x="5728537" y="1394561"/>
                  <a:pt x="5734639" y="1393138"/>
                  <a:pt x="5740737" y="1391713"/>
                </a:cubicBezTo>
                <a:cubicBezTo>
                  <a:pt x="5749294" y="1390210"/>
                  <a:pt x="5756740" y="1392431"/>
                  <a:pt x="5755866" y="1403522"/>
                </a:cubicBezTo>
                <a:cubicBezTo>
                  <a:pt x="5758710" y="1415722"/>
                  <a:pt x="5751348" y="1415958"/>
                  <a:pt x="5742790" y="1417459"/>
                </a:cubicBezTo>
                <a:cubicBezTo>
                  <a:pt x="5710652" y="1421251"/>
                  <a:pt x="5678876" y="1426875"/>
                  <a:pt x="5647350" y="1433738"/>
                </a:cubicBezTo>
                <a:lnTo>
                  <a:pt x="5612514" y="1442542"/>
                </a:lnTo>
                <a:lnTo>
                  <a:pt x="5768255" y="1422828"/>
                </a:lnTo>
                <a:cubicBezTo>
                  <a:pt x="6023123" y="1406590"/>
                  <a:pt x="6275984" y="1437927"/>
                  <a:pt x="6514852" y="1511829"/>
                </a:cubicBezTo>
                <a:lnTo>
                  <a:pt x="6567531" y="1530923"/>
                </a:lnTo>
                <a:lnTo>
                  <a:pt x="6570782" y="1531741"/>
                </a:lnTo>
                <a:lnTo>
                  <a:pt x="6603935" y="1536184"/>
                </a:lnTo>
                <a:lnTo>
                  <a:pt x="6695034" y="1572501"/>
                </a:lnTo>
                <a:lnTo>
                  <a:pt x="6842218" y="1624650"/>
                </a:lnTo>
                <a:cubicBezTo>
                  <a:pt x="6998375" y="1688959"/>
                  <a:pt x="7147198" y="1769012"/>
                  <a:pt x="7288613" y="1867129"/>
                </a:cubicBezTo>
                <a:cubicBezTo>
                  <a:pt x="7235113" y="1827661"/>
                  <a:pt x="7181395" y="1788583"/>
                  <a:pt x="7126826" y="1751093"/>
                </a:cubicBezTo>
                <a:lnTo>
                  <a:pt x="6966491" y="1648745"/>
                </a:lnTo>
                <a:lnTo>
                  <a:pt x="6778184" y="1562251"/>
                </a:lnTo>
                <a:cubicBezTo>
                  <a:pt x="6740652" y="1548179"/>
                  <a:pt x="6704105" y="1530805"/>
                  <a:pt x="6667626" y="1515611"/>
                </a:cubicBezTo>
                <a:cubicBezTo>
                  <a:pt x="6664323" y="1514626"/>
                  <a:pt x="6660229" y="1514484"/>
                  <a:pt x="6657188" y="1513217"/>
                </a:cubicBezTo>
                <a:lnTo>
                  <a:pt x="6655558" y="1509593"/>
                </a:lnTo>
                <a:lnTo>
                  <a:pt x="6595576" y="1488565"/>
                </a:lnTo>
                <a:lnTo>
                  <a:pt x="6653901" y="1502532"/>
                </a:lnTo>
                <a:lnTo>
                  <a:pt x="6658608" y="1493678"/>
                </a:lnTo>
                <a:cubicBezTo>
                  <a:pt x="6661675" y="1491535"/>
                  <a:pt x="6665735" y="1490587"/>
                  <a:pt x="6670094" y="1490448"/>
                </a:cubicBezTo>
                <a:cubicBezTo>
                  <a:pt x="6689706" y="1489821"/>
                  <a:pt x="6708402" y="1494678"/>
                  <a:pt x="6723935" y="1502908"/>
                </a:cubicBezTo>
                <a:cubicBezTo>
                  <a:pt x="6771518" y="1524291"/>
                  <a:pt x="6820929" y="1543162"/>
                  <a:pt x="6869337" y="1564794"/>
                </a:cubicBezTo>
                <a:lnTo>
                  <a:pt x="6930405" y="1594832"/>
                </a:lnTo>
                <a:lnTo>
                  <a:pt x="6932086" y="1595507"/>
                </a:lnTo>
                <a:lnTo>
                  <a:pt x="6935824" y="1597498"/>
                </a:lnTo>
                <a:lnTo>
                  <a:pt x="6940845" y="1599968"/>
                </a:lnTo>
                <a:lnTo>
                  <a:pt x="6942799" y="1601214"/>
                </a:lnTo>
                <a:lnTo>
                  <a:pt x="7008880" y="1636416"/>
                </a:lnTo>
                <a:lnTo>
                  <a:pt x="7008973" y="1632340"/>
                </a:lnTo>
                <a:cubicBezTo>
                  <a:pt x="7008102" y="1629110"/>
                  <a:pt x="7006476" y="1626197"/>
                  <a:pt x="7004680" y="1623324"/>
                </a:cubicBezTo>
                <a:lnTo>
                  <a:pt x="7002838" y="1619015"/>
                </a:lnTo>
                <a:lnTo>
                  <a:pt x="6914912" y="1564557"/>
                </a:lnTo>
                <a:lnTo>
                  <a:pt x="6700816" y="1464655"/>
                </a:lnTo>
                <a:lnTo>
                  <a:pt x="6675593" y="1454052"/>
                </a:lnTo>
                <a:cubicBezTo>
                  <a:pt x="6669375" y="1451794"/>
                  <a:pt x="6662563" y="1450167"/>
                  <a:pt x="6656009" y="1446997"/>
                </a:cubicBezTo>
                <a:lnTo>
                  <a:pt x="6652983" y="1444258"/>
                </a:lnTo>
                <a:lnTo>
                  <a:pt x="6401065" y="1366588"/>
                </a:lnTo>
                <a:cubicBezTo>
                  <a:pt x="6310588" y="1345454"/>
                  <a:pt x="6217632" y="1330412"/>
                  <a:pt x="6122108" y="1321688"/>
                </a:cubicBezTo>
                <a:close/>
                <a:moveTo>
                  <a:pt x="4647348" y="1298577"/>
                </a:moveTo>
                <a:lnTo>
                  <a:pt x="4599112" y="1332786"/>
                </a:lnTo>
                <a:lnTo>
                  <a:pt x="4619461" y="1341009"/>
                </a:lnTo>
                <a:lnTo>
                  <a:pt x="4620552" y="1340153"/>
                </a:lnTo>
                <a:cubicBezTo>
                  <a:pt x="4631908" y="1330357"/>
                  <a:pt x="4649462" y="1323145"/>
                  <a:pt x="4660819" y="1313348"/>
                </a:cubicBezTo>
                <a:lnTo>
                  <a:pt x="4668900" y="1308129"/>
                </a:lnTo>
                <a:close/>
                <a:moveTo>
                  <a:pt x="4189235" y="1291973"/>
                </a:moveTo>
                <a:lnTo>
                  <a:pt x="4098598" y="1376875"/>
                </a:lnTo>
                <a:lnTo>
                  <a:pt x="4091755" y="1384594"/>
                </a:lnTo>
                <a:lnTo>
                  <a:pt x="4101724" y="1386740"/>
                </a:lnTo>
                <a:lnTo>
                  <a:pt x="4152119" y="1333968"/>
                </a:lnTo>
                <a:lnTo>
                  <a:pt x="4199163" y="1294597"/>
                </a:lnTo>
                <a:close/>
                <a:moveTo>
                  <a:pt x="10161899" y="1289161"/>
                </a:moveTo>
                <a:lnTo>
                  <a:pt x="10176157" y="1292880"/>
                </a:lnTo>
                <a:lnTo>
                  <a:pt x="10262490" y="1323446"/>
                </a:lnTo>
                <a:lnTo>
                  <a:pt x="10311772" y="1330216"/>
                </a:lnTo>
                <a:lnTo>
                  <a:pt x="10190736" y="1292575"/>
                </a:lnTo>
                <a:lnTo>
                  <a:pt x="10187386" y="1292838"/>
                </a:lnTo>
                <a:close/>
                <a:moveTo>
                  <a:pt x="3806284" y="1281036"/>
                </a:moveTo>
                <a:cubicBezTo>
                  <a:pt x="3795140" y="1282421"/>
                  <a:pt x="3772850" y="1294242"/>
                  <a:pt x="3749995" y="1309223"/>
                </a:cubicBezTo>
                <a:lnTo>
                  <a:pt x="3728766" y="1324443"/>
                </a:lnTo>
                <a:lnTo>
                  <a:pt x="3739360" y="1325082"/>
                </a:lnTo>
                <a:lnTo>
                  <a:pt x="3765386" y="1328517"/>
                </a:lnTo>
                <a:close/>
                <a:moveTo>
                  <a:pt x="4586770" y="1271742"/>
                </a:moveTo>
                <a:lnTo>
                  <a:pt x="4586218" y="1272215"/>
                </a:lnTo>
                <a:lnTo>
                  <a:pt x="4537926" y="1308067"/>
                </a:lnTo>
                <a:lnTo>
                  <a:pt x="4573199" y="1322318"/>
                </a:lnTo>
                <a:lnTo>
                  <a:pt x="4622768" y="1287687"/>
                </a:lnTo>
                <a:close/>
                <a:moveTo>
                  <a:pt x="508724" y="1252916"/>
                </a:moveTo>
                <a:lnTo>
                  <a:pt x="508570" y="1253242"/>
                </a:lnTo>
                <a:lnTo>
                  <a:pt x="508239" y="1252971"/>
                </a:lnTo>
                <a:close/>
                <a:moveTo>
                  <a:pt x="11169826" y="1246950"/>
                </a:moveTo>
                <a:cubicBezTo>
                  <a:pt x="11171329" y="1244162"/>
                  <a:pt x="11172745" y="1244206"/>
                  <a:pt x="11173927" y="1247360"/>
                </a:cubicBezTo>
                <a:cubicBezTo>
                  <a:pt x="11175777" y="1251953"/>
                  <a:pt x="11178010" y="1253157"/>
                  <a:pt x="11181400" y="1248867"/>
                </a:cubicBezTo>
                <a:cubicBezTo>
                  <a:pt x="11182280" y="1247903"/>
                  <a:pt x="11183869" y="1246960"/>
                  <a:pt x="11184234" y="1248956"/>
                </a:cubicBezTo>
                <a:cubicBezTo>
                  <a:pt x="11185911" y="1254536"/>
                  <a:pt x="11189625" y="1253658"/>
                  <a:pt x="11193768" y="1252653"/>
                </a:cubicBezTo>
                <a:cubicBezTo>
                  <a:pt x="11194348" y="1252245"/>
                  <a:pt x="11195465" y="1252847"/>
                  <a:pt x="11196024" y="1253149"/>
                </a:cubicBezTo>
                <a:cubicBezTo>
                  <a:pt x="11200620" y="1260660"/>
                  <a:pt x="11204638" y="1268581"/>
                  <a:pt x="11209086" y="1276373"/>
                </a:cubicBezTo>
                <a:lnTo>
                  <a:pt x="11209086" y="1276374"/>
                </a:lnTo>
                <a:cubicBezTo>
                  <a:pt x="11211104" y="1279979"/>
                  <a:pt x="11209926" y="1286179"/>
                  <a:pt x="11209070" y="1291114"/>
                </a:cubicBezTo>
                <a:cubicBezTo>
                  <a:pt x="11208726" y="1293087"/>
                  <a:pt x="11207545" y="1294610"/>
                  <a:pt x="11208469" y="1296906"/>
                </a:cubicBezTo>
                <a:cubicBezTo>
                  <a:pt x="11209393" y="1299202"/>
                  <a:pt x="11208214" y="1300725"/>
                  <a:pt x="11206195" y="1301796"/>
                </a:cubicBezTo>
                <a:cubicBezTo>
                  <a:pt x="11205036" y="1302611"/>
                  <a:pt x="11203168" y="1303403"/>
                  <a:pt x="11203406" y="1304970"/>
                </a:cubicBezTo>
                <a:cubicBezTo>
                  <a:pt x="11204395" y="1309819"/>
                  <a:pt x="11203322" y="1312479"/>
                  <a:pt x="11197954" y="1311745"/>
                </a:cubicBezTo>
                <a:cubicBezTo>
                  <a:pt x="11196687" y="1311423"/>
                  <a:pt x="11195507" y="1312946"/>
                  <a:pt x="11196173" y="1314384"/>
                </a:cubicBezTo>
                <a:cubicBezTo>
                  <a:pt x="11198150" y="1319405"/>
                  <a:pt x="11193490" y="1318693"/>
                  <a:pt x="11191732" y="1320624"/>
                </a:cubicBezTo>
                <a:cubicBezTo>
                  <a:pt x="11185721" y="1327099"/>
                  <a:pt x="11178268" y="1320207"/>
                  <a:pt x="11171915" y="1323978"/>
                </a:cubicBezTo>
                <a:cubicBezTo>
                  <a:pt x="11169746" y="1325329"/>
                  <a:pt x="11165194" y="1321077"/>
                  <a:pt x="11162831" y="1319445"/>
                </a:cubicBezTo>
                <a:cubicBezTo>
                  <a:pt x="11157419" y="1315450"/>
                  <a:pt x="11148487" y="1315315"/>
                  <a:pt x="11147347" y="1306067"/>
                </a:cubicBezTo>
                <a:cubicBezTo>
                  <a:pt x="11147110" y="1304500"/>
                  <a:pt x="11146186" y="1302204"/>
                  <a:pt x="11143952" y="1301001"/>
                </a:cubicBezTo>
                <a:cubicBezTo>
                  <a:pt x="11140730" y="1299626"/>
                  <a:pt x="11139957" y="1297050"/>
                  <a:pt x="11141050" y="1293682"/>
                </a:cubicBezTo>
                <a:cubicBezTo>
                  <a:pt x="11141545" y="1291430"/>
                  <a:pt x="11140748" y="1289563"/>
                  <a:pt x="11140104" y="1287416"/>
                </a:cubicBezTo>
                <a:lnTo>
                  <a:pt x="11140104" y="1287415"/>
                </a:lnTo>
                <a:cubicBezTo>
                  <a:pt x="11138277" y="1282114"/>
                  <a:pt x="11138706" y="1277309"/>
                  <a:pt x="11142804" y="1273043"/>
                </a:cubicBezTo>
                <a:cubicBezTo>
                  <a:pt x="11145144" y="1270705"/>
                  <a:pt x="11145958" y="1267187"/>
                  <a:pt x="11144068" y="1264011"/>
                </a:cubicBezTo>
                <a:cubicBezTo>
                  <a:pt x="11144668" y="1262895"/>
                  <a:pt x="11145270" y="1261780"/>
                  <a:pt x="11145870" y="1260664"/>
                </a:cubicBezTo>
                <a:cubicBezTo>
                  <a:pt x="11149133" y="1260625"/>
                  <a:pt x="11151152" y="1259553"/>
                  <a:pt x="11152825" y="1255778"/>
                </a:cubicBezTo>
                <a:cubicBezTo>
                  <a:pt x="11155249" y="1250608"/>
                  <a:pt x="11159585" y="1247908"/>
                  <a:pt x="11165770" y="1249800"/>
                </a:cubicBezTo>
                <a:cubicBezTo>
                  <a:pt x="11168432" y="1250875"/>
                  <a:pt x="11168925" y="1248623"/>
                  <a:pt x="11169826" y="1246950"/>
                </a:cubicBezTo>
                <a:close/>
                <a:moveTo>
                  <a:pt x="843455" y="1245204"/>
                </a:moveTo>
                <a:cubicBezTo>
                  <a:pt x="846818" y="1243989"/>
                  <a:pt x="850987" y="1245006"/>
                  <a:pt x="853558" y="1247441"/>
                </a:cubicBezTo>
                <a:cubicBezTo>
                  <a:pt x="855620" y="1249638"/>
                  <a:pt x="857278" y="1250721"/>
                  <a:pt x="859924" y="1251027"/>
                </a:cubicBezTo>
                <a:cubicBezTo>
                  <a:pt x="861536" y="1255491"/>
                  <a:pt x="863151" y="1259955"/>
                  <a:pt x="864764" y="1264418"/>
                </a:cubicBezTo>
                <a:cubicBezTo>
                  <a:pt x="861700" y="1267628"/>
                  <a:pt x="859787" y="1271684"/>
                  <a:pt x="859502" y="1275572"/>
                </a:cubicBezTo>
                <a:cubicBezTo>
                  <a:pt x="858709" y="1279222"/>
                  <a:pt x="858425" y="1283111"/>
                  <a:pt x="857766" y="1287133"/>
                </a:cubicBezTo>
                <a:cubicBezTo>
                  <a:pt x="856974" y="1290784"/>
                  <a:pt x="856316" y="1294807"/>
                  <a:pt x="857287" y="1298662"/>
                </a:cubicBezTo>
                <a:cubicBezTo>
                  <a:pt x="857750" y="1302279"/>
                  <a:pt x="856046" y="1304578"/>
                  <a:pt x="854103" y="1307383"/>
                </a:cubicBezTo>
                <a:cubicBezTo>
                  <a:pt x="852160" y="1310188"/>
                  <a:pt x="848289" y="1311166"/>
                  <a:pt x="847362" y="1314446"/>
                </a:cubicBezTo>
                <a:cubicBezTo>
                  <a:pt x="844746" y="1315390"/>
                  <a:pt x="842505" y="1316201"/>
                  <a:pt x="839889" y="1317146"/>
                </a:cubicBezTo>
                <a:cubicBezTo>
                  <a:pt x="839486" y="1316031"/>
                  <a:pt x="838978" y="1315794"/>
                  <a:pt x="838231" y="1316063"/>
                </a:cubicBezTo>
                <a:cubicBezTo>
                  <a:pt x="832627" y="1318089"/>
                  <a:pt x="828293" y="1315451"/>
                  <a:pt x="824811" y="1311663"/>
                </a:cubicBezTo>
                <a:cubicBezTo>
                  <a:pt x="821465" y="1308247"/>
                  <a:pt x="817878" y="1305338"/>
                  <a:pt x="816878" y="1300231"/>
                </a:cubicBezTo>
                <a:cubicBezTo>
                  <a:pt x="816116" y="1294620"/>
                  <a:pt x="813726" y="1289175"/>
                  <a:pt x="816730" y="1283464"/>
                </a:cubicBezTo>
                <a:cubicBezTo>
                  <a:pt x="817688" y="1281435"/>
                  <a:pt x="818778" y="1279779"/>
                  <a:pt x="821124" y="1278090"/>
                </a:cubicBezTo>
                <a:cubicBezTo>
                  <a:pt x="824457" y="1275624"/>
                  <a:pt x="828269" y="1272142"/>
                  <a:pt x="824996" y="1266597"/>
                </a:cubicBezTo>
                <a:cubicBezTo>
                  <a:pt x="823816" y="1264501"/>
                  <a:pt x="825789" y="1262946"/>
                  <a:pt x="825760" y="1261696"/>
                </a:cubicBezTo>
                <a:cubicBezTo>
                  <a:pt x="825476" y="1255068"/>
                  <a:pt x="829018" y="1250843"/>
                  <a:pt x="833203" y="1247229"/>
                </a:cubicBezTo>
                <a:cubicBezTo>
                  <a:pt x="836835" y="1246757"/>
                  <a:pt x="840093" y="1246420"/>
                  <a:pt x="843455" y="1245204"/>
                </a:cubicBezTo>
                <a:close/>
                <a:moveTo>
                  <a:pt x="6379346" y="1243108"/>
                </a:moveTo>
                <a:cubicBezTo>
                  <a:pt x="6380426" y="1243186"/>
                  <a:pt x="6381688" y="1243715"/>
                  <a:pt x="6382424" y="1245505"/>
                </a:cubicBezTo>
                <a:lnTo>
                  <a:pt x="6377442" y="1243384"/>
                </a:lnTo>
                <a:close/>
                <a:moveTo>
                  <a:pt x="4491710" y="1235763"/>
                </a:moveTo>
                <a:lnTo>
                  <a:pt x="4479069" y="1247020"/>
                </a:lnTo>
                <a:cubicBezTo>
                  <a:pt x="4470000" y="1254592"/>
                  <a:pt x="4462579" y="1261488"/>
                  <a:pt x="4462185" y="1266776"/>
                </a:cubicBezTo>
                <a:cubicBezTo>
                  <a:pt x="4462185" y="1266776"/>
                  <a:pt x="4457802" y="1268579"/>
                  <a:pt x="4453416" y="1270383"/>
                </a:cubicBezTo>
                <a:lnTo>
                  <a:pt x="4451026" y="1276105"/>
                </a:lnTo>
                <a:lnTo>
                  <a:pt x="4459625" y="1278788"/>
                </a:lnTo>
                <a:lnTo>
                  <a:pt x="4461407" y="1277352"/>
                </a:lnTo>
                <a:cubicBezTo>
                  <a:pt x="4461407" y="1277352"/>
                  <a:pt x="4465791" y="1275549"/>
                  <a:pt x="4465791" y="1275549"/>
                </a:cubicBezTo>
                <a:cubicBezTo>
                  <a:pt x="4465791" y="1275549"/>
                  <a:pt x="4470183" y="1273746"/>
                  <a:pt x="4470183" y="1273746"/>
                </a:cubicBezTo>
                <a:cubicBezTo>
                  <a:pt x="4474565" y="1271943"/>
                  <a:pt x="4474565" y="1271943"/>
                  <a:pt x="4474565" y="1271943"/>
                </a:cubicBezTo>
                <a:cubicBezTo>
                  <a:pt x="4477152" y="1265756"/>
                  <a:pt x="4477152" y="1265756"/>
                  <a:pt x="4472767" y="1267558"/>
                </a:cubicBezTo>
                <a:cubicBezTo>
                  <a:pt x="4484126" y="1257761"/>
                  <a:pt x="4475352" y="1261367"/>
                  <a:pt x="4473548" y="1256980"/>
                </a:cubicBezTo>
                <a:cubicBezTo>
                  <a:pt x="4481022" y="1256469"/>
                  <a:pt x="4483421" y="1252924"/>
                  <a:pt x="4486127" y="1248605"/>
                </a:cubicBezTo>
                <a:lnTo>
                  <a:pt x="4497918" y="1238040"/>
                </a:lnTo>
                <a:close/>
                <a:moveTo>
                  <a:pt x="3205385" y="1235506"/>
                </a:moveTo>
                <a:cubicBezTo>
                  <a:pt x="3205385" y="1235506"/>
                  <a:pt x="3205385" y="1235506"/>
                  <a:pt x="3209772" y="1236682"/>
                </a:cubicBezTo>
                <a:lnTo>
                  <a:pt x="3204457" y="1236041"/>
                </a:lnTo>
                <a:close/>
                <a:moveTo>
                  <a:pt x="3202175" y="1229941"/>
                </a:moveTo>
                <a:cubicBezTo>
                  <a:pt x="3201584" y="1232135"/>
                  <a:pt x="3200998" y="1234332"/>
                  <a:pt x="3201800" y="1235721"/>
                </a:cubicBezTo>
                <a:lnTo>
                  <a:pt x="3204457" y="1236041"/>
                </a:lnTo>
                <a:lnTo>
                  <a:pt x="3194255" y="1241931"/>
                </a:lnTo>
                <a:cubicBezTo>
                  <a:pt x="3198644" y="1243107"/>
                  <a:pt x="3203032" y="1244283"/>
                  <a:pt x="3207419" y="1245458"/>
                </a:cubicBezTo>
                <a:cubicBezTo>
                  <a:pt x="3190729" y="1255095"/>
                  <a:pt x="3179599" y="1261522"/>
                  <a:pt x="3155306" y="1264420"/>
                </a:cubicBezTo>
                <a:cubicBezTo>
                  <a:pt x="3160870" y="1261208"/>
                  <a:pt x="3156481" y="1260031"/>
                  <a:pt x="3152094" y="1258856"/>
                </a:cubicBezTo>
                <a:cubicBezTo>
                  <a:pt x="3127797" y="1261754"/>
                  <a:pt x="3099971" y="1277817"/>
                  <a:pt x="3085629" y="1278678"/>
                </a:cubicBezTo>
                <a:cubicBezTo>
                  <a:pt x="3085629" y="1278678"/>
                  <a:pt x="3086805" y="1274289"/>
                  <a:pt x="3091193" y="1275464"/>
                </a:cubicBezTo>
                <a:cubicBezTo>
                  <a:pt x="3056943" y="1280399"/>
                  <a:pt x="3029120" y="1296463"/>
                  <a:pt x="3017129" y="1288546"/>
                </a:cubicBezTo>
                <a:cubicBezTo>
                  <a:pt x="3021518" y="1289722"/>
                  <a:pt x="3015956" y="1292936"/>
                  <a:pt x="3011568" y="1291759"/>
                </a:cubicBezTo>
                <a:cubicBezTo>
                  <a:pt x="2999260" y="1302574"/>
                  <a:pt x="3024732" y="1295287"/>
                  <a:pt x="3029120" y="1296463"/>
                </a:cubicBezTo>
                <a:cubicBezTo>
                  <a:pt x="2999260" y="1302574"/>
                  <a:pt x="2990484" y="1300221"/>
                  <a:pt x="2978178" y="1311036"/>
                </a:cubicBezTo>
                <a:cubicBezTo>
                  <a:pt x="2974964" y="1305470"/>
                  <a:pt x="2986093" y="1299045"/>
                  <a:pt x="2970573" y="1304295"/>
                </a:cubicBezTo>
                <a:cubicBezTo>
                  <a:pt x="2963833" y="1311896"/>
                  <a:pt x="2969398" y="1308683"/>
                  <a:pt x="2958270" y="1315109"/>
                </a:cubicBezTo>
                <a:cubicBezTo>
                  <a:pt x="2957092" y="1319498"/>
                  <a:pt x="2952704" y="1318323"/>
                  <a:pt x="2952704" y="1318323"/>
                </a:cubicBezTo>
                <a:cubicBezTo>
                  <a:pt x="2947139" y="1321535"/>
                  <a:pt x="2942749" y="1320359"/>
                  <a:pt x="2941573" y="1324748"/>
                </a:cubicBezTo>
                <a:cubicBezTo>
                  <a:pt x="2940397" y="1329137"/>
                  <a:pt x="2944785" y="1330313"/>
                  <a:pt x="2950352" y="1327101"/>
                </a:cubicBezTo>
                <a:cubicBezTo>
                  <a:pt x="2950352" y="1327101"/>
                  <a:pt x="2950352" y="1327101"/>
                  <a:pt x="2954742" y="1328276"/>
                </a:cubicBezTo>
                <a:cubicBezTo>
                  <a:pt x="2909368" y="1339636"/>
                  <a:pt x="2897060" y="1350449"/>
                  <a:pt x="2840552" y="1368236"/>
                </a:cubicBezTo>
                <a:cubicBezTo>
                  <a:pt x="2825345" y="1354754"/>
                  <a:pt x="2834986" y="1371449"/>
                  <a:pt x="2803088" y="1367605"/>
                </a:cubicBezTo>
                <a:cubicBezTo>
                  <a:pt x="2804265" y="1363217"/>
                  <a:pt x="2804265" y="1363217"/>
                  <a:pt x="2804265" y="1363217"/>
                </a:cubicBezTo>
                <a:cubicBezTo>
                  <a:pt x="2809830" y="1360004"/>
                  <a:pt x="2805440" y="1358827"/>
                  <a:pt x="2799875" y="1362039"/>
                </a:cubicBezTo>
                <a:cubicBezTo>
                  <a:pt x="2795487" y="1360864"/>
                  <a:pt x="2789920" y="1364077"/>
                  <a:pt x="2788746" y="1368466"/>
                </a:cubicBezTo>
                <a:cubicBezTo>
                  <a:pt x="2783178" y="1371679"/>
                  <a:pt x="2783178" y="1371679"/>
                  <a:pt x="2783178" y="1371679"/>
                </a:cubicBezTo>
                <a:cubicBezTo>
                  <a:pt x="2773228" y="1373716"/>
                  <a:pt x="2772054" y="1378104"/>
                  <a:pt x="2775266" y="1383669"/>
                </a:cubicBezTo>
                <a:cubicBezTo>
                  <a:pt x="2766487" y="1381318"/>
                  <a:pt x="2759746" y="1388919"/>
                  <a:pt x="2754182" y="1392132"/>
                </a:cubicBezTo>
                <a:cubicBezTo>
                  <a:pt x="2764135" y="1390094"/>
                  <a:pt x="2774089" y="1388059"/>
                  <a:pt x="2784042" y="1386021"/>
                </a:cubicBezTo>
                <a:cubicBezTo>
                  <a:pt x="2785218" y="1381632"/>
                  <a:pt x="2786393" y="1377243"/>
                  <a:pt x="2786393" y="1377243"/>
                </a:cubicBezTo>
                <a:cubicBezTo>
                  <a:pt x="2786393" y="1377243"/>
                  <a:pt x="2790782" y="1378420"/>
                  <a:pt x="2791959" y="1374031"/>
                </a:cubicBezTo>
                <a:cubicBezTo>
                  <a:pt x="2791959" y="1374031"/>
                  <a:pt x="2796348" y="1375208"/>
                  <a:pt x="2796348" y="1375208"/>
                </a:cubicBezTo>
                <a:cubicBezTo>
                  <a:pt x="2800735" y="1376384"/>
                  <a:pt x="2801912" y="1371994"/>
                  <a:pt x="2803088" y="1367605"/>
                </a:cubicBezTo>
                <a:cubicBezTo>
                  <a:pt x="2822680" y="1382264"/>
                  <a:pt x="2850190" y="1384929"/>
                  <a:pt x="2889144" y="1362440"/>
                </a:cubicBezTo>
                <a:cubicBezTo>
                  <a:pt x="2893532" y="1363616"/>
                  <a:pt x="2899098" y="1360403"/>
                  <a:pt x="2897922" y="1364792"/>
                </a:cubicBezTo>
                <a:cubicBezTo>
                  <a:pt x="2893532" y="1363616"/>
                  <a:pt x="2892357" y="1368005"/>
                  <a:pt x="2896747" y="1369181"/>
                </a:cubicBezTo>
                <a:cubicBezTo>
                  <a:pt x="2896747" y="1369181"/>
                  <a:pt x="2896747" y="1369181"/>
                  <a:pt x="2902310" y="1365967"/>
                </a:cubicBezTo>
                <a:cubicBezTo>
                  <a:pt x="2902310" y="1365967"/>
                  <a:pt x="2906700" y="1367144"/>
                  <a:pt x="2906700" y="1367144"/>
                </a:cubicBezTo>
                <a:cubicBezTo>
                  <a:pt x="2892197" y="1377371"/>
                  <a:pt x="2878580" y="1384305"/>
                  <a:pt x="2863208" y="1389007"/>
                </a:cubicBezTo>
                <a:lnTo>
                  <a:pt x="2814110" y="1396697"/>
                </a:lnTo>
                <a:lnTo>
                  <a:pt x="2814765" y="1394253"/>
                </a:lnTo>
                <a:cubicBezTo>
                  <a:pt x="2810375" y="1393076"/>
                  <a:pt x="2810375" y="1393076"/>
                  <a:pt x="2809201" y="1397467"/>
                </a:cubicBezTo>
                <a:cubicBezTo>
                  <a:pt x="2800421" y="1395114"/>
                  <a:pt x="2799246" y="1399502"/>
                  <a:pt x="2789292" y="1401540"/>
                </a:cubicBezTo>
                <a:cubicBezTo>
                  <a:pt x="2789292" y="1401540"/>
                  <a:pt x="2790468" y="1397151"/>
                  <a:pt x="2794857" y="1398327"/>
                </a:cubicBezTo>
                <a:cubicBezTo>
                  <a:pt x="2794857" y="1398327"/>
                  <a:pt x="2790468" y="1397151"/>
                  <a:pt x="2790468" y="1397151"/>
                </a:cubicBezTo>
                <a:cubicBezTo>
                  <a:pt x="2790468" y="1397151"/>
                  <a:pt x="2784901" y="1400363"/>
                  <a:pt x="2784901" y="1400363"/>
                </a:cubicBezTo>
                <a:cubicBezTo>
                  <a:pt x="2755043" y="1406475"/>
                  <a:pt x="2733099" y="1400594"/>
                  <a:pt x="2705278" y="1416658"/>
                </a:cubicBezTo>
                <a:cubicBezTo>
                  <a:pt x="2716409" y="1410232"/>
                  <a:pt x="2706453" y="1412269"/>
                  <a:pt x="2697676" y="1409918"/>
                </a:cubicBezTo>
                <a:cubicBezTo>
                  <a:pt x="2714367" y="1400279"/>
                  <a:pt x="2727537" y="1403808"/>
                  <a:pt x="2725497" y="1393853"/>
                </a:cubicBezTo>
                <a:cubicBezTo>
                  <a:pt x="2693287" y="1408742"/>
                  <a:pt x="2672205" y="1417204"/>
                  <a:pt x="2626824" y="1428564"/>
                </a:cubicBezTo>
                <a:cubicBezTo>
                  <a:pt x="2628001" y="1424175"/>
                  <a:pt x="2622435" y="1427388"/>
                  <a:pt x="2618046" y="1426211"/>
                </a:cubicBezTo>
                <a:cubicBezTo>
                  <a:pt x="2612483" y="1429425"/>
                  <a:pt x="2606918" y="1432639"/>
                  <a:pt x="2611306" y="1433815"/>
                </a:cubicBezTo>
                <a:cubicBezTo>
                  <a:pt x="2601351" y="1435852"/>
                  <a:pt x="2594613" y="1443452"/>
                  <a:pt x="2582307" y="1454266"/>
                </a:cubicBezTo>
                <a:cubicBezTo>
                  <a:pt x="2579095" y="1448700"/>
                  <a:pt x="2590226" y="1442277"/>
                  <a:pt x="2580271" y="1444312"/>
                </a:cubicBezTo>
                <a:cubicBezTo>
                  <a:pt x="2579095" y="1448700"/>
                  <a:pt x="2569140" y="1450739"/>
                  <a:pt x="2567967" y="1455127"/>
                </a:cubicBezTo>
                <a:cubicBezTo>
                  <a:pt x="2567967" y="1455127"/>
                  <a:pt x="2563577" y="1453952"/>
                  <a:pt x="2562402" y="1458341"/>
                </a:cubicBezTo>
                <a:cubicBezTo>
                  <a:pt x="2558016" y="1457164"/>
                  <a:pt x="2558016" y="1457164"/>
                  <a:pt x="2558016" y="1457164"/>
                </a:cubicBezTo>
                <a:cubicBezTo>
                  <a:pt x="2556838" y="1461554"/>
                  <a:pt x="2556838" y="1461554"/>
                  <a:pt x="2556838" y="1461554"/>
                </a:cubicBezTo>
                <a:cubicBezTo>
                  <a:pt x="2562402" y="1458341"/>
                  <a:pt x="2562402" y="1458341"/>
                  <a:pt x="2562402" y="1458341"/>
                </a:cubicBezTo>
                <a:cubicBezTo>
                  <a:pt x="2566791" y="1459517"/>
                  <a:pt x="2566791" y="1459517"/>
                  <a:pt x="2566791" y="1459517"/>
                </a:cubicBezTo>
                <a:cubicBezTo>
                  <a:pt x="2545708" y="1467980"/>
                  <a:pt x="2545708" y="1467980"/>
                  <a:pt x="2545708" y="1467980"/>
                </a:cubicBezTo>
                <a:cubicBezTo>
                  <a:pt x="2551273" y="1464768"/>
                  <a:pt x="2552449" y="1460377"/>
                  <a:pt x="2546884" y="1463592"/>
                </a:cubicBezTo>
                <a:cubicBezTo>
                  <a:pt x="2497978" y="1488117"/>
                  <a:pt x="2454321" y="1528160"/>
                  <a:pt x="2407450" y="1562639"/>
                </a:cubicBezTo>
                <a:cubicBezTo>
                  <a:pt x="2363793" y="1602681"/>
                  <a:pt x="2321313" y="1638340"/>
                  <a:pt x="2278831" y="1673995"/>
                </a:cubicBezTo>
                <a:cubicBezTo>
                  <a:pt x="2270051" y="1671644"/>
                  <a:pt x="2271230" y="1667256"/>
                  <a:pt x="2273581" y="1658480"/>
                </a:cubicBezTo>
                <a:cubicBezTo>
                  <a:pt x="2241054" y="1692100"/>
                  <a:pt x="2216444" y="1713724"/>
                  <a:pt x="2195047" y="1740918"/>
                </a:cubicBezTo>
                <a:cubicBezTo>
                  <a:pt x="2169260" y="1766936"/>
                  <a:pt x="2147862" y="1794126"/>
                  <a:pt x="2110944" y="1826569"/>
                </a:cubicBezTo>
                <a:cubicBezTo>
                  <a:pt x="2116506" y="1823357"/>
                  <a:pt x="2116506" y="1823357"/>
                  <a:pt x="2112117" y="1822182"/>
                </a:cubicBezTo>
                <a:cubicBezTo>
                  <a:pt x="2112117" y="1822182"/>
                  <a:pt x="2107728" y="1821006"/>
                  <a:pt x="2102165" y="1824218"/>
                </a:cubicBezTo>
                <a:cubicBezTo>
                  <a:pt x="2097778" y="1823043"/>
                  <a:pt x="2097778" y="1823043"/>
                  <a:pt x="2097778" y="1823043"/>
                </a:cubicBezTo>
                <a:cubicBezTo>
                  <a:pt x="2091019" y="1830644"/>
                  <a:pt x="2079890" y="1837069"/>
                  <a:pt x="2083104" y="1842634"/>
                </a:cubicBezTo>
                <a:cubicBezTo>
                  <a:pt x="2078714" y="1841457"/>
                  <a:pt x="2073150" y="1844669"/>
                  <a:pt x="2071973" y="1849058"/>
                </a:cubicBezTo>
                <a:cubicBezTo>
                  <a:pt x="2066408" y="1852272"/>
                  <a:pt x="2070798" y="1853448"/>
                  <a:pt x="2070798" y="1853448"/>
                </a:cubicBezTo>
                <a:cubicBezTo>
                  <a:pt x="2075187" y="1854624"/>
                  <a:pt x="2075187" y="1854624"/>
                  <a:pt x="2075187" y="1854624"/>
                </a:cubicBezTo>
                <a:cubicBezTo>
                  <a:pt x="2051749" y="1871863"/>
                  <a:pt x="2048222" y="1885029"/>
                  <a:pt x="2024787" y="1902268"/>
                </a:cubicBezTo>
                <a:cubicBezTo>
                  <a:pt x="2037952" y="1905795"/>
                  <a:pt x="2022435" y="1911045"/>
                  <a:pt x="2021260" y="1915435"/>
                </a:cubicBezTo>
                <a:cubicBezTo>
                  <a:pt x="2033562" y="1904620"/>
                  <a:pt x="2031213" y="1913397"/>
                  <a:pt x="2042342" y="1906972"/>
                </a:cubicBezTo>
                <a:cubicBezTo>
                  <a:pt x="2049083" y="1899370"/>
                  <a:pt x="2032388" y="1909009"/>
                  <a:pt x="2040304" y="1897019"/>
                </a:cubicBezTo>
                <a:cubicBezTo>
                  <a:pt x="2055823" y="1891769"/>
                  <a:pt x="2063741" y="1879779"/>
                  <a:pt x="2073696" y="1877744"/>
                </a:cubicBezTo>
                <a:cubicBezTo>
                  <a:pt x="2068131" y="1880955"/>
                  <a:pt x="2062565" y="1884168"/>
                  <a:pt x="2061389" y="1888556"/>
                </a:cubicBezTo>
                <a:cubicBezTo>
                  <a:pt x="2084825" y="1871319"/>
                  <a:pt x="2113840" y="1850864"/>
                  <a:pt x="2144018" y="1826025"/>
                </a:cubicBezTo>
                <a:cubicBezTo>
                  <a:pt x="2174192" y="1801181"/>
                  <a:pt x="2204371" y="1776340"/>
                  <a:pt x="2228980" y="1754713"/>
                </a:cubicBezTo>
                <a:cubicBezTo>
                  <a:pt x="2227804" y="1759104"/>
                  <a:pt x="2232192" y="1760279"/>
                  <a:pt x="2237760" y="1757066"/>
                </a:cubicBezTo>
                <a:cubicBezTo>
                  <a:pt x="2266756" y="1736614"/>
                  <a:pt x="2290191" y="1719373"/>
                  <a:pt x="2322406" y="1704487"/>
                </a:cubicBezTo>
                <a:cubicBezTo>
                  <a:pt x="2320368" y="1694534"/>
                  <a:pt x="2344664" y="1691635"/>
                  <a:pt x="2355794" y="1685211"/>
                </a:cubicBezTo>
                <a:cubicBezTo>
                  <a:pt x="2361357" y="1681998"/>
                  <a:pt x="2358145" y="1676432"/>
                  <a:pt x="2368099" y="1674396"/>
                </a:cubicBezTo>
                <a:cubicBezTo>
                  <a:pt x="2369274" y="1670007"/>
                  <a:pt x="2383616" y="1669147"/>
                  <a:pt x="2394746" y="1662721"/>
                </a:cubicBezTo>
                <a:cubicBezTo>
                  <a:pt x="2411439" y="1653083"/>
                  <a:pt x="2429309" y="1639056"/>
                  <a:pt x="2446004" y="1629417"/>
                </a:cubicBezTo>
                <a:cubicBezTo>
                  <a:pt x="2468263" y="1616565"/>
                  <a:pt x="2469438" y="1612175"/>
                  <a:pt x="2496086" y="1600499"/>
                </a:cubicBezTo>
                <a:cubicBezTo>
                  <a:pt x="2547343" y="1567196"/>
                  <a:pt x="2619370" y="1544161"/>
                  <a:pt x="2642806" y="1526922"/>
                </a:cubicBezTo>
                <a:cubicBezTo>
                  <a:pt x="2655973" y="1530450"/>
                  <a:pt x="2675016" y="1512037"/>
                  <a:pt x="2686146" y="1505610"/>
                </a:cubicBezTo>
                <a:cubicBezTo>
                  <a:pt x="2679407" y="1513212"/>
                  <a:pt x="2684972" y="1509998"/>
                  <a:pt x="2689360" y="1511175"/>
                </a:cubicBezTo>
                <a:cubicBezTo>
                  <a:pt x="2728311" y="1488686"/>
                  <a:pt x="2781290" y="1484067"/>
                  <a:pt x="2840151" y="1457503"/>
                </a:cubicBezTo>
                <a:cubicBezTo>
                  <a:pt x="2862408" y="1444651"/>
                  <a:pt x="2846893" y="1449901"/>
                  <a:pt x="2876751" y="1443790"/>
                </a:cubicBezTo>
                <a:cubicBezTo>
                  <a:pt x="2896662" y="1439716"/>
                  <a:pt x="2913356" y="1430078"/>
                  <a:pt x="2933259" y="1426004"/>
                </a:cubicBezTo>
                <a:cubicBezTo>
                  <a:pt x="3004108" y="1407359"/>
                  <a:pt x="3073785" y="1393099"/>
                  <a:pt x="3133510" y="1380879"/>
                </a:cubicBezTo>
                <a:cubicBezTo>
                  <a:pt x="3158980" y="1373592"/>
                  <a:pt x="3177709" y="1373908"/>
                  <a:pt x="3194405" y="1364270"/>
                </a:cubicBezTo>
                <a:cubicBezTo>
                  <a:pt x="3198792" y="1365447"/>
                  <a:pt x="3198792" y="1365447"/>
                  <a:pt x="3203178" y="1366621"/>
                </a:cubicBezTo>
                <a:lnTo>
                  <a:pt x="3213583" y="1368060"/>
                </a:lnTo>
                <a:lnTo>
                  <a:pt x="3230130" y="1339463"/>
                </a:lnTo>
                <a:cubicBezTo>
                  <a:pt x="3246582" y="1315722"/>
                  <a:pt x="3266324" y="1287234"/>
                  <a:pt x="3282776" y="1263496"/>
                </a:cubicBezTo>
                <a:cubicBezTo>
                  <a:pt x="3294109" y="1257289"/>
                  <a:pt x="3273635" y="1281758"/>
                  <a:pt x="3277652" y="1281029"/>
                </a:cubicBezTo>
                <a:cubicBezTo>
                  <a:pt x="3277652" y="1281029"/>
                  <a:pt x="3280943" y="1276280"/>
                  <a:pt x="3280943" y="1276280"/>
                </a:cubicBezTo>
                <a:cubicBezTo>
                  <a:pt x="3284233" y="1271534"/>
                  <a:pt x="3283506" y="1267514"/>
                  <a:pt x="3288254" y="1270805"/>
                </a:cubicBezTo>
                <a:cubicBezTo>
                  <a:pt x="3288254" y="1270805"/>
                  <a:pt x="3288254" y="1270805"/>
                  <a:pt x="3284965" y="1275553"/>
                </a:cubicBezTo>
                <a:cubicBezTo>
                  <a:pt x="3284965" y="1275553"/>
                  <a:pt x="3284965" y="1275553"/>
                  <a:pt x="3285692" y="1279570"/>
                </a:cubicBezTo>
                <a:cubicBezTo>
                  <a:pt x="3295564" y="1265328"/>
                  <a:pt x="3305438" y="1251083"/>
                  <a:pt x="3310185" y="1254375"/>
                </a:cubicBezTo>
                <a:cubicBezTo>
                  <a:pt x="3308353" y="1267159"/>
                  <a:pt x="3291899" y="1290898"/>
                  <a:pt x="3289337" y="1299664"/>
                </a:cubicBezTo>
                <a:cubicBezTo>
                  <a:pt x="3289337" y="1299664"/>
                  <a:pt x="3289337" y="1299664"/>
                  <a:pt x="3292629" y="1294916"/>
                </a:cubicBezTo>
                <a:cubicBezTo>
                  <a:pt x="3295919" y="1290168"/>
                  <a:pt x="3295919" y="1290168"/>
                  <a:pt x="3299209" y="1285421"/>
                </a:cubicBezTo>
                <a:cubicBezTo>
                  <a:pt x="3299209" y="1285421"/>
                  <a:pt x="3299938" y="1289441"/>
                  <a:pt x="3299938" y="1289441"/>
                </a:cubicBezTo>
                <a:cubicBezTo>
                  <a:pt x="3295919" y="1290168"/>
                  <a:pt x="3296649" y="1294187"/>
                  <a:pt x="3296649" y="1294187"/>
                </a:cubicBezTo>
                <a:cubicBezTo>
                  <a:pt x="3299209" y="1285421"/>
                  <a:pt x="3310540" y="1279216"/>
                  <a:pt x="3317120" y="1269719"/>
                </a:cubicBezTo>
                <a:lnTo>
                  <a:pt x="3342575" y="1230436"/>
                </a:lnTo>
                <a:lnTo>
                  <a:pt x="3327111" y="1231078"/>
                </a:lnTo>
                <a:cubicBezTo>
                  <a:pt x="3296337" y="1234005"/>
                  <a:pt x="3260990" y="1238646"/>
                  <a:pt x="3221765" y="1244598"/>
                </a:cubicBezTo>
                <a:cubicBezTo>
                  <a:pt x="3222941" y="1240210"/>
                  <a:pt x="3222941" y="1240210"/>
                  <a:pt x="3222941" y="1240210"/>
                </a:cubicBezTo>
                <a:cubicBezTo>
                  <a:pt x="3222941" y="1240210"/>
                  <a:pt x="3227330" y="1241385"/>
                  <a:pt x="3227330" y="1241385"/>
                </a:cubicBezTo>
                <a:cubicBezTo>
                  <a:pt x="3232895" y="1238172"/>
                  <a:pt x="3237283" y="1239348"/>
                  <a:pt x="3234069" y="1233785"/>
                </a:cubicBezTo>
                <a:cubicBezTo>
                  <a:pt x="3234069" y="1233785"/>
                  <a:pt x="3229681" y="1232608"/>
                  <a:pt x="3224118" y="1235821"/>
                </a:cubicBezTo>
                <a:cubicBezTo>
                  <a:pt x="3219729" y="1234645"/>
                  <a:pt x="3219729" y="1234645"/>
                  <a:pt x="3214165" y="1237857"/>
                </a:cubicBezTo>
                <a:cubicBezTo>
                  <a:pt x="3215341" y="1233469"/>
                  <a:pt x="3210951" y="1232293"/>
                  <a:pt x="3202175" y="1229941"/>
                </a:cubicBezTo>
                <a:close/>
                <a:moveTo>
                  <a:pt x="4443437" y="1218038"/>
                </a:moveTo>
                <a:lnTo>
                  <a:pt x="4441569" y="1219725"/>
                </a:lnTo>
                <a:cubicBezTo>
                  <a:pt x="4433307" y="1227689"/>
                  <a:pt x="4433644" y="1228511"/>
                  <a:pt x="4415248" y="1239914"/>
                </a:cubicBezTo>
                <a:cubicBezTo>
                  <a:pt x="4410860" y="1241716"/>
                  <a:pt x="4410860" y="1241716"/>
                  <a:pt x="4406480" y="1243520"/>
                </a:cubicBezTo>
                <a:cubicBezTo>
                  <a:pt x="4403890" y="1249709"/>
                  <a:pt x="4403890" y="1249709"/>
                  <a:pt x="4408280" y="1247907"/>
                </a:cubicBezTo>
                <a:lnTo>
                  <a:pt x="4391772" y="1257619"/>
                </a:lnTo>
                <a:lnTo>
                  <a:pt x="4414019" y="1264560"/>
                </a:lnTo>
                <a:lnTo>
                  <a:pt x="4435464" y="1246990"/>
                </a:lnTo>
                <a:lnTo>
                  <a:pt x="4461838" y="1224795"/>
                </a:lnTo>
                <a:close/>
                <a:moveTo>
                  <a:pt x="6232478" y="1216560"/>
                </a:moveTo>
                <a:lnTo>
                  <a:pt x="6222229" y="1218411"/>
                </a:lnTo>
                <a:lnTo>
                  <a:pt x="6223479" y="1218722"/>
                </a:lnTo>
                <a:lnTo>
                  <a:pt x="6221201" y="1219657"/>
                </a:lnTo>
                <a:lnTo>
                  <a:pt x="6219429" y="1218917"/>
                </a:lnTo>
                <a:lnTo>
                  <a:pt x="6212139" y="1220233"/>
                </a:lnTo>
                <a:lnTo>
                  <a:pt x="6229831" y="1220297"/>
                </a:lnTo>
                <a:lnTo>
                  <a:pt x="6223479" y="1218722"/>
                </a:lnTo>
                <a:lnTo>
                  <a:pt x="6224780" y="1218186"/>
                </a:lnTo>
                <a:cubicBezTo>
                  <a:pt x="6229831" y="1220297"/>
                  <a:pt x="6229831" y="1220297"/>
                  <a:pt x="6233410" y="1218826"/>
                </a:cubicBezTo>
                <a:close/>
                <a:moveTo>
                  <a:pt x="7577843" y="1211888"/>
                </a:moveTo>
                <a:lnTo>
                  <a:pt x="7581590" y="1215476"/>
                </a:lnTo>
                <a:lnTo>
                  <a:pt x="7579646" y="1216276"/>
                </a:lnTo>
                <a:cubicBezTo>
                  <a:pt x="7579646" y="1216276"/>
                  <a:pt x="7579646" y="1216276"/>
                  <a:pt x="7577843" y="1211888"/>
                </a:cubicBezTo>
                <a:close/>
                <a:moveTo>
                  <a:pt x="3528825" y="1204578"/>
                </a:moveTo>
                <a:cubicBezTo>
                  <a:pt x="3523262" y="1207790"/>
                  <a:pt x="3527649" y="1208965"/>
                  <a:pt x="3526475" y="1213355"/>
                </a:cubicBezTo>
                <a:cubicBezTo>
                  <a:pt x="3526475" y="1213355"/>
                  <a:pt x="3522087" y="1212179"/>
                  <a:pt x="3522087" y="1212179"/>
                </a:cubicBezTo>
                <a:cubicBezTo>
                  <a:pt x="3517697" y="1211003"/>
                  <a:pt x="3512132" y="1214217"/>
                  <a:pt x="3512132" y="1214217"/>
                </a:cubicBezTo>
                <a:cubicBezTo>
                  <a:pt x="3510958" y="1218606"/>
                  <a:pt x="3515346" y="1219780"/>
                  <a:pt x="3519733" y="1220956"/>
                </a:cubicBezTo>
                <a:cubicBezTo>
                  <a:pt x="3520911" y="1216568"/>
                  <a:pt x="3520911" y="1216568"/>
                  <a:pt x="3520911" y="1216568"/>
                </a:cubicBezTo>
                <a:cubicBezTo>
                  <a:pt x="3524122" y="1222133"/>
                  <a:pt x="3524122" y="1222133"/>
                  <a:pt x="3524122" y="1222133"/>
                </a:cubicBezTo>
                <a:cubicBezTo>
                  <a:pt x="3487838" y="1217114"/>
                  <a:pt x="3431651" y="1216168"/>
                  <a:pt x="3405006" y="1227843"/>
                </a:cubicBezTo>
                <a:lnTo>
                  <a:pt x="3381961" y="1228800"/>
                </a:lnTo>
                <a:lnTo>
                  <a:pt x="3345615" y="1283748"/>
                </a:lnTo>
                <a:lnTo>
                  <a:pt x="3297377" y="1353856"/>
                </a:lnTo>
                <a:lnTo>
                  <a:pt x="3347270" y="1351136"/>
                </a:lnTo>
                <a:cubicBezTo>
                  <a:pt x="3367688" y="1349549"/>
                  <a:pt x="3384814" y="1347083"/>
                  <a:pt x="3393163" y="1342264"/>
                </a:cubicBezTo>
                <a:cubicBezTo>
                  <a:pt x="3380855" y="1353079"/>
                  <a:pt x="3440575" y="1340857"/>
                  <a:pt x="3456091" y="1335609"/>
                </a:cubicBezTo>
                <a:cubicBezTo>
                  <a:pt x="3472467" y="1344700"/>
                  <a:pt x="3509068" y="1330989"/>
                  <a:pt x="3545350" y="1336008"/>
                </a:cubicBezTo>
                <a:cubicBezTo>
                  <a:pt x="3549738" y="1337184"/>
                  <a:pt x="3547701" y="1327231"/>
                  <a:pt x="3560866" y="1330759"/>
                </a:cubicBezTo>
                <a:cubicBezTo>
                  <a:pt x="3568467" y="1337499"/>
                  <a:pt x="3601537" y="1336953"/>
                  <a:pt x="3598325" y="1331388"/>
                </a:cubicBezTo>
                <a:cubicBezTo>
                  <a:pt x="3609139" y="1343694"/>
                  <a:pt x="3640173" y="1333194"/>
                  <a:pt x="3647776" y="1339935"/>
                </a:cubicBezTo>
                <a:cubicBezTo>
                  <a:pt x="3650126" y="1331158"/>
                  <a:pt x="3655692" y="1327946"/>
                  <a:pt x="3661256" y="1324732"/>
                </a:cubicBezTo>
                <a:cubicBezTo>
                  <a:pt x="3671209" y="1322695"/>
                  <a:pt x="3675599" y="1323870"/>
                  <a:pt x="3685550" y="1321836"/>
                </a:cubicBezTo>
                <a:lnTo>
                  <a:pt x="3706844" y="1323120"/>
                </a:lnTo>
                <a:lnTo>
                  <a:pt x="3732033" y="1288591"/>
                </a:lnTo>
                <a:cubicBezTo>
                  <a:pt x="3744063" y="1273702"/>
                  <a:pt x="3758163" y="1257478"/>
                  <a:pt x="3773637" y="1240615"/>
                </a:cubicBezTo>
                <a:lnTo>
                  <a:pt x="3784607" y="1229209"/>
                </a:lnTo>
                <a:lnTo>
                  <a:pt x="3748885" y="1225912"/>
                </a:lnTo>
                <a:cubicBezTo>
                  <a:pt x="3712596" y="1220896"/>
                  <a:pt x="3693865" y="1220581"/>
                  <a:pt x="3652016" y="1218774"/>
                </a:cubicBezTo>
                <a:cubicBezTo>
                  <a:pt x="3642064" y="1220812"/>
                  <a:pt x="3628899" y="1217284"/>
                  <a:pt x="3620122" y="1214932"/>
                </a:cubicBezTo>
                <a:cubicBezTo>
                  <a:pt x="3597004" y="1213439"/>
                  <a:pt x="3575920" y="1221901"/>
                  <a:pt x="3553981" y="1216022"/>
                </a:cubicBezTo>
                <a:cubicBezTo>
                  <a:pt x="3553981" y="1216022"/>
                  <a:pt x="3555155" y="1211634"/>
                  <a:pt x="3555155" y="1211634"/>
                </a:cubicBezTo>
                <a:cubicBezTo>
                  <a:pt x="3559543" y="1212811"/>
                  <a:pt x="3556332" y="1207245"/>
                  <a:pt x="3550768" y="1210457"/>
                </a:cubicBezTo>
                <a:cubicBezTo>
                  <a:pt x="3546379" y="1209282"/>
                  <a:pt x="3541990" y="1208105"/>
                  <a:pt x="3541990" y="1208105"/>
                </a:cubicBezTo>
                <a:cubicBezTo>
                  <a:pt x="3540815" y="1212494"/>
                  <a:pt x="3536427" y="1211319"/>
                  <a:pt x="3536427" y="1211319"/>
                </a:cubicBezTo>
                <a:cubicBezTo>
                  <a:pt x="3537601" y="1206931"/>
                  <a:pt x="3533214" y="1205754"/>
                  <a:pt x="3528825" y="1204578"/>
                </a:cubicBezTo>
                <a:close/>
                <a:moveTo>
                  <a:pt x="6241298" y="1203868"/>
                </a:moveTo>
                <a:lnTo>
                  <a:pt x="6249337" y="1211409"/>
                </a:lnTo>
                <a:lnTo>
                  <a:pt x="6263513" y="1210642"/>
                </a:lnTo>
                <a:cubicBezTo>
                  <a:pt x="6259934" y="1212113"/>
                  <a:pt x="6259934" y="1212113"/>
                  <a:pt x="6259934" y="1212113"/>
                </a:cubicBezTo>
                <a:cubicBezTo>
                  <a:pt x="6259934" y="1212113"/>
                  <a:pt x="6264985" y="1214224"/>
                  <a:pt x="6268564" y="1212752"/>
                </a:cubicBezTo>
                <a:cubicBezTo>
                  <a:pt x="6270035" y="1216335"/>
                  <a:pt x="6273613" y="1214863"/>
                  <a:pt x="6273613" y="1214863"/>
                </a:cubicBezTo>
                <a:cubicBezTo>
                  <a:pt x="6295189" y="1216465"/>
                  <a:pt x="6315341" y="1219695"/>
                  <a:pt x="6333625" y="1224740"/>
                </a:cubicBezTo>
                <a:lnTo>
                  <a:pt x="6377442" y="1243384"/>
                </a:lnTo>
                <a:lnTo>
                  <a:pt x="6377372" y="1243395"/>
                </a:lnTo>
                <a:cubicBezTo>
                  <a:pt x="6373794" y="1244864"/>
                  <a:pt x="6373794" y="1244864"/>
                  <a:pt x="6375267" y="1248446"/>
                </a:cubicBezTo>
                <a:cubicBezTo>
                  <a:pt x="6375267" y="1248446"/>
                  <a:pt x="6378845" y="1246976"/>
                  <a:pt x="6378845" y="1246976"/>
                </a:cubicBezTo>
                <a:cubicBezTo>
                  <a:pt x="6378845" y="1246976"/>
                  <a:pt x="6378845" y="1246976"/>
                  <a:pt x="6382424" y="1245505"/>
                </a:cubicBezTo>
                <a:cubicBezTo>
                  <a:pt x="6383896" y="1249087"/>
                  <a:pt x="6387475" y="1247616"/>
                  <a:pt x="6387475" y="1247616"/>
                </a:cubicBezTo>
                <a:cubicBezTo>
                  <a:pt x="6385367" y="1252669"/>
                  <a:pt x="6399048" y="1255421"/>
                  <a:pt x="6412728" y="1258171"/>
                </a:cubicBezTo>
                <a:cubicBezTo>
                  <a:pt x="6414836" y="1253118"/>
                  <a:pt x="6406206" y="1252479"/>
                  <a:pt x="6406206" y="1252479"/>
                </a:cubicBezTo>
                <a:cubicBezTo>
                  <a:pt x="6409784" y="1251007"/>
                  <a:pt x="6409784" y="1251007"/>
                  <a:pt x="6409784" y="1251007"/>
                </a:cubicBezTo>
                <a:cubicBezTo>
                  <a:pt x="6413364" y="1249537"/>
                  <a:pt x="6413364" y="1249537"/>
                  <a:pt x="6413364" y="1249537"/>
                </a:cubicBezTo>
                <a:cubicBezTo>
                  <a:pt x="6413364" y="1249537"/>
                  <a:pt x="6408312" y="1247426"/>
                  <a:pt x="6408312" y="1247426"/>
                </a:cubicBezTo>
                <a:cubicBezTo>
                  <a:pt x="6421994" y="1250177"/>
                  <a:pt x="6420521" y="1246596"/>
                  <a:pt x="6439253" y="1251457"/>
                </a:cubicBezTo>
                <a:cubicBezTo>
                  <a:pt x="6435674" y="1252929"/>
                  <a:pt x="6435674" y="1252929"/>
                  <a:pt x="6435674" y="1252929"/>
                </a:cubicBezTo>
                <a:cubicBezTo>
                  <a:pt x="6435674" y="1252929"/>
                  <a:pt x="6435674" y="1252929"/>
                  <a:pt x="6430623" y="1250816"/>
                </a:cubicBezTo>
                <a:cubicBezTo>
                  <a:pt x="6427045" y="1252288"/>
                  <a:pt x="6427045" y="1252288"/>
                  <a:pt x="6427045" y="1252288"/>
                </a:cubicBezTo>
                <a:cubicBezTo>
                  <a:pt x="6428515" y="1255870"/>
                  <a:pt x="6433567" y="1257980"/>
                  <a:pt x="6437146" y="1256509"/>
                </a:cubicBezTo>
                <a:cubicBezTo>
                  <a:pt x="6437146" y="1256509"/>
                  <a:pt x="6438617" y="1260091"/>
                  <a:pt x="6442196" y="1258621"/>
                </a:cubicBezTo>
                <a:cubicBezTo>
                  <a:pt x="6445141" y="1265786"/>
                  <a:pt x="6460292" y="1272117"/>
                  <a:pt x="6480495" y="1280560"/>
                </a:cubicBezTo>
                <a:cubicBezTo>
                  <a:pt x="6489861" y="1282991"/>
                  <a:pt x="6500122" y="1285054"/>
                  <a:pt x="6509567" y="1286407"/>
                </a:cubicBezTo>
                <a:lnTo>
                  <a:pt x="6519680" y="1287066"/>
                </a:lnTo>
                <a:lnTo>
                  <a:pt x="6537936" y="1280075"/>
                </a:lnTo>
                <a:cubicBezTo>
                  <a:pt x="6548805" y="1278911"/>
                  <a:pt x="6559225" y="1280760"/>
                  <a:pt x="6568644" y="1285367"/>
                </a:cubicBezTo>
                <a:lnTo>
                  <a:pt x="6596597" y="1297148"/>
                </a:lnTo>
                <a:lnTo>
                  <a:pt x="6598170" y="1297686"/>
                </a:lnTo>
                <a:lnTo>
                  <a:pt x="6608881" y="1284665"/>
                </a:lnTo>
                <a:lnTo>
                  <a:pt x="6527020" y="1261440"/>
                </a:lnTo>
                <a:cubicBezTo>
                  <a:pt x="6506817" y="1252997"/>
                  <a:pt x="6472935" y="1241801"/>
                  <a:pt x="6436943" y="1235659"/>
                </a:cubicBezTo>
                <a:cubicBezTo>
                  <a:pt x="6403060" y="1224466"/>
                  <a:pt x="6368540" y="1221906"/>
                  <a:pt x="6347703" y="1222095"/>
                </a:cubicBezTo>
                <a:cubicBezTo>
                  <a:pt x="6323920" y="1215124"/>
                  <a:pt x="6296560" y="1209620"/>
                  <a:pt x="6275721" y="1209810"/>
                </a:cubicBezTo>
                <a:cubicBezTo>
                  <a:pt x="6275721" y="1209810"/>
                  <a:pt x="6274249" y="1206230"/>
                  <a:pt x="6270670" y="1207702"/>
                </a:cubicBezTo>
                <a:cubicBezTo>
                  <a:pt x="6265619" y="1205589"/>
                  <a:pt x="6265619" y="1205589"/>
                  <a:pt x="6262039" y="1207060"/>
                </a:cubicBezTo>
                <a:close/>
                <a:moveTo>
                  <a:pt x="1479789" y="1201104"/>
                </a:moveTo>
                <a:lnTo>
                  <a:pt x="1479720" y="1201462"/>
                </a:lnTo>
                <a:lnTo>
                  <a:pt x="1479440" y="1201333"/>
                </a:lnTo>
                <a:close/>
                <a:moveTo>
                  <a:pt x="6127443" y="1190892"/>
                </a:moveTo>
                <a:lnTo>
                  <a:pt x="6199100" y="1197375"/>
                </a:lnTo>
                <a:lnTo>
                  <a:pt x="6172169" y="1193231"/>
                </a:lnTo>
                <a:close/>
                <a:moveTo>
                  <a:pt x="6005273" y="1182802"/>
                </a:moveTo>
                <a:lnTo>
                  <a:pt x="6005212" y="1182828"/>
                </a:lnTo>
                <a:lnTo>
                  <a:pt x="6005285" y="1182827"/>
                </a:lnTo>
                <a:close/>
                <a:moveTo>
                  <a:pt x="5953261" y="1182201"/>
                </a:moveTo>
                <a:cubicBezTo>
                  <a:pt x="5947643" y="1181891"/>
                  <a:pt x="5942861" y="1182026"/>
                  <a:pt x="5939219" y="1182867"/>
                </a:cubicBezTo>
                <a:lnTo>
                  <a:pt x="5937563" y="1184001"/>
                </a:lnTo>
                <a:lnTo>
                  <a:pt x="5964268" y="1183537"/>
                </a:lnTo>
                <a:close/>
                <a:moveTo>
                  <a:pt x="5845732" y="1181386"/>
                </a:moveTo>
                <a:cubicBezTo>
                  <a:pt x="5812686" y="1182406"/>
                  <a:pt x="5782589" y="1190591"/>
                  <a:pt x="5763221" y="1194364"/>
                </a:cubicBezTo>
                <a:lnTo>
                  <a:pt x="5766793" y="1194487"/>
                </a:lnTo>
                <a:lnTo>
                  <a:pt x="5843528" y="1185629"/>
                </a:lnTo>
                <a:lnTo>
                  <a:pt x="5894340" y="1184750"/>
                </a:lnTo>
                <a:lnTo>
                  <a:pt x="5888593" y="1182613"/>
                </a:lnTo>
                <a:cubicBezTo>
                  <a:pt x="5876991" y="1181099"/>
                  <a:pt x="5862256" y="1180876"/>
                  <a:pt x="5845732" y="1181386"/>
                </a:cubicBezTo>
                <a:close/>
                <a:moveTo>
                  <a:pt x="4851551" y="1178554"/>
                </a:moveTo>
                <a:cubicBezTo>
                  <a:pt x="4851551" y="1178554"/>
                  <a:pt x="4847160" y="1180357"/>
                  <a:pt x="4844587" y="1186547"/>
                </a:cubicBezTo>
                <a:cubicBezTo>
                  <a:pt x="4835813" y="1190153"/>
                  <a:pt x="4831426" y="1191956"/>
                  <a:pt x="4827038" y="1193758"/>
                </a:cubicBezTo>
                <a:cubicBezTo>
                  <a:pt x="4829619" y="1187569"/>
                  <a:pt x="4834010" y="1185766"/>
                  <a:pt x="4838391" y="1183963"/>
                </a:cubicBezTo>
                <a:cubicBezTo>
                  <a:pt x="4838391" y="1183963"/>
                  <a:pt x="4838391" y="1183963"/>
                  <a:pt x="4842782" y="1182160"/>
                </a:cubicBezTo>
                <a:cubicBezTo>
                  <a:pt x="4847160" y="1180357"/>
                  <a:pt x="4847160" y="1180357"/>
                  <a:pt x="4847160" y="1180357"/>
                </a:cubicBezTo>
                <a:close/>
                <a:moveTo>
                  <a:pt x="4316974" y="1178325"/>
                </a:moveTo>
                <a:lnTo>
                  <a:pt x="4278530" y="1208283"/>
                </a:lnTo>
                <a:lnTo>
                  <a:pt x="4266951" y="1219130"/>
                </a:lnTo>
                <a:lnTo>
                  <a:pt x="4272447" y="1220396"/>
                </a:lnTo>
                <a:lnTo>
                  <a:pt x="4283732" y="1223914"/>
                </a:lnTo>
                <a:lnTo>
                  <a:pt x="4332724" y="1182960"/>
                </a:lnTo>
                <a:close/>
                <a:moveTo>
                  <a:pt x="7192583" y="1177898"/>
                </a:moveTo>
                <a:lnTo>
                  <a:pt x="7190537" y="1180492"/>
                </a:lnTo>
                <a:cubicBezTo>
                  <a:pt x="7190104" y="1183944"/>
                  <a:pt x="7188810" y="1184592"/>
                  <a:pt x="7185357" y="1182435"/>
                </a:cubicBezTo>
                <a:cubicBezTo>
                  <a:pt x="7178019" y="1177905"/>
                  <a:pt x="7167227" y="1181141"/>
                  <a:pt x="7163990" y="1188690"/>
                </a:cubicBezTo>
                <a:lnTo>
                  <a:pt x="7163990" y="1191657"/>
                </a:lnTo>
                <a:lnTo>
                  <a:pt x="7164566" y="1192000"/>
                </a:lnTo>
                <a:lnTo>
                  <a:pt x="7163989" y="1192236"/>
                </a:lnTo>
                <a:lnTo>
                  <a:pt x="7163990" y="1193435"/>
                </a:lnTo>
                <a:cubicBezTo>
                  <a:pt x="7165501" y="1194730"/>
                  <a:pt x="7167658" y="1195376"/>
                  <a:pt x="7169601" y="1194083"/>
                </a:cubicBezTo>
                <a:lnTo>
                  <a:pt x="7171149" y="1193050"/>
                </a:lnTo>
                <a:lnTo>
                  <a:pt x="7168952" y="1190197"/>
                </a:lnTo>
                <a:lnTo>
                  <a:pt x="7172937" y="1191860"/>
                </a:lnTo>
                <a:lnTo>
                  <a:pt x="7173486" y="1191494"/>
                </a:lnTo>
                <a:cubicBezTo>
                  <a:pt x="7174781" y="1190416"/>
                  <a:pt x="7176076" y="1189768"/>
                  <a:pt x="7177155" y="1191063"/>
                </a:cubicBezTo>
                <a:lnTo>
                  <a:pt x="7176762" y="1193420"/>
                </a:lnTo>
                <a:lnTo>
                  <a:pt x="7195808" y="1200955"/>
                </a:lnTo>
                <a:cubicBezTo>
                  <a:pt x="7199902" y="1203116"/>
                  <a:pt x="7202997" y="1204409"/>
                  <a:pt x="7210479" y="1203899"/>
                </a:cubicBezTo>
                <a:cubicBezTo>
                  <a:pt x="7198099" y="1198731"/>
                  <a:pt x="7200683" y="1192538"/>
                  <a:pt x="7198881" y="1188154"/>
                </a:cubicBezTo>
                <a:cubicBezTo>
                  <a:pt x="7205069" y="1190738"/>
                  <a:pt x="7213063" y="1197709"/>
                  <a:pt x="7219254" y="1200291"/>
                </a:cubicBezTo>
                <a:cubicBezTo>
                  <a:pt x="7225442" y="1202876"/>
                  <a:pt x="7231632" y="1205458"/>
                  <a:pt x="7237823" y="1208044"/>
                </a:cubicBezTo>
                <a:cubicBezTo>
                  <a:pt x="7239625" y="1212431"/>
                  <a:pt x="7245814" y="1215016"/>
                  <a:pt x="7245814" y="1215016"/>
                </a:cubicBezTo>
                <a:cubicBezTo>
                  <a:pt x="7247618" y="1219403"/>
                  <a:pt x="7241428" y="1216818"/>
                  <a:pt x="7237041" y="1218620"/>
                </a:cubicBezTo>
                <a:cubicBezTo>
                  <a:pt x="7261800" y="1228957"/>
                  <a:pt x="7261800" y="1228957"/>
                  <a:pt x="7261800" y="1228957"/>
                </a:cubicBezTo>
                <a:cubicBezTo>
                  <a:pt x="7259216" y="1235146"/>
                  <a:pt x="7259216" y="1235146"/>
                  <a:pt x="7259216" y="1235146"/>
                </a:cubicBezTo>
                <a:cubicBezTo>
                  <a:pt x="7259216" y="1235146"/>
                  <a:pt x="7254829" y="1236950"/>
                  <a:pt x="7253026" y="1232562"/>
                </a:cubicBezTo>
                <a:cubicBezTo>
                  <a:pt x="7248639" y="1234366"/>
                  <a:pt x="7248639" y="1234366"/>
                  <a:pt x="7248639" y="1234366"/>
                </a:cubicBezTo>
                <a:cubicBezTo>
                  <a:pt x="7248639" y="1234366"/>
                  <a:pt x="7248639" y="1234366"/>
                  <a:pt x="7250443" y="1238753"/>
                </a:cubicBezTo>
                <a:cubicBezTo>
                  <a:pt x="7252246" y="1243138"/>
                  <a:pt x="7256632" y="1241336"/>
                  <a:pt x="7256632" y="1241336"/>
                </a:cubicBezTo>
                <a:cubicBezTo>
                  <a:pt x="7261019" y="1239533"/>
                  <a:pt x="7261019" y="1239533"/>
                  <a:pt x="7261019" y="1239533"/>
                </a:cubicBezTo>
                <a:cubicBezTo>
                  <a:pt x="7261019" y="1239533"/>
                  <a:pt x="7262822" y="1243921"/>
                  <a:pt x="7267210" y="1242117"/>
                </a:cubicBezTo>
                <a:cubicBezTo>
                  <a:pt x="7267210" y="1242117"/>
                  <a:pt x="7267210" y="1242117"/>
                  <a:pt x="7273400" y="1244701"/>
                </a:cubicBezTo>
                <a:cubicBezTo>
                  <a:pt x="7273400" y="1244701"/>
                  <a:pt x="7273400" y="1244701"/>
                  <a:pt x="7275204" y="1249088"/>
                </a:cubicBezTo>
                <a:cubicBezTo>
                  <a:pt x="7275204" y="1249088"/>
                  <a:pt x="7279589" y="1247286"/>
                  <a:pt x="7279589" y="1247286"/>
                </a:cubicBezTo>
                <a:cubicBezTo>
                  <a:pt x="7281392" y="1251672"/>
                  <a:pt x="7281392" y="1251672"/>
                  <a:pt x="7281392" y="1251672"/>
                </a:cubicBezTo>
                <a:cubicBezTo>
                  <a:pt x="7277006" y="1253475"/>
                  <a:pt x="7277006" y="1253475"/>
                  <a:pt x="7277006" y="1253475"/>
                </a:cubicBezTo>
                <a:cubicBezTo>
                  <a:pt x="7266428" y="1252694"/>
                  <a:pt x="7266428" y="1252694"/>
                  <a:pt x="7266428" y="1252694"/>
                </a:cubicBezTo>
                <a:cubicBezTo>
                  <a:pt x="7260239" y="1250110"/>
                  <a:pt x="7258434" y="1245721"/>
                  <a:pt x="7254048" y="1247525"/>
                </a:cubicBezTo>
                <a:cubicBezTo>
                  <a:pt x="7254048" y="1247525"/>
                  <a:pt x="7254048" y="1247525"/>
                  <a:pt x="7255851" y="1251914"/>
                </a:cubicBezTo>
                <a:cubicBezTo>
                  <a:pt x="7257655" y="1256301"/>
                  <a:pt x="7262041" y="1254497"/>
                  <a:pt x="7262041" y="1254497"/>
                </a:cubicBezTo>
                <a:cubicBezTo>
                  <a:pt x="7270034" y="1261468"/>
                  <a:pt x="7274421" y="1259665"/>
                  <a:pt x="7280612" y="1262249"/>
                </a:cubicBezTo>
                <a:cubicBezTo>
                  <a:pt x="7284998" y="1260446"/>
                  <a:pt x="7284998" y="1260446"/>
                  <a:pt x="7284998" y="1260446"/>
                </a:cubicBezTo>
                <a:cubicBezTo>
                  <a:pt x="7295574" y="1261228"/>
                  <a:pt x="7297378" y="1265614"/>
                  <a:pt x="7301765" y="1263812"/>
                </a:cubicBezTo>
                <a:cubicBezTo>
                  <a:pt x="7322137" y="1275950"/>
                  <a:pt x="7344312" y="1292478"/>
                  <a:pt x="7369072" y="1302813"/>
                </a:cubicBezTo>
                <a:cubicBezTo>
                  <a:pt x="7370875" y="1307200"/>
                  <a:pt x="7370875" y="1307200"/>
                  <a:pt x="7370875" y="1307200"/>
                </a:cubicBezTo>
                <a:cubicBezTo>
                  <a:pt x="7372678" y="1311588"/>
                  <a:pt x="7377066" y="1309784"/>
                  <a:pt x="7377066" y="1309784"/>
                </a:cubicBezTo>
                <a:cubicBezTo>
                  <a:pt x="7378868" y="1314171"/>
                  <a:pt x="7385059" y="1316755"/>
                  <a:pt x="7391246" y="1319340"/>
                </a:cubicBezTo>
                <a:cubicBezTo>
                  <a:pt x="7391246" y="1319340"/>
                  <a:pt x="7391246" y="1319340"/>
                  <a:pt x="7397438" y="1321924"/>
                </a:cubicBezTo>
                <a:cubicBezTo>
                  <a:pt x="7399240" y="1326309"/>
                  <a:pt x="7405430" y="1328896"/>
                  <a:pt x="7411620" y="1331479"/>
                </a:cubicBezTo>
                <a:cubicBezTo>
                  <a:pt x="7413422" y="1335867"/>
                  <a:pt x="7419613" y="1338451"/>
                  <a:pt x="7425803" y="1341033"/>
                </a:cubicBezTo>
                <a:cubicBezTo>
                  <a:pt x="7429409" y="1349808"/>
                  <a:pt x="7452365" y="1355757"/>
                  <a:pt x="7463963" y="1371502"/>
                </a:cubicBezTo>
                <a:cubicBezTo>
                  <a:pt x="7474541" y="1372284"/>
                  <a:pt x="7502905" y="1391394"/>
                  <a:pt x="7521475" y="1399146"/>
                </a:cubicBezTo>
                <a:cubicBezTo>
                  <a:pt x="7521475" y="1399146"/>
                  <a:pt x="7537461" y="1413089"/>
                  <a:pt x="7535658" y="1408701"/>
                </a:cubicBezTo>
                <a:cubicBezTo>
                  <a:pt x="7524570" y="1400439"/>
                  <a:pt x="7527861" y="1399087"/>
                  <a:pt x="7532923" y="1398929"/>
                </a:cubicBezTo>
                <a:lnTo>
                  <a:pt x="7533929" y="1398921"/>
                </a:lnTo>
                <a:lnTo>
                  <a:pt x="7507772" y="1379553"/>
                </a:lnTo>
                <a:lnTo>
                  <a:pt x="7488977" y="1364076"/>
                </a:lnTo>
                <a:lnTo>
                  <a:pt x="7481128" y="1358680"/>
                </a:lnTo>
                <a:cubicBezTo>
                  <a:pt x="7469268" y="1350094"/>
                  <a:pt x="7456632" y="1341185"/>
                  <a:pt x="7453147" y="1345180"/>
                </a:cubicBezTo>
                <a:cubicBezTo>
                  <a:pt x="7473519" y="1357320"/>
                  <a:pt x="7446957" y="1342596"/>
                  <a:pt x="7432773" y="1333041"/>
                </a:cubicBezTo>
                <a:cubicBezTo>
                  <a:pt x="7432773" y="1333041"/>
                  <a:pt x="7432773" y="1333041"/>
                  <a:pt x="7437161" y="1331238"/>
                </a:cubicBezTo>
                <a:cubicBezTo>
                  <a:pt x="7438964" y="1335625"/>
                  <a:pt x="7438964" y="1335625"/>
                  <a:pt x="7438964" y="1335625"/>
                </a:cubicBezTo>
                <a:cubicBezTo>
                  <a:pt x="7445154" y="1338210"/>
                  <a:pt x="7445154" y="1338210"/>
                  <a:pt x="7443350" y="1333822"/>
                </a:cubicBezTo>
                <a:cubicBezTo>
                  <a:pt x="7443350" y="1333822"/>
                  <a:pt x="7443350" y="1333822"/>
                  <a:pt x="7441548" y="1329435"/>
                </a:cubicBezTo>
                <a:cubicBezTo>
                  <a:pt x="7435357" y="1326850"/>
                  <a:pt x="7435357" y="1326850"/>
                  <a:pt x="7435357" y="1326850"/>
                </a:cubicBezTo>
                <a:cubicBezTo>
                  <a:pt x="7429167" y="1324265"/>
                  <a:pt x="7424781" y="1326069"/>
                  <a:pt x="7422197" y="1332260"/>
                </a:cubicBezTo>
                <a:cubicBezTo>
                  <a:pt x="7416006" y="1329675"/>
                  <a:pt x="7409817" y="1327092"/>
                  <a:pt x="7408014" y="1322705"/>
                </a:cubicBezTo>
                <a:cubicBezTo>
                  <a:pt x="7406211" y="1318318"/>
                  <a:pt x="7406211" y="1318318"/>
                  <a:pt x="7404409" y="1313931"/>
                </a:cubicBezTo>
                <a:cubicBezTo>
                  <a:pt x="7404409" y="1313931"/>
                  <a:pt x="7404409" y="1313931"/>
                  <a:pt x="7408795" y="1312127"/>
                </a:cubicBezTo>
                <a:cubicBezTo>
                  <a:pt x="7406992" y="1307740"/>
                  <a:pt x="7402604" y="1309544"/>
                  <a:pt x="7402604" y="1309544"/>
                </a:cubicBezTo>
                <a:cubicBezTo>
                  <a:pt x="7402604" y="1309544"/>
                  <a:pt x="7398219" y="1311347"/>
                  <a:pt x="7398219" y="1311347"/>
                </a:cubicBezTo>
                <a:cubicBezTo>
                  <a:pt x="7393832" y="1313150"/>
                  <a:pt x="7392029" y="1308762"/>
                  <a:pt x="7387641" y="1310566"/>
                </a:cubicBezTo>
                <a:cubicBezTo>
                  <a:pt x="7385839" y="1306179"/>
                  <a:pt x="7379649" y="1303595"/>
                  <a:pt x="7379649" y="1303595"/>
                </a:cubicBezTo>
                <a:cubicBezTo>
                  <a:pt x="7379649" y="1303595"/>
                  <a:pt x="7379649" y="1303595"/>
                  <a:pt x="7377847" y="1299208"/>
                </a:cubicBezTo>
                <a:cubicBezTo>
                  <a:pt x="7373458" y="1301011"/>
                  <a:pt x="7373458" y="1301011"/>
                  <a:pt x="7373458" y="1301011"/>
                </a:cubicBezTo>
                <a:cubicBezTo>
                  <a:pt x="7373458" y="1301011"/>
                  <a:pt x="7371657" y="1296623"/>
                  <a:pt x="7367269" y="1298427"/>
                </a:cubicBezTo>
                <a:cubicBezTo>
                  <a:pt x="7346896" y="1286287"/>
                  <a:pt x="7322137" y="1275950"/>
                  <a:pt x="7304349" y="1257622"/>
                </a:cubicBezTo>
                <a:cubicBezTo>
                  <a:pt x="7298158" y="1255037"/>
                  <a:pt x="7298158" y="1255037"/>
                  <a:pt x="7298158" y="1255037"/>
                </a:cubicBezTo>
                <a:cubicBezTo>
                  <a:pt x="7298158" y="1255037"/>
                  <a:pt x="7293772" y="1256840"/>
                  <a:pt x="7293772" y="1256840"/>
                </a:cubicBezTo>
                <a:cubicBezTo>
                  <a:pt x="7293772" y="1256840"/>
                  <a:pt x="7291969" y="1252453"/>
                  <a:pt x="7291969" y="1252453"/>
                </a:cubicBezTo>
                <a:cubicBezTo>
                  <a:pt x="7291969" y="1252453"/>
                  <a:pt x="7296356" y="1250650"/>
                  <a:pt x="7296356" y="1250650"/>
                </a:cubicBezTo>
                <a:cubicBezTo>
                  <a:pt x="7292750" y="1241877"/>
                  <a:pt x="7286561" y="1239293"/>
                  <a:pt x="7278568" y="1232322"/>
                </a:cubicBezTo>
                <a:cubicBezTo>
                  <a:pt x="7274181" y="1234124"/>
                  <a:pt x="7274181" y="1234124"/>
                  <a:pt x="7274181" y="1234124"/>
                </a:cubicBezTo>
                <a:cubicBezTo>
                  <a:pt x="7273160" y="1219161"/>
                  <a:pt x="7286561" y="1239293"/>
                  <a:pt x="7289144" y="1233103"/>
                </a:cubicBezTo>
                <a:cubicBezTo>
                  <a:pt x="7282954" y="1230518"/>
                  <a:pt x="7266969" y="1216578"/>
                  <a:pt x="7248398" y="1208825"/>
                </a:cubicBezTo>
                <a:cubicBezTo>
                  <a:pt x="7242209" y="1206242"/>
                  <a:pt x="7229830" y="1201073"/>
                  <a:pt x="7221837" y="1194103"/>
                </a:cubicBezTo>
                <a:cubicBezTo>
                  <a:pt x="7215647" y="1191518"/>
                  <a:pt x="7203266" y="1186350"/>
                  <a:pt x="7195274" y="1179378"/>
                </a:cubicBezTo>
                <a:close/>
                <a:moveTo>
                  <a:pt x="9486745" y="1176999"/>
                </a:moveTo>
                <a:cubicBezTo>
                  <a:pt x="9481434" y="1183444"/>
                  <a:pt x="9466457" y="1181924"/>
                  <a:pt x="9454702" y="1183057"/>
                </a:cubicBezTo>
                <a:cubicBezTo>
                  <a:pt x="9091476" y="1184374"/>
                  <a:pt x="8731966" y="1265381"/>
                  <a:pt x="8403626" y="1419708"/>
                </a:cubicBezTo>
                <a:lnTo>
                  <a:pt x="8317356" y="1463619"/>
                </a:lnTo>
                <a:lnTo>
                  <a:pt x="8338713" y="1491949"/>
                </a:lnTo>
                <a:lnTo>
                  <a:pt x="8376282" y="1470609"/>
                </a:lnTo>
                <a:cubicBezTo>
                  <a:pt x="8549497" y="1381187"/>
                  <a:pt x="8732032" y="1313239"/>
                  <a:pt x="8920026" y="1267287"/>
                </a:cubicBezTo>
                <a:cubicBezTo>
                  <a:pt x="8911493" y="1271077"/>
                  <a:pt x="8908838" y="1274299"/>
                  <a:pt x="8912060" y="1276955"/>
                </a:cubicBezTo>
                <a:cubicBezTo>
                  <a:pt x="8950548" y="1276207"/>
                  <a:pt x="8949413" y="1264452"/>
                  <a:pt x="8984112" y="1255169"/>
                </a:cubicBezTo>
                <a:cubicBezTo>
                  <a:pt x="8984112" y="1255169"/>
                  <a:pt x="8980889" y="1252515"/>
                  <a:pt x="8980889" y="1252515"/>
                </a:cubicBezTo>
                <a:cubicBezTo>
                  <a:pt x="9012931" y="1246454"/>
                  <a:pt x="9039097" y="1240965"/>
                  <a:pt x="9071140" y="1234907"/>
                </a:cubicBezTo>
                <a:cubicBezTo>
                  <a:pt x="9080240" y="1236994"/>
                  <a:pt x="9118161" y="1230368"/>
                  <a:pt x="9126695" y="1226580"/>
                </a:cubicBezTo>
                <a:cubicBezTo>
                  <a:pt x="9129917" y="1229233"/>
                  <a:pt x="9132572" y="1226011"/>
                  <a:pt x="9132572" y="1226011"/>
                </a:cubicBezTo>
                <a:cubicBezTo>
                  <a:pt x="9138448" y="1225445"/>
                  <a:pt x="9138448" y="1225445"/>
                  <a:pt x="9135226" y="1222789"/>
                </a:cubicBezTo>
                <a:cubicBezTo>
                  <a:pt x="9138448" y="1225445"/>
                  <a:pt x="9141105" y="1222224"/>
                  <a:pt x="9144326" y="1224877"/>
                </a:cubicBezTo>
                <a:cubicBezTo>
                  <a:pt x="9152859" y="1221088"/>
                  <a:pt x="9164614" y="1219954"/>
                  <a:pt x="9170492" y="1219386"/>
                </a:cubicBezTo>
                <a:cubicBezTo>
                  <a:pt x="9196657" y="1213895"/>
                  <a:pt x="9223390" y="1214280"/>
                  <a:pt x="9249556" y="1208790"/>
                </a:cubicBezTo>
                <a:cubicBezTo>
                  <a:pt x="9261310" y="1207654"/>
                  <a:pt x="9273065" y="1206520"/>
                  <a:pt x="9284820" y="1205386"/>
                </a:cubicBezTo>
                <a:cubicBezTo>
                  <a:pt x="9308332" y="1203118"/>
                  <a:pt x="9335064" y="1203504"/>
                  <a:pt x="9358574" y="1201235"/>
                </a:cubicBezTo>
                <a:cubicBezTo>
                  <a:pt x="9358574" y="1201235"/>
                  <a:pt x="9355918" y="1204456"/>
                  <a:pt x="9355918" y="1204456"/>
                </a:cubicBezTo>
                <a:cubicBezTo>
                  <a:pt x="9361796" y="1203891"/>
                  <a:pt x="9364451" y="1200667"/>
                  <a:pt x="9370328" y="1200099"/>
                </a:cubicBezTo>
                <a:cubicBezTo>
                  <a:pt x="9475082" y="1194439"/>
                  <a:pt x="9579737" y="1195461"/>
                  <a:pt x="9684296" y="1203166"/>
                </a:cubicBezTo>
                <a:lnTo>
                  <a:pt x="9708626" y="1205738"/>
                </a:lnTo>
                <a:lnTo>
                  <a:pt x="9805007" y="1209310"/>
                </a:lnTo>
                <a:lnTo>
                  <a:pt x="9792173" y="1206845"/>
                </a:lnTo>
                <a:lnTo>
                  <a:pt x="9821252" y="1209912"/>
                </a:lnTo>
                <a:lnTo>
                  <a:pt x="9831506" y="1210292"/>
                </a:lnTo>
                <a:lnTo>
                  <a:pt x="9851515" y="1207049"/>
                </a:lnTo>
                <a:cubicBezTo>
                  <a:pt x="9835970" y="1199653"/>
                  <a:pt x="9806016" y="1196611"/>
                  <a:pt x="9781938" y="1193001"/>
                </a:cubicBezTo>
                <a:cubicBezTo>
                  <a:pt x="9755207" y="1192615"/>
                  <a:pt x="9734351" y="1191662"/>
                  <a:pt x="9729041" y="1198108"/>
                </a:cubicBezTo>
                <a:cubicBezTo>
                  <a:pt x="9747240" y="1202283"/>
                  <a:pt x="9768096" y="1203237"/>
                  <a:pt x="9786295" y="1207411"/>
                </a:cubicBezTo>
                <a:cubicBezTo>
                  <a:pt x="9738139" y="1200195"/>
                  <a:pt x="9687329" y="1196200"/>
                  <a:pt x="9633299" y="1189551"/>
                </a:cubicBezTo>
                <a:cubicBezTo>
                  <a:pt x="9620408" y="1178930"/>
                  <a:pt x="9578699" y="1177024"/>
                  <a:pt x="9546655" y="1183082"/>
                </a:cubicBezTo>
                <a:cubicBezTo>
                  <a:pt x="9525799" y="1182129"/>
                  <a:pt x="9499069" y="1181741"/>
                  <a:pt x="9486745" y="1176999"/>
                </a:cubicBezTo>
                <a:close/>
                <a:moveTo>
                  <a:pt x="2034745" y="1176954"/>
                </a:moveTo>
                <a:cubicBezTo>
                  <a:pt x="1978572" y="1200275"/>
                  <a:pt x="1924767" y="1243417"/>
                  <a:pt x="1867633" y="1270320"/>
                </a:cubicBezTo>
                <a:cubicBezTo>
                  <a:pt x="1850421" y="1277220"/>
                  <a:pt x="1861172" y="1280100"/>
                  <a:pt x="1851126" y="1288920"/>
                </a:cubicBezTo>
                <a:cubicBezTo>
                  <a:pt x="1828415" y="1302020"/>
                  <a:pt x="1815746" y="1306301"/>
                  <a:pt x="1803078" y="1310582"/>
                </a:cubicBezTo>
                <a:cubicBezTo>
                  <a:pt x="1784908" y="1321062"/>
                  <a:pt x="1786573" y="1329183"/>
                  <a:pt x="1771986" y="1340624"/>
                </a:cubicBezTo>
                <a:cubicBezTo>
                  <a:pt x="1754776" y="1347524"/>
                  <a:pt x="1737564" y="1354425"/>
                  <a:pt x="1720354" y="1361325"/>
                </a:cubicBezTo>
                <a:cubicBezTo>
                  <a:pt x="1720354" y="1361325"/>
                  <a:pt x="1720354" y="1361325"/>
                  <a:pt x="1715106" y="1352243"/>
                </a:cubicBezTo>
                <a:cubicBezTo>
                  <a:pt x="1706021" y="1357485"/>
                  <a:pt x="1692393" y="1365345"/>
                  <a:pt x="1682350" y="1374166"/>
                </a:cubicBezTo>
                <a:cubicBezTo>
                  <a:pt x="1682350" y="1374166"/>
                  <a:pt x="1682350" y="1374166"/>
                  <a:pt x="1685932" y="1375125"/>
                </a:cubicBezTo>
                <a:cubicBezTo>
                  <a:pt x="1686892" y="1371545"/>
                  <a:pt x="1691434" y="1368925"/>
                  <a:pt x="1690475" y="1372504"/>
                </a:cubicBezTo>
                <a:cubicBezTo>
                  <a:pt x="1690475" y="1372504"/>
                  <a:pt x="1689516" y="1376086"/>
                  <a:pt x="1689516" y="1376086"/>
                </a:cubicBezTo>
                <a:cubicBezTo>
                  <a:pt x="1693099" y="1377045"/>
                  <a:pt x="1703143" y="1368225"/>
                  <a:pt x="1701224" y="1375385"/>
                </a:cubicBezTo>
                <a:cubicBezTo>
                  <a:pt x="1690220" y="1387788"/>
                  <a:pt x="1687597" y="1383248"/>
                  <a:pt x="1677553" y="1392067"/>
                </a:cubicBezTo>
                <a:cubicBezTo>
                  <a:pt x="1677553" y="1392067"/>
                  <a:pt x="1677553" y="1392067"/>
                  <a:pt x="1676594" y="1395648"/>
                </a:cubicBezTo>
                <a:cubicBezTo>
                  <a:pt x="1676594" y="1395648"/>
                  <a:pt x="1676594" y="1395648"/>
                  <a:pt x="1673011" y="1394689"/>
                </a:cubicBezTo>
                <a:cubicBezTo>
                  <a:pt x="1672051" y="1398268"/>
                  <a:pt x="1667508" y="1400888"/>
                  <a:pt x="1667508" y="1400888"/>
                </a:cubicBezTo>
                <a:cubicBezTo>
                  <a:pt x="1663926" y="1399927"/>
                  <a:pt x="1663926" y="1399927"/>
                  <a:pt x="1663926" y="1399927"/>
                </a:cubicBezTo>
                <a:cubicBezTo>
                  <a:pt x="1657465" y="1409709"/>
                  <a:pt x="1641919" y="1424731"/>
                  <a:pt x="1627332" y="1436172"/>
                </a:cubicBezTo>
                <a:cubicBezTo>
                  <a:pt x="1609161" y="1446651"/>
                  <a:pt x="1595533" y="1454514"/>
                  <a:pt x="1588367" y="1452593"/>
                </a:cubicBezTo>
                <a:cubicBezTo>
                  <a:pt x="1587408" y="1456173"/>
                  <a:pt x="1583825" y="1455214"/>
                  <a:pt x="1583825" y="1455214"/>
                </a:cubicBezTo>
                <a:cubicBezTo>
                  <a:pt x="1582866" y="1458794"/>
                  <a:pt x="1578324" y="1461415"/>
                  <a:pt x="1574740" y="1460454"/>
                </a:cubicBezTo>
                <a:cubicBezTo>
                  <a:pt x="1574740" y="1460454"/>
                  <a:pt x="1574740" y="1460454"/>
                  <a:pt x="1575699" y="1456874"/>
                </a:cubicBezTo>
                <a:cubicBezTo>
                  <a:pt x="1580242" y="1454253"/>
                  <a:pt x="1580242" y="1454253"/>
                  <a:pt x="1580242" y="1454253"/>
                </a:cubicBezTo>
                <a:cubicBezTo>
                  <a:pt x="1580242" y="1454253"/>
                  <a:pt x="1580242" y="1454253"/>
                  <a:pt x="1581201" y="1450673"/>
                </a:cubicBezTo>
                <a:cubicBezTo>
                  <a:pt x="1566615" y="1462115"/>
                  <a:pt x="1570197" y="1463075"/>
                  <a:pt x="1560153" y="1471897"/>
                </a:cubicBezTo>
                <a:cubicBezTo>
                  <a:pt x="1560153" y="1471897"/>
                  <a:pt x="1564695" y="1469277"/>
                  <a:pt x="1564695" y="1469277"/>
                </a:cubicBezTo>
                <a:cubicBezTo>
                  <a:pt x="1564695" y="1469277"/>
                  <a:pt x="1564695" y="1469277"/>
                  <a:pt x="1563737" y="1472858"/>
                </a:cubicBezTo>
                <a:cubicBezTo>
                  <a:pt x="1563737" y="1472858"/>
                  <a:pt x="1563737" y="1472858"/>
                  <a:pt x="1562777" y="1476437"/>
                </a:cubicBezTo>
                <a:cubicBezTo>
                  <a:pt x="1562777" y="1476437"/>
                  <a:pt x="1568279" y="1470236"/>
                  <a:pt x="1570903" y="1474776"/>
                </a:cubicBezTo>
                <a:cubicBezTo>
                  <a:pt x="1560859" y="1483596"/>
                  <a:pt x="1550814" y="1492417"/>
                  <a:pt x="1548191" y="1487877"/>
                </a:cubicBezTo>
                <a:cubicBezTo>
                  <a:pt x="1548191" y="1487877"/>
                  <a:pt x="1547231" y="1491457"/>
                  <a:pt x="1543648" y="1490496"/>
                </a:cubicBezTo>
                <a:cubicBezTo>
                  <a:pt x="1513769" y="1501678"/>
                  <a:pt x="1484596" y="1524558"/>
                  <a:pt x="1457086" y="1555558"/>
                </a:cubicBezTo>
                <a:cubicBezTo>
                  <a:pt x="1457086" y="1555558"/>
                  <a:pt x="1456127" y="1559140"/>
                  <a:pt x="1452544" y="1558179"/>
                </a:cubicBezTo>
                <a:cubicBezTo>
                  <a:pt x="1451584" y="1561759"/>
                  <a:pt x="1447043" y="1564381"/>
                  <a:pt x="1447043" y="1564381"/>
                </a:cubicBezTo>
                <a:cubicBezTo>
                  <a:pt x="1447043" y="1564381"/>
                  <a:pt x="1447043" y="1564381"/>
                  <a:pt x="1448002" y="1560801"/>
                </a:cubicBezTo>
                <a:cubicBezTo>
                  <a:pt x="1441539" y="1570580"/>
                  <a:pt x="1429578" y="1586558"/>
                  <a:pt x="1427659" y="1593721"/>
                </a:cubicBezTo>
                <a:cubicBezTo>
                  <a:pt x="1428619" y="1590140"/>
                  <a:pt x="1428619" y="1590140"/>
                  <a:pt x="1433161" y="1587521"/>
                </a:cubicBezTo>
                <a:cubicBezTo>
                  <a:pt x="1433161" y="1587521"/>
                  <a:pt x="1436743" y="1588480"/>
                  <a:pt x="1436743" y="1588480"/>
                </a:cubicBezTo>
                <a:cubicBezTo>
                  <a:pt x="1435783" y="1592061"/>
                  <a:pt x="1435783" y="1592061"/>
                  <a:pt x="1431243" y="1594679"/>
                </a:cubicBezTo>
                <a:lnTo>
                  <a:pt x="1430893" y="1595984"/>
                </a:lnTo>
                <a:lnTo>
                  <a:pt x="1429059" y="1597453"/>
                </a:lnTo>
                <a:cubicBezTo>
                  <a:pt x="1427355" y="1598437"/>
                  <a:pt x="1426220" y="1599090"/>
                  <a:pt x="1425740" y="1600882"/>
                </a:cubicBezTo>
                <a:cubicBezTo>
                  <a:pt x="1426700" y="1597301"/>
                  <a:pt x="1430283" y="1598261"/>
                  <a:pt x="1430283" y="1598261"/>
                </a:cubicBezTo>
                <a:lnTo>
                  <a:pt x="1430893" y="1595984"/>
                </a:lnTo>
                <a:lnTo>
                  <a:pt x="1435783" y="1592061"/>
                </a:lnTo>
                <a:cubicBezTo>
                  <a:pt x="1408980" y="1634767"/>
                  <a:pt x="1356135" y="1674329"/>
                  <a:pt x="1325748" y="1716073"/>
                </a:cubicBezTo>
                <a:cubicBezTo>
                  <a:pt x="1322165" y="1715112"/>
                  <a:pt x="1311162" y="1727513"/>
                  <a:pt x="1306619" y="1730135"/>
                </a:cubicBezTo>
                <a:cubicBezTo>
                  <a:pt x="1310203" y="1731095"/>
                  <a:pt x="1310203" y="1731095"/>
                  <a:pt x="1308282" y="1738254"/>
                </a:cubicBezTo>
                <a:cubicBezTo>
                  <a:pt x="1308282" y="1738254"/>
                  <a:pt x="1304700" y="1737294"/>
                  <a:pt x="1303740" y="1740876"/>
                </a:cubicBezTo>
                <a:cubicBezTo>
                  <a:pt x="1302781" y="1744455"/>
                  <a:pt x="1299197" y="1743494"/>
                  <a:pt x="1298240" y="1747075"/>
                </a:cubicBezTo>
                <a:cubicBezTo>
                  <a:pt x="1274314" y="1779036"/>
                  <a:pt x="1261645" y="1783315"/>
                  <a:pt x="1246099" y="1798338"/>
                </a:cubicBezTo>
                <a:cubicBezTo>
                  <a:pt x="1246099" y="1798338"/>
                  <a:pt x="1247060" y="1794757"/>
                  <a:pt x="1250642" y="1795716"/>
                </a:cubicBezTo>
                <a:cubicBezTo>
                  <a:pt x="1250642" y="1795716"/>
                  <a:pt x="1254224" y="1796676"/>
                  <a:pt x="1253265" y="1800259"/>
                </a:cubicBezTo>
                <a:cubicBezTo>
                  <a:pt x="1253265" y="1800259"/>
                  <a:pt x="1248724" y="1802877"/>
                  <a:pt x="1248724" y="1802877"/>
                </a:cubicBezTo>
                <a:cubicBezTo>
                  <a:pt x="1247763" y="1806458"/>
                  <a:pt x="1247763" y="1806458"/>
                  <a:pt x="1247763" y="1806458"/>
                </a:cubicBezTo>
                <a:cubicBezTo>
                  <a:pt x="1242967" y="1824359"/>
                  <a:pt x="1209956" y="1861563"/>
                  <a:pt x="1200166" y="1855102"/>
                </a:cubicBezTo>
                <a:cubicBezTo>
                  <a:pt x="1186285" y="1878243"/>
                  <a:pt x="1164982" y="1914746"/>
                  <a:pt x="1144894" y="1932387"/>
                </a:cubicBezTo>
                <a:cubicBezTo>
                  <a:pt x="1153273" y="1915446"/>
                  <a:pt x="1164531" y="1887763"/>
                  <a:pt x="1182955" y="1862003"/>
                </a:cubicBezTo>
                <a:cubicBezTo>
                  <a:pt x="1201380" y="1836240"/>
                  <a:pt x="1217885" y="1817639"/>
                  <a:pt x="1229593" y="1816940"/>
                </a:cubicBezTo>
                <a:cubicBezTo>
                  <a:pt x="1226010" y="1815979"/>
                  <a:pt x="1226010" y="1815979"/>
                  <a:pt x="1226969" y="1812400"/>
                </a:cubicBezTo>
                <a:cubicBezTo>
                  <a:pt x="1231513" y="1809779"/>
                  <a:pt x="1233433" y="1802616"/>
                  <a:pt x="1237014" y="1803578"/>
                </a:cubicBezTo>
                <a:cubicBezTo>
                  <a:pt x="1237014" y="1803578"/>
                  <a:pt x="1237975" y="1799997"/>
                  <a:pt x="1241556" y="1800957"/>
                </a:cubicBezTo>
                <a:cubicBezTo>
                  <a:pt x="1241556" y="1800957"/>
                  <a:pt x="1241556" y="1800957"/>
                  <a:pt x="1237975" y="1799997"/>
                </a:cubicBezTo>
                <a:cubicBezTo>
                  <a:pt x="1232727" y="1790916"/>
                  <a:pt x="1252816" y="1773275"/>
                  <a:pt x="1273863" y="1752056"/>
                </a:cubicBezTo>
                <a:cubicBezTo>
                  <a:pt x="1273863" y="1752056"/>
                  <a:pt x="1273863" y="1752056"/>
                  <a:pt x="1274821" y="1748474"/>
                </a:cubicBezTo>
                <a:cubicBezTo>
                  <a:pt x="1271239" y="1747514"/>
                  <a:pt x="1271239" y="1747514"/>
                  <a:pt x="1275781" y="1744894"/>
                </a:cubicBezTo>
                <a:cubicBezTo>
                  <a:pt x="1275781" y="1744894"/>
                  <a:pt x="1276740" y="1741315"/>
                  <a:pt x="1276740" y="1741315"/>
                </a:cubicBezTo>
                <a:cubicBezTo>
                  <a:pt x="1280323" y="1742274"/>
                  <a:pt x="1280323" y="1742274"/>
                  <a:pt x="1280323" y="1742274"/>
                </a:cubicBezTo>
                <a:cubicBezTo>
                  <a:pt x="1280323" y="1742274"/>
                  <a:pt x="1280323" y="1742274"/>
                  <a:pt x="1277700" y="1737733"/>
                </a:cubicBezTo>
                <a:cubicBezTo>
                  <a:pt x="1283202" y="1731534"/>
                  <a:pt x="1280577" y="1726993"/>
                  <a:pt x="1292541" y="1711012"/>
                </a:cubicBezTo>
                <a:cubicBezTo>
                  <a:pt x="1285374" y="1709093"/>
                  <a:pt x="1272452" y="1728653"/>
                  <a:pt x="1271747" y="1716953"/>
                </a:cubicBezTo>
                <a:cubicBezTo>
                  <a:pt x="1274497" y="1713852"/>
                  <a:pt x="1274977" y="1712063"/>
                  <a:pt x="1275457" y="1710272"/>
                </a:cubicBezTo>
                <a:lnTo>
                  <a:pt x="1277312" y="1706933"/>
                </a:lnTo>
                <a:lnTo>
                  <a:pt x="1278208" y="1707173"/>
                </a:lnTo>
                <a:cubicBezTo>
                  <a:pt x="1279166" y="1703593"/>
                  <a:pt x="1279166" y="1703593"/>
                  <a:pt x="1279166" y="1703593"/>
                </a:cubicBezTo>
                <a:lnTo>
                  <a:pt x="1277312" y="1706933"/>
                </a:lnTo>
                <a:lnTo>
                  <a:pt x="1274624" y="1706213"/>
                </a:lnTo>
                <a:cubicBezTo>
                  <a:pt x="1274624" y="1706213"/>
                  <a:pt x="1275584" y="1702632"/>
                  <a:pt x="1275584" y="1702632"/>
                </a:cubicBezTo>
                <a:cubicBezTo>
                  <a:pt x="1276543" y="1699051"/>
                  <a:pt x="1276543" y="1699051"/>
                  <a:pt x="1276543" y="1699051"/>
                </a:cubicBezTo>
                <a:cubicBezTo>
                  <a:pt x="1281086" y="1696432"/>
                  <a:pt x="1286588" y="1690231"/>
                  <a:pt x="1292090" y="1684031"/>
                </a:cubicBezTo>
                <a:cubicBezTo>
                  <a:pt x="1292090" y="1684031"/>
                  <a:pt x="1296632" y="1681412"/>
                  <a:pt x="1296632" y="1681412"/>
                </a:cubicBezTo>
                <a:cubicBezTo>
                  <a:pt x="1296632" y="1681412"/>
                  <a:pt x="1297591" y="1677830"/>
                  <a:pt x="1302134" y="1675210"/>
                </a:cubicBezTo>
                <a:cubicBezTo>
                  <a:pt x="1302134" y="1675210"/>
                  <a:pt x="1303094" y="1671629"/>
                  <a:pt x="1306676" y="1672590"/>
                </a:cubicBezTo>
                <a:cubicBezTo>
                  <a:pt x="1305716" y="1676171"/>
                  <a:pt x="1305716" y="1676171"/>
                  <a:pt x="1301175" y="1678791"/>
                </a:cubicBezTo>
                <a:cubicBezTo>
                  <a:pt x="1301175" y="1678791"/>
                  <a:pt x="1300215" y="1682372"/>
                  <a:pt x="1295672" y="1684992"/>
                </a:cubicBezTo>
                <a:cubicBezTo>
                  <a:pt x="1304757" y="1679751"/>
                  <a:pt x="1310259" y="1673549"/>
                  <a:pt x="1318385" y="1671890"/>
                </a:cubicBezTo>
                <a:cubicBezTo>
                  <a:pt x="1321008" y="1676430"/>
                  <a:pt x="1314548" y="1686212"/>
                  <a:pt x="1326257" y="1685511"/>
                </a:cubicBezTo>
                <a:cubicBezTo>
                  <a:pt x="1365728" y="1638528"/>
                  <a:pt x="1395157" y="1600362"/>
                  <a:pt x="1444418" y="1559840"/>
                </a:cubicBezTo>
                <a:cubicBezTo>
                  <a:pt x="1445378" y="1556259"/>
                  <a:pt x="1445378" y="1556259"/>
                  <a:pt x="1449921" y="1553638"/>
                </a:cubicBezTo>
                <a:cubicBezTo>
                  <a:pt x="1450880" y="1550060"/>
                  <a:pt x="1454463" y="1551020"/>
                  <a:pt x="1454463" y="1551020"/>
                </a:cubicBezTo>
                <a:cubicBezTo>
                  <a:pt x="1466426" y="1535038"/>
                  <a:pt x="1486514" y="1517399"/>
                  <a:pt x="1505642" y="1503338"/>
                </a:cubicBezTo>
                <a:cubicBezTo>
                  <a:pt x="1517606" y="1487356"/>
                  <a:pt x="1539613" y="1462555"/>
                  <a:pt x="1567827" y="1443251"/>
                </a:cubicBezTo>
                <a:cubicBezTo>
                  <a:pt x="1593418" y="1419409"/>
                  <a:pt x="1621633" y="1400107"/>
                  <a:pt x="1639803" y="1389628"/>
                </a:cubicBezTo>
                <a:cubicBezTo>
                  <a:pt x="1673519" y="1364125"/>
                  <a:pt x="1711776" y="1336003"/>
                  <a:pt x="1745494" y="1310501"/>
                </a:cubicBezTo>
                <a:cubicBezTo>
                  <a:pt x="1778250" y="1288579"/>
                  <a:pt x="1810048" y="1270238"/>
                  <a:pt x="1838008" y="1266217"/>
                </a:cubicBezTo>
                <a:cubicBezTo>
                  <a:pt x="1833464" y="1268838"/>
                  <a:pt x="1828922" y="1271458"/>
                  <a:pt x="1824381" y="1274080"/>
                </a:cubicBezTo>
                <a:cubicBezTo>
                  <a:pt x="1824381" y="1274080"/>
                  <a:pt x="1824381" y="1274080"/>
                  <a:pt x="1832505" y="1272418"/>
                </a:cubicBezTo>
                <a:cubicBezTo>
                  <a:pt x="1833464" y="1268838"/>
                  <a:pt x="1837048" y="1269798"/>
                  <a:pt x="1837048" y="1269798"/>
                </a:cubicBezTo>
                <a:cubicBezTo>
                  <a:pt x="1836089" y="1273378"/>
                  <a:pt x="1836089" y="1273378"/>
                  <a:pt x="1831546" y="1275999"/>
                </a:cubicBezTo>
                <a:cubicBezTo>
                  <a:pt x="1831546" y="1275999"/>
                  <a:pt x="1831546" y="1275999"/>
                  <a:pt x="1830586" y="1279579"/>
                </a:cubicBezTo>
                <a:cubicBezTo>
                  <a:pt x="1862385" y="1261237"/>
                  <a:pt x="1898724" y="1240276"/>
                  <a:pt x="1927897" y="1217396"/>
                </a:cubicBezTo>
                <a:cubicBezTo>
                  <a:pt x="1955859" y="1213376"/>
                  <a:pt x="1996742" y="1189795"/>
                  <a:pt x="2034745" y="1176954"/>
                </a:cubicBezTo>
                <a:close/>
                <a:moveTo>
                  <a:pt x="7329058" y="1166349"/>
                </a:moveTo>
                <a:lnTo>
                  <a:pt x="7331857" y="1171524"/>
                </a:lnTo>
                <a:cubicBezTo>
                  <a:pt x="7333869" y="1176030"/>
                  <a:pt x="7337892" y="1180035"/>
                  <a:pt x="7342922" y="1182539"/>
                </a:cubicBezTo>
                <a:lnTo>
                  <a:pt x="7342923" y="1188010"/>
                </a:lnTo>
                <a:lnTo>
                  <a:pt x="7363918" y="1199811"/>
                </a:lnTo>
                <a:cubicBezTo>
                  <a:pt x="7390932" y="1215631"/>
                  <a:pt x="7416848" y="1231901"/>
                  <a:pt x="7439023" y="1248427"/>
                </a:cubicBezTo>
                <a:cubicBezTo>
                  <a:pt x="7440825" y="1252813"/>
                  <a:pt x="7450622" y="1264172"/>
                  <a:pt x="7450622" y="1264172"/>
                </a:cubicBezTo>
                <a:cubicBezTo>
                  <a:pt x="7478987" y="1283280"/>
                  <a:pt x="7511739" y="1300589"/>
                  <a:pt x="7533914" y="1317114"/>
                </a:cubicBezTo>
                <a:cubicBezTo>
                  <a:pt x="7535717" y="1321502"/>
                  <a:pt x="7529528" y="1318918"/>
                  <a:pt x="7537521" y="1325889"/>
                </a:cubicBezTo>
                <a:cubicBezTo>
                  <a:pt x="7535717" y="1321502"/>
                  <a:pt x="7541906" y="1324087"/>
                  <a:pt x="7546293" y="1322282"/>
                </a:cubicBezTo>
                <a:cubicBezTo>
                  <a:pt x="7582653" y="1348365"/>
                  <a:pt x="7610236" y="1378052"/>
                  <a:pt x="7640404" y="1401550"/>
                </a:cubicBezTo>
                <a:cubicBezTo>
                  <a:pt x="7634215" y="1398966"/>
                  <a:pt x="7632411" y="1394580"/>
                  <a:pt x="7626222" y="1391994"/>
                </a:cubicBezTo>
                <a:cubicBezTo>
                  <a:pt x="7599660" y="1377271"/>
                  <a:pt x="7577484" y="1360745"/>
                  <a:pt x="7585477" y="1367716"/>
                </a:cubicBezTo>
                <a:cubicBezTo>
                  <a:pt x="7563302" y="1351189"/>
                  <a:pt x="7530549" y="1333883"/>
                  <a:pt x="7510177" y="1321743"/>
                </a:cubicBezTo>
                <a:cubicBezTo>
                  <a:pt x="7503987" y="1319158"/>
                  <a:pt x="7503987" y="1319158"/>
                  <a:pt x="7502184" y="1314771"/>
                </a:cubicBezTo>
                <a:cubicBezTo>
                  <a:pt x="7512761" y="1315553"/>
                  <a:pt x="7489805" y="1309604"/>
                  <a:pt x="7498579" y="1305998"/>
                </a:cubicBezTo>
                <a:cubicBezTo>
                  <a:pt x="7486198" y="1300829"/>
                  <a:pt x="7473818" y="1295662"/>
                  <a:pt x="7467628" y="1293077"/>
                </a:cubicBezTo>
                <a:cubicBezTo>
                  <a:pt x="7453447" y="1283522"/>
                  <a:pt x="7445453" y="1276552"/>
                  <a:pt x="7433074" y="1271381"/>
                </a:cubicBezTo>
                <a:cubicBezTo>
                  <a:pt x="7410898" y="1254854"/>
                  <a:pt x="7386920" y="1233945"/>
                  <a:pt x="7378927" y="1226974"/>
                </a:cubicBezTo>
                <a:cubicBezTo>
                  <a:pt x="7380730" y="1231360"/>
                  <a:pt x="7374540" y="1228776"/>
                  <a:pt x="7374540" y="1228776"/>
                </a:cubicBezTo>
                <a:cubicBezTo>
                  <a:pt x="7368350" y="1226192"/>
                  <a:pt x="7362159" y="1223608"/>
                  <a:pt x="7354167" y="1216639"/>
                </a:cubicBezTo>
                <a:cubicBezTo>
                  <a:pt x="7354167" y="1216639"/>
                  <a:pt x="7352364" y="1212250"/>
                  <a:pt x="7347977" y="1214053"/>
                </a:cubicBezTo>
                <a:lnTo>
                  <a:pt x="7336962" y="1207488"/>
                </a:lnTo>
                <a:lnTo>
                  <a:pt x="7336887" y="1207574"/>
                </a:lnTo>
                <a:cubicBezTo>
                  <a:pt x="7334875" y="1211580"/>
                  <a:pt x="7330348" y="1214585"/>
                  <a:pt x="7325821" y="1214585"/>
                </a:cubicBezTo>
                <a:lnTo>
                  <a:pt x="7319603" y="1215538"/>
                </a:lnTo>
                <a:lnTo>
                  <a:pt x="7324240" y="1218680"/>
                </a:lnTo>
                <a:cubicBezTo>
                  <a:pt x="7371175" y="1245542"/>
                  <a:pt x="7413723" y="1274208"/>
                  <a:pt x="7458074" y="1307259"/>
                </a:cubicBezTo>
                <a:cubicBezTo>
                  <a:pt x="7466068" y="1314230"/>
                  <a:pt x="7477664" y="1329977"/>
                  <a:pt x="7486440" y="1326370"/>
                </a:cubicBezTo>
                <a:cubicBezTo>
                  <a:pt x="7486440" y="1326370"/>
                  <a:pt x="7486440" y="1326370"/>
                  <a:pt x="7488242" y="1330757"/>
                </a:cubicBezTo>
                <a:cubicBezTo>
                  <a:pt x="7490044" y="1335143"/>
                  <a:pt x="7496234" y="1337728"/>
                  <a:pt x="7498037" y="1342115"/>
                </a:cubicBezTo>
                <a:cubicBezTo>
                  <a:pt x="7498037" y="1342115"/>
                  <a:pt x="7504228" y="1344700"/>
                  <a:pt x="7504228" y="1344700"/>
                </a:cubicBezTo>
                <a:cubicBezTo>
                  <a:pt x="7504228" y="1344700"/>
                  <a:pt x="7502425" y="1340313"/>
                  <a:pt x="7502425" y="1340313"/>
                </a:cubicBezTo>
                <a:cubicBezTo>
                  <a:pt x="7524600" y="1356838"/>
                  <a:pt x="7546775" y="1373365"/>
                  <a:pt x="7568951" y="1389892"/>
                </a:cubicBezTo>
                <a:cubicBezTo>
                  <a:pt x="7621294" y="1429916"/>
                  <a:pt x="7621294" y="1429916"/>
                  <a:pt x="7621294" y="1429916"/>
                </a:cubicBezTo>
                <a:lnTo>
                  <a:pt x="7623842" y="1432139"/>
                </a:lnTo>
                <a:lnTo>
                  <a:pt x="7625017" y="1432966"/>
                </a:lnTo>
                <a:lnTo>
                  <a:pt x="7714956" y="1509206"/>
                </a:lnTo>
                <a:lnTo>
                  <a:pt x="7715406" y="1509182"/>
                </a:lnTo>
                <a:lnTo>
                  <a:pt x="7726375" y="1518885"/>
                </a:lnTo>
                <a:lnTo>
                  <a:pt x="7852902" y="1626143"/>
                </a:lnTo>
                <a:lnTo>
                  <a:pt x="7890997" y="1592967"/>
                </a:lnTo>
                <a:lnTo>
                  <a:pt x="7859034" y="1562328"/>
                </a:lnTo>
                <a:cubicBezTo>
                  <a:pt x="7842372" y="1546740"/>
                  <a:pt x="7827484" y="1532348"/>
                  <a:pt x="7816787" y="1518797"/>
                </a:cubicBezTo>
                <a:cubicBezTo>
                  <a:pt x="7814202" y="1524985"/>
                  <a:pt x="7812400" y="1520600"/>
                  <a:pt x="7804407" y="1513629"/>
                </a:cubicBezTo>
                <a:cubicBezTo>
                  <a:pt x="7810597" y="1516214"/>
                  <a:pt x="7814984" y="1514411"/>
                  <a:pt x="7808793" y="1511827"/>
                </a:cubicBezTo>
                <a:cubicBezTo>
                  <a:pt x="7802603" y="1509243"/>
                  <a:pt x="7757231" y="1461228"/>
                  <a:pt x="7756450" y="1471804"/>
                </a:cubicBezTo>
                <a:cubicBezTo>
                  <a:pt x="7734275" y="1455277"/>
                  <a:pt x="7735056" y="1444698"/>
                  <a:pt x="7735056" y="1444698"/>
                </a:cubicBezTo>
                <a:cubicBezTo>
                  <a:pt x="7714683" y="1432560"/>
                  <a:pt x="7730669" y="1446501"/>
                  <a:pt x="7728084" y="1452692"/>
                </a:cubicBezTo>
                <a:cubicBezTo>
                  <a:pt x="7705909" y="1436166"/>
                  <a:pt x="7705909" y="1436166"/>
                  <a:pt x="7705909" y="1436166"/>
                </a:cubicBezTo>
                <a:cubicBezTo>
                  <a:pt x="7722676" y="1439531"/>
                  <a:pt x="7706690" y="1425589"/>
                  <a:pt x="7704888" y="1421202"/>
                </a:cubicBezTo>
                <a:cubicBezTo>
                  <a:pt x="7675742" y="1412668"/>
                  <a:pt x="7642748" y="1369819"/>
                  <a:pt x="7597616" y="1347342"/>
                </a:cubicBezTo>
                <a:cubicBezTo>
                  <a:pt x="7595813" y="1342957"/>
                  <a:pt x="7591426" y="1344760"/>
                  <a:pt x="7589624" y="1340372"/>
                </a:cubicBezTo>
                <a:cubicBezTo>
                  <a:pt x="7587821" y="1335986"/>
                  <a:pt x="7583432" y="1337788"/>
                  <a:pt x="7583432" y="1337788"/>
                </a:cubicBezTo>
                <a:cubicBezTo>
                  <a:pt x="7577244" y="1335203"/>
                  <a:pt x="7579046" y="1339590"/>
                  <a:pt x="7585237" y="1342175"/>
                </a:cubicBezTo>
                <a:cubicBezTo>
                  <a:pt x="7585237" y="1342175"/>
                  <a:pt x="7585237" y="1342175"/>
                  <a:pt x="7587039" y="1346562"/>
                </a:cubicBezTo>
                <a:cubicBezTo>
                  <a:pt x="7538301" y="1315311"/>
                  <a:pt x="7518710" y="1292595"/>
                  <a:pt x="7471775" y="1265735"/>
                </a:cubicBezTo>
                <a:cubicBezTo>
                  <a:pt x="7474359" y="1259543"/>
                  <a:pt x="7468169" y="1256958"/>
                  <a:pt x="7470753" y="1250769"/>
                </a:cubicBezTo>
                <a:cubicBezTo>
                  <a:pt x="7440195" y="1232561"/>
                  <a:pt x="7409185" y="1213257"/>
                  <a:pt x="7377626" y="1194177"/>
                </a:cubicBezTo>
                <a:close/>
                <a:moveTo>
                  <a:pt x="6038116" y="1160930"/>
                </a:moveTo>
                <a:cubicBezTo>
                  <a:pt x="6038116" y="1160930"/>
                  <a:pt x="6038116" y="1160930"/>
                  <a:pt x="6034539" y="1162402"/>
                </a:cubicBezTo>
                <a:lnTo>
                  <a:pt x="6034171" y="1161507"/>
                </a:lnTo>
                <a:close/>
                <a:moveTo>
                  <a:pt x="399572" y="1157374"/>
                </a:moveTo>
                <a:cubicBezTo>
                  <a:pt x="401029" y="1157732"/>
                  <a:pt x="401204" y="1159438"/>
                  <a:pt x="401040" y="1160824"/>
                </a:cubicBezTo>
                <a:cubicBezTo>
                  <a:pt x="401057" y="1161482"/>
                  <a:pt x="400806" y="1162015"/>
                  <a:pt x="400628" y="1162742"/>
                </a:cubicBezTo>
                <a:cubicBezTo>
                  <a:pt x="399123" y="1168372"/>
                  <a:pt x="401357" y="1170881"/>
                  <a:pt x="406852" y="1169558"/>
                </a:cubicBezTo>
                <a:cubicBezTo>
                  <a:pt x="407901" y="1169400"/>
                  <a:pt x="408880" y="1169047"/>
                  <a:pt x="409733" y="1168959"/>
                </a:cubicBezTo>
                <a:cubicBezTo>
                  <a:pt x="411243" y="1168855"/>
                  <a:pt x="412667" y="1167897"/>
                  <a:pt x="413836" y="1169907"/>
                </a:cubicBezTo>
                <a:cubicBezTo>
                  <a:pt x="414793" y="1171330"/>
                  <a:pt x="414293" y="1172396"/>
                  <a:pt x="413402" y="1173603"/>
                </a:cubicBezTo>
                <a:cubicBezTo>
                  <a:pt x="411816" y="1175945"/>
                  <a:pt x="412506" y="1177243"/>
                  <a:pt x="415294" y="1178224"/>
                </a:cubicBezTo>
                <a:cubicBezTo>
                  <a:pt x="418812" y="1179386"/>
                  <a:pt x="422345" y="1181203"/>
                  <a:pt x="423563" y="1185186"/>
                </a:cubicBezTo>
                <a:cubicBezTo>
                  <a:pt x="424498" y="1188386"/>
                  <a:pt x="425846" y="1189667"/>
                  <a:pt x="429085" y="1187612"/>
                </a:cubicBezTo>
                <a:cubicBezTo>
                  <a:pt x="429797" y="1187133"/>
                  <a:pt x="430846" y="1186977"/>
                  <a:pt x="431662" y="1188007"/>
                </a:cubicBezTo>
                <a:cubicBezTo>
                  <a:pt x="432407" y="1188844"/>
                  <a:pt x="431640" y="1189784"/>
                  <a:pt x="431266" y="1190583"/>
                </a:cubicBezTo>
                <a:cubicBezTo>
                  <a:pt x="430391" y="1192446"/>
                  <a:pt x="429320" y="1194381"/>
                  <a:pt x="428907" y="1196299"/>
                </a:cubicBezTo>
                <a:cubicBezTo>
                  <a:pt x="427261" y="1201537"/>
                  <a:pt x="428306" y="1203814"/>
                  <a:pt x="432795" y="1207055"/>
                </a:cubicBezTo>
                <a:cubicBezTo>
                  <a:pt x="436344" y="1209532"/>
                  <a:pt x="439378" y="1212416"/>
                  <a:pt x="441129" y="1216647"/>
                </a:cubicBezTo>
                <a:cubicBezTo>
                  <a:pt x="442456" y="1219706"/>
                  <a:pt x="441032" y="1220662"/>
                  <a:pt x="438135" y="1220603"/>
                </a:cubicBezTo>
                <a:cubicBezTo>
                  <a:pt x="436162" y="1220653"/>
                  <a:pt x="434547" y="1219247"/>
                  <a:pt x="432825" y="1218764"/>
                </a:cubicBezTo>
                <a:cubicBezTo>
                  <a:pt x="430835" y="1218157"/>
                  <a:pt x="428117" y="1217370"/>
                  <a:pt x="427117" y="1219501"/>
                </a:cubicBezTo>
                <a:cubicBezTo>
                  <a:pt x="426063" y="1222093"/>
                  <a:pt x="427890" y="1224085"/>
                  <a:pt x="430287" y="1225208"/>
                </a:cubicBezTo>
                <a:cubicBezTo>
                  <a:pt x="431353" y="1225708"/>
                  <a:pt x="432809" y="1226066"/>
                  <a:pt x="433945" y="1226760"/>
                </a:cubicBezTo>
                <a:cubicBezTo>
                  <a:pt x="435277" y="1227384"/>
                  <a:pt x="436484" y="1228275"/>
                  <a:pt x="435805" y="1230069"/>
                </a:cubicBezTo>
                <a:cubicBezTo>
                  <a:pt x="435250" y="1231594"/>
                  <a:pt x="433865" y="1231433"/>
                  <a:pt x="432337" y="1230879"/>
                </a:cubicBezTo>
                <a:cubicBezTo>
                  <a:pt x="430881" y="1230521"/>
                  <a:pt x="429354" y="1229968"/>
                  <a:pt x="427967" y="1229807"/>
                </a:cubicBezTo>
                <a:cubicBezTo>
                  <a:pt x="425783" y="1229269"/>
                  <a:pt x="424037" y="1230563"/>
                  <a:pt x="423092" y="1232232"/>
                </a:cubicBezTo>
                <a:cubicBezTo>
                  <a:pt x="422146" y="1233900"/>
                  <a:pt x="423566" y="1235377"/>
                  <a:pt x="424647" y="1236534"/>
                </a:cubicBezTo>
                <a:cubicBezTo>
                  <a:pt x="430056" y="1242317"/>
                  <a:pt x="440900" y="1241714"/>
                  <a:pt x="446067" y="1235203"/>
                </a:cubicBezTo>
                <a:cubicBezTo>
                  <a:pt x="448491" y="1232116"/>
                  <a:pt x="449877" y="1232278"/>
                  <a:pt x="451399" y="1235266"/>
                </a:cubicBezTo>
                <a:cubicBezTo>
                  <a:pt x="453825" y="1240138"/>
                  <a:pt x="457374" y="1242614"/>
                  <a:pt x="463097" y="1242534"/>
                </a:cubicBezTo>
                <a:cubicBezTo>
                  <a:pt x="464609" y="1242430"/>
                  <a:pt x="467114" y="1242629"/>
                  <a:pt x="467304" y="1244994"/>
                </a:cubicBezTo>
                <a:cubicBezTo>
                  <a:pt x="467897" y="1250307"/>
                  <a:pt x="471339" y="1253706"/>
                  <a:pt x="475296" y="1256698"/>
                </a:cubicBezTo>
                <a:cubicBezTo>
                  <a:pt x="478313" y="1258924"/>
                  <a:pt x="479889" y="1261450"/>
                  <a:pt x="479010" y="1265748"/>
                </a:cubicBezTo>
                <a:cubicBezTo>
                  <a:pt x="478006" y="1270312"/>
                  <a:pt x="480152" y="1271969"/>
                  <a:pt x="485131" y="1271052"/>
                </a:cubicBezTo>
                <a:cubicBezTo>
                  <a:pt x="485326" y="1270982"/>
                  <a:pt x="485523" y="1270912"/>
                  <a:pt x="485718" y="1270841"/>
                </a:cubicBezTo>
                <a:cubicBezTo>
                  <a:pt x="487550" y="1270400"/>
                  <a:pt x="489452" y="1270154"/>
                  <a:pt x="490283" y="1271844"/>
                </a:cubicBezTo>
                <a:cubicBezTo>
                  <a:pt x="491312" y="1273462"/>
                  <a:pt x="489088" y="1274046"/>
                  <a:pt x="488322" y="1274986"/>
                </a:cubicBezTo>
                <a:cubicBezTo>
                  <a:pt x="483192" y="1280377"/>
                  <a:pt x="482416" y="1286185"/>
                  <a:pt x="486135" y="1292801"/>
                </a:cubicBezTo>
                <a:cubicBezTo>
                  <a:pt x="487375" y="1295007"/>
                  <a:pt x="487087" y="1296658"/>
                  <a:pt x="485483" y="1298344"/>
                </a:cubicBezTo>
                <a:cubicBezTo>
                  <a:pt x="484521" y="1299354"/>
                  <a:pt x="483489" y="1300171"/>
                  <a:pt x="482527" y="1301181"/>
                </a:cubicBezTo>
                <a:cubicBezTo>
                  <a:pt x="481244" y="1302529"/>
                  <a:pt x="481082" y="1303914"/>
                  <a:pt x="482109" y="1305533"/>
                </a:cubicBezTo>
                <a:lnTo>
                  <a:pt x="483434" y="1306459"/>
                </a:lnTo>
                <a:lnTo>
                  <a:pt x="473639" y="1327197"/>
                </a:lnTo>
                <a:lnTo>
                  <a:pt x="472900" y="1324120"/>
                </a:lnTo>
                <a:cubicBezTo>
                  <a:pt x="472725" y="1322412"/>
                  <a:pt x="472442" y="1321632"/>
                  <a:pt x="470329" y="1321290"/>
                </a:cubicBezTo>
                <a:cubicBezTo>
                  <a:pt x="468089" y="1321214"/>
                  <a:pt x="467659" y="1322476"/>
                  <a:pt x="467301" y="1323932"/>
                </a:cubicBezTo>
                <a:cubicBezTo>
                  <a:pt x="466997" y="1324926"/>
                  <a:pt x="467084" y="1325779"/>
                  <a:pt x="467046" y="1326899"/>
                </a:cubicBezTo>
                <a:cubicBezTo>
                  <a:pt x="466770" y="1331642"/>
                  <a:pt x="465666" y="1332261"/>
                  <a:pt x="461529" y="1329998"/>
                </a:cubicBezTo>
                <a:cubicBezTo>
                  <a:pt x="460660" y="1329429"/>
                  <a:pt x="459524" y="1328733"/>
                  <a:pt x="458350" y="1329158"/>
                </a:cubicBezTo>
                <a:cubicBezTo>
                  <a:pt x="457051" y="1329848"/>
                  <a:pt x="457616" y="1331412"/>
                  <a:pt x="457579" y="1332532"/>
                </a:cubicBezTo>
                <a:cubicBezTo>
                  <a:pt x="457470" y="1333456"/>
                  <a:pt x="457558" y="1334309"/>
                  <a:pt x="457841" y="1335091"/>
                </a:cubicBezTo>
                <a:cubicBezTo>
                  <a:pt x="458148" y="1336860"/>
                  <a:pt x="457795" y="1337872"/>
                  <a:pt x="457025" y="1338343"/>
                </a:cubicBezTo>
                <a:cubicBezTo>
                  <a:pt x="456255" y="1338815"/>
                  <a:pt x="455069" y="1338746"/>
                  <a:pt x="453710" y="1338353"/>
                </a:cubicBezTo>
                <a:cubicBezTo>
                  <a:pt x="450921" y="1337371"/>
                  <a:pt x="447991" y="1335998"/>
                  <a:pt x="445202" y="1335016"/>
                </a:cubicBezTo>
                <a:cubicBezTo>
                  <a:pt x="441882" y="1333784"/>
                  <a:pt x="438382" y="1333281"/>
                  <a:pt x="435887" y="1336172"/>
                </a:cubicBezTo>
                <a:cubicBezTo>
                  <a:pt x="433768" y="1338265"/>
                  <a:pt x="432241" y="1337711"/>
                  <a:pt x="430234" y="1336446"/>
                </a:cubicBezTo>
                <a:cubicBezTo>
                  <a:pt x="425886" y="1333596"/>
                  <a:pt x="421304" y="1331936"/>
                  <a:pt x="416250" y="1335090"/>
                </a:cubicBezTo>
                <a:cubicBezTo>
                  <a:pt x="415021" y="1335976"/>
                  <a:pt x="414418" y="1335530"/>
                  <a:pt x="413728" y="1334233"/>
                </a:cubicBezTo>
                <a:cubicBezTo>
                  <a:pt x="409481" y="1324932"/>
                  <a:pt x="402403" y="1318204"/>
                  <a:pt x="394238" y="1312753"/>
                </a:cubicBezTo>
                <a:cubicBezTo>
                  <a:pt x="392233" y="1311488"/>
                  <a:pt x="392200" y="1310174"/>
                  <a:pt x="392346" y="1308131"/>
                </a:cubicBezTo>
                <a:cubicBezTo>
                  <a:pt x="393030" y="1303902"/>
                  <a:pt x="393769" y="1299214"/>
                  <a:pt x="390986" y="1295798"/>
                </a:cubicBezTo>
                <a:cubicBezTo>
                  <a:pt x="388202" y="1292382"/>
                  <a:pt x="388190" y="1289290"/>
                  <a:pt x="389016" y="1285455"/>
                </a:cubicBezTo>
                <a:cubicBezTo>
                  <a:pt x="389249" y="1284264"/>
                  <a:pt x="389287" y="1283146"/>
                  <a:pt x="389451" y="1281760"/>
                </a:cubicBezTo>
                <a:cubicBezTo>
                  <a:pt x="389944" y="1275170"/>
                  <a:pt x="390970" y="1268828"/>
                  <a:pt x="396046" y="1263898"/>
                </a:cubicBezTo>
                <a:cubicBezTo>
                  <a:pt x="397078" y="1263083"/>
                  <a:pt x="396796" y="1262300"/>
                  <a:pt x="396442" y="1261322"/>
                </a:cubicBezTo>
                <a:cubicBezTo>
                  <a:pt x="395187" y="1258460"/>
                  <a:pt x="387358" y="1253329"/>
                  <a:pt x="384337" y="1253537"/>
                </a:cubicBezTo>
                <a:cubicBezTo>
                  <a:pt x="379679" y="1254115"/>
                  <a:pt x="375183" y="1253307"/>
                  <a:pt x="371046" y="1251043"/>
                </a:cubicBezTo>
                <a:cubicBezTo>
                  <a:pt x="365383" y="1248227"/>
                  <a:pt x="360235" y="1245002"/>
                  <a:pt x="354696" y="1241919"/>
                </a:cubicBezTo>
                <a:cubicBezTo>
                  <a:pt x="353098" y="1241171"/>
                  <a:pt x="353403" y="1240175"/>
                  <a:pt x="353832" y="1238916"/>
                </a:cubicBezTo>
                <a:cubicBezTo>
                  <a:pt x="355798" y="1233340"/>
                  <a:pt x="355798" y="1233340"/>
                  <a:pt x="350433" y="1231962"/>
                </a:cubicBezTo>
                <a:cubicBezTo>
                  <a:pt x="345460" y="1230444"/>
                  <a:pt x="344557" y="1228559"/>
                  <a:pt x="346735" y="1223571"/>
                </a:cubicBezTo>
                <a:cubicBezTo>
                  <a:pt x="347736" y="1221440"/>
                  <a:pt x="348665" y="1219115"/>
                  <a:pt x="347088" y="1216589"/>
                </a:cubicBezTo>
                <a:cubicBezTo>
                  <a:pt x="342853" y="1210382"/>
                  <a:pt x="343347" y="1203789"/>
                  <a:pt x="346008" y="1197080"/>
                </a:cubicBezTo>
                <a:cubicBezTo>
                  <a:pt x="347742" y="1192694"/>
                  <a:pt x="350132" y="1188291"/>
                  <a:pt x="350871" y="1183602"/>
                </a:cubicBezTo>
                <a:cubicBezTo>
                  <a:pt x="350979" y="1182679"/>
                  <a:pt x="351284" y="1181684"/>
                  <a:pt x="352333" y="1181526"/>
                </a:cubicBezTo>
                <a:cubicBezTo>
                  <a:pt x="357790" y="1181323"/>
                  <a:pt x="359202" y="1177274"/>
                  <a:pt x="360811" y="1173155"/>
                </a:cubicBezTo>
                <a:cubicBezTo>
                  <a:pt x="361239" y="1171894"/>
                  <a:pt x="361794" y="1170368"/>
                  <a:pt x="363696" y="1170122"/>
                </a:cubicBezTo>
                <a:cubicBezTo>
                  <a:pt x="369012" y="1169527"/>
                  <a:pt x="373887" y="1167103"/>
                  <a:pt x="378919" y="1165725"/>
                </a:cubicBezTo>
                <a:cubicBezTo>
                  <a:pt x="383099" y="1164434"/>
                  <a:pt x="387349" y="1163341"/>
                  <a:pt x="391985" y="1164539"/>
                </a:cubicBezTo>
                <a:cubicBezTo>
                  <a:pt x="393975" y="1165148"/>
                  <a:pt x="395007" y="1164332"/>
                  <a:pt x="395687" y="1162538"/>
                </a:cubicBezTo>
                <a:cubicBezTo>
                  <a:pt x="395920" y="1161350"/>
                  <a:pt x="396224" y="1160354"/>
                  <a:pt x="396724" y="1159289"/>
                </a:cubicBezTo>
                <a:cubicBezTo>
                  <a:pt x="397224" y="1158224"/>
                  <a:pt x="398311" y="1156946"/>
                  <a:pt x="399572" y="1157374"/>
                </a:cubicBezTo>
                <a:close/>
                <a:moveTo>
                  <a:pt x="6040222" y="1155880"/>
                </a:moveTo>
                <a:cubicBezTo>
                  <a:pt x="6040222" y="1155880"/>
                  <a:pt x="6040222" y="1155880"/>
                  <a:pt x="6036645" y="1157350"/>
                </a:cubicBezTo>
                <a:cubicBezTo>
                  <a:pt x="6036645" y="1157350"/>
                  <a:pt x="6033067" y="1158820"/>
                  <a:pt x="6033067" y="1158820"/>
                </a:cubicBezTo>
                <a:lnTo>
                  <a:pt x="6034171" y="1161507"/>
                </a:lnTo>
                <a:lnTo>
                  <a:pt x="6030223" y="1162083"/>
                </a:lnTo>
                <a:cubicBezTo>
                  <a:pt x="6028437" y="1162818"/>
                  <a:pt x="6026645" y="1163554"/>
                  <a:pt x="6022327" y="1163233"/>
                </a:cubicBezTo>
                <a:cubicBezTo>
                  <a:pt x="6013067" y="1171227"/>
                  <a:pt x="6037481" y="1169566"/>
                  <a:pt x="6040425" y="1176729"/>
                </a:cubicBezTo>
                <a:cubicBezTo>
                  <a:pt x="6019588" y="1176920"/>
                  <a:pt x="6017483" y="1181972"/>
                  <a:pt x="6008854" y="1181333"/>
                </a:cubicBezTo>
                <a:lnTo>
                  <a:pt x="6008251" y="1182776"/>
                </a:lnTo>
                <a:lnTo>
                  <a:pt x="6033002" y="1182347"/>
                </a:lnTo>
                <a:lnTo>
                  <a:pt x="6082822" y="1186854"/>
                </a:lnTo>
                <a:lnTo>
                  <a:pt x="6082310" y="1179403"/>
                </a:lnTo>
                <a:cubicBezTo>
                  <a:pt x="6084620" y="1177404"/>
                  <a:pt x="6088197" y="1175932"/>
                  <a:pt x="6089254" y="1173407"/>
                </a:cubicBezTo>
                <a:cubicBezTo>
                  <a:pt x="6082736" y="1167715"/>
                  <a:pt x="6074108" y="1167073"/>
                  <a:pt x="6064001" y="1162852"/>
                </a:cubicBezTo>
                <a:cubicBezTo>
                  <a:pt x="6069055" y="1164962"/>
                  <a:pt x="6072632" y="1163493"/>
                  <a:pt x="6072632" y="1163493"/>
                </a:cubicBezTo>
                <a:cubicBezTo>
                  <a:pt x="6077686" y="1165603"/>
                  <a:pt x="6077686" y="1165603"/>
                  <a:pt x="6081262" y="1164133"/>
                </a:cubicBezTo>
                <a:cubicBezTo>
                  <a:pt x="6079793" y="1160549"/>
                  <a:pt x="6076211" y="1162021"/>
                  <a:pt x="6076211" y="1162021"/>
                </a:cubicBezTo>
                <a:cubicBezTo>
                  <a:pt x="6071162" y="1159910"/>
                  <a:pt x="6067583" y="1161382"/>
                  <a:pt x="6067583" y="1161382"/>
                </a:cubicBezTo>
                <a:cubicBezTo>
                  <a:pt x="6067583" y="1161382"/>
                  <a:pt x="6062532" y="1159270"/>
                  <a:pt x="6062532" y="1159270"/>
                </a:cubicBezTo>
                <a:cubicBezTo>
                  <a:pt x="6053901" y="1158630"/>
                  <a:pt x="6045275" y="1157990"/>
                  <a:pt x="6040222" y="1155880"/>
                </a:cubicBezTo>
                <a:close/>
                <a:moveTo>
                  <a:pt x="4553348" y="1137654"/>
                </a:moveTo>
                <a:lnTo>
                  <a:pt x="4550276" y="1138535"/>
                </a:lnTo>
                <a:lnTo>
                  <a:pt x="4552446" y="1139234"/>
                </a:lnTo>
                <a:close/>
                <a:moveTo>
                  <a:pt x="1006422" y="1134067"/>
                </a:moveTo>
                <a:cubicBezTo>
                  <a:pt x="1009471" y="1133005"/>
                  <a:pt x="1012642" y="1132715"/>
                  <a:pt x="1016183" y="1135175"/>
                </a:cubicBezTo>
                <a:cubicBezTo>
                  <a:pt x="1017409" y="1135979"/>
                  <a:pt x="1019563" y="1136758"/>
                  <a:pt x="1021771" y="1135960"/>
                </a:cubicBezTo>
                <a:cubicBezTo>
                  <a:pt x="1024706" y="1134586"/>
                  <a:pt x="1026960" y="1135641"/>
                  <a:pt x="1028608" y="1138474"/>
                </a:cubicBezTo>
                <a:cubicBezTo>
                  <a:pt x="1029857" y="1140203"/>
                  <a:pt x="1031635" y="1140808"/>
                  <a:pt x="1033513" y="1141687"/>
                </a:cubicBezTo>
                <a:cubicBezTo>
                  <a:pt x="1038295" y="1143698"/>
                  <a:pt x="1041346" y="1146957"/>
                  <a:pt x="1041759" y="1152416"/>
                </a:cubicBezTo>
                <a:cubicBezTo>
                  <a:pt x="1041927" y="1155473"/>
                  <a:pt x="1043852" y="1158204"/>
                  <a:pt x="1047209" y="1158861"/>
                </a:cubicBezTo>
                <a:cubicBezTo>
                  <a:pt x="1047607" y="1159964"/>
                  <a:pt x="1048006" y="1161065"/>
                  <a:pt x="1048404" y="1162168"/>
                </a:cubicBezTo>
                <a:cubicBezTo>
                  <a:pt x="1046419" y="1164444"/>
                  <a:pt x="1045912" y="1166497"/>
                  <a:pt x="1047483" y="1169980"/>
                </a:cubicBezTo>
                <a:cubicBezTo>
                  <a:pt x="1049553" y="1174841"/>
                  <a:pt x="1048740" y="1179496"/>
                  <a:pt x="1043620" y="1182594"/>
                </a:cubicBezTo>
                <a:cubicBezTo>
                  <a:pt x="1041235" y="1183768"/>
                  <a:pt x="1042485" y="1185497"/>
                  <a:pt x="1043083" y="1187151"/>
                </a:cubicBezTo>
                <a:cubicBezTo>
                  <a:pt x="1044079" y="1189907"/>
                  <a:pt x="1043174" y="1190856"/>
                  <a:pt x="1040270" y="1189724"/>
                </a:cubicBezTo>
                <a:cubicBezTo>
                  <a:pt x="1035962" y="1188168"/>
                  <a:pt x="1033754" y="1188965"/>
                  <a:pt x="1034621" y="1193949"/>
                </a:cubicBezTo>
                <a:cubicBezTo>
                  <a:pt x="1034742" y="1195151"/>
                  <a:pt x="1034413" y="1196829"/>
                  <a:pt x="1032811" y="1195849"/>
                </a:cubicBezTo>
                <a:cubicBezTo>
                  <a:pt x="1027928" y="1193562"/>
                  <a:pt x="1026242" y="1196665"/>
                  <a:pt x="1024379" y="1200144"/>
                </a:cubicBezTo>
                <a:cubicBezTo>
                  <a:pt x="1024303" y="1200794"/>
                  <a:pt x="1023198" y="1201194"/>
                  <a:pt x="1022647" y="1201393"/>
                </a:cubicBezTo>
                <a:cubicBezTo>
                  <a:pt x="1014629" y="1199928"/>
                  <a:pt x="1006689" y="1197815"/>
                  <a:pt x="998572" y="1196074"/>
                </a:cubicBezTo>
                <a:cubicBezTo>
                  <a:pt x="994839" y="1195241"/>
                  <a:pt x="991290" y="1190604"/>
                  <a:pt x="988417" y="1186970"/>
                </a:cubicBezTo>
                <a:cubicBezTo>
                  <a:pt x="987267" y="1185514"/>
                  <a:pt x="986945" y="1183761"/>
                  <a:pt x="984791" y="1182981"/>
                </a:cubicBezTo>
                <a:cubicBezTo>
                  <a:pt x="982638" y="1182201"/>
                  <a:pt x="982315" y="1180449"/>
                  <a:pt x="982822" y="1178395"/>
                </a:cubicBezTo>
                <a:cubicBezTo>
                  <a:pt x="982975" y="1177095"/>
                  <a:pt x="983580" y="1175318"/>
                  <a:pt x="982355" y="1174515"/>
                </a:cubicBezTo>
                <a:cubicBezTo>
                  <a:pt x="978399" y="1172205"/>
                  <a:pt x="977227" y="1169823"/>
                  <a:pt x="981044" y="1166574"/>
                </a:cubicBezTo>
                <a:cubicBezTo>
                  <a:pt x="982048" y="1165899"/>
                  <a:pt x="981727" y="1164147"/>
                  <a:pt x="980324" y="1163718"/>
                </a:cubicBezTo>
                <a:cubicBezTo>
                  <a:pt x="975641" y="1161983"/>
                  <a:pt x="979006" y="1159209"/>
                  <a:pt x="978761" y="1156805"/>
                </a:cubicBezTo>
                <a:cubicBezTo>
                  <a:pt x="978003" y="1148666"/>
                  <a:pt x="987354" y="1147777"/>
                  <a:pt x="988674" y="1141069"/>
                </a:cubicBezTo>
                <a:cubicBezTo>
                  <a:pt x="989080" y="1138741"/>
                  <a:pt x="994820" y="1138223"/>
                  <a:pt x="997403" y="1137601"/>
                </a:cubicBezTo>
                <a:cubicBezTo>
                  <a:pt x="1000451" y="1136967"/>
                  <a:pt x="1003375" y="1135131"/>
                  <a:pt x="1006422" y="1134067"/>
                </a:cubicBezTo>
                <a:close/>
                <a:moveTo>
                  <a:pt x="7211787" y="1133483"/>
                </a:moveTo>
                <a:lnTo>
                  <a:pt x="7211471" y="1133681"/>
                </a:lnTo>
                <a:cubicBezTo>
                  <a:pt x="7211256" y="1133681"/>
                  <a:pt x="7211040" y="1133682"/>
                  <a:pt x="7210824" y="1133682"/>
                </a:cubicBezTo>
                <a:cubicBezTo>
                  <a:pt x="7205644" y="1134544"/>
                  <a:pt x="7204134" y="1136918"/>
                  <a:pt x="7206723" y="1141017"/>
                </a:cubicBezTo>
                <a:lnTo>
                  <a:pt x="7206391" y="1148834"/>
                </a:lnTo>
                <a:lnTo>
                  <a:pt x="7222377" y="1157984"/>
                </a:lnTo>
                <a:cubicBezTo>
                  <a:pt x="7222377" y="1157984"/>
                  <a:pt x="7222377" y="1157984"/>
                  <a:pt x="7226763" y="1156183"/>
                </a:cubicBezTo>
                <a:cubicBezTo>
                  <a:pt x="7244041" y="1167030"/>
                  <a:pt x="7260868" y="1176781"/>
                  <a:pt x="7277147" y="1186757"/>
                </a:cubicBezTo>
                <a:lnTo>
                  <a:pt x="7295990" y="1199530"/>
                </a:lnTo>
                <a:lnTo>
                  <a:pt x="7294636" y="1197060"/>
                </a:lnTo>
                <a:cubicBezTo>
                  <a:pt x="7296146" y="1189049"/>
                  <a:pt x="7290109" y="1186545"/>
                  <a:pt x="7285080" y="1185044"/>
                </a:cubicBezTo>
                <a:cubicBezTo>
                  <a:pt x="7281559" y="1184041"/>
                  <a:pt x="7279547" y="1182539"/>
                  <a:pt x="7277535" y="1180536"/>
                </a:cubicBezTo>
                <a:lnTo>
                  <a:pt x="7273774" y="1169839"/>
                </a:lnTo>
                <a:lnTo>
                  <a:pt x="7225743" y="1141218"/>
                </a:lnTo>
                <a:close/>
                <a:moveTo>
                  <a:pt x="4567066" y="1130093"/>
                </a:moveTo>
                <a:cubicBezTo>
                  <a:pt x="4566822" y="1129875"/>
                  <a:pt x="4565279" y="1130826"/>
                  <a:pt x="4561347" y="1133726"/>
                </a:cubicBezTo>
                <a:cubicBezTo>
                  <a:pt x="4562246" y="1135918"/>
                  <a:pt x="4559405" y="1138368"/>
                  <a:pt x="4556343" y="1140268"/>
                </a:cubicBezTo>
                <a:lnTo>
                  <a:pt x="4556078" y="1140406"/>
                </a:lnTo>
                <a:lnTo>
                  <a:pt x="4563736" y="1142876"/>
                </a:lnTo>
                <a:lnTo>
                  <a:pt x="4564950" y="1142500"/>
                </a:lnTo>
                <a:cubicBezTo>
                  <a:pt x="4557014" y="1141913"/>
                  <a:pt x="4567812" y="1130746"/>
                  <a:pt x="4567066" y="1130093"/>
                </a:cubicBezTo>
                <a:close/>
                <a:moveTo>
                  <a:pt x="1254004" y="1122504"/>
                </a:moveTo>
                <a:cubicBezTo>
                  <a:pt x="1257052" y="1121442"/>
                  <a:pt x="1260223" y="1121153"/>
                  <a:pt x="1263764" y="1123613"/>
                </a:cubicBezTo>
                <a:cubicBezTo>
                  <a:pt x="1264990" y="1124416"/>
                  <a:pt x="1267144" y="1125195"/>
                  <a:pt x="1269352" y="1124397"/>
                </a:cubicBezTo>
                <a:cubicBezTo>
                  <a:pt x="1272287" y="1123024"/>
                  <a:pt x="1274542" y="1124079"/>
                  <a:pt x="1276188" y="1126911"/>
                </a:cubicBezTo>
                <a:cubicBezTo>
                  <a:pt x="1277437" y="1128641"/>
                  <a:pt x="1279216" y="1129245"/>
                  <a:pt x="1281094" y="1130124"/>
                </a:cubicBezTo>
                <a:cubicBezTo>
                  <a:pt x="1285876" y="1132134"/>
                  <a:pt x="1288927" y="1135394"/>
                  <a:pt x="1289340" y="1140853"/>
                </a:cubicBezTo>
                <a:cubicBezTo>
                  <a:pt x="1289508" y="1143909"/>
                  <a:pt x="1291432" y="1146642"/>
                  <a:pt x="1294789" y="1147297"/>
                </a:cubicBezTo>
                <a:cubicBezTo>
                  <a:pt x="1295188" y="1148401"/>
                  <a:pt x="1295587" y="1149502"/>
                  <a:pt x="1295985" y="1150604"/>
                </a:cubicBezTo>
                <a:cubicBezTo>
                  <a:pt x="1294000" y="1152880"/>
                  <a:pt x="1293494" y="1154933"/>
                  <a:pt x="1295064" y="1158417"/>
                </a:cubicBezTo>
                <a:cubicBezTo>
                  <a:pt x="1297134" y="1163277"/>
                  <a:pt x="1296321" y="1167933"/>
                  <a:pt x="1291201" y="1171032"/>
                </a:cubicBezTo>
                <a:cubicBezTo>
                  <a:pt x="1288816" y="1172204"/>
                  <a:pt x="1290066" y="1173934"/>
                  <a:pt x="1290664" y="1175588"/>
                </a:cubicBezTo>
                <a:cubicBezTo>
                  <a:pt x="1291660" y="1178344"/>
                  <a:pt x="1290755" y="1179294"/>
                  <a:pt x="1287850" y="1178163"/>
                </a:cubicBezTo>
                <a:cubicBezTo>
                  <a:pt x="1283543" y="1176604"/>
                  <a:pt x="1281335" y="1177402"/>
                  <a:pt x="1282201" y="1182386"/>
                </a:cubicBezTo>
                <a:cubicBezTo>
                  <a:pt x="1282324" y="1183588"/>
                  <a:pt x="1281994" y="1185265"/>
                  <a:pt x="1280392" y="1184286"/>
                </a:cubicBezTo>
                <a:cubicBezTo>
                  <a:pt x="1275509" y="1182000"/>
                  <a:pt x="1273823" y="1185103"/>
                  <a:pt x="1271960" y="1188580"/>
                </a:cubicBezTo>
                <a:cubicBezTo>
                  <a:pt x="1271884" y="1189232"/>
                  <a:pt x="1270779" y="1189630"/>
                  <a:pt x="1270228" y="1189830"/>
                </a:cubicBezTo>
                <a:cubicBezTo>
                  <a:pt x="1262210" y="1188366"/>
                  <a:pt x="1254269" y="1186251"/>
                  <a:pt x="1246153" y="1184510"/>
                </a:cubicBezTo>
                <a:cubicBezTo>
                  <a:pt x="1242420" y="1183679"/>
                  <a:pt x="1238871" y="1179041"/>
                  <a:pt x="1235997" y="1175406"/>
                </a:cubicBezTo>
                <a:cubicBezTo>
                  <a:pt x="1234848" y="1173951"/>
                  <a:pt x="1234525" y="1172198"/>
                  <a:pt x="1232372" y="1171418"/>
                </a:cubicBezTo>
                <a:cubicBezTo>
                  <a:pt x="1230219" y="1170639"/>
                  <a:pt x="1229897" y="1168886"/>
                  <a:pt x="1230403" y="1166833"/>
                </a:cubicBezTo>
                <a:cubicBezTo>
                  <a:pt x="1230556" y="1165531"/>
                  <a:pt x="1231162" y="1163755"/>
                  <a:pt x="1229936" y="1162951"/>
                </a:cubicBezTo>
                <a:cubicBezTo>
                  <a:pt x="1225980" y="1160641"/>
                  <a:pt x="1224808" y="1158262"/>
                  <a:pt x="1228625" y="1155012"/>
                </a:cubicBezTo>
                <a:cubicBezTo>
                  <a:pt x="1229629" y="1154336"/>
                  <a:pt x="1229308" y="1152584"/>
                  <a:pt x="1227906" y="1152155"/>
                </a:cubicBezTo>
                <a:cubicBezTo>
                  <a:pt x="1223221" y="1150420"/>
                  <a:pt x="1226587" y="1147646"/>
                  <a:pt x="1226343" y="1145241"/>
                </a:cubicBezTo>
                <a:cubicBezTo>
                  <a:pt x="1225584" y="1137102"/>
                  <a:pt x="1234935" y="1136214"/>
                  <a:pt x="1236254" y="1129505"/>
                </a:cubicBezTo>
                <a:cubicBezTo>
                  <a:pt x="1236661" y="1127176"/>
                  <a:pt x="1242402" y="1126661"/>
                  <a:pt x="1244984" y="1126038"/>
                </a:cubicBezTo>
                <a:cubicBezTo>
                  <a:pt x="1248032" y="1125404"/>
                  <a:pt x="1250956" y="1123567"/>
                  <a:pt x="1254004" y="1122504"/>
                </a:cubicBezTo>
                <a:close/>
                <a:moveTo>
                  <a:pt x="8537522" y="1105800"/>
                </a:moveTo>
                <a:cubicBezTo>
                  <a:pt x="8540023" y="1105800"/>
                  <a:pt x="8542166" y="1105801"/>
                  <a:pt x="8544666" y="1105801"/>
                </a:cubicBezTo>
                <a:cubicBezTo>
                  <a:pt x="8544666" y="1106867"/>
                  <a:pt x="8545023" y="1107223"/>
                  <a:pt x="8545737" y="1107222"/>
                </a:cubicBezTo>
                <a:cubicBezTo>
                  <a:pt x="8551096" y="1107223"/>
                  <a:pt x="8553952" y="1110779"/>
                  <a:pt x="8555739" y="1115046"/>
                </a:cubicBezTo>
                <a:cubicBezTo>
                  <a:pt x="8557525" y="1118957"/>
                  <a:pt x="8559668" y="1122513"/>
                  <a:pt x="8558954" y="1127136"/>
                </a:cubicBezTo>
                <a:cubicBezTo>
                  <a:pt x="8557882" y="1132113"/>
                  <a:pt x="8558239" y="1137448"/>
                  <a:pt x="8553952" y="1141360"/>
                </a:cubicBezTo>
                <a:cubicBezTo>
                  <a:pt x="8552524" y="1142781"/>
                  <a:pt x="8551095" y="1143848"/>
                  <a:pt x="8548595" y="1144559"/>
                </a:cubicBezTo>
                <a:cubicBezTo>
                  <a:pt x="8545023" y="1145626"/>
                  <a:pt x="8540738" y="1147403"/>
                  <a:pt x="8541808" y="1153093"/>
                </a:cubicBezTo>
                <a:cubicBezTo>
                  <a:pt x="8542166" y="1155227"/>
                  <a:pt x="8540023" y="1155937"/>
                  <a:pt x="8539666" y="1157005"/>
                </a:cubicBezTo>
                <a:cubicBezTo>
                  <a:pt x="8537881" y="1162693"/>
                  <a:pt x="8533593" y="1165183"/>
                  <a:pt x="8528950" y="1166961"/>
                </a:cubicBezTo>
                <a:cubicBezTo>
                  <a:pt x="8525736" y="1166250"/>
                  <a:pt x="8522878" y="1165538"/>
                  <a:pt x="8519664" y="1165538"/>
                </a:cubicBezTo>
                <a:cubicBezTo>
                  <a:pt x="8516450" y="1165537"/>
                  <a:pt x="8513236" y="1163405"/>
                  <a:pt x="8511807" y="1160559"/>
                </a:cubicBezTo>
                <a:cubicBezTo>
                  <a:pt x="8510735" y="1158072"/>
                  <a:pt x="8509663" y="1156648"/>
                  <a:pt x="8507520" y="1155582"/>
                </a:cubicBezTo>
                <a:cubicBezTo>
                  <a:pt x="8507520" y="1151315"/>
                  <a:pt x="8507521" y="1147049"/>
                  <a:pt x="8507521" y="1142781"/>
                </a:cubicBezTo>
                <a:cubicBezTo>
                  <a:pt x="8511092" y="1141004"/>
                  <a:pt x="8513949" y="1138159"/>
                  <a:pt x="8515379" y="1134958"/>
                </a:cubicBezTo>
                <a:cubicBezTo>
                  <a:pt x="8517165" y="1132114"/>
                  <a:pt x="8518592" y="1128914"/>
                  <a:pt x="8520378" y="1125713"/>
                </a:cubicBezTo>
                <a:cubicBezTo>
                  <a:pt x="8522165" y="1122868"/>
                  <a:pt x="8523951" y="1119669"/>
                  <a:pt x="8524307" y="1116113"/>
                </a:cubicBezTo>
                <a:cubicBezTo>
                  <a:pt x="8525021" y="1112912"/>
                  <a:pt x="8527164" y="1111490"/>
                  <a:pt x="8529665" y="1109713"/>
                </a:cubicBezTo>
                <a:cubicBezTo>
                  <a:pt x="8532165" y="1107933"/>
                  <a:pt x="8535738" y="1108289"/>
                  <a:pt x="8537522" y="1105800"/>
                </a:cubicBezTo>
                <a:close/>
                <a:moveTo>
                  <a:pt x="597961" y="1104654"/>
                </a:moveTo>
                <a:cubicBezTo>
                  <a:pt x="605067" y="1110436"/>
                  <a:pt x="615459" y="1103337"/>
                  <a:pt x="621651" y="1112373"/>
                </a:cubicBezTo>
                <a:cubicBezTo>
                  <a:pt x="623457" y="1115060"/>
                  <a:pt x="629301" y="1115035"/>
                  <a:pt x="625963" y="1120833"/>
                </a:cubicBezTo>
                <a:cubicBezTo>
                  <a:pt x="624885" y="1122475"/>
                  <a:pt x="626056" y="1124557"/>
                  <a:pt x="627667" y="1124392"/>
                </a:cubicBezTo>
                <a:cubicBezTo>
                  <a:pt x="634383" y="1124469"/>
                  <a:pt x="635215" y="1127926"/>
                  <a:pt x="633119" y="1133694"/>
                </a:cubicBezTo>
                <a:cubicBezTo>
                  <a:pt x="632545" y="1135571"/>
                  <a:pt x="634690" y="1136883"/>
                  <a:pt x="635963" y="1138092"/>
                </a:cubicBezTo>
                <a:cubicBezTo>
                  <a:pt x="638244" y="1139774"/>
                  <a:pt x="639413" y="1141855"/>
                  <a:pt x="637863" y="1144504"/>
                </a:cubicBezTo>
                <a:cubicBezTo>
                  <a:pt x="636312" y="1147152"/>
                  <a:pt x="637483" y="1149235"/>
                  <a:pt x="637543" y="1151716"/>
                </a:cubicBezTo>
                <a:cubicBezTo>
                  <a:pt x="637698" y="1157924"/>
                  <a:pt x="638016" y="1165741"/>
                  <a:pt x="634883" y="1169795"/>
                </a:cubicBezTo>
                <a:cubicBezTo>
                  <a:pt x="628012" y="1178540"/>
                  <a:pt x="621645" y="1187522"/>
                  <a:pt x="614641" y="1195898"/>
                </a:cubicBezTo>
                <a:cubicBezTo>
                  <a:pt x="613902" y="1196165"/>
                  <a:pt x="612423" y="1196701"/>
                  <a:pt x="611786" y="1196095"/>
                </a:cubicBezTo>
                <a:cubicBezTo>
                  <a:pt x="606887" y="1194109"/>
                  <a:pt x="602492" y="1192358"/>
                  <a:pt x="599422" y="1198895"/>
                </a:cubicBezTo>
                <a:cubicBezTo>
                  <a:pt x="598610" y="1201275"/>
                  <a:pt x="596833" y="1199830"/>
                  <a:pt x="595931" y="1198487"/>
                </a:cubicBezTo>
                <a:cubicBezTo>
                  <a:pt x="592552" y="1192611"/>
                  <a:pt x="589596" y="1193680"/>
                  <a:pt x="586493" y="1198976"/>
                </a:cubicBezTo>
                <a:cubicBezTo>
                  <a:pt x="584470" y="1202629"/>
                  <a:pt x="582724" y="1202425"/>
                  <a:pt x="581389" y="1198734"/>
                </a:cubicBezTo>
                <a:cubicBezTo>
                  <a:pt x="580589" y="1196517"/>
                  <a:pt x="580393" y="1193666"/>
                  <a:pt x="576932" y="1194499"/>
                </a:cubicBezTo>
                <a:cubicBezTo>
                  <a:pt x="569005" y="1195695"/>
                  <a:pt x="564179" y="1191595"/>
                  <a:pt x="562147" y="1184816"/>
                </a:cubicBezTo>
                <a:cubicBezTo>
                  <a:pt x="560781" y="1179881"/>
                  <a:pt x="558501" y="1178202"/>
                  <a:pt x="554507" y="1177558"/>
                </a:cubicBezTo>
                <a:cubicBezTo>
                  <a:pt x="553973" y="1176081"/>
                  <a:pt x="553439" y="1174605"/>
                  <a:pt x="552905" y="1173128"/>
                </a:cubicBezTo>
                <a:cubicBezTo>
                  <a:pt x="555801" y="1169575"/>
                  <a:pt x="555442" y="1165113"/>
                  <a:pt x="552999" y="1161822"/>
                </a:cubicBezTo>
                <a:cubicBezTo>
                  <a:pt x="548748" y="1155844"/>
                  <a:pt x="549098" y="1149873"/>
                  <a:pt x="552302" y="1143705"/>
                </a:cubicBezTo>
                <a:cubicBezTo>
                  <a:pt x="553482" y="1141190"/>
                  <a:pt x="554797" y="1139045"/>
                  <a:pt x="554602" y="1136193"/>
                </a:cubicBezTo>
                <a:cubicBezTo>
                  <a:pt x="553874" y="1131864"/>
                  <a:pt x="555291" y="1128846"/>
                  <a:pt x="559491" y="1127746"/>
                </a:cubicBezTo>
                <a:cubicBezTo>
                  <a:pt x="562449" y="1126676"/>
                  <a:pt x="564000" y="1124029"/>
                  <a:pt x="564575" y="1122151"/>
                </a:cubicBezTo>
                <a:cubicBezTo>
                  <a:pt x="567657" y="1111018"/>
                  <a:pt x="578633" y="1112477"/>
                  <a:pt x="585997" y="1108563"/>
                </a:cubicBezTo>
                <a:cubicBezTo>
                  <a:pt x="589191" y="1106989"/>
                  <a:pt x="595547" y="1102604"/>
                  <a:pt x="597961" y="1104654"/>
                </a:cubicBezTo>
                <a:close/>
                <a:moveTo>
                  <a:pt x="7013964" y="1100052"/>
                </a:moveTo>
                <a:cubicBezTo>
                  <a:pt x="7013964" y="1100052"/>
                  <a:pt x="7013964" y="1100052"/>
                  <a:pt x="7020155" y="1102634"/>
                </a:cubicBezTo>
                <a:lnTo>
                  <a:pt x="7013833" y="1100105"/>
                </a:lnTo>
                <a:close/>
                <a:moveTo>
                  <a:pt x="7183887" y="1087008"/>
                </a:moveTo>
                <a:lnTo>
                  <a:pt x="7196682" y="1099734"/>
                </a:lnTo>
                <a:lnTo>
                  <a:pt x="7195716" y="1101106"/>
                </a:lnTo>
                <a:lnTo>
                  <a:pt x="7197615" y="1105110"/>
                </a:lnTo>
                <a:lnTo>
                  <a:pt x="7198660" y="1105650"/>
                </a:lnTo>
                <a:lnTo>
                  <a:pt x="7201544" y="1106931"/>
                </a:lnTo>
                <a:lnTo>
                  <a:pt x="7201681" y="1107206"/>
                </a:lnTo>
                <a:lnTo>
                  <a:pt x="7214474" y="1113799"/>
                </a:lnTo>
                <a:lnTo>
                  <a:pt x="7273609" y="1148793"/>
                </a:lnTo>
                <a:lnTo>
                  <a:pt x="7275020" y="1143484"/>
                </a:lnTo>
                <a:lnTo>
                  <a:pt x="7278871" y="1137687"/>
                </a:lnTo>
                <a:close/>
                <a:moveTo>
                  <a:pt x="11811558" y="1073556"/>
                </a:moveTo>
                <a:cubicBezTo>
                  <a:pt x="11813060" y="1070768"/>
                  <a:pt x="11814477" y="1070813"/>
                  <a:pt x="11815660" y="1073967"/>
                </a:cubicBezTo>
                <a:cubicBezTo>
                  <a:pt x="11817509" y="1078561"/>
                  <a:pt x="11819741" y="1079763"/>
                  <a:pt x="11823133" y="1075474"/>
                </a:cubicBezTo>
                <a:cubicBezTo>
                  <a:pt x="11824012" y="1074509"/>
                  <a:pt x="11825601" y="1073567"/>
                  <a:pt x="11825966" y="1075563"/>
                </a:cubicBezTo>
                <a:cubicBezTo>
                  <a:pt x="11827643" y="1081141"/>
                  <a:pt x="11831358" y="1080265"/>
                  <a:pt x="11835500" y="1079259"/>
                </a:cubicBezTo>
                <a:cubicBezTo>
                  <a:pt x="11836080" y="1078852"/>
                  <a:pt x="11837196" y="1079454"/>
                  <a:pt x="11837755" y="1079754"/>
                </a:cubicBezTo>
                <a:cubicBezTo>
                  <a:pt x="11842353" y="1087266"/>
                  <a:pt x="11846370" y="1095186"/>
                  <a:pt x="11850817" y="1102979"/>
                </a:cubicBezTo>
                <a:cubicBezTo>
                  <a:pt x="11852836" y="1106585"/>
                  <a:pt x="11851659" y="1112786"/>
                  <a:pt x="11850801" y="1117720"/>
                </a:cubicBezTo>
                <a:cubicBezTo>
                  <a:pt x="11850459" y="1119694"/>
                  <a:pt x="11849277" y="1121215"/>
                  <a:pt x="11850201" y="1123512"/>
                </a:cubicBezTo>
                <a:cubicBezTo>
                  <a:pt x="11851126" y="1125808"/>
                  <a:pt x="11849945" y="1127331"/>
                  <a:pt x="11847927" y="1128402"/>
                </a:cubicBezTo>
                <a:cubicBezTo>
                  <a:pt x="11846768" y="1129217"/>
                  <a:pt x="11844900" y="1130009"/>
                  <a:pt x="11845137" y="1131575"/>
                </a:cubicBezTo>
                <a:cubicBezTo>
                  <a:pt x="11846126" y="1136425"/>
                  <a:pt x="11845055" y="1139085"/>
                  <a:pt x="11839686" y="1138351"/>
                </a:cubicBezTo>
                <a:cubicBezTo>
                  <a:pt x="11838420" y="1138029"/>
                  <a:pt x="11837239" y="1139552"/>
                  <a:pt x="11837905" y="1140989"/>
                </a:cubicBezTo>
                <a:cubicBezTo>
                  <a:pt x="11839882" y="1146010"/>
                  <a:pt x="11835222" y="1145300"/>
                  <a:pt x="11833463" y="1147230"/>
                </a:cubicBezTo>
                <a:cubicBezTo>
                  <a:pt x="11827453" y="1153705"/>
                  <a:pt x="11820001" y="1146812"/>
                  <a:pt x="11813646" y="1150584"/>
                </a:cubicBezTo>
                <a:cubicBezTo>
                  <a:pt x="11811478" y="1151934"/>
                  <a:pt x="11806925" y="1147683"/>
                  <a:pt x="11804563" y="1146050"/>
                </a:cubicBezTo>
                <a:cubicBezTo>
                  <a:pt x="11799151" y="1142056"/>
                  <a:pt x="11790219" y="1141920"/>
                  <a:pt x="11789078" y="1132672"/>
                </a:cubicBezTo>
                <a:cubicBezTo>
                  <a:pt x="11788841" y="1131106"/>
                  <a:pt x="11787917" y="1128810"/>
                  <a:pt x="11785685" y="1127607"/>
                </a:cubicBezTo>
                <a:cubicBezTo>
                  <a:pt x="11782463" y="1126230"/>
                  <a:pt x="11781689" y="1123656"/>
                  <a:pt x="11782783" y="1120288"/>
                </a:cubicBezTo>
                <a:cubicBezTo>
                  <a:pt x="11783276" y="1118036"/>
                  <a:pt x="11782480" y="1116169"/>
                  <a:pt x="11781836" y="1114023"/>
                </a:cubicBezTo>
                <a:cubicBezTo>
                  <a:pt x="11780010" y="1108721"/>
                  <a:pt x="11780437" y="1103915"/>
                  <a:pt x="11784536" y="1099649"/>
                </a:cubicBezTo>
                <a:cubicBezTo>
                  <a:pt x="11786875" y="1097311"/>
                  <a:pt x="11787690" y="1093793"/>
                  <a:pt x="11785800" y="1090616"/>
                </a:cubicBezTo>
                <a:cubicBezTo>
                  <a:pt x="11786401" y="1089501"/>
                  <a:pt x="11787001" y="1088385"/>
                  <a:pt x="11787602" y="1087270"/>
                </a:cubicBezTo>
                <a:cubicBezTo>
                  <a:pt x="11790865" y="1087229"/>
                  <a:pt x="11792883" y="1086158"/>
                  <a:pt x="11794558" y="1082383"/>
                </a:cubicBezTo>
                <a:cubicBezTo>
                  <a:pt x="11796981" y="1077215"/>
                  <a:pt x="11801317" y="1074514"/>
                  <a:pt x="11807502" y="1076407"/>
                </a:cubicBezTo>
                <a:cubicBezTo>
                  <a:pt x="11810164" y="1077482"/>
                  <a:pt x="11810657" y="1075230"/>
                  <a:pt x="11811558" y="1073556"/>
                </a:cubicBezTo>
                <a:close/>
                <a:moveTo>
                  <a:pt x="3461799" y="1070611"/>
                </a:moveTo>
                <a:lnTo>
                  <a:pt x="3458820" y="1070638"/>
                </a:lnTo>
                <a:cubicBezTo>
                  <a:pt x="3223343" y="1079063"/>
                  <a:pt x="2994505" y="1118439"/>
                  <a:pt x="2776378" y="1186408"/>
                </a:cubicBezTo>
                <a:cubicBezTo>
                  <a:pt x="1986425" y="1431018"/>
                  <a:pt x="1335965" y="2032852"/>
                  <a:pt x="1048197" y="2825953"/>
                </a:cubicBezTo>
                <a:cubicBezTo>
                  <a:pt x="1028521" y="2881831"/>
                  <a:pt x="1010021" y="2933316"/>
                  <a:pt x="994734" y="2990368"/>
                </a:cubicBezTo>
                <a:cubicBezTo>
                  <a:pt x="994734" y="2990368"/>
                  <a:pt x="990345" y="2989191"/>
                  <a:pt x="989169" y="2993579"/>
                </a:cubicBezTo>
                <a:cubicBezTo>
                  <a:pt x="985640" y="3006747"/>
                  <a:pt x="985640" y="3006747"/>
                  <a:pt x="985640" y="3006747"/>
                </a:cubicBezTo>
                <a:cubicBezTo>
                  <a:pt x="985640" y="3006747"/>
                  <a:pt x="984465" y="3011132"/>
                  <a:pt x="988854" y="3012311"/>
                </a:cubicBezTo>
                <a:lnTo>
                  <a:pt x="955927" y="3135204"/>
                </a:lnTo>
                <a:cubicBezTo>
                  <a:pt x="934445" y="3232938"/>
                  <a:pt x="918529" y="3327443"/>
                  <a:pt x="905823" y="3427500"/>
                </a:cubicBezTo>
                <a:cubicBezTo>
                  <a:pt x="866218" y="3750829"/>
                  <a:pt x="883983" y="4070744"/>
                  <a:pt x="958252" y="4372873"/>
                </a:cubicBezTo>
                <a:cubicBezTo>
                  <a:pt x="992878" y="4542080"/>
                  <a:pt x="1050624" y="4712778"/>
                  <a:pt x="1119498" y="4877053"/>
                </a:cubicBezTo>
                <a:cubicBezTo>
                  <a:pt x="1116287" y="4871488"/>
                  <a:pt x="1116287" y="4871488"/>
                  <a:pt x="1111898" y="4870312"/>
                </a:cubicBezTo>
                <a:cubicBezTo>
                  <a:pt x="1117146" y="4885829"/>
                  <a:pt x="1132035" y="4918041"/>
                  <a:pt x="1143710" y="4944689"/>
                </a:cubicBezTo>
                <a:cubicBezTo>
                  <a:pt x="1153348" y="4961382"/>
                  <a:pt x="1158599" y="4976902"/>
                  <a:pt x="1166200" y="4983643"/>
                </a:cubicBezTo>
                <a:cubicBezTo>
                  <a:pt x="1188689" y="5022595"/>
                  <a:pt x="1210002" y="5065936"/>
                  <a:pt x="1232490" y="5104889"/>
                </a:cubicBezTo>
                <a:cubicBezTo>
                  <a:pt x="1237742" y="5120407"/>
                  <a:pt x="1247379" y="5137101"/>
                  <a:pt x="1258195" y="5149406"/>
                </a:cubicBezTo>
                <a:cubicBezTo>
                  <a:pt x="1330912" y="5281783"/>
                  <a:pt x="1420323" y="5404521"/>
                  <a:pt x="1519689" y="5525221"/>
                </a:cubicBezTo>
                <a:cubicBezTo>
                  <a:pt x="1486070" y="5492695"/>
                  <a:pt x="1452452" y="5460167"/>
                  <a:pt x="1426433" y="5434382"/>
                </a:cubicBezTo>
                <a:cubicBezTo>
                  <a:pt x="1428786" y="5425604"/>
                  <a:pt x="1413583" y="5412122"/>
                  <a:pt x="1414759" y="5407733"/>
                </a:cubicBezTo>
                <a:cubicBezTo>
                  <a:pt x="1385528" y="5376383"/>
                  <a:pt x="1355438" y="5330689"/>
                  <a:pt x="1323856" y="5308115"/>
                </a:cubicBezTo>
                <a:cubicBezTo>
                  <a:pt x="1333494" y="5324809"/>
                  <a:pt x="1346346" y="5347068"/>
                  <a:pt x="1339605" y="5354669"/>
                </a:cubicBezTo>
                <a:cubicBezTo>
                  <a:pt x="1356845" y="5378104"/>
                  <a:pt x="1398925" y="5431712"/>
                  <a:pt x="1415304" y="5440806"/>
                </a:cubicBezTo>
                <a:cubicBezTo>
                  <a:pt x="1421730" y="5451936"/>
                  <a:pt x="1423767" y="5461889"/>
                  <a:pt x="1426979" y="5467453"/>
                </a:cubicBezTo>
                <a:cubicBezTo>
                  <a:pt x="1448608" y="5492064"/>
                  <a:pt x="1468200" y="5506723"/>
                  <a:pt x="1491003" y="5526944"/>
                </a:cubicBezTo>
                <a:cubicBezTo>
                  <a:pt x="1505031" y="5544814"/>
                  <a:pt x="1528696" y="5579377"/>
                  <a:pt x="1547112" y="5598424"/>
                </a:cubicBezTo>
                <a:cubicBezTo>
                  <a:pt x="1554712" y="5605165"/>
                  <a:pt x="1560277" y="5601951"/>
                  <a:pt x="1567879" y="5608694"/>
                </a:cubicBezTo>
                <a:cubicBezTo>
                  <a:pt x="1575482" y="5615433"/>
                  <a:pt x="1583943" y="5636515"/>
                  <a:pt x="1591545" y="5643256"/>
                </a:cubicBezTo>
                <a:cubicBezTo>
                  <a:pt x="1613173" y="5667869"/>
                  <a:pt x="1626340" y="5671395"/>
                  <a:pt x="1623988" y="5680173"/>
                </a:cubicBezTo>
                <a:cubicBezTo>
                  <a:pt x="1640367" y="5689265"/>
                  <a:pt x="1663172" y="5709488"/>
                  <a:pt x="1674301" y="5703061"/>
                </a:cubicBezTo>
                <a:cubicBezTo>
                  <a:pt x="1657921" y="5693969"/>
                  <a:pt x="1663486" y="5690756"/>
                  <a:pt x="1664663" y="5686367"/>
                </a:cubicBezTo>
                <a:cubicBezTo>
                  <a:pt x="1989722" y="6018064"/>
                  <a:pt x="2402115" y="6269674"/>
                  <a:pt x="2884881" y="6399030"/>
                </a:cubicBezTo>
                <a:lnTo>
                  <a:pt x="2885870" y="6399247"/>
                </a:lnTo>
                <a:lnTo>
                  <a:pt x="2757097" y="6354345"/>
                </a:lnTo>
                <a:cubicBezTo>
                  <a:pt x="2669363" y="6317811"/>
                  <a:pt x="2586017" y="6272211"/>
                  <a:pt x="2503954" y="6224184"/>
                </a:cubicBezTo>
                <a:lnTo>
                  <a:pt x="2420336" y="6174340"/>
                </a:lnTo>
                <a:lnTo>
                  <a:pt x="2407395" y="6168781"/>
                </a:lnTo>
                <a:cubicBezTo>
                  <a:pt x="2150462" y="6045842"/>
                  <a:pt x="1917591" y="5883495"/>
                  <a:pt x="1715291" y="5690526"/>
                </a:cubicBezTo>
                <a:cubicBezTo>
                  <a:pt x="1724067" y="5692877"/>
                  <a:pt x="1727281" y="5698442"/>
                  <a:pt x="1728457" y="5694053"/>
                </a:cubicBezTo>
                <a:cubicBezTo>
                  <a:pt x="1704791" y="5659490"/>
                  <a:pt x="1694838" y="5661525"/>
                  <a:pt x="1667644" y="5640128"/>
                </a:cubicBezTo>
                <a:cubicBezTo>
                  <a:pt x="1644841" y="5619905"/>
                  <a:pt x="1618822" y="5594120"/>
                  <a:pt x="1597193" y="5569508"/>
                </a:cubicBezTo>
                <a:cubicBezTo>
                  <a:pt x="1595158" y="5559555"/>
                  <a:pt x="1565928" y="5528204"/>
                  <a:pt x="1557151" y="5525852"/>
                </a:cubicBezTo>
                <a:cubicBezTo>
                  <a:pt x="1558327" y="5521463"/>
                  <a:pt x="1558327" y="5521463"/>
                  <a:pt x="1558327" y="5521463"/>
                </a:cubicBezTo>
                <a:cubicBezTo>
                  <a:pt x="1553938" y="5520289"/>
                  <a:pt x="1553938" y="5520289"/>
                  <a:pt x="1553938" y="5520289"/>
                </a:cubicBezTo>
                <a:cubicBezTo>
                  <a:pt x="1555113" y="5515900"/>
                  <a:pt x="1555113" y="5515900"/>
                  <a:pt x="1550725" y="5514723"/>
                </a:cubicBezTo>
                <a:cubicBezTo>
                  <a:pt x="1546335" y="5513547"/>
                  <a:pt x="1546335" y="5513547"/>
                  <a:pt x="1543124" y="5507982"/>
                </a:cubicBezTo>
                <a:cubicBezTo>
                  <a:pt x="1539911" y="5502417"/>
                  <a:pt x="1529097" y="5490112"/>
                  <a:pt x="1524708" y="5488937"/>
                </a:cubicBezTo>
                <a:cubicBezTo>
                  <a:pt x="1507468" y="5465502"/>
                  <a:pt x="1490228" y="5442067"/>
                  <a:pt x="1467423" y="5421844"/>
                </a:cubicBezTo>
                <a:cubicBezTo>
                  <a:pt x="1460997" y="5410716"/>
                  <a:pt x="1454573" y="5399586"/>
                  <a:pt x="1446970" y="5392846"/>
                </a:cubicBezTo>
                <a:cubicBezTo>
                  <a:pt x="1429730" y="5369412"/>
                  <a:pt x="1412491" y="5345977"/>
                  <a:pt x="1398464" y="5328106"/>
                </a:cubicBezTo>
                <a:cubicBezTo>
                  <a:pt x="1398464" y="5328106"/>
                  <a:pt x="1402853" y="5329282"/>
                  <a:pt x="1402853" y="5329282"/>
                </a:cubicBezTo>
                <a:cubicBezTo>
                  <a:pt x="1399640" y="5323718"/>
                  <a:pt x="1396427" y="5318153"/>
                  <a:pt x="1392039" y="5316977"/>
                </a:cubicBezTo>
                <a:cubicBezTo>
                  <a:pt x="1189550" y="5036937"/>
                  <a:pt x="1040672" y="4714816"/>
                  <a:pt x="958252" y="4372873"/>
                </a:cubicBezTo>
                <a:cubicBezTo>
                  <a:pt x="874427" y="3983514"/>
                  <a:pt x="875795" y="3574655"/>
                  <a:pt x="976380" y="3164204"/>
                </a:cubicBezTo>
                <a:cubicBezTo>
                  <a:pt x="980768" y="3165382"/>
                  <a:pt x="980768" y="3165382"/>
                  <a:pt x="985158" y="3166556"/>
                </a:cubicBezTo>
                <a:cubicBezTo>
                  <a:pt x="973083" y="3229175"/>
                  <a:pt x="992360" y="3262571"/>
                  <a:pt x="999331" y="3306771"/>
                </a:cubicBezTo>
                <a:cubicBezTo>
                  <a:pt x="999331" y="3306771"/>
                  <a:pt x="1006071" y="3299171"/>
                  <a:pt x="1008424" y="3290393"/>
                </a:cubicBezTo>
                <a:cubicBezTo>
                  <a:pt x="1012498" y="3310290"/>
                  <a:pt x="998700" y="3344219"/>
                  <a:pt x="996035" y="3371709"/>
                </a:cubicBezTo>
                <a:cubicBezTo>
                  <a:pt x="998931" y="3396008"/>
                  <a:pt x="1002691" y="3434641"/>
                  <a:pt x="1002691" y="3434641"/>
                </a:cubicBezTo>
                <a:cubicBezTo>
                  <a:pt x="1012644" y="3432607"/>
                  <a:pt x="1017347" y="3415060"/>
                  <a:pt x="1023227" y="3393108"/>
                </a:cubicBezTo>
                <a:cubicBezTo>
                  <a:pt x="1027616" y="3394299"/>
                  <a:pt x="1026441" y="3398673"/>
                  <a:pt x="1026441" y="3398673"/>
                </a:cubicBezTo>
                <a:cubicBezTo>
                  <a:pt x="1025264" y="3403067"/>
                  <a:pt x="1025264" y="3403067"/>
                  <a:pt x="1025264" y="3403067"/>
                </a:cubicBezTo>
                <a:cubicBezTo>
                  <a:pt x="1025264" y="3403067"/>
                  <a:pt x="1024089" y="3407448"/>
                  <a:pt x="1024089" y="3407448"/>
                </a:cubicBezTo>
                <a:cubicBezTo>
                  <a:pt x="1024089" y="3407448"/>
                  <a:pt x="1022912" y="3411849"/>
                  <a:pt x="1021737" y="3416226"/>
                </a:cubicBezTo>
                <a:cubicBezTo>
                  <a:pt x="1026126" y="3417407"/>
                  <a:pt x="1026126" y="3417407"/>
                  <a:pt x="1027300" y="3413014"/>
                </a:cubicBezTo>
                <a:cubicBezTo>
                  <a:pt x="1027300" y="3413014"/>
                  <a:pt x="1028477" y="3408636"/>
                  <a:pt x="1028477" y="3408636"/>
                </a:cubicBezTo>
                <a:cubicBezTo>
                  <a:pt x="1029653" y="3404237"/>
                  <a:pt x="1029653" y="3404237"/>
                  <a:pt x="1029653" y="3404237"/>
                </a:cubicBezTo>
                <a:cubicBezTo>
                  <a:pt x="1031373" y="3432920"/>
                  <a:pt x="1040782" y="3397815"/>
                  <a:pt x="1037569" y="3392250"/>
                </a:cubicBezTo>
                <a:cubicBezTo>
                  <a:pt x="1038744" y="3387872"/>
                  <a:pt x="1034356" y="3386690"/>
                  <a:pt x="1034356" y="3386690"/>
                </a:cubicBezTo>
                <a:cubicBezTo>
                  <a:pt x="1034356" y="3386690"/>
                  <a:pt x="1033180" y="3391085"/>
                  <a:pt x="1033180" y="3391085"/>
                </a:cubicBezTo>
                <a:cubicBezTo>
                  <a:pt x="1027616" y="3394299"/>
                  <a:pt x="1027616" y="3394299"/>
                  <a:pt x="1027616" y="3394299"/>
                </a:cubicBezTo>
                <a:cubicBezTo>
                  <a:pt x="1027616" y="3394299"/>
                  <a:pt x="1029968" y="3385518"/>
                  <a:pt x="1031143" y="3381121"/>
                </a:cubicBezTo>
                <a:cubicBezTo>
                  <a:pt x="1032320" y="3376735"/>
                  <a:pt x="1032320" y="3376735"/>
                  <a:pt x="1032320" y="3376735"/>
                </a:cubicBezTo>
                <a:cubicBezTo>
                  <a:pt x="1040551" y="3346021"/>
                  <a:pt x="1055208" y="3326444"/>
                  <a:pt x="1063671" y="3347514"/>
                </a:cubicBezTo>
                <a:cubicBezTo>
                  <a:pt x="1057791" y="3369464"/>
                  <a:pt x="1062180" y="3370630"/>
                  <a:pt x="1053948" y="3401338"/>
                </a:cubicBezTo>
                <a:cubicBezTo>
                  <a:pt x="1061550" y="3408084"/>
                  <a:pt x="1066253" y="3390534"/>
                  <a:pt x="1076207" y="3388493"/>
                </a:cubicBezTo>
                <a:cubicBezTo>
                  <a:pt x="1078790" y="3431516"/>
                  <a:pt x="1069928" y="3499687"/>
                  <a:pt x="1091872" y="3505565"/>
                </a:cubicBezTo>
                <a:cubicBezTo>
                  <a:pt x="1091872" y="3505565"/>
                  <a:pt x="1090695" y="3509957"/>
                  <a:pt x="1090695" y="3509957"/>
                </a:cubicBezTo>
                <a:cubicBezTo>
                  <a:pt x="1090695" y="3509957"/>
                  <a:pt x="1088344" y="3518731"/>
                  <a:pt x="1088344" y="3518731"/>
                </a:cubicBezTo>
                <a:cubicBezTo>
                  <a:pt x="1091555" y="3524296"/>
                  <a:pt x="1090380" y="3528685"/>
                  <a:pt x="1091555" y="3524296"/>
                </a:cubicBezTo>
                <a:cubicBezTo>
                  <a:pt x="1093593" y="3534250"/>
                  <a:pt x="1090064" y="3547416"/>
                  <a:pt x="1091787" y="3576082"/>
                </a:cubicBezTo>
                <a:cubicBezTo>
                  <a:pt x="1093824" y="3586039"/>
                  <a:pt x="1092647" y="3590425"/>
                  <a:pt x="1091471" y="3594812"/>
                </a:cubicBezTo>
                <a:cubicBezTo>
                  <a:pt x="1091471" y="3594812"/>
                  <a:pt x="1094684" y="3600379"/>
                  <a:pt x="1094684" y="3600379"/>
                </a:cubicBezTo>
                <a:cubicBezTo>
                  <a:pt x="1093508" y="3604767"/>
                  <a:pt x="1093508" y="3604767"/>
                  <a:pt x="1093508" y="3604767"/>
                </a:cubicBezTo>
                <a:cubicBezTo>
                  <a:pt x="1092333" y="3609156"/>
                  <a:pt x="1097897" y="3605941"/>
                  <a:pt x="1097897" y="3605941"/>
                </a:cubicBezTo>
                <a:cubicBezTo>
                  <a:pt x="1096721" y="3610330"/>
                  <a:pt x="1096721" y="3610330"/>
                  <a:pt x="1096721" y="3610330"/>
                </a:cubicBezTo>
                <a:cubicBezTo>
                  <a:pt x="1101109" y="3611506"/>
                  <a:pt x="1096405" y="3629059"/>
                  <a:pt x="1100795" y="3630235"/>
                </a:cubicBezTo>
                <a:cubicBezTo>
                  <a:pt x="1102285" y="3607119"/>
                  <a:pt x="1101970" y="3625849"/>
                  <a:pt x="1108711" y="3618247"/>
                </a:cubicBezTo>
                <a:cubicBezTo>
                  <a:pt x="1106045" y="3645753"/>
                  <a:pt x="1115452" y="3610647"/>
                  <a:pt x="1115137" y="3629376"/>
                </a:cubicBezTo>
                <a:cubicBezTo>
                  <a:pt x="1112470" y="3656883"/>
                  <a:pt x="1116859" y="3658059"/>
                  <a:pt x="1108943" y="3670048"/>
                </a:cubicBezTo>
                <a:cubicBezTo>
                  <a:pt x="1122108" y="3673577"/>
                  <a:pt x="1114424" y="3737370"/>
                  <a:pt x="1115830" y="3784784"/>
                </a:cubicBezTo>
                <a:cubicBezTo>
                  <a:pt x="1114653" y="3789173"/>
                  <a:pt x="1116691" y="3799128"/>
                  <a:pt x="1117551" y="3813469"/>
                </a:cubicBezTo>
                <a:cubicBezTo>
                  <a:pt x="1120133" y="3856495"/>
                  <a:pt x="1121855" y="3885178"/>
                  <a:pt x="1124752" y="3909475"/>
                </a:cubicBezTo>
                <a:cubicBezTo>
                  <a:pt x="1126788" y="3919429"/>
                  <a:pt x="1123576" y="3913864"/>
                  <a:pt x="1121225" y="3922641"/>
                </a:cubicBezTo>
                <a:cubicBezTo>
                  <a:pt x="1125613" y="3923818"/>
                  <a:pt x="1128826" y="3929381"/>
                  <a:pt x="1127650" y="3933770"/>
                </a:cubicBezTo>
                <a:cubicBezTo>
                  <a:pt x="1126475" y="3938159"/>
                  <a:pt x="1121225" y="3922641"/>
                  <a:pt x="1122085" y="3936983"/>
                </a:cubicBezTo>
                <a:cubicBezTo>
                  <a:pt x="1129372" y="3962455"/>
                  <a:pt x="1123808" y="3965667"/>
                  <a:pt x="1131953" y="4005480"/>
                </a:cubicBezTo>
                <a:cubicBezTo>
                  <a:pt x="1123178" y="4003129"/>
                  <a:pt x="1123178" y="4003129"/>
                  <a:pt x="1123178" y="4003129"/>
                </a:cubicBezTo>
                <a:cubicBezTo>
                  <a:pt x="1126075" y="4027424"/>
                  <a:pt x="1128112" y="4037378"/>
                  <a:pt x="1132816" y="4019823"/>
                </a:cubicBezTo>
                <a:cubicBezTo>
                  <a:pt x="1138066" y="4035341"/>
                  <a:pt x="1128112" y="4037378"/>
                  <a:pt x="1137750" y="4054073"/>
                </a:cubicBezTo>
                <a:cubicBezTo>
                  <a:pt x="1134538" y="4048507"/>
                  <a:pt x="1133362" y="4052896"/>
                  <a:pt x="1136575" y="4058460"/>
                </a:cubicBezTo>
                <a:cubicBezTo>
                  <a:pt x="1132186" y="4057284"/>
                  <a:pt x="1132186" y="4057284"/>
                  <a:pt x="1132186" y="4057284"/>
                </a:cubicBezTo>
                <a:cubicBezTo>
                  <a:pt x="1128972" y="4051720"/>
                  <a:pt x="1127797" y="4056109"/>
                  <a:pt x="1127797" y="4056109"/>
                </a:cubicBezTo>
                <a:cubicBezTo>
                  <a:pt x="1126621" y="4060497"/>
                  <a:pt x="1126621" y="4060497"/>
                  <a:pt x="1126621" y="4060497"/>
                </a:cubicBezTo>
                <a:cubicBezTo>
                  <a:pt x="1122546" y="4040590"/>
                  <a:pt x="1119880" y="4068099"/>
                  <a:pt x="1125131" y="4083618"/>
                </a:cubicBezTo>
                <a:cubicBezTo>
                  <a:pt x="1120741" y="4082442"/>
                  <a:pt x="1120741" y="4082442"/>
                  <a:pt x="1120741" y="4082442"/>
                </a:cubicBezTo>
                <a:cubicBezTo>
                  <a:pt x="1120741" y="4082442"/>
                  <a:pt x="1120741" y="4082442"/>
                  <a:pt x="1119566" y="4086829"/>
                </a:cubicBezTo>
                <a:cubicBezTo>
                  <a:pt x="1119566" y="4086829"/>
                  <a:pt x="1122778" y="4092394"/>
                  <a:pt x="1122778" y="4092394"/>
                </a:cubicBezTo>
                <a:cubicBezTo>
                  <a:pt x="1125675" y="4116689"/>
                  <a:pt x="1130610" y="4150938"/>
                  <a:pt x="1135543" y="4185188"/>
                </a:cubicBezTo>
                <a:cubicBezTo>
                  <a:pt x="1144868" y="4220613"/>
                  <a:pt x="1154192" y="4256038"/>
                  <a:pt x="1161478" y="4281508"/>
                </a:cubicBezTo>
                <a:cubicBezTo>
                  <a:pt x="1161321" y="4290874"/>
                  <a:pt x="1163866" y="4303317"/>
                  <a:pt x="1167618" y="4317844"/>
                </a:cubicBezTo>
                <a:lnTo>
                  <a:pt x="1171554" y="4332234"/>
                </a:lnTo>
                <a:lnTo>
                  <a:pt x="1160505" y="4265501"/>
                </a:lnTo>
                <a:cubicBezTo>
                  <a:pt x="1133943" y="4068731"/>
                  <a:pt x="1130909" y="3868871"/>
                  <a:pt x="1150929" y="3665582"/>
                </a:cubicBezTo>
                <a:cubicBezTo>
                  <a:pt x="1158281" y="3588426"/>
                  <a:pt x="1157425" y="3512656"/>
                  <a:pt x="1178732" y="3438240"/>
                </a:cubicBezTo>
                <a:cubicBezTo>
                  <a:pt x="1180917" y="3431132"/>
                  <a:pt x="1179546" y="3422923"/>
                  <a:pt x="1189121" y="3419631"/>
                </a:cubicBezTo>
                <a:cubicBezTo>
                  <a:pt x="1197603" y="3419904"/>
                  <a:pt x="1197059" y="3426741"/>
                  <a:pt x="1195965" y="3430300"/>
                </a:cubicBezTo>
                <a:cubicBezTo>
                  <a:pt x="1155857" y="3674881"/>
                  <a:pt x="1166366" y="3919469"/>
                  <a:pt x="1183716" y="4164602"/>
                </a:cubicBezTo>
                <a:cubicBezTo>
                  <a:pt x="1191709" y="4293189"/>
                  <a:pt x="1225968" y="4417385"/>
                  <a:pt x="1253661" y="4542677"/>
                </a:cubicBezTo>
                <a:cubicBezTo>
                  <a:pt x="1257770" y="4557176"/>
                  <a:pt x="1260515" y="4573591"/>
                  <a:pt x="1262984" y="4588363"/>
                </a:cubicBezTo>
                <a:cubicBezTo>
                  <a:pt x="1265997" y="4596297"/>
                  <a:pt x="1261352" y="4608885"/>
                  <a:pt x="1276127" y="4606414"/>
                </a:cubicBezTo>
                <a:cubicBezTo>
                  <a:pt x="1290900" y="4603945"/>
                  <a:pt x="1287612" y="4594370"/>
                  <a:pt x="1285691" y="4582880"/>
                </a:cubicBezTo>
                <a:cubicBezTo>
                  <a:pt x="1269249" y="4524886"/>
                  <a:pt x="1254172" y="4464976"/>
                  <a:pt x="1242654" y="4406159"/>
                </a:cubicBezTo>
                <a:cubicBezTo>
                  <a:pt x="1231098" y="4344605"/>
                  <a:pt x="1221478" y="4283256"/>
                  <a:pt x="1213893" y="4222124"/>
                </a:cubicBezTo>
                <a:lnTo>
                  <a:pt x="1201399" y="4084102"/>
                </a:lnTo>
                <a:lnTo>
                  <a:pt x="1200053" y="4084878"/>
                </a:lnTo>
                <a:cubicBezTo>
                  <a:pt x="1195980" y="4064970"/>
                  <a:pt x="1196295" y="4046239"/>
                  <a:pt x="1192221" y="4026335"/>
                </a:cubicBezTo>
                <a:cubicBezTo>
                  <a:pt x="1196609" y="4027511"/>
                  <a:pt x="1196609" y="4027511"/>
                  <a:pt x="1196609" y="4027511"/>
                </a:cubicBezTo>
                <a:cubicBezTo>
                  <a:pt x="1195433" y="4031898"/>
                  <a:pt x="1197471" y="4041851"/>
                  <a:pt x="1196295" y="4046239"/>
                </a:cubicBezTo>
                <a:lnTo>
                  <a:pt x="1199302" y="4060941"/>
                </a:lnTo>
                <a:lnTo>
                  <a:pt x="1197352" y="4039386"/>
                </a:lnTo>
                <a:lnTo>
                  <a:pt x="1196501" y="3997671"/>
                </a:lnTo>
                <a:lnTo>
                  <a:pt x="1192077" y="3993956"/>
                </a:lnTo>
                <a:cubicBezTo>
                  <a:pt x="1190578" y="3992966"/>
                  <a:pt x="1189480" y="3992672"/>
                  <a:pt x="1187286" y="3992084"/>
                </a:cubicBezTo>
                <a:cubicBezTo>
                  <a:pt x="1188461" y="3987696"/>
                  <a:pt x="1189638" y="3983306"/>
                  <a:pt x="1189638" y="3983306"/>
                </a:cubicBezTo>
                <a:cubicBezTo>
                  <a:pt x="1194026" y="3984482"/>
                  <a:pt x="1192851" y="3988871"/>
                  <a:pt x="1194026" y="3984482"/>
                </a:cubicBezTo>
                <a:cubicBezTo>
                  <a:pt x="1194026" y="3984482"/>
                  <a:pt x="1194026" y="3984482"/>
                  <a:pt x="1195201" y="3980095"/>
                </a:cubicBezTo>
                <a:lnTo>
                  <a:pt x="1196078" y="3976830"/>
                </a:lnTo>
                <a:lnTo>
                  <a:pt x="1193656" y="3858023"/>
                </a:lnTo>
                <a:lnTo>
                  <a:pt x="1195387" y="3826168"/>
                </a:lnTo>
                <a:lnTo>
                  <a:pt x="1189261" y="3809165"/>
                </a:lnTo>
                <a:cubicBezTo>
                  <a:pt x="1197177" y="3797175"/>
                  <a:pt x="1193965" y="3791611"/>
                  <a:pt x="1186364" y="3784870"/>
                </a:cubicBezTo>
                <a:cubicBezTo>
                  <a:pt x="1188715" y="3776091"/>
                  <a:pt x="1191067" y="3767313"/>
                  <a:pt x="1189031" y="3757361"/>
                </a:cubicBezTo>
                <a:cubicBezTo>
                  <a:pt x="1186994" y="3747409"/>
                  <a:pt x="1190521" y="3734242"/>
                  <a:pt x="1188486" y="3724289"/>
                </a:cubicBezTo>
                <a:cubicBezTo>
                  <a:pt x="1187623" y="3709945"/>
                  <a:pt x="1192327" y="3692391"/>
                  <a:pt x="1191467" y="3678050"/>
                </a:cubicBezTo>
                <a:cubicBezTo>
                  <a:pt x="1193819" y="3669273"/>
                  <a:pt x="1192957" y="3654931"/>
                  <a:pt x="1189745" y="3649366"/>
                </a:cubicBezTo>
                <a:cubicBezTo>
                  <a:pt x="1190921" y="3644976"/>
                  <a:pt x="1190921" y="3644976"/>
                  <a:pt x="1190921" y="3644976"/>
                </a:cubicBezTo>
                <a:cubicBezTo>
                  <a:pt x="1190060" y="3630634"/>
                  <a:pt x="1192412" y="3621860"/>
                  <a:pt x="1191551" y="3607517"/>
                </a:cubicBezTo>
                <a:cubicBezTo>
                  <a:pt x="1193902" y="3598741"/>
                  <a:pt x="1191865" y="3588790"/>
                  <a:pt x="1191005" y="3574448"/>
                </a:cubicBezTo>
                <a:cubicBezTo>
                  <a:pt x="1198921" y="3562476"/>
                  <a:pt x="1194533" y="3561297"/>
                  <a:pt x="1190145" y="3560123"/>
                </a:cubicBezTo>
                <a:cubicBezTo>
                  <a:pt x="1191320" y="3555733"/>
                  <a:pt x="1191320" y="3555733"/>
                  <a:pt x="1191320" y="3555733"/>
                </a:cubicBezTo>
                <a:cubicBezTo>
                  <a:pt x="1192496" y="3551344"/>
                  <a:pt x="1198062" y="3548131"/>
                  <a:pt x="1199237" y="3543742"/>
                </a:cubicBezTo>
                <a:cubicBezTo>
                  <a:pt x="1199237" y="3543742"/>
                  <a:pt x="1200413" y="3539355"/>
                  <a:pt x="1200413" y="3539355"/>
                </a:cubicBezTo>
                <a:cubicBezTo>
                  <a:pt x="1201589" y="3534966"/>
                  <a:pt x="1201589" y="3534966"/>
                  <a:pt x="1198376" y="3529400"/>
                </a:cubicBezTo>
                <a:cubicBezTo>
                  <a:pt x="1198376" y="3529400"/>
                  <a:pt x="1198376" y="3529400"/>
                  <a:pt x="1193987" y="3528224"/>
                </a:cubicBezTo>
                <a:cubicBezTo>
                  <a:pt x="1199867" y="3506280"/>
                  <a:pt x="1199867" y="3506280"/>
                  <a:pt x="1199867" y="3506280"/>
                </a:cubicBezTo>
                <a:cubicBezTo>
                  <a:pt x="1199867" y="3506280"/>
                  <a:pt x="1196655" y="3500715"/>
                  <a:pt x="1196655" y="3500715"/>
                </a:cubicBezTo>
                <a:cubicBezTo>
                  <a:pt x="1196655" y="3500715"/>
                  <a:pt x="1195479" y="3505105"/>
                  <a:pt x="1195479" y="3505105"/>
                </a:cubicBezTo>
                <a:cubicBezTo>
                  <a:pt x="1193987" y="3528224"/>
                  <a:pt x="1193987" y="3528224"/>
                  <a:pt x="1193987" y="3528224"/>
                </a:cubicBezTo>
                <a:cubicBezTo>
                  <a:pt x="1193987" y="3528224"/>
                  <a:pt x="1189599" y="3527046"/>
                  <a:pt x="1189599" y="3527046"/>
                </a:cubicBezTo>
                <a:cubicBezTo>
                  <a:pt x="1190776" y="3522657"/>
                  <a:pt x="1191951" y="3518270"/>
                  <a:pt x="1191951" y="3518270"/>
                </a:cubicBezTo>
                <a:cubicBezTo>
                  <a:pt x="1193127" y="3513881"/>
                  <a:pt x="1193127" y="3513881"/>
                  <a:pt x="1193127" y="3513881"/>
                </a:cubicBezTo>
                <a:cubicBezTo>
                  <a:pt x="1194302" y="3509494"/>
                  <a:pt x="1191090" y="3503929"/>
                  <a:pt x="1192266" y="3499539"/>
                </a:cubicBezTo>
                <a:cubicBezTo>
                  <a:pt x="1193442" y="3495152"/>
                  <a:pt x="1194617" y="3490764"/>
                  <a:pt x="1196970" y="3481986"/>
                </a:cubicBezTo>
                <a:cubicBezTo>
                  <a:pt x="1195794" y="3486373"/>
                  <a:pt x="1200183" y="3487553"/>
                  <a:pt x="1200183" y="3487553"/>
                </a:cubicBezTo>
                <a:cubicBezTo>
                  <a:pt x="1200183" y="3487553"/>
                  <a:pt x="1201358" y="3483160"/>
                  <a:pt x="1202534" y="3478773"/>
                </a:cubicBezTo>
                <a:cubicBezTo>
                  <a:pt x="1202534" y="3478773"/>
                  <a:pt x="1203711" y="3474385"/>
                  <a:pt x="1204886" y="3469994"/>
                </a:cubicBezTo>
                <a:cubicBezTo>
                  <a:pt x="1201673" y="3464432"/>
                  <a:pt x="1202849" y="3460047"/>
                  <a:pt x="1204026" y="3455658"/>
                </a:cubicBezTo>
                <a:cubicBezTo>
                  <a:pt x="1205201" y="3451275"/>
                  <a:pt x="1205201" y="3451275"/>
                  <a:pt x="1206377" y="3446890"/>
                </a:cubicBezTo>
                <a:cubicBezTo>
                  <a:pt x="1203164" y="3441325"/>
                  <a:pt x="1203164" y="3441325"/>
                  <a:pt x="1203164" y="3441325"/>
                </a:cubicBezTo>
                <a:cubicBezTo>
                  <a:pt x="1204340" y="3436934"/>
                  <a:pt x="1201127" y="3431367"/>
                  <a:pt x="1202303" y="3426982"/>
                </a:cubicBezTo>
                <a:cubicBezTo>
                  <a:pt x="1203479" y="3422592"/>
                  <a:pt x="1204655" y="3418201"/>
                  <a:pt x="1204655" y="3418201"/>
                </a:cubicBezTo>
                <a:cubicBezTo>
                  <a:pt x="1209044" y="3419381"/>
                  <a:pt x="1209044" y="3419381"/>
                  <a:pt x="1210220" y="3414990"/>
                </a:cubicBezTo>
                <a:cubicBezTo>
                  <a:pt x="1210220" y="3414990"/>
                  <a:pt x="1211396" y="3410605"/>
                  <a:pt x="1207006" y="3409422"/>
                </a:cubicBezTo>
                <a:cubicBezTo>
                  <a:pt x="1207006" y="3409422"/>
                  <a:pt x="1208184" y="3405040"/>
                  <a:pt x="1213747" y="3401828"/>
                </a:cubicBezTo>
                <a:cubicBezTo>
                  <a:pt x="1211710" y="3391869"/>
                  <a:pt x="1211710" y="3391869"/>
                  <a:pt x="1211710" y="3391869"/>
                </a:cubicBezTo>
                <a:cubicBezTo>
                  <a:pt x="1211710" y="3391869"/>
                  <a:pt x="1210534" y="3396263"/>
                  <a:pt x="1206147" y="3395082"/>
                </a:cubicBezTo>
                <a:cubicBezTo>
                  <a:pt x="1207323" y="3390699"/>
                  <a:pt x="1208498" y="3386320"/>
                  <a:pt x="1209675" y="3381925"/>
                </a:cubicBezTo>
                <a:cubicBezTo>
                  <a:pt x="1210852" y="3377530"/>
                  <a:pt x="1210852" y="3377530"/>
                  <a:pt x="1210852" y="3377530"/>
                </a:cubicBezTo>
                <a:cubicBezTo>
                  <a:pt x="1208813" y="3367585"/>
                  <a:pt x="1209989" y="3363200"/>
                  <a:pt x="1211164" y="3358810"/>
                </a:cubicBezTo>
                <a:cubicBezTo>
                  <a:pt x="1213516" y="3350036"/>
                  <a:pt x="1214693" y="3345650"/>
                  <a:pt x="1215869" y="3341259"/>
                </a:cubicBezTo>
                <a:cubicBezTo>
                  <a:pt x="1217044" y="3336878"/>
                  <a:pt x="1217044" y="3336878"/>
                  <a:pt x="1219396" y="3328096"/>
                </a:cubicBezTo>
                <a:cubicBezTo>
                  <a:pt x="1224961" y="3324885"/>
                  <a:pt x="1224100" y="3310554"/>
                  <a:pt x="1226452" y="3301773"/>
                </a:cubicBezTo>
                <a:cubicBezTo>
                  <a:pt x="1227629" y="3297388"/>
                  <a:pt x="1233193" y="3294175"/>
                  <a:pt x="1234369" y="3289786"/>
                </a:cubicBezTo>
                <a:cubicBezTo>
                  <a:pt x="1234369" y="3289786"/>
                  <a:pt x="1237581" y="3295346"/>
                  <a:pt x="1237581" y="3295346"/>
                </a:cubicBezTo>
                <a:cubicBezTo>
                  <a:pt x="1236406" y="3299742"/>
                  <a:pt x="1240795" y="3300916"/>
                  <a:pt x="1240795" y="3300916"/>
                </a:cubicBezTo>
                <a:cubicBezTo>
                  <a:pt x="1240795" y="3300916"/>
                  <a:pt x="1240795" y="3300916"/>
                  <a:pt x="1241970" y="3296528"/>
                </a:cubicBezTo>
                <a:cubicBezTo>
                  <a:pt x="1243146" y="3292135"/>
                  <a:pt x="1243146" y="3292135"/>
                  <a:pt x="1243146" y="3292135"/>
                </a:cubicBezTo>
                <a:cubicBezTo>
                  <a:pt x="1244321" y="3287749"/>
                  <a:pt x="1244321" y="3287749"/>
                  <a:pt x="1239934" y="3286572"/>
                </a:cubicBezTo>
                <a:cubicBezTo>
                  <a:pt x="1239934" y="3286572"/>
                  <a:pt x="1236721" y="3281008"/>
                  <a:pt x="1236721" y="3281008"/>
                </a:cubicBezTo>
                <a:cubicBezTo>
                  <a:pt x="1232332" y="3279831"/>
                  <a:pt x="1232332" y="3279831"/>
                  <a:pt x="1232332" y="3279831"/>
                </a:cubicBezTo>
                <a:cubicBezTo>
                  <a:pt x="1231156" y="3284218"/>
                  <a:pt x="1224415" y="3291818"/>
                  <a:pt x="1222064" y="3300599"/>
                </a:cubicBezTo>
                <a:cubicBezTo>
                  <a:pt x="1220889" y="3304985"/>
                  <a:pt x="1220889" y="3304985"/>
                  <a:pt x="1220889" y="3304985"/>
                </a:cubicBezTo>
                <a:cubicBezTo>
                  <a:pt x="1219712" y="3309379"/>
                  <a:pt x="1221748" y="3319325"/>
                  <a:pt x="1216184" y="3322536"/>
                </a:cubicBezTo>
                <a:cubicBezTo>
                  <a:pt x="1215008" y="3326921"/>
                  <a:pt x="1215008" y="3326921"/>
                  <a:pt x="1213832" y="3331310"/>
                </a:cubicBezTo>
                <a:cubicBezTo>
                  <a:pt x="1210620" y="3325750"/>
                  <a:pt x="1212971" y="3316976"/>
                  <a:pt x="1215323" y="3308198"/>
                </a:cubicBezTo>
                <a:cubicBezTo>
                  <a:pt x="1217675" y="3299426"/>
                  <a:pt x="1220027" y="3290643"/>
                  <a:pt x="1217989" y="3280691"/>
                </a:cubicBezTo>
                <a:cubicBezTo>
                  <a:pt x="1219166" y="3276298"/>
                  <a:pt x="1223556" y="3277482"/>
                  <a:pt x="1224731" y="3273086"/>
                </a:cubicBezTo>
                <a:cubicBezTo>
                  <a:pt x="1227083" y="3264315"/>
                  <a:pt x="1227083" y="3264315"/>
                  <a:pt x="1227083" y="3264315"/>
                </a:cubicBezTo>
                <a:cubicBezTo>
                  <a:pt x="1229435" y="3255535"/>
                  <a:pt x="1230611" y="3251149"/>
                  <a:pt x="1232963" y="3242369"/>
                </a:cubicBezTo>
                <a:cubicBezTo>
                  <a:pt x="1236175" y="3247936"/>
                  <a:pt x="1236175" y="3247936"/>
                  <a:pt x="1236175" y="3247936"/>
                </a:cubicBezTo>
                <a:cubicBezTo>
                  <a:pt x="1234999" y="3252322"/>
                  <a:pt x="1234999" y="3252322"/>
                  <a:pt x="1240563" y="3249108"/>
                </a:cubicBezTo>
                <a:cubicBezTo>
                  <a:pt x="1240563" y="3249108"/>
                  <a:pt x="1240563" y="3249108"/>
                  <a:pt x="1241739" y="3244723"/>
                </a:cubicBezTo>
                <a:cubicBezTo>
                  <a:pt x="1241739" y="3244723"/>
                  <a:pt x="1242916" y="3240333"/>
                  <a:pt x="1242916" y="3240333"/>
                </a:cubicBezTo>
                <a:cubicBezTo>
                  <a:pt x="1239703" y="3234769"/>
                  <a:pt x="1239703" y="3234769"/>
                  <a:pt x="1239703" y="3234769"/>
                </a:cubicBezTo>
                <a:cubicBezTo>
                  <a:pt x="1239703" y="3234769"/>
                  <a:pt x="1240878" y="3230376"/>
                  <a:pt x="1240878" y="3230376"/>
                </a:cubicBezTo>
                <a:cubicBezTo>
                  <a:pt x="1240878" y="3230376"/>
                  <a:pt x="1240878" y="3230376"/>
                  <a:pt x="1242054" y="3225989"/>
                </a:cubicBezTo>
                <a:cubicBezTo>
                  <a:pt x="1243230" y="3221598"/>
                  <a:pt x="1241194" y="3211648"/>
                  <a:pt x="1242370" y="3207259"/>
                </a:cubicBezTo>
                <a:cubicBezTo>
                  <a:pt x="1245898" y="3194094"/>
                  <a:pt x="1242684" y="3188526"/>
                  <a:pt x="1248251" y="3185312"/>
                </a:cubicBezTo>
                <a:cubicBezTo>
                  <a:pt x="1252638" y="3186490"/>
                  <a:pt x="1253814" y="3182099"/>
                  <a:pt x="1253814" y="3182099"/>
                </a:cubicBezTo>
                <a:cubicBezTo>
                  <a:pt x="1253814" y="3182099"/>
                  <a:pt x="1258204" y="3183274"/>
                  <a:pt x="1257029" y="3187663"/>
                </a:cubicBezTo>
                <a:cubicBezTo>
                  <a:pt x="1252323" y="3205221"/>
                  <a:pt x="1247619" y="3222774"/>
                  <a:pt x="1247304" y="3241511"/>
                </a:cubicBezTo>
                <a:cubicBezTo>
                  <a:pt x="1246128" y="3245898"/>
                  <a:pt x="1246128" y="3245898"/>
                  <a:pt x="1246128" y="3245898"/>
                </a:cubicBezTo>
                <a:cubicBezTo>
                  <a:pt x="1250517" y="3247072"/>
                  <a:pt x="1251693" y="3242685"/>
                  <a:pt x="1251693" y="3242685"/>
                </a:cubicBezTo>
                <a:cubicBezTo>
                  <a:pt x="1252009" y="3223951"/>
                  <a:pt x="1256712" y="3206398"/>
                  <a:pt x="1261416" y="3188839"/>
                </a:cubicBezTo>
                <a:cubicBezTo>
                  <a:pt x="1265805" y="3190014"/>
                  <a:pt x="1270192" y="3191195"/>
                  <a:pt x="1276934" y="3183592"/>
                </a:cubicBezTo>
                <a:cubicBezTo>
                  <a:pt x="1282813" y="3161645"/>
                  <a:pt x="1292767" y="3159608"/>
                  <a:pt x="1298646" y="3137662"/>
                </a:cubicBezTo>
                <a:lnTo>
                  <a:pt x="1303878" y="3128544"/>
                </a:lnTo>
                <a:lnTo>
                  <a:pt x="1303323" y="3125969"/>
                </a:lnTo>
                <a:lnTo>
                  <a:pt x="1302413" y="3117734"/>
                </a:lnTo>
                <a:lnTo>
                  <a:pt x="1296610" y="3127709"/>
                </a:lnTo>
                <a:cubicBezTo>
                  <a:pt x="1297786" y="3123321"/>
                  <a:pt x="1297786" y="3123321"/>
                  <a:pt x="1297786" y="3123321"/>
                </a:cubicBezTo>
                <a:cubicBezTo>
                  <a:pt x="1293396" y="3122144"/>
                  <a:pt x="1292221" y="3126533"/>
                  <a:pt x="1286656" y="3129749"/>
                </a:cubicBezTo>
                <a:cubicBezTo>
                  <a:pt x="1287832" y="3125360"/>
                  <a:pt x="1289008" y="3120969"/>
                  <a:pt x="1290183" y="3116583"/>
                </a:cubicBezTo>
                <a:cubicBezTo>
                  <a:pt x="1290183" y="3116583"/>
                  <a:pt x="1290183" y="3116583"/>
                  <a:pt x="1294573" y="3117757"/>
                </a:cubicBezTo>
                <a:cubicBezTo>
                  <a:pt x="1295749" y="3113366"/>
                  <a:pt x="1295749" y="3113366"/>
                  <a:pt x="1295749" y="3113366"/>
                </a:cubicBezTo>
                <a:cubicBezTo>
                  <a:pt x="1295749" y="3113366"/>
                  <a:pt x="1295749" y="3113366"/>
                  <a:pt x="1296924" y="3108979"/>
                </a:cubicBezTo>
                <a:cubicBezTo>
                  <a:pt x="1296924" y="3108979"/>
                  <a:pt x="1292536" y="3107802"/>
                  <a:pt x="1292536" y="3107802"/>
                </a:cubicBezTo>
                <a:cubicBezTo>
                  <a:pt x="1299277" y="3100200"/>
                  <a:pt x="1301628" y="3091420"/>
                  <a:pt x="1302804" y="3087032"/>
                </a:cubicBezTo>
                <a:cubicBezTo>
                  <a:pt x="1303981" y="3082643"/>
                  <a:pt x="1303981" y="3082643"/>
                  <a:pt x="1305156" y="3078252"/>
                </a:cubicBezTo>
                <a:cubicBezTo>
                  <a:pt x="1306332" y="3073866"/>
                  <a:pt x="1307509" y="3069480"/>
                  <a:pt x="1308685" y="3065092"/>
                </a:cubicBezTo>
                <a:lnTo>
                  <a:pt x="1309860" y="3060704"/>
                </a:lnTo>
                <a:cubicBezTo>
                  <a:pt x="1314250" y="3061879"/>
                  <a:pt x="1314250" y="3061879"/>
                  <a:pt x="1315426" y="3057491"/>
                </a:cubicBezTo>
                <a:cubicBezTo>
                  <a:pt x="1316601" y="3053101"/>
                  <a:pt x="1316601" y="3053101"/>
                  <a:pt x="1317777" y="3048712"/>
                </a:cubicBezTo>
                <a:cubicBezTo>
                  <a:pt x="1317777" y="3048712"/>
                  <a:pt x="1314564" y="3043147"/>
                  <a:pt x="1314564" y="3043147"/>
                </a:cubicBezTo>
                <a:cubicBezTo>
                  <a:pt x="1319582" y="3006853"/>
                  <a:pt x="1328990" y="2971746"/>
                  <a:pt x="1342787" y="2937813"/>
                </a:cubicBezTo>
                <a:cubicBezTo>
                  <a:pt x="1351879" y="2921435"/>
                  <a:pt x="1355407" y="2908267"/>
                  <a:pt x="1364499" y="2891895"/>
                </a:cubicBezTo>
                <a:cubicBezTo>
                  <a:pt x="1364499" y="2891895"/>
                  <a:pt x="1360112" y="2890718"/>
                  <a:pt x="1358935" y="2895102"/>
                </a:cubicBezTo>
                <a:cubicBezTo>
                  <a:pt x="1371554" y="2865559"/>
                  <a:pt x="1378610" y="2839228"/>
                  <a:pt x="1391231" y="2809681"/>
                </a:cubicBezTo>
                <a:cubicBezTo>
                  <a:pt x="1392407" y="2805293"/>
                  <a:pt x="1392407" y="2805293"/>
                  <a:pt x="1388018" y="2804112"/>
                </a:cubicBezTo>
                <a:cubicBezTo>
                  <a:pt x="1390370" y="2795341"/>
                  <a:pt x="1395935" y="2792129"/>
                  <a:pt x="1398286" y="2783346"/>
                </a:cubicBezTo>
                <a:cubicBezTo>
                  <a:pt x="1397111" y="2787738"/>
                  <a:pt x="1402675" y="2784524"/>
                  <a:pt x="1403851" y="2780138"/>
                </a:cubicBezTo>
                <a:cubicBezTo>
                  <a:pt x="1399462" y="2778964"/>
                  <a:pt x="1400639" y="2774573"/>
                  <a:pt x="1401815" y="2770183"/>
                </a:cubicBezTo>
                <a:cubicBezTo>
                  <a:pt x="1404166" y="2761406"/>
                  <a:pt x="1410909" y="2753806"/>
                  <a:pt x="1413259" y="2745029"/>
                </a:cubicBezTo>
                <a:cubicBezTo>
                  <a:pt x="1413259" y="2745029"/>
                  <a:pt x="1414436" y="2740640"/>
                  <a:pt x="1414436" y="2740640"/>
                </a:cubicBezTo>
                <a:cubicBezTo>
                  <a:pt x="1415611" y="2736252"/>
                  <a:pt x="1421175" y="2733035"/>
                  <a:pt x="1422351" y="2728649"/>
                </a:cubicBezTo>
                <a:cubicBezTo>
                  <a:pt x="1423527" y="2724261"/>
                  <a:pt x="1423527" y="2724261"/>
                  <a:pt x="1423527" y="2724261"/>
                </a:cubicBezTo>
                <a:cubicBezTo>
                  <a:pt x="1423527" y="2724261"/>
                  <a:pt x="1424703" y="2719874"/>
                  <a:pt x="1424703" y="2719874"/>
                </a:cubicBezTo>
                <a:cubicBezTo>
                  <a:pt x="1436147" y="2694709"/>
                  <a:pt x="1451981" y="2670733"/>
                  <a:pt x="1462248" y="2649963"/>
                </a:cubicBezTo>
                <a:cubicBezTo>
                  <a:pt x="1462248" y="2649963"/>
                  <a:pt x="1460212" y="2640011"/>
                  <a:pt x="1465777" y="2636797"/>
                </a:cubicBezTo>
                <a:cubicBezTo>
                  <a:pt x="1465777" y="2636797"/>
                  <a:pt x="1466952" y="2632407"/>
                  <a:pt x="1466952" y="2632407"/>
                </a:cubicBezTo>
                <a:cubicBezTo>
                  <a:pt x="1465777" y="2636797"/>
                  <a:pt x="1469305" y="2623629"/>
                  <a:pt x="1471655" y="2614853"/>
                </a:cubicBezTo>
                <a:cubicBezTo>
                  <a:pt x="1480749" y="2598476"/>
                  <a:pt x="1494229" y="2583270"/>
                  <a:pt x="1502147" y="2571278"/>
                </a:cubicBezTo>
                <a:cubicBezTo>
                  <a:pt x="1544082" y="2502548"/>
                  <a:pt x="1576925" y="2450198"/>
                  <a:pt x="1608591" y="2402239"/>
                </a:cubicBezTo>
                <a:cubicBezTo>
                  <a:pt x="1609767" y="2397846"/>
                  <a:pt x="1609767" y="2397846"/>
                  <a:pt x="1609767" y="2397846"/>
                </a:cubicBezTo>
                <a:cubicBezTo>
                  <a:pt x="1615330" y="2394634"/>
                  <a:pt x="1615330" y="2394634"/>
                  <a:pt x="1615330" y="2394634"/>
                </a:cubicBezTo>
                <a:cubicBezTo>
                  <a:pt x="1631595" y="2377826"/>
                  <a:pt x="1647564" y="2362116"/>
                  <a:pt x="1663827" y="2345305"/>
                </a:cubicBezTo>
                <a:lnTo>
                  <a:pt x="1708684" y="2295402"/>
                </a:lnTo>
                <a:lnTo>
                  <a:pt x="1707836" y="2296534"/>
                </a:lnTo>
                <a:cubicBezTo>
                  <a:pt x="1704378" y="2301486"/>
                  <a:pt x="1701410" y="2305981"/>
                  <a:pt x="1699430" y="2308981"/>
                </a:cubicBezTo>
                <a:cubicBezTo>
                  <a:pt x="1698255" y="2313371"/>
                  <a:pt x="1692690" y="2316585"/>
                  <a:pt x="1692690" y="2316585"/>
                </a:cubicBezTo>
                <a:cubicBezTo>
                  <a:pt x="1679209" y="2331787"/>
                  <a:pt x="1668079" y="2338211"/>
                  <a:pt x="1671292" y="2343775"/>
                </a:cubicBezTo>
                <a:cubicBezTo>
                  <a:pt x="1661338" y="2345814"/>
                  <a:pt x="1645506" y="2369796"/>
                  <a:pt x="1635237" y="2390564"/>
                </a:cubicBezTo>
                <a:cubicBezTo>
                  <a:pt x="1634061" y="2394950"/>
                  <a:pt x="1632885" y="2399339"/>
                  <a:pt x="1628497" y="2398157"/>
                </a:cubicBezTo>
                <a:cubicBezTo>
                  <a:pt x="1628497" y="2398157"/>
                  <a:pt x="1622932" y="2401377"/>
                  <a:pt x="1621756" y="2405764"/>
                </a:cubicBezTo>
                <a:cubicBezTo>
                  <a:pt x="1620580" y="2410153"/>
                  <a:pt x="1619404" y="2414543"/>
                  <a:pt x="1624969" y="2411329"/>
                </a:cubicBezTo>
                <a:cubicBezTo>
                  <a:pt x="1629356" y="2412506"/>
                  <a:pt x="1636099" y="2404902"/>
                  <a:pt x="1642839" y="2397304"/>
                </a:cubicBezTo>
                <a:cubicBezTo>
                  <a:pt x="1644015" y="2392913"/>
                  <a:pt x="1644015" y="2392913"/>
                  <a:pt x="1644015" y="2392913"/>
                </a:cubicBezTo>
                <a:cubicBezTo>
                  <a:pt x="1670978" y="2362512"/>
                  <a:pt x="1683283" y="2351696"/>
                  <a:pt x="1700292" y="2323327"/>
                </a:cubicBezTo>
                <a:cubicBezTo>
                  <a:pt x="1700292" y="2323327"/>
                  <a:pt x="1701467" y="2318935"/>
                  <a:pt x="1701467" y="2318935"/>
                </a:cubicBezTo>
                <a:cubicBezTo>
                  <a:pt x="1707032" y="2315722"/>
                  <a:pt x="1719339" y="2304907"/>
                  <a:pt x="1724901" y="2301696"/>
                </a:cubicBezTo>
                <a:cubicBezTo>
                  <a:pt x="1722865" y="2291741"/>
                  <a:pt x="1731643" y="2294093"/>
                  <a:pt x="1745124" y="2278887"/>
                </a:cubicBezTo>
                <a:cubicBezTo>
                  <a:pt x="1755823" y="2265293"/>
                  <a:pt x="1768501" y="2248699"/>
                  <a:pt x="1782824" y="2232551"/>
                </a:cubicBezTo>
                <a:lnTo>
                  <a:pt x="1822696" y="2195935"/>
                </a:lnTo>
                <a:lnTo>
                  <a:pt x="1822484" y="2200849"/>
                </a:lnTo>
                <a:cubicBezTo>
                  <a:pt x="1876408" y="2140032"/>
                  <a:pt x="1932370" y="2089177"/>
                  <a:pt x="1999462" y="2031893"/>
                </a:cubicBezTo>
                <a:cubicBezTo>
                  <a:pt x="1999462" y="2031893"/>
                  <a:pt x="2003849" y="2033068"/>
                  <a:pt x="2003849" y="2033068"/>
                </a:cubicBezTo>
                <a:cubicBezTo>
                  <a:pt x="2005028" y="2028679"/>
                  <a:pt x="2005028" y="2028679"/>
                  <a:pt x="2005028" y="2028679"/>
                </a:cubicBezTo>
                <a:cubicBezTo>
                  <a:pt x="2005028" y="2028679"/>
                  <a:pt x="2005028" y="2028679"/>
                  <a:pt x="2006202" y="2024291"/>
                </a:cubicBezTo>
                <a:cubicBezTo>
                  <a:pt x="2011767" y="2021078"/>
                  <a:pt x="2021720" y="2019041"/>
                  <a:pt x="2027284" y="2015829"/>
                </a:cubicBezTo>
                <a:cubicBezTo>
                  <a:pt x="2022036" y="2000311"/>
                  <a:pt x="2059814" y="1982211"/>
                  <a:pt x="2078861" y="1963796"/>
                </a:cubicBezTo>
                <a:cubicBezTo>
                  <a:pt x="2082072" y="1969362"/>
                  <a:pt x="2070944" y="1975785"/>
                  <a:pt x="2075332" y="1976962"/>
                </a:cubicBezTo>
                <a:cubicBezTo>
                  <a:pt x="2103171" y="1960899"/>
                  <a:pt x="2067730" y="1970221"/>
                  <a:pt x="2096730" y="1949770"/>
                </a:cubicBezTo>
                <a:cubicBezTo>
                  <a:pt x="2101134" y="1950945"/>
                  <a:pt x="2095554" y="1954158"/>
                  <a:pt x="2099959" y="1955334"/>
                </a:cubicBezTo>
                <a:cubicBezTo>
                  <a:pt x="2125747" y="1929316"/>
                  <a:pt x="2157961" y="1914427"/>
                  <a:pt x="2172619" y="1894836"/>
                </a:cubicBezTo>
                <a:cubicBezTo>
                  <a:pt x="2172619" y="1894836"/>
                  <a:pt x="2165880" y="1902436"/>
                  <a:pt x="2177007" y="1896012"/>
                </a:cubicBezTo>
                <a:cubicBezTo>
                  <a:pt x="2187275" y="1875244"/>
                  <a:pt x="2217133" y="1869134"/>
                  <a:pt x="2239395" y="1856284"/>
                </a:cubicBezTo>
                <a:cubicBezTo>
                  <a:pt x="2259614" y="1833479"/>
                  <a:pt x="2287439" y="1817416"/>
                  <a:pt x="2314087" y="1805741"/>
                </a:cubicBezTo>
                <a:cubicBezTo>
                  <a:pt x="2327412" y="1799902"/>
                  <a:pt x="2340736" y="1794064"/>
                  <a:pt x="2355050" y="1786728"/>
                </a:cubicBezTo>
                <a:lnTo>
                  <a:pt x="2396347" y="1762071"/>
                </a:lnTo>
                <a:lnTo>
                  <a:pt x="2395206" y="1766326"/>
                </a:lnTo>
                <a:cubicBezTo>
                  <a:pt x="2399596" y="1767505"/>
                  <a:pt x="2399596" y="1767505"/>
                  <a:pt x="2400772" y="1763115"/>
                </a:cubicBezTo>
                <a:cubicBezTo>
                  <a:pt x="2407512" y="1755513"/>
                  <a:pt x="2407512" y="1755513"/>
                  <a:pt x="2407512" y="1755513"/>
                </a:cubicBezTo>
                <a:cubicBezTo>
                  <a:pt x="2406336" y="1759904"/>
                  <a:pt x="2406336" y="1759904"/>
                  <a:pt x="2406336" y="1759904"/>
                </a:cubicBezTo>
                <a:cubicBezTo>
                  <a:pt x="2416289" y="1757866"/>
                  <a:pt x="2427419" y="1751440"/>
                  <a:pt x="2439724" y="1740626"/>
                </a:cubicBezTo>
                <a:cubicBezTo>
                  <a:pt x="2439724" y="1740626"/>
                  <a:pt x="2440900" y="1736237"/>
                  <a:pt x="2440900" y="1736237"/>
                </a:cubicBezTo>
                <a:cubicBezTo>
                  <a:pt x="2442075" y="1731847"/>
                  <a:pt x="2446466" y="1733024"/>
                  <a:pt x="2447641" y="1728636"/>
                </a:cubicBezTo>
                <a:cubicBezTo>
                  <a:pt x="2446466" y="1733024"/>
                  <a:pt x="2440900" y="1736237"/>
                  <a:pt x="2445289" y="1737413"/>
                </a:cubicBezTo>
                <a:cubicBezTo>
                  <a:pt x="2450854" y="1734200"/>
                  <a:pt x="2456419" y="1730988"/>
                  <a:pt x="2461984" y="1727775"/>
                </a:cubicBezTo>
                <a:cubicBezTo>
                  <a:pt x="2460807" y="1732164"/>
                  <a:pt x="2460807" y="1732164"/>
                  <a:pt x="2460807" y="1732164"/>
                </a:cubicBezTo>
                <a:cubicBezTo>
                  <a:pt x="2460807" y="1732164"/>
                  <a:pt x="2460807" y="1732164"/>
                  <a:pt x="2459631" y="1736551"/>
                </a:cubicBezTo>
                <a:cubicBezTo>
                  <a:pt x="2459631" y="1736551"/>
                  <a:pt x="2459631" y="1736551"/>
                  <a:pt x="2464021" y="1737728"/>
                </a:cubicBezTo>
                <a:cubicBezTo>
                  <a:pt x="2465197" y="1733340"/>
                  <a:pt x="2466372" y="1728950"/>
                  <a:pt x="2466372" y="1728950"/>
                </a:cubicBezTo>
                <a:cubicBezTo>
                  <a:pt x="2466372" y="1728950"/>
                  <a:pt x="2466372" y="1728950"/>
                  <a:pt x="2467548" y="1724561"/>
                </a:cubicBezTo>
                <a:cubicBezTo>
                  <a:pt x="2467548" y="1724561"/>
                  <a:pt x="2473113" y="1721349"/>
                  <a:pt x="2473113" y="1721349"/>
                </a:cubicBezTo>
                <a:cubicBezTo>
                  <a:pt x="2473113" y="1721349"/>
                  <a:pt x="2477501" y="1722524"/>
                  <a:pt x="2477501" y="1722524"/>
                </a:cubicBezTo>
                <a:cubicBezTo>
                  <a:pt x="2477501" y="1722524"/>
                  <a:pt x="2481891" y="1723700"/>
                  <a:pt x="2481891" y="1723700"/>
                </a:cubicBezTo>
                <a:cubicBezTo>
                  <a:pt x="2483066" y="1719312"/>
                  <a:pt x="2483066" y="1719312"/>
                  <a:pt x="2483066" y="1719312"/>
                </a:cubicBezTo>
                <a:cubicBezTo>
                  <a:pt x="2484241" y="1714923"/>
                  <a:pt x="2484241" y="1714923"/>
                  <a:pt x="2484241" y="1714923"/>
                </a:cubicBezTo>
                <a:cubicBezTo>
                  <a:pt x="2489808" y="1711710"/>
                  <a:pt x="2495370" y="1708499"/>
                  <a:pt x="2499760" y="1709675"/>
                </a:cubicBezTo>
                <a:cubicBezTo>
                  <a:pt x="2499760" y="1709675"/>
                  <a:pt x="2499760" y="1709675"/>
                  <a:pt x="2498584" y="1714063"/>
                </a:cubicBezTo>
                <a:cubicBezTo>
                  <a:pt x="2498584" y="1714063"/>
                  <a:pt x="2504150" y="1710851"/>
                  <a:pt x="2504150" y="1710851"/>
                </a:cubicBezTo>
                <a:cubicBezTo>
                  <a:pt x="2509714" y="1707638"/>
                  <a:pt x="2509714" y="1707638"/>
                  <a:pt x="2509714" y="1707638"/>
                </a:cubicBezTo>
                <a:cubicBezTo>
                  <a:pt x="2509714" y="1707638"/>
                  <a:pt x="2515278" y="1704424"/>
                  <a:pt x="2516453" y="1700037"/>
                </a:cubicBezTo>
                <a:cubicBezTo>
                  <a:pt x="2515278" y="1704424"/>
                  <a:pt x="2515278" y="1704424"/>
                  <a:pt x="2515278" y="1704424"/>
                </a:cubicBezTo>
                <a:cubicBezTo>
                  <a:pt x="2519667" y="1705602"/>
                  <a:pt x="2525231" y="1702389"/>
                  <a:pt x="2535183" y="1700351"/>
                </a:cubicBezTo>
                <a:cubicBezTo>
                  <a:pt x="2528445" y="1707952"/>
                  <a:pt x="2539573" y="1701528"/>
                  <a:pt x="2532833" y="1709129"/>
                </a:cubicBezTo>
                <a:cubicBezTo>
                  <a:pt x="2553917" y="1700667"/>
                  <a:pt x="2553917" y="1700667"/>
                  <a:pt x="2553917" y="1700667"/>
                </a:cubicBezTo>
                <a:cubicBezTo>
                  <a:pt x="2553917" y="1700667"/>
                  <a:pt x="2552740" y="1705055"/>
                  <a:pt x="2552740" y="1705055"/>
                </a:cubicBezTo>
                <a:cubicBezTo>
                  <a:pt x="2547174" y="1708269"/>
                  <a:pt x="2547174" y="1708269"/>
                  <a:pt x="2547174" y="1708269"/>
                </a:cubicBezTo>
                <a:cubicBezTo>
                  <a:pt x="2547174" y="1708269"/>
                  <a:pt x="2542785" y="1707094"/>
                  <a:pt x="2545999" y="1712656"/>
                </a:cubicBezTo>
                <a:cubicBezTo>
                  <a:pt x="2545999" y="1712656"/>
                  <a:pt x="2545999" y="1712656"/>
                  <a:pt x="2551565" y="1709444"/>
                </a:cubicBezTo>
                <a:cubicBezTo>
                  <a:pt x="2557127" y="1706231"/>
                  <a:pt x="2557127" y="1706231"/>
                  <a:pt x="2557127" y="1706231"/>
                </a:cubicBezTo>
                <a:cubicBezTo>
                  <a:pt x="2558303" y="1701842"/>
                  <a:pt x="2562692" y="1703018"/>
                  <a:pt x="2563873" y="1698631"/>
                </a:cubicBezTo>
                <a:cubicBezTo>
                  <a:pt x="2563873" y="1698631"/>
                  <a:pt x="2560654" y="1693066"/>
                  <a:pt x="2555092" y="1696279"/>
                </a:cubicBezTo>
                <a:cubicBezTo>
                  <a:pt x="2560654" y="1693066"/>
                  <a:pt x="2560654" y="1693066"/>
                  <a:pt x="2560654" y="1693066"/>
                </a:cubicBezTo>
                <a:cubicBezTo>
                  <a:pt x="2578524" y="1679040"/>
                  <a:pt x="2581744" y="1684604"/>
                  <a:pt x="2589658" y="1672614"/>
                </a:cubicBezTo>
                <a:cubicBezTo>
                  <a:pt x="2578524" y="1679040"/>
                  <a:pt x="2575314" y="1673473"/>
                  <a:pt x="2570929" y="1672297"/>
                </a:cubicBezTo>
                <a:cubicBezTo>
                  <a:pt x="2576490" y="1669085"/>
                  <a:pt x="2586446" y="1667049"/>
                  <a:pt x="2592009" y="1663836"/>
                </a:cubicBezTo>
                <a:cubicBezTo>
                  <a:pt x="2597571" y="1660624"/>
                  <a:pt x="2603137" y="1657411"/>
                  <a:pt x="2608703" y="1654198"/>
                </a:cubicBezTo>
                <a:cubicBezTo>
                  <a:pt x="2613090" y="1655374"/>
                  <a:pt x="2618656" y="1652161"/>
                  <a:pt x="2618656" y="1652161"/>
                </a:cubicBezTo>
                <a:cubicBezTo>
                  <a:pt x="2623044" y="1653337"/>
                  <a:pt x="2617478" y="1656550"/>
                  <a:pt x="2616301" y="1660938"/>
                </a:cubicBezTo>
                <a:cubicBezTo>
                  <a:pt x="2638562" y="1648089"/>
                  <a:pt x="2638562" y="1648089"/>
                  <a:pt x="2638562" y="1648089"/>
                </a:cubicBezTo>
                <a:cubicBezTo>
                  <a:pt x="2641775" y="1653652"/>
                  <a:pt x="2641775" y="1653652"/>
                  <a:pt x="2641775" y="1653652"/>
                </a:cubicBezTo>
                <a:cubicBezTo>
                  <a:pt x="2641775" y="1653652"/>
                  <a:pt x="2640600" y="1658041"/>
                  <a:pt x="2636209" y="1656866"/>
                </a:cubicBezTo>
                <a:cubicBezTo>
                  <a:pt x="2635034" y="1661255"/>
                  <a:pt x="2635034" y="1661255"/>
                  <a:pt x="2635034" y="1661255"/>
                </a:cubicBezTo>
                <a:cubicBezTo>
                  <a:pt x="2635034" y="1661255"/>
                  <a:pt x="2635034" y="1661255"/>
                  <a:pt x="2639422" y="1662430"/>
                </a:cubicBezTo>
                <a:cubicBezTo>
                  <a:pt x="2643813" y="1663606"/>
                  <a:pt x="2644988" y="1659216"/>
                  <a:pt x="2644988" y="1659216"/>
                </a:cubicBezTo>
                <a:cubicBezTo>
                  <a:pt x="2646164" y="1654827"/>
                  <a:pt x="2646164" y="1654827"/>
                  <a:pt x="2646164" y="1654827"/>
                </a:cubicBezTo>
                <a:cubicBezTo>
                  <a:pt x="2646164" y="1654827"/>
                  <a:pt x="2650552" y="1656003"/>
                  <a:pt x="2651728" y="1651615"/>
                </a:cubicBezTo>
                <a:cubicBezTo>
                  <a:pt x="2651728" y="1651615"/>
                  <a:pt x="2651728" y="1651615"/>
                  <a:pt x="2657295" y="1648402"/>
                </a:cubicBezTo>
                <a:cubicBezTo>
                  <a:pt x="2657295" y="1648402"/>
                  <a:pt x="2657295" y="1648402"/>
                  <a:pt x="2661683" y="1649578"/>
                </a:cubicBezTo>
                <a:cubicBezTo>
                  <a:pt x="2661683" y="1649578"/>
                  <a:pt x="2662859" y="1645189"/>
                  <a:pt x="2662859" y="1645189"/>
                </a:cubicBezTo>
                <a:cubicBezTo>
                  <a:pt x="2667247" y="1646365"/>
                  <a:pt x="2667247" y="1646365"/>
                  <a:pt x="2667247" y="1646365"/>
                </a:cubicBezTo>
                <a:cubicBezTo>
                  <a:pt x="2666072" y="1650754"/>
                  <a:pt x="2666072" y="1650754"/>
                  <a:pt x="2666072" y="1650754"/>
                </a:cubicBezTo>
                <a:cubicBezTo>
                  <a:pt x="2659333" y="1658356"/>
                  <a:pt x="2659333" y="1658356"/>
                  <a:pt x="2659333" y="1658356"/>
                </a:cubicBezTo>
                <a:cubicBezTo>
                  <a:pt x="2653765" y="1661569"/>
                  <a:pt x="2649376" y="1660393"/>
                  <a:pt x="2648201" y="1664781"/>
                </a:cubicBezTo>
                <a:cubicBezTo>
                  <a:pt x="2648201" y="1664781"/>
                  <a:pt x="2648201" y="1664781"/>
                  <a:pt x="2652590" y="1665958"/>
                </a:cubicBezTo>
                <a:cubicBezTo>
                  <a:pt x="2656981" y="1667133"/>
                  <a:pt x="2658155" y="1662744"/>
                  <a:pt x="2658155" y="1662744"/>
                </a:cubicBezTo>
                <a:cubicBezTo>
                  <a:pt x="2668109" y="1660709"/>
                  <a:pt x="2669284" y="1656320"/>
                  <a:pt x="2674849" y="1653107"/>
                </a:cubicBezTo>
                <a:cubicBezTo>
                  <a:pt x="2676025" y="1648718"/>
                  <a:pt x="2676025" y="1648718"/>
                  <a:pt x="2676025" y="1648718"/>
                </a:cubicBezTo>
                <a:cubicBezTo>
                  <a:pt x="2682767" y="1641116"/>
                  <a:pt x="2687154" y="1642291"/>
                  <a:pt x="2688331" y="1637903"/>
                </a:cubicBezTo>
                <a:cubicBezTo>
                  <a:pt x="2709412" y="1629440"/>
                  <a:pt x="2734884" y="1622153"/>
                  <a:pt x="2757141" y="1609301"/>
                </a:cubicBezTo>
                <a:cubicBezTo>
                  <a:pt x="2761529" y="1610476"/>
                  <a:pt x="2761529" y="1610476"/>
                  <a:pt x="2761529" y="1610476"/>
                </a:cubicBezTo>
                <a:cubicBezTo>
                  <a:pt x="2765919" y="1611652"/>
                  <a:pt x="2767095" y="1607263"/>
                  <a:pt x="2767095" y="1607263"/>
                </a:cubicBezTo>
                <a:cubicBezTo>
                  <a:pt x="2771483" y="1608439"/>
                  <a:pt x="2777052" y="1605227"/>
                  <a:pt x="2782612" y="1602015"/>
                </a:cubicBezTo>
                <a:cubicBezTo>
                  <a:pt x="2782612" y="1602015"/>
                  <a:pt x="2782612" y="1602015"/>
                  <a:pt x="2788178" y="1598800"/>
                </a:cubicBezTo>
                <a:cubicBezTo>
                  <a:pt x="2792566" y="1599977"/>
                  <a:pt x="2798133" y="1596763"/>
                  <a:pt x="2803695" y="1593550"/>
                </a:cubicBezTo>
                <a:cubicBezTo>
                  <a:pt x="2808086" y="1594727"/>
                  <a:pt x="2813651" y="1591514"/>
                  <a:pt x="2819213" y="1588300"/>
                </a:cubicBezTo>
                <a:cubicBezTo>
                  <a:pt x="2827993" y="1590653"/>
                  <a:pt x="2845863" y="1576626"/>
                  <a:pt x="2864594" y="1576943"/>
                </a:cubicBezTo>
                <a:cubicBezTo>
                  <a:pt x="2871336" y="1569340"/>
                  <a:pt x="2902374" y="1558843"/>
                  <a:pt x="2919067" y="1549205"/>
                </a:cubicBezTo>
                <a:cubicBezTo>
                  <a:pt x="2919067" y="1549205"/>
                  <a:pt x="2938967" y="1545130"/>
                  <a:pt x="2934582" y="1543954"/>
                </a:cubicBezTo>
                <a:cubicBezTo>
                  <a:pt x="2921847" y="1547598"/>
                  <a:pt x="2922732" y="1544306"/>
                  <a:pt x="2925554" y="1540358"/>
                </a:cubicBezTo>
                <a:lnTo>
                  <a:pt x="2926131" y="1539588"/>
                </a:lnTo>
                <a:lnTo>
                  <a:pt x="2896181" y="1548255"/>
                </a:lnTo>
                <a:lnTo>
                  <a:pt x="2873472" y="1553580"/>
                </a:lnTo>
                <a:lnTo>
                  <a:pt x="2864801" y="1556418"/>
                </a:lnTo>
                <a:cubicBezTo>
                  <a:pt x="2851372" y="1560464"/>
                  <a:pt x="2837244" y="1564910"/>
                  <a:pt x="2838261" y="1569888"/>
                </a:cubicBezTo>
                <a:cubicBezTo>
                  <a:pt x="2859343" y="1561425"/>
                  <a:pt x="2832696" y="1573098"/>
                  <a:pt x="2817177" y="1578349"/>
                </a:cubicBezTo>
                <a:cubicBezTo>
                  <a:pt x="2817177" y="1578349"/>
                  <a:pt x="2817177" y="1578349"/>
                  <a:pt x="2818353" y="1573960"/>
                </a:cubicBezTo>
                <a:cubicBezTo>
                  <a:pt x="2822743" y="1575134"/>
                  <a:pt x="2822743" y="1575134"/>
                  <a:pt x="2822743" y="1575134"/>
                </a:cubicBezTo>
                <a:cubicBezTo>
                  <a:pt x="2828309" y="1571922"/>
                  <a:pt x="2828309" y="1571922"/>
                  <a:pt x="2823919" y="1570746"/>
                </a:cubicBezTo>
                <a:cubicBezTo>
                  <a:pt x="2823919" y="1570746"/>
                  <a:pt x="2823919" y="1570746"/>
                  <a:pt x="2819530" y="1569571"/>
                </a:cubicBezTo>
                <a:cubicBezTo>
                  <a:pt x="2813965" y="1572784"/>
                  <a:pt x="2813965" y="1572784"/>
                  <a:pt x="2813965" y="1572784"/>
                </a:cubicBezTo>
                <a:cubicBezTo>
                  <a:pt x="2808397" y="1575997"/>
                  <a:pt x="2807225" y="1580384"/>
                  <a:pt x="2810439" y="1585948"/>
                </a:cubicBezTo>
                <a:cubicBezTo>
                  <a:pt x="2804872" y="1589160"/>
                  <a:pt x="2799308" y="1592374"/>
                  <a:pt x="2794920" y="1591198"/>
                </a:cubicBezTo>
                <a:cubicBezTo>
                  <a:pt x="2790529" y="1590022"/>
                  <a:pt x="2790529" y="1590022"/>
                  <a:pt x="2786141" y="1588846"/>
                </a:cubicBezTo>
                <a:cubicBezTo>
                  <a:pt x="2786141" y="1588846"/>
                  <a:pt x="2786141" y="1588846"/>
                  <a:pt x="2787317" y="1584457"/>
                </a:cubicBezTo>
                <a:cubicBezTo>
                  <a:pt x="2782925" y="1583282"/>
                  <a:pt x="2781755" y="1587670"/>
                  <a:pt x="2781755" y="1587670"/>
                </a:cubicBezTo>
                <a:cubicBezTo>
                  <a:pt x="2781755" y="1587670"/>
                  <a:pt x="2780580" y="1592059"/>
                  <a:pt x="2780580" y="1592059"/>
                </a:cubicBezTo>
                <a:cubicBezTo>
                  <a:pt x="2779404" y="1596449"/>
                  <a:pt x="2775014" y="1595271"/>
                  <a:pt x="2773837" y="1599661"/>
                </a:cubicBezTo>
                <a:cubicBezTo>
                  <a:pt x="2769448" y="1598486"/>
                  <a:pt x="2763883" y="1601698"/>
                  <a:pt x="2763883" y="1601698"/>
                </a:cubicBezTo>
                <a:cubicBezTo>
                  <a:pt x="2763883" y="1601698"/>
                  <a:pt x="2763883" y="1601698"/>
                  <a:pt x="2759493" y="1600521"/>
                </a:cubicBezTo>
                <a:cubicBezTo>
                  <a:pt x="2758317" y="1604911"/>
                  <a:pt x="2758317" y="1604911"/>
                  <a:pt x="2758317" y="1604911"/>
                </a:cubicBezTo>
                <a:cubicBezTo>
                  <a:pt x="2758317" y="1604911"/>
                  <a:pt x="2753928" y="1603735"/>
                  <a:pt x="2752753" y="1608124"/>
                </a:cubicBezTo>
                <a:cubicBezTo>
                  <a:pt x="2731670" y="1616587"/>
                  <a:pt x="2709412" y="1629440"/>
                  <a:pt x="2685119" y="1632337"/>
                </a:cubicBezTo>
                <a:cubicBezTo>
                  <a:pt x="2679549" y="1635550"/>
                  <a:pt x="2679549" y="1635550"/>
                  <a:pt x="2679549" y="1635550"/>
                </a:cubicBezTo>
                <a:cubicBezTo>
                  <a:pt x="2679549" y="1635550"/>
                  <a:pt x="2678376" y="1639939"/>
                  <a:pt x="2678376" y="1639939"/>
                </a:cubicBezTo>
                <a:cubicBezTo>
                  <a:pt x="2678376" y="1639939"/>
                  <a:pt x="2673989" y="1638763"/>
                  <a:pt x="2673989" y="1638763"/>
                </a:cubicBezTo>
                <a:cubicBezTo>
                  <a:pt x="2673989" y="1638763"/>
                  <a:pt x="2675162" y="1634373"/>
                  <a:pt x="2675162" y="1634373"/>
                </a:cubicBezTo>
                <a:cubicBezTo>
                  <a:pt x="2666387" y="1632022"/>
                  <a:pt x="2660823" y="1635235"/>
                  <a:pt x="2650869" y="1637272"/>
                </a:cubicBezTo>
                <a:cubicBezTo>
                  <a:pt x="2649692" y="1641661"/>
                  <a:pt x="2649692" y="1641661"/>
                  <a:pt x="2649692" y="1641661"/>
                </a:cubicBezTo>
                <a:cubicBezTo>
                  <a:pt x="2637701" y="1633744"/>
                  <a:pt x="2660823" y="1635235"/>
                  <a:pt x="2657609" y="1629671"/>
                </a:cubicBezTo>
                <a:cubicBezTo>
                  <a:pt x="2652043" y="1632882"/>
                  <a:pt x="2632137" y="1636957"/>
                  <a:pt x="2615441" y="1646597"/>
                </a:cubicBezTo>
                <a:cubicBezTo>
                  <a:pt x="2609878" y="1649811"/>
                  <a:pt x="2598746" y="1656234"/>
                  <a:pt x="2588799" y="1658272"/>
                </a:cubicBezTo>
                <a:cubicBezTo>
                  <a:pt x="2583230" y="1661484"/>
                  <a:pt x="2572103" y="1667909"/>
                  <a:pt x="2562149" y="1669945"/>
                </a:cubicBezTo>
                <a:cubicBezTo>
                  <a:pt x="2545454" y="1679585"/>
                  <a:pt x="2531113" y="1680447"/>
                  <a:pt x="2513243" y="1694471"/>
                </a:cubicBezTo>
                <a:cubicBezTo>
                  <a:pt x="2507677" y="1697686"/>
                  <a:pt x="2497725" y="1699722"/>
                  <a:pt x="2497725" y="1699722"/>
                </a:cubicBezTo>
                <a:cubicBezTo>
                  <a:pt x="2492159" y="1702933"/>
                  <a:pt x="2487770" y="1701759"/>
                  <a:pt x="2486593" y="1706147"/>
                </a:cubicBezTo>
                <a:cubicBezTo>
                  <a:pt x="2482205" y="1704971"/>
                  <a:pt x="2482205" y="1704971"/>
                  <a:pt x="2476641" y="1708184"/>
                </a:cubicBezTo>
                <a:cubicBezTo>
                  <a:pt x="2475466" y="1712571"/>
                  <a:pt x="2465513" y="1714608"/>
                  <a:pt x="2459945" y="1717821"/>
                </a:cubicBezTo>
                <a:cubicBezTo>
                  <a:pt x="2461123" y="1713432"/>
                  <a:pt x="2444428" y="1723070"/>
                  <a:pt x="2444428" y="1723070"/>
                </a:cubicBezTo>
                <a:cubicBezTo>
                  <a:pt x="2438865" y="1726284"/>
                  <a:pt x="2433299" y="1729497"/>
                  <a:pt x="2432123" y="1733884"/>
                </a:cubicBezTo>
                <a:cubicBezTo>
                  <a:pt x="2427734" y="1732709"/>
                  <a:pt x="2427734" y="1732709"/>
                  <a:pt x="2427734" y="1732709"/>
                </a:cubicBezTo>
                <a:cubicBezTo>
                  <a:pt x="2375615" y="1751671"/>
                  <a:pt x="2310014" y="1785830"/>
                  <a:pt x="2265492" y="1811535"/>
                </a:cubicBezTo>
                <a:cubicBezTo>
                  <a:pt x="2261108" y="1810360"/>
                  <a:pt x="2261108" y="1810360"/>
                  <a:pt x="2261108" y="1810360"/>
                </a:cubicBezTo>
                <a:cubicBezTo>
                  <a:pt x="2261108" y="1810360"/>
                  <a:pt x="2261108" y="1810360"/>
                  <a:pt x="2256718" y="1809184"/>
                </a:cubicBezTo>
                <a:cubicBezTo>
                  <a:pt x="2262284" y="1805970"/>
                  <a:pt x="2262284" y="1805970"/>
                  <a:pt x="2267847" y="1802759"/>
                </a:cubicBezTo>
                <a:cubicBezTo>
                  <a:pt x="2267847" y="1802759"/>
                  <a:pt x="2273412" y="1799546"/>
                  <a:pt x="2278977" y="1796331"/>
                </a:cubicBezTo>
                <a:cubicBezTo>
                  <a:pt x="2284542" y="1793120"/>
                  <a:pt x="2284542" y="1793120"/>
                  <a:pt x="2290107" y="1789909"/>
                </a:cubicBezTo>
                <a:cubicBezTo>
                  <a:pt x="2290107" y="1789909"/>
                  <a:pt x="2290107" y="1789909"/>
                  <a:pt x="2291284" y="1785517"/>
                </a:cubicBezTo>
                <a:cubicBezTo>
                  <a:pt x="2301237" y="1783480"/>
                  <a:pt x="2307979" y="1775878"/>
                  <a:pt x="2319109" y="1769456"/>
                </a:cubicBezTo>
                <a:cubicBezTo>
                  <a:pt x="2319109" y="1769456"/>
                  <a:pt x="2324673" y="1766244"/>
                  <a:pt x="2320284" y="1765070"/>
                </a:cubicBezTo>
                <a:cubicBezTo>
                  <a:pt x="2321459" y="1760679"/>
                  <a:pt x="2315894" y="1763891"/>
                  <a:pt x="2315894" y="1763891"/>
                </a:cubicBezTo>
                <a:cubicBezTo>
                  <a:pt x="2310330" y="1767104"/>
                  <a:pt x="2310330" y="1767104"/>
                  <a:pt x="2310330" y="1767104"/>
                </a:cubicBezTo>
                <a:lnTo>
                  <a:pt x="2309877" y="1767096"/>
                </a:lnTo>
                <a:lnTo>
                  <a:pt x="2321368" y="1760700"/>
                </a:lnTo>
                <a:lnTo>
                  <a:pt x="2321459" y="1760679"/>
                </a:lnTo>
                <a:lnTo>
                  <a:pt x="2321486" y="1760638"/>
                </a:lnTo>
                <a:lnTo>
                  <a:pt x="2322851" y="1759876"/>
                </a:lnTo>
                <a:cubicBezTo>
                  <a:pt x="2332295" y="1755349"/>
                  <a:pt x="2336977" y="1755429"/>
                  <a:pt x="2329060" y="1767419"/>
                </a:cubicBezTo>
                <a:cubicBezTo>
                  <a:pt x="2353671" y="1745791"/>
                  <a:pt x="2363626" y="1743754"/>
                  <a:pt x="2385884" y="1730903"/>
                </a:cubicBezTo>
                <a:cubicBezTo>
                  <a:pt x="2381494" y="1729727"/>
                  <a:pt x="2381494" y="1729727"/>
                  <a:pt x="2381494" y="1729727"/>
                </a:cubicBezTo>
                <a:cubicBezTo>
                  <a:pt x="2398190" y="1720088"/>
                  <a:pt x="2398190" y="1720088"/>
                  <a:pt x="2398190" y="1720088"/>
                </a:cubicBezTo>
                <a:cubicBezTo>
                  <a:pt x="2402579" y="1721264"/>
                  <a:pt x="2402579" y="1721264"/>
                  <a:pt x="2402579" y="1721264"/>
                </a:cubicBezTo>
                <a:cubicBezTo>
                  <a:pt x="2403755" y="1716876"/>
                  <a:pt x="2403755" y="1716876"/>
                  <a:pt x="2403755" y="1716876"/>
                </a:cubicBezTo>
                <a:cubicBezTo>
                  <a:pt x="2408140" y="1718053"/>
                  <a:pt x="2408140" y="1718053"/>
                  <a:pt x="2408140" y="1718053"/>
                </a:cubicBezTo>
                <a:cubicBezTo>
                  <a:pt x="2413707" y="1714839"/>
                  <a:pt x="2414883" y="1710450"/>
                  <a:pt x="2419271" y="1711626"/>
                </a:cubicBezTo>
                <a:cubicBezTo>
                  <a:pt x="2420449" y="1707237"/>
                  <a:pt x="2424837" y="1708414"/>
                  <a:pt x="2426012" y="1704026"/>
                </a:cubicBezTo>
                <a:cubicBezTo>
                  <a:pt x="2430400" y="1705202"/>
                  <a:pt x="2431577" y="1700812"/>
                  <a:pt x="2431577" y="1700812"/>
                </a:cubicBezTo>
                <a:cubicBezTo>
                  <a:pt x="2437140" y="1697599"/>
                  <a:pt x="2442708" y="1694388"/>
                  <a:pt x="2448272" y="1691174"/>
                </a:cubicBezTo>
                <a:cubicBezTo>
                  <a:pt x="2449446" y="1686786"/>
                  <a:pt x="2449446" y="1686786"/>
                  <a:pt x="2449446" y="1686786"/>
                </a:cubicBezTo>
                <a:cubicBezTo>
                  <a:pt x="2449446" y="1686786"/>
                  <a:pt x="2453834" y="1687963"/>
                  <a:pt x="2455012" y="1683574"/>
                </a:cubicBezTo>
                <a:cubicBezTo>
                  <a:pt x="2470530" y="1678323"/>
                  <a:pt x="2487225" y="1668686"/>
                  <a:pt x="2503917" y="1659049"/>
                </a:cubicBezTo>
                <a:cubicBezTo>
                  <a:pt x="2502743" y="1663436"/>
                  <a:pt x="2502743" y="1663436"/>
                  <a:pt x="2507131" y="1664611"/>
                </a:cubicBezTo>
                <a:cubicBezTo>
                  <a:pt x="2501567" y="1667825"/>
                  <a:pt x="2501567" y="1667825"/>
                  <a:pt x="2501567" y="1667825"/>
                </a:cubicBezTo>
                <a:cubicBezTo>
                  <a:pt x="2497177" y="1666648"/>
                  <a:pt x="2496002" y="1671037"/>
                  <a:pt x="2496002" y="1671037"/>
                </a:cubicBezTo>
                <a:cubicBezTo>
                  <a:pt x="2496002" y="1671037"/>
                  <a:pt x="2500392" y="1672213"/>
                  <a:pt x="2500392" y="1672213"/>
                </a:cubicBezTo>
                <a:cubicBezTo>
                  <a:pt x="2505955" y="1669000"/>
                  <a:pt x="2505955" y="1669000"/>
                  <a:pt x="2505955" y="1669000"/>
                </a:cubicBezTo>
                <a:cubicBezTo>
                  <a:pt x="2505955" y="1669000"/>
                  <a:pt x="2511520" y="1665788"/>
                  <a:pt x="2511520" y="1665788"/>
                </a:cubicBezTo>
                <a:cubicBezTo>
                  <a:pt x="2512696" y="1661400"/>
                  <a:pt x="2512696" y="1661400"/>
                  <a:pt x="2512696" y="1661400"/>
                </a:cubicBezTo>
                <a:cubicBezTo>
                  <a:pt x="2512696" y="1661400"/>
                  <a:pt x="2512696" y="1661400"/>
                  <a:pt x="2513872" y="1657010"/>
                </a:cubicBezTo>
                <a:cubicBezTo>
                  <a:pt x="2529389" y="1651760"/>
                  <a:pt x="2546085" y="1642123"/>
                  <a:pt x="2561602" y="1636873"/>
                </a:cubicBezTo>
                <a:cubicBezTo>
                  <a:pt x="2561602" y="1636873"/>
                  <a:pt x="2561602" y="1636873"/>
                  <a:pt x="2562779" y="1632484"/>
                </a:cubicBezTo>
                <a:cubicBezTo>
                  <a:pt x="2599378" y="1618771"/>
                  <a:pt x="2631591" y="1603882"/>
                  <a:pt x="2667018" y="1594558"/>
                </a:cubicBezTo>
                <a:cubicBezTo>
                  <a:pt x="2714745" y="1574420"/>
                  <a:pt x="2761300" y="1558673"/>
                  <a:pt x="2812243" y="1544100"/>
                </a:cubicBezTo>
                <a:cubicBezTo>
                  <a:pt x="2822197" y="1542062"/>
                  <a:pt x="2840929" y="1542379"/>
                  <a:pt x="2843282" y="1533600"/>
                </a:cubicBezTo>
                <a:cubicBezTo>
                  <a:pt x="2843282" y="1533600"/>
                  <a:pt x="2843282" y="1533600"/>
                  <a:pt x="2847669" y="1534777"/>
                </a:cubicBezTo>
                <a:cubicBezTo>
                  <a:pt x="2852058" y="1535954"/>
                  <a:pt x="2857624" y="1532741"/>
                  <a:pt x="2862010" y="1533917"/>
                </a:cubicBezTo>
                <a:cubicBezTo>
                  <a:pt x="2862010" y="1533917"/>
                  <a:pt x="2867576" y="1530703"/>
                  <a:pt x="2867576" y="1530703"/>
                </a:cubicBezTo>
                <a:cubicBezTo>
                  <a:pt x="2867576" y="1530703"/>
                  <a:pt x="2863186" y="1529528"/>
                  <a:pt x="2863186" y="1529528"/>
                </a:cubicBezTo>
                <a:cubicBezTo>
                  <a:pt x="2888661" y="1522242"/>
                  <a:pt x="2914133" y="1514956"/>
                  <a:pt x="2939600" y="1507670"/>
                </a:cubicBezTo>
                <a:cubicBezTo>
                  <a:pt x="3000498" y="1491062"/>
                  <a:pt x="3000498" y="1491062"/>
                  <a:pt x="3000498" y="1491062"/>
                </a:cubicBezTo>
                <a:lnTo>
                  <a:pt x="3003670" y="1490412"/>
                </a:lnTo>
                <a:lnTo>
                  <a:pt x="3004982" y="1489998"/>
                </a:lnTo>
                <a:lnTo>
                  <a:pt x="3115310" y="1465800"/>
                </a:lnTo>
                <a:lnTo>
                  <a:pt x="3115554" y="1465444"/>
                </a:lnTo>
                <a:lnTo>
                  <a:pt x="3129316" y="1462727"/>
                </a:lnTo>
                <a:lnTo>
                  <a:pt x="3210333" y="1444957"/>
                </a:lnTo>
                <a:lnTo>
                  <a:pt x="3214742" y="1437725"/>
                </a:lnTo>
                <a:cubicBezTo>
                  <a:pt x="3214014" y="1433707"/>
                  <a:pt x="3208533" y="1426398"/>
                  <a:pt x="3203786" y="1423109"/>
                </a:cubicBezTo>
                <a:cubicBezTo>
                  <a:pt x="3209634" y="1409594"/>
                  <a:pt x="3212201" y="1400827"/>
                  <a:pt x="3211471" y="1396809"/>
                </a:cubicBezTo>
                <a:cubicBezTo>
                  <a:pt x="3211471" y="1396809"/>
                  <a:pt x="3208176" y="1401557"/>
                  <a:pt x="3208176" y="1401557"/>
                </a:cubicBezTo>
                <a:cubicBezTo>
                  <a:pt x="3204160" y="1402287"/>
                  <a:pt x="3204160" y="1402287"/>
                  <a:pt x="3204160" y="1402287"/>
                </a:cubicBezTo>
                <a:cubicBezTo>
                  <a:pt x="3203431" y="1398267"/>
                  <a:pt x="3206718" y="1393519"/>
                  <a:pt x="3210738" y="1392791"/>
                </a:cubicBezTo>
                <a:lnTo>
                  <a:pt x="3212576" y="1390141"/>
                </a:lnTo>
                <a:lnTo>
                  <a:pt x="3181782" y="1393815"/>
                </a:lnTo>
                <a:cubicBezTo>
                  <a:pt x="3184995" y="1399380"/>
                  <a:pt x="3180608" y="1398203"/>
                  <a:pt x="3170657" y="1400241"/>
                </a:cubicBezTo>
                <a:cubicBezTo>
                  <a:pt x="3176219" y="1397028"/>
                  <a:pt x="3177396" y="1392639"/>
                  <a:pt x="3171830" y="1395852"/>
                </a:cubicBezTo>
                <a:cubicBezTo>
                  <a:pt x="3166266" y="1399065"/>
                  <a:pt x="3103334" y="1405720"/>
                  <a:pt x="3110932" y="1412461"/>
                </a:cubicBezTo>
                <a:cubicBezTo>
                  <a:pt x="3085461" y="1419747"/>
                  <a:pt x="3077859" y="1413008"/>
                  <a:pt x="3077859" y="1413008"/>
                </a:cubicBezTo>
                <a:cubicBezTo>
                  <a:pt x="3056774" y="1421470"/>
                  <a:pt x="3076682" y="1417396"/>
                  <a:pt x="3079894" y="1422961"/>
                </a:cubicBezTo>
                <a:cubicBezTo>
                  <a:pt x="3054422" y="1430249"/>
                  <a:pt x="3054422" y="1430249"/>
                  <a:pt x="3054422" y="1430249"/>
                </a:cubicBezTo>
                <a:cubicBezTo>
                  <a:pt x="3066727" y="1419433"/>
                  <a:pt x="3046823" y="1423507"/>
                  <a:pt x="3042433" y="1422330"/>
                </a:cubicBezTo>
                <a:cubicBezTo>
                  <a:pt x="3019000" y="1439571"/>
                  <a:pt x="2967194" y="1439802"/>
                  <a:pt x="2923854" y="1461116"/>
                </a:cubicBezTo>
                <a:cubicBezTo>
                  <a:pt x="2919466" y="1459940"/>
                  <a:pt x="2918292" y="1464329"/>
                  <a:pt x="2913904" y="1463154"/>
                </a:cubicBezTo>
                <a:cubicBezTo>
                  <a:pt x="2909515" y="1461977"/>
                  <a:pt x="2908337" y="1466367"/>
                  <a:pt x="2908337" y="1466367"/>
                </a:cubicBezTo>
                <a:cubicBezTo>
                  <a:pt x="2902772" y="1469579"/>
                  <a:pt x="2907162" y="1470754"/>
                  <a:pt x="2912728" y="1467543"/>
                </a:cubicBezTo>
                <a:cubicBezTo>
                  <a:pt x="2912728" y="1467543"/>
                  <a:pt x="2912728" y="1467543"/>
                  <a:pt x="2917116" y="1468719"/>
                </a:cubicBezTo>
                <a:cubicBezTo>
                  <a:pt x="2864994" y="1487680"/>
                  <a:pt x="2836307" y="1489401"/>
                  <a:pt x="2788579" y="1509539"/>
                </a:cubicBezTo>
                <a:cubicBezTo>
                  <a:pt x="2785365" y="1503973"/>
                  <a:pt x="2779799" y="1507186"/>
                  <a:pt x="2776589" y="1501621"/>
                </a:cubicBezTo>
                <a:cubicBezTo>
                  <a:pt x="2713339" y="1527007"/>
                  <a:pt x="2645702" y="1551219"/>
                  <a:pt x="2581277" y="1580992"/>
                </a:cubicBezTo>
                <a:cubicBezTo>
                  <a:pt x="2512465" y="1609593"/>
                  <a:pt x="2446864" y="1643759"/>
                  <a:pt x="2386829" y="1674711"/>
                </a:cubicBezTo>
                <a:cubicBezTo>
                  <a:pt x="2399995" y="1678240"/>
                  <a:pt x="2425782" y="1652222"/>
                  <a:pt x="2445688" y="1648148"/>
                </a:cubicBezTo>
                <a:cubicBezTo>
                  <a:pt x="2446864" y="1643759"/>
                  <a:pt x="2455641" y="1646112"/>
                  <a:pt x="2460031" y="1647288"/>
                </a:cubicBezTo>
                <a:cubicBezTo>
                  <a:pt x="2497808" y="1629185"/>
                  <a:pt x="2546715" y="1604657"/>
                  <a:pt x="2593268" y="1588907"/>
                </a:cubicBezTo>
                <a:cubicBezTo>
                  <a:pt x="2646565" y="1565559"/>
                  <a:pt x="2705424" y="1538996"/>
                  <a:pt x="2756365" y="1524424"/>
                </a:cubicBezTo>
                <a:cubicBezTo>
                  <a:pt x="2760754" y="1525601"/>
                  <a:pt x="2775098" y="1524741"/>
                  <a:pt x="2775098" y="1524741"/>
                </a:cubicBezTo>
                <a:cubicBezTo>
                  <a:pt x="2806133" y="1514241"/>
                  <a:pt x="2838346" y="1499354"/>
                  <a:pt x="2863815" y="1492067"/>
                </a:cubicBezTo>
                <a:cubicBezTo>
                  <a:pt x="2868208" y="1493244"/>
                  <a:pt x="2862641" y="1496457"/>
                  <a:pt x="2872596" y="1494420"/>
                </a:cubicBezTo>
                <a:cubicBezTo>
                  <a:pt x="2868208" y="1493244"/>
                  <a:pt x="2873770" y="1490033"/>
                  <a:pt x="2874945" y="1485642"/>
                </a:cubicBezTo>
                <a:cubicBezTo>
                  <a:pt x="2915940" y="1473108"/>
                  <a:pt x="2954573" y="1469349"/>
                  <a:pt x="2989998" y="1460024"/>
                </a:cubicBezTo>
                <a:cubicBezTo>
                  <a:pt x="2984435" y="1463238"/>
                  <a:pt x="2980045" y="1462062"/>
                  <a:pt x="2974481" y="1465274"/>
                </a:cubicBezTo>
                <a:cubicBezTo>
                  <a:pt x="2947833" y="1476950"/>
                  <a:pt x="2922363" y="1484236"/>
                  <a:pt x="2932314" y="1482198"/>
                </a:cubicBezTo>
                <a:cubicBezTo>
                  <a:pt x="2906848" y="1489486"/>
                  <a:pt x="2874632" y="1504372"/>
                  <a:pt x="2853551" y="1512836"/>
                </a:cubicBezTo>
                <a:cubicBezTo>
                  <a:pt x="2847985" y="1516046"/>
                  <a:pt x="2847985" y="1516046"/>
                  <a:pt x="2843595" y="1514871"/>
                </a:cubicBezTo>
                <a:cubicBezTo>
                  <a:pt x="2850336" y="1507270"/>
                  <a:pt x="2832465" y="1521298"/>
                  <a:pt x="2834817" y="1512520"/>
                </a:cubicBezTo>
                <a:cubicBezTo>
                  <a:pt x="2823687" y="1518945"/>
                  <a:pt x="2812558" y="1525371"/>
                  <a:pt x="2806992" y="1528583"/>
                </a:cubicBezTo>
                <a:cubicBezTo>
                  <a:pt x="2791475" y="1533832"/>
                  <a:pt x="2781522" y="1535871"/>
                  <a:pt x="2770392" y="1542293"/>
                </a:cubicBezTo>
                <a:cubicBezTo>
                  <a:pt x="2744919" y="1549579"/>
                  <a:pt x="2715059" y="1555692"/>
                  <a:pt x="2705109" y="1557728"/>
                </a:cubicBezTo>
                <a:cubicBezTo>
                  <a:pt x="2709498" y="1558903"/>
                  <a:pt x="2703933" y="1562118"/>
                  <a:pt x="2703933" y="1562118"/>
                </a:cubicBezTo>
                <a:cubicBezTo>
                  <a:pt x="2698367" y="1565329"/>
                  <a:pt x="2692803" y="1568542"/>
                  <a:pt x="2682853" y="1570578"/>
                </a:cubicBezTo>
                <a:cubicBezTo>
                  <a:pt x="2682853" y="1570578"/>
                  <a:pt x="2678459" y="1569402"/>
                  <a:pt x="2677283" y="1573790"/>
                </a:cubicBezTo>
                <a:cubicBezTo>
                  <a:pt x="2661766" y="1579041"/>
                  <a:pt x="2646249" y="1584288"/>
                  <a:pt x="2635119" y="1590714"/>
                </a:cubicBezTo>
                <a:cubicBezTo>
                  <a:pt x="2619602" y="1595963"/>
                  <a:pt x="2605258" y="1596825"/>
                  <a:pt x="2614036" y="1599178"/>
                </a:cubicBezTo>
                <a:cubicBezTo>
                  <a:pt x="2597345" y="1608817"/>
                  <a:pt x="2576265" y="1617279"/>
                  <a:pt x="2550789" y="1624566"/>
                </a:cubicBezTo>
                <a:cubicBezTo>
                  <a:pt x="2545224" y="1627779"/>
                  <a:pt x="2534091" y="1634205"/>
                  <a:pt x="2524140" y="1636243"/>
                </a:cubicBezTo>
                <a:cubicBezTo>
                  <a:pt x="2524140" y="1636243"/>
                  <a:pt x="2519752" y="1635067"/>
                  <a:pt x="2519752" y="1635067"/>
                </a:cubicBezTo>
                <a:cubicBezTo>
                  <a:pt x="2518574" y="1639455"/>
                  <a:pt x="2514186" y="1638279"/>
                  <a:pt x="2514186" y="1638279"/>
                </a:cubicBezTo>
                <a:cubicBezTo>
                  <a:pt x="2513011" y="1642667"/>
                  <a:pt x="2513011" y="1642667"/>
                  <a:pt x="2513011" y="1642667"/>
                </a:cubicBezTo>
                <a:cubicBezTo>
                  <a:pt x="2513011" y="1642667"/>
                  <a:pt x="2513011" y="1642667"/>
                  <a:pt x="2508623" y="1641491"/>
                </a:cubicBezTo>
                <a:cubicBezTo>
                  <a:pt x="2470846" y="1659593"/>
                  <a:pt x="2433070" y="1677693"/>
                  <a:pt x="2405246" y="1693756"/>
                </a:cubicBezTo>
                <a:cubicBezTo>
                  <a:pt x="2400857" y="1692581"/>
                  <a:pt x="2396468" y="1691406"/>
                  <a:pt x="2395293" y="1695795"/>
                </a:cubicBezTo>
                <a:cubicBezTo>
                  <a:pt x="2390903" y="1694618"/>
                  <a:pt x="2390903" y="1694618"/>
                  <a:pt x="2390903" y="1694618"/>
                </a:cubicBezTo>
                <a:cubicBezTo>
                  <a:pt x="2390903" y="1694618"/>
                  <a:pt x="2386515" y="1693443"/>
                  <a:pt x="2385337" y="1697830"/>
                </a:cubicBezTo>
                <a:cubicBezTo>
                  <a:pt x="2384162" y="1702219"/>
                  <a:pt x="2384162" y="1702219"/>
                  <a:pt x="2384162" y="1702219"/>
                </a:cubicBezTo>
                <a:cubicBezTo>
                  <a:pt x="2367467" y="1711857"/>
                  <a:pt x="2329691" y="1729956"/>
                  <a:pt x="2344032" y="1729096"/>
                </a:cubicBezTo>
                <a:cubicBezTo>
                  <a:pt x="2344032" y="1729096"/>
                  <a:pt x="2344032" y="1729096"/>
                  <a:pt x="2338469" y="1732309"/>
                </a:cubicBezTo>
                <a:cubicBezTo>
                  <a:pt x="2334080" y="1731135"/>
                  <a:pt x="2331728" y="1739910"/>
                  <a:pt x="2331728" y="1739910"/>
                </a:cubicBezTo>
                <a:lnTo>
                  <a:pt x="2340322" y="1742214"/>
                </a:lnTo>
                <a:lnTo>
                  <a:pt x="2328827" y="1748540"/>
                </a:lnTo>
                <a:lnTo>
                  <a:pt x="2321486" y="1760638"/>
                </a:lnTo>
                <a:lnTo>
                  <a:pt x="2321368" y="1760700"/>
                </a:lnTo>
                <a:lnTo>
                  <a:pt x="2303894" y="1764793"/>
                </a:lnTo>
                <a:cubicBezTo>
                  <a:pt x="2298180" y="1768552"/>
                  <a:pt x="2292027" y="1773958"/>
                  <a:pt x="2283680" y="1778776"/>
                </a:cubicBezTo>
                <a:cubicBezTo>
                  <a:pt x="2283680" y="1778776"/>
                  <a:pt x="2279292" y="1777601"/>
                  <a:pt x="2279292" y="1777601"/>
                </a:cubicBezTo>
                <a:cubicBezTo>
                  <a:pt x="2278116" y="1781987"/>
                  <a:pt x="2273729" y="1780813"/>
                  <a:pt x="2278116" y="1781987"/>
                </a:cubicBezTo>
                <a:cubicBezTo>
                  <a:pt x="2278116" y="1781987"/>
                  <a:pt x="2278116" y="1781987"/>
                  <a:pt x="2276941" y="1786379"/>
                </a:cubicBezTo>
                <a:cubicBezTo>
                  <a:pt x="2271375" y="1789591"/>
                  <a:pt x="2266988" y="1788416"/>
                  <a:pt x="2262596" y="1787239"/>
                </a:cubicBezTo>
                <a:cubicBezTo>
                  <a:pt x="2268165" y="1784027"/>
                  <a:pt x="2268165" y="1784027"/>
                  <a:pt x="2268165" y="1784027"/>
                </a:cubicBezTo>
                <a:cubicBezTo>
                  <a:pt x="2273729" y="1780813"/>
                  <a:pt x="2274904" y="1776425"/>
                  <a:pt x="2274904" y="1776425"/>
                </a:cubicBezTo>
                <a:cubicBezTo>
                  <a:pt x="2270515" y="1775248"/>
                  <a:pt x="2266126" y="1774073"/>
                  <a:pt x="2264951" y="1778461"/>
                </a:cubicBezTo>
                <a:cubicBezTo>
                  <a:pt x="2260563" y="1777284"/>
                  <a:pt x="2260563" y="1777284"/>
                  <a:pt x="2260563" y="1777284"/>
                </a:cubicBezTo>
                <a:cubicBezTo>
                  <a:pt x="2261738" y="1772897"/>
                  <a:pt x="2287210" y="1765612"/>
                  <a:pt x="2283996" y="1760049"/>
                </a:cubicBezTo>
                <a:cubicBezTo>
                  <a:pt x="2232738" y="1793350"/>
                  <a:pt x="2167137" y="1827515"/>
                  <a:pt x="2110312" y="1864033"/>
                </a:cubicBezTo>
                <a:cubicBezTo>
                  <a:pt x="2104749" y="1867244"/>
                  <a:pt x="2098008" y="1874845"/>
                  <a:pt x="2092424" y="1878058"/>
                </a:cubicBezTo>
                <a:cubicBezTo>
                  <a:pt x="2091249" y="1882446"/>
                  <a:pt x="2092424" y="1878058"/>
                  <a:pt x="2086862" y="1881270"/>
                </a:cubicBezTo>
                <a:cubicBezTo>
                  <a:pt x="2041165" y="1911362"/>
                  <a:pt x="1987555" y="1953443"/>
                  <a:pt x="1937160" y="2001089"/>
                </a:cubicBezTo>
                <a:lnTo>
                  <a:pt x="1930371" y="2003698"/>
                </a:lnTo>
                <a:lnTo>
                  <a:pt x="1938336" y="1996700"/>
                </a:lnTo>
                <a:cubicBezTo>
                  <a:pt x="1933946" y="1995522"/>
                  <a:pt x="1935121" y="1991136"/>
                  <a:pt x="1940688" y="1987921"/>
                </a:cubicBezTo>
                <a:cubicBezTo>
                  <a:pt x="1943898" y="1993487"/>
                  <a:pt x="1952992" y="1977109"/>
                  <a:pt x="1954168" y="1972720"/>
                </a:cubicBezTo>
                <a:cubicBezTo>
                  <a:pt x="1954168" y="1972720"/>
                  <a:pt x="1958557" y="1973897"/>
                  <a:pt x="1959734" y="1969507"/>
                </a:cubicBezTo>
                <a:cubicBezTo>
                  <a:pt x="1959734" y="1969507"/>
                  <a:pt x="1960909" y="1965118"/>
                  <a:pt x="1960909" y="1965118"/>
                </a:cubicBezTo>
                <a:cubicBezTo>
                  <a:pt x="1968825" y="1953130"/>
                  <a:pt x="1994612" y="1927110"/>
                  <a:pt x="1989045" y="1930324"/>
                </a:cubicBezTo>
                <a:cubicBezTo>
                  <a:pt x="1987870" y="1934712"/>
                  <a:pt x="1983481" y="1933535"/>
                  <a:pt x="1982306" y="1937926"/>
                </a:cubicBezTo>
                <a:cubicBezTo>
                  <a:pt x="1983481" y="1933535"/>
                  <a:pt x="1984659" y="1929146"/>
                  <a:pt x="1984659" y="1929146"/>
                </a:cubicBezTo>
                <a:cubicBezTo>
                  <a:pt x="1984659" y="1929146"/>
                  <a:pt x="1980269" y="1927970"/>
                  <a:pt x="1974705" y="1931184"/>
                </a:cubicBezTo>
                <a:cubicBezTo>
                  <a:pt x="1974705" y="1931184"/>
                  <a:pt x="1974705" y="1931184"/>
                  <a:pt x="1975880" y="1926795"/>
                </a:cubicBezTo>
                <a:cubicBezTo>
                  <a:pt x="1975880" y="1926795"/>
                  <a:pt x="1980269" y="1927970"/>
                  <a:pt x="1981445" y="1923582"/>
                </a:cubicBezTo>
                <a:cubicBezTo>
                  <a:pt x="1981445" y="1923582"/>
                  <a:pt x="1981445" y="1923582"/>
                  <a:pt x="1982620" y="1919193"/>
                </a:cubicBezTo>
                <a:cubicBezTo>
                  <a:pt x="1994927" y="1908378"/>
                  <a:pt x="2001667" y="1900777"/>
                  <a:pt x="2002843" y="1896389"/>
                </a:cubicBezTo>
                <a:cubicBezTo>
                  <a:pt x="2004019" y="1892000"/>
                  <a:pt x="2004019" y="1892000"/>
                  <a:pt x="2004019" y="1892000"/>
                </a:cubicBezTo>
                <a:cubicBezTo>
                  <a:pt x="2004019" y="1892000"/>
                  <a:pt x="2004019" y="1892000"/>
                  <a:pt x="1998454" y="1895211"/>
                </a:cubicBezTo>
                <a:cubicBezTo>
                  <a:pt x="2004019" y="1892000"/>
                  <a:pt x="1999631" y="1890823"/>
                  <a:pt x="1994066" y="1894036"/>
                </a:cubicBezTo>
                <a:cubicBezTo>
                  <a:pt x="2024241" y="1869197"/>
                  <a:pt x="2038898" y="1849604"/>
                  <a:pt x="2059121" y="1826799"/>
                </a:cubicBezTo>
                <a:cubicBezTo>
                  <a:pt x="2078168" y="1808385"/>
                  <a:pt x="2097232" y="1789968"/>
                  <a:pt x="2127407" y="1765129"/>
                </a:cubicBezTo>
                <a:cubicBezTo>
                  <a:pt x="2121841" y="1768340"/>
                  <a:pt x="2123017" y="1763952"/>
                  <a:pt x="2128582" y="1760743"/>
                </a:cubicBezTo>
                <a:cubicBezTo>
                  <a:pt x="2128582" y="1760743"/>
                  <a:pt x="2128582" y="1760743"/>
                  <a:pt x="2132973" y="1761916"/>
                </a:cubicBezTo>
                <a:cubicBezTo>
                  <a:pt x="2132973" y="1761916"/>
                  <a:pt x="2134148" y="1757527"/>
                  <a:pt x="2134148" y="1757527"/>
                </a:cubicBezTo>
                <a:cubicBezTo>
                  <a:pt x="2139715" y="1754314"/>
                  <a:pt x="2139715" y="1754314"/>
                  <a:pt x="2139715" y="1754314"/>
                </a:cubicBezTo>
                <a:cubicBezTo>
                  <a:pt x="2152020" y="1743500"/>
                  <a:pt x="2152020" y="1743500"/>
                  <a:pt x="2152020" y="1743500"/>
                </a:cubicBezTo>
                <a:cubicBezTo>
                  <a:pt x="2147630" y="1742323"/>
                  <a:pt x="2153196" y="1739112"/>
                  <a:pt x="2154371" y="1734723"/>
                </a:cubicBezTo>
                <a:cubicBezTo>
                  <a:pt x="2143242" y="1741148"/>
                  <a:pt x="2147630" y="1742323"/>
                  <a:pt x="2140889" y="1749926"/>
                </a:cubicBezTo>
                <a:cubicBezTo>
                  <a:pt x="2140889" y="1749926"/>
                  <a:pt x="2136500" y="1748750"/>
                  <a:pt x="2136500" y="1748750"/>
                </a:cubicBezTo>
                <a:cubicBezTo>
                  <a:pt x="2136500" y="1748750"/>
                  <a:pt x="2136500" y="1748750"/>
                  <a:pt x="2137675" y="1744361"/>
                </a:cubicBezTo>
                <a:cubicBezTo>
                  <a:pt x="2133287" y="1743185"/>
                  <a:pt x="2132110" y="1747575"/>
                  <a:pt x="2132110" y="1747575"/>
                </a:cubicBezTo>
                <a:cubicBezTo>
                  <a:pt x="2132110" y="1747575"/>
                  <a:pt x="2130935" y="1751963"/>
                  <a:pt x="2130935" y="1751963"/>
                </a:cubicBezTo>
                <a:cubicBezTo>
                  <a:pt x="2125369" y="1755176"/>
                  <a:pt x="2125369" y="1755176"/>
                  <a:pt x="2125369" y="1755176"/>
                </a:cubicBezTo>
                <a:cubicBezTo>
                  <a:pt x="2119805" y="1758387"/>
                  <a:pt x="2116279" y="1771554"/>
                  <a:pt x="2113065" y="1765989"/>
                </a:cubicBezTo>
                <a:cubicBezTo>
                  <a:pt x="2103110" y="1768027"/>
                  <a:pt x="2116279" y="1771554"/>
                  <a:pt x="2110712" y="1774765"/>
                </a:cubicBezTo>
                <a:cubicBezTo>
                  <a:pt x="2105148" y="1777976"/>
                  <a:pt x="2106325" y="1773591"/>
                  <a:pt x="2101933" y="1772415"/>
                </a:cubicBezTo>
                <a:cubicBezTo>
                  <a:pt x="2095177" y="1780013"/>
                  <a:pt x="2080520" y="1799606"/>
                  <a:pt x="2080520" y="1799606"/>
                </a:cubicBezTo>
                <a:cubicBezTo>
                  <a:pt x="2067038" y="1814810"/>
                  <a:pt x="2038036" y="1835261"/>
                  <a:pt x="2031295" y="1842864"/>
                </a:cubicBezTo>
                <a:cubicBezTo>
                  <a:pt x="2025732" y="1846076"/>
                  <a:pt x="2031295" y="1842864"/>
                  <a:pt x="2035684" y="1844040"/>
                </a:cubicBezTo>
                <a:cubicBezTo>
                  <a:pt x="2031295" y="1842864"/>
                  <a:pt x="2024556" y="1850465"/>
                  <a:pt x="2024556" y="1850465"/>
                </a:cubicBezTo>
                <a:cubicBezTo>
                  <a:pt x="2024556" y="1850465"/>
                  <a:pt x="2022203" y="1859243"/>
                  <a:pt x="2022203" y="1859243"/>
                </a:cubicBezTo>
                <a:cubicBezTo>
                  <a:pt x="2016639" y="1862457"/>
                  <a:pt x="2018990" y="1853679"/>
                  <a:pt x="2017815" y="1858067"/>
                </a:cubicBezTo>
                <a:cubicBezTo>
                  <a:pt x="2007862" y="1860103"/>
                  <a:pt x="2014287" y="1871234"/>
                  <a:pt x="2006687" y="1864492"/>
                </a:cubicBezTo>
                <a:cubicBezTo>
                  <a:pt x="1999866" y="1876776"/>
                  <a:pt x="1985464" y="1897611"/>
                  <a:pt x="1972143" y="1909476"/>
                </a:cubicBezTo>
                <a:lnTo>
                  <a:pt x="1963250" y="1915263"/>
                </a:lnTo>
                <a:lnTo>
                  <a:pt x="1963127" y="1915145"/>
                </a:lnTo>
                <a:cubicBezTo>
                  <a:pt x="1961481" y="1914704"/>
                  <a:pt x="1960090" y="1915507"/>
                  <a:pt x="1959503" y="1917702"/>
                </a:cubicBezTo>
                <a:lnTo>
                  <a:pt x="1963250" y="1915263"/>
                </a:lnTo>
                <a:lnTo>
                  <a:pt x="1968279" y="1920055"/>
                </a:lnTo>
                <a:cubicBezTo>
                  <a:pt x="1938105" y="1944897"/>
                  <a:pt x="1898836" y="1986114"/>
                  <a:pt x="1889743" y="2002493"/>
                </a:cubicBezTo>
                <a:cubicBezTo>
                  <a:pt x="1883001" y="2010095"/>
                  <a:pt x="1834957" y="2048962"/>
                  <a:pt x="1829077" y="2070907"/>
                </a:cubicBezTo>
                <a:cubicBezTo>
                  <a:pt x="1822336" y="2078509"/>
                  <a:pt x="1829077" y="2070907"/>
                  <a:pt x="1824688" y="2069729"/>
                </a:cubicBezTo>
                <a:cubicBezTo>
                  <a:pt x="1821159" y="2082896"/>
                  <a:pt x="1796550" y="2104523"/>
                  <a:pt x="1784245" y="2115340"/>
                </a:cubicBezTo>
                <a:cubicBezTo>
                  <a:pt x="1784245" y="2115340"/>
                  <a:pt x="1790986" y="2107734"/>
                  <a:pt x="1787773" y="2102173"/>
                </a:cubicBezTo>
                <a:cubicBezTo>
                  <a:pt x="1770763" y="2130540"/>
                  <a:pt x="1777505" y="2122938"/>
                  <a:pt x="1787458" y="2120900"/>
                </a:cubicBezTo>
                <a:cubicBezTo>
                  <a:pt x="1760496" y="2151310"/>
                  <a:pt x="1759320" y="2155697"/>
                  <a:pt x="1737061" y="2168550"/>
                </a:cubicBezTo>
                <a:cubicBezTo>
                  <a:pt x="1737061" y="2168550"/>
                  <a:pt x="1731496" y="2171762"/>
                  <a:pt x="1731496" y="2171762"/>
                </a:cubicBezTo>
                <a:cubicBezTo>
                  <a:pt x="1731496" y="2171762"/>
                  <a:pt x="1731496" y="2171762"/>
                  <a:pt x="1730321" y="2176153"/>
                </a:cubicBezTo>
                <a:cubicBezTo>
                  <a:pt x="1730321" y="2176153"/>
                  <a:pt x="1734708" y="2177325"/>
                  <a:pt x="1734708" y="2177325"/>
                </a:cubicBezTo>
                <a:cubicBezTo>
                  <a:pt x="1734708" y="2177325"/>
                  <a:pt x="1733532" y="2181716"/>
                  <a:pt x="1727968" y="2184927"/>
                </a:cubicBezTo>
                <a:cubicBezTo>
                  <a:pt x="1727968" y="2184927"/>
                  <a:pt x="1727968" y="2184927"/>
                  <a:pt x="1729143" y="2180539"/>
                </a:cubicBezTo>
                <a:cubicBezTo>
                  <a:pt x="1729143" y="2180539"/>
                  <a:pt x="1729143" y="2180539"/>
                  <a:pt x="1724755" y="2179365"/>
                </a:cubicBezTo>
                <a:cubicBezTo>
                  <a:pt x="1723580" y="2183754"/>
                  <a:pt x="1723580" y="2183754"/>
                  <a:pt x="1722403" y="2188140"/>
                </a:cubicBezTo>
                <a:cubicBezTo>
                  <a:pt x="1716838" y="2191359"/>
                  <a:pt x="1716838" y="2191359"/>
                  <a:pt x="1716838" y="2191359"/>
                </a:cubicBezTo>
                <a:cubicBezTo>
                  <a:pt x="1711274" y="2194568"/>
                  <a:pt x="1696617" y="2214158"/>
                  <a:pt x="1713311" y="2204523"/>
                </a:cubicBezTo>
                <a:cubicBezTo>
                  <a:pt x="1707747" y="2207735"/>
                  <a:pt x="1707747" y="2207735"/>
                  <a:pt x="1706571" y="2212124"/>
                </a:cubicBezTo>
                <a:cubicBezTo>
                  <a:pt x="1706571" y="2212124"/>
                  <a:pt x="1710960" y="2213296"/>
                  <a:pt x="1712135" y="2208911"/>
                </a:cubicBezTo>
                <a:cubicBezTo>
                  <a:pt x="1712135" y="2208911"/>
                  <a:pt x="1716524" y="2210089"/>
                  <a:pt x="1717700" y="2205701"/>
                </a:cubicBezTo>
                <a:cubicBezTo>
                  <a:pt x="1716524" y="2210089"/>
                  <a:pt x="1715348" y="2214474"/>
                  <a:pt x="1715348" y="2214474"/>
                </a:cubicBezTo>
                <a:cubicBezTo>
                  <a:pt x="1709783" y="2217686"/>
                  <a:pt x="1703042" y="2225284"/>
                  <a:pt x="1695127" y="2237275"/>
                </a:cubicBezTo>
                <a:cubicBezTo>
                  <a:pt x="1681645" y="2252473"/>
                  <a:pt x="1668163" y="2267673"/>
                  <a:pt x="1660247" y="2279661"/>
                </a:cubicBezTo>
                <a:cubicBezTo>
                  <a:pt x="1659071" y="2284055"/>
                  <a:pt x="1654684" y="2282877"/>
                  <a:pt x="1654684" y="2282877"/>
                </a:cubicBezTo>
                <a:cubicBezTo>
                  <a:pt x="1654684" y="2282877"/>
                  <a:pt x="1653507" y="2287266"/>
                  <a:pt x="1653507" y="2287266"/>
                </a:cubicBezTo>
                <a:cubicBezTo>
                  <a:pt x="1651155" y="2296045"/>
                  <a:pt x="1644414" y="2303645"/>
                  <a:pt x="1638849" y="2306859"/>
                </a:cubicBezTo>
                <a:cubicBezTo>
                  <a:pt x="1637673" y="2311249"/>
                  <a:pt x="1630933" y="2318852"/>
                  <a:pt x="1629757" y="2323240"/>
                </a:cubicBezTo>
                <a:cubicBezTo>
                  <a:pt x="1623016" y="2330843"/>
                  <a:pt x="1610711" y="2341656"/>
                  <a:pt x="1603970" y="2349258"/>
                </a:cubicBezTo>
                <a:cubicBezTo>
                  <a:pt x="1599581" y="2348080"/>
                  <a:pt x="1599581" y="2348080"/>
                  <a:pt x="1599581" y="2348080"/>
                </a:cubicBezTo>
                <a:cubicBezTo>
                  <a:pt x="1598406" y="2352473"/>
                  <a:pt x="1598406" y="2352473"/>
                  <a:pt x="1597229" y="2356858"/>
                </a:cubicBezTo>
                <a:cubicBezTo>
                  <a:pt x="1591666" y="2360073"/>
                  <a:pt x="1596055" y="2361251"/>
                  <a:pt x="1596055" y="2361251"/>
                </a:cubicBezTo>
                <a:cubicBezTo>
                  <a:pt x="1601618" y="2358035"/>
                  <a:pt x="1601618" y="2358035"/>
                  <a:pt x="1601618" y="2358035"/>
                </a:cubicBezTo>
                <a:cubicBezTo>
                  <a:pt x="1594878" y="2365637"/>
                  <a:pt x="1578183" y="2375277"/>
                  <a:pt x="1580221" y="2385231"/>
                </a:cubicBezTo>
                <a:cubicBezTo>
                  <a:pt x="1575832" y="2384052"/>
                  <a:pt x="1575832" y="2384052"/>
                  <a:pt x="1574655" y="2388437"/>
                </a:cubicBezTo>
                <a:cubicBezTo>
                  <a:pt x="1569091" y="2391651"/>
                  <a:pt x="1573479" y="2392829"/>
                  <a:pt x="1573479" y="2392829"/>
                </a:cubicBezTo>
                <a:cubicBezTo>
                  <a:pt x="1561173" y="2403644"/>
                  <a:pt x="1566425" y="2419160"/>
                  <a:pt x="1556470" y="2421201"/>
                </a:cubicBezTo>
                <a:cubicBezTo>
                  <a:pt x="1557647" y="2416809"/>
                  <a:pt x="1557647" y="2416809"/>
                  <a:pt x="1557647" y="2416809"/>
                </a:cubicBezTo>
                <a:cubicBezTo>
                  <a:pt x="1564387" y="2409205"/>
                  <a:pt x="1565564" y="2404818"/>
                  <a:pt x="1561173" y="2403644"/>
                </a:cubicBezTo>
                <a:cubicBezTo>
                  <a:pt x="1561173" y="2403644"/>
                  <a:pt x="1555609" y="2406854"/>
                  <a:pt x="1554435" y="2411246"/>
                </a:cubicBezTo>
                <a:cubicBezTo>
                  <a:pt x="1548870" y="2414457"/>
                  <a:pt x="1548870" y="2414457"/>
                  <a:pt x="1548870" y="2414457"/>
                </a:cubicBezTo>
                <a:cubicBezTo>
                  <a:pt x="1540092" y="2412103"/>
                  <a:pt x="1548009" y="2400109"/>
                  <a:pt x="1557962" y="2398072"/>
                </a:cubicBezTo>
                <a:cubicBezTo>
                  <a:pt x="1548009" y="2400109"/>
                  <a:pt x="1558278" y="2379347"/>
                  <a:pt x="1550361" y="2391334"/>
                </a:cubicBezTo>
                <a:cubicBezTo>
                  <a:pt x="1556786" y="2402467"/>
                  <a:pt x="1529277" y="2399799"/>
                  <a:pt x="1528963" y="2418533"/>
                </a:cubicBezTo>
                <a:cubicBezTo>
                  <a:pt x="1523398" y="2421746"/>
                  <a:pt x="1523398" y="2421746"/>
                  <a:pt x="1523398" y="2421746"/>
                </a:cubicBezTo>
                <a:cubicBezTo>
                  <a:pt x="1523398" y="2421746"/>
                  <a:pt x="1522222" y="2426134"/>
                  <a:pt x="1522222" y="2426134"/>
                </a:cubicBezTo>
                <a:cubicBezTo>
                  <a:pt x="1516657" y="2429349"/>
                  <a:pt x="1521046" y="2430521"/>
                  <a:pt x="1521046" y="2430521"/>
                </a:cubicBezTo>
                <a:cubicBezTo>
                  <a:pt x="1522222" y="2426134"/>
                  <a:pt x="1526611" y="2427311"/>
                  <a:pt x="1526611" y="2427311"/>
                </a:cubicBezTo>
                <a:cubicBezTo>
                  <a:pt x="1525436" y="2431698"/>
                  <a:pt x="1518694" y="2439299"/>
                  <a:pt x="1523083" y="2440473"/>
                </a:cubicBezTo>
                <a:cubicBezTo>
                  <a:pt x="1528648" y="2437260"/>
                  <a:pt x="1521907" y="2444864"/>
                  <a:pt x="1526296" y="2446043"/>
                </a:cubicBezTo>
                <a:cubicBezTo>
                  <a:pt x="1533036" y="2438438"/>
                  <a:pt x="1534213" y="2434048"/>
                  <a:pt x="1540953" y="2426449"/>
                </a:cubicBezTo>
                <a:cubicBezTo>
                  <a:pt x="1539777" y="2430837"/>
                  <a:pt x="1539777" y="2430837"/>
                  <a:pt x="1539777" y="2430837"/>
                </a:cubicBezTo>
                <a:cubicBezTo>
                  <a:pt x="1538602" y="2435226"/>
                  <a:pt x="1537425" y="2439614"/>
                  <a:pt x="1541815" y="2440790"/>
                </a:cubicBezTo>
                <a:lnTo>
                  <a:pt x="1547624" y="2434236"/>
                </a:lnTo>
                <a:lnTo>
                  <a:pt x="1544958" y="2442221"/>
                </a:lnTo>
                <a:cubicBezTo>
                  <a:pt x="1541147" y="2447665"/>
                  <a:pt x="1536091" y="2453368"/>
                  <a:pt x="1531545" y="2461558"/>
                </a:cubicBezTo>
                <a:cubicBezTo>
                  <a:pt x="1556157" y="2439931"/>
                  <a:pt x="1534758" y="2467122"/>
                  <a:pt x="1541183" y="2478255"/>
                </a:cubicBezTo>
                <a:cubicBezTo>
                  <a:pt x="1535619" y="2481466"/>
                  <a:pt x="1537970" y="2472689"/>
                  <a:pt x="1537970" y="2472689"/>
                </a:cubicBezTo>
                <a:cubicBezTo>
                  <a:pt x="1533583" y="2471511"/>
                  <a:pt x="1533583" y="2471511"/>
                  <a:pt x="1533583" y="2471511"/>
                </a:cubicBezTo>
                <a:cubicBezTo>
                  <a:pt x="1534758" y="2467122"/>
                  <a:pt x="1534758" y="2467122"/>
                  <a:pt x="1529194" y="2470336"/>
                </a:cubicBezTo>
                <a:cubicBezTo>
                  <a:pt x="1529194" y="2470336"/>
                  <a:pt x="1528018" y="2474727"/>
                  <a:pt x="1526840" y="2479113"/>
                </a:cubicBezTo>
                <a:cubicBezTo>
                  <a:pt x="1525665" y="2483505"/>
                  <a:pt x="1525665" y="2483505"/>
                  <a:pt x="1525665" y="2483505"/>
                </a:cubicBezTo>
                <a:cubicBezTo>
                  <a:pt x="1520101" y="2486716"/>
                  <a:pt x="1516888" y="2481153"/>
                  <a:pt x="1514537" y="2489929"/>
                </a:cubicBezTo>
                <a:cubicBezTo>
                  <a:pt x="1515712" y="2485542"/>
                  <a:pt x="1515712" y="2485542"/>
                  <a:pt x="1516888" y="2481153"/>
                </a:cubicBezTo>
                <a:cubicBezTo>
                  <a:pt x="1518064" y="2476763"/>
                  <a:pt x="1513674" y="2475586"/>
                  <a:pt x="1512498" y="2479973"/>
                </a:cubicBezTo>
                <a:cubicBezTo>
                  <a:pt x="1508111" y="2478800"/>
                  <a:pt x="1506934" y="2483188"/>
                  <a:pt x="1505759" y="2487577"/>
                </a:cubicBezTo>
                <a:cubicBezTo>
                  <a:pt x="1504583" y="2491965"/>
                  <a:pt x="1504583" y="2491965"/>
                  <a:pt x="1503406" y="2496355"/>
                </a:cubicBezTo>
                <a:cubicBezTo>
                  <a:pt x="1501055" y="2505132"/>
                  <a:pt x="1503092" y="2515085"/>
                  <a:pt x="1509832" y="2507482"/>
                </a:cubicBezTo>
                <a:cubicBezTo>
                  <a:pt x="1508657" y="2511871"/>
                  <a:pt x="1508657" y="2511871"/>
                  <a:pt x="1513046" y="2513048"/>
                </a:cubicBezTo>
                <a:cubicBezTo>
                  <a:pt x="1513046" y="2513048"/>
                  <a:pt x="1513046" y="2513048"/>
                  <a:pt x="1518610" y="2509835"/>
                </a:cubicBezTo>
                <a:cubicBezTo>
                  <a:pt x="1517433" y="2514224"/>
                  <a:pt x="1510693" y="2521827"/>
                  <a:pt x="1508343" y="2530604"/>
                </a:cubicBezTo>
                <a:cubicBezTo>
                  <a:pt x="1510693" y="2521827"/>
                  <a:pt x="1517433" y="2514224"/>
                  <a:pt x="1511870" y="2517438"/>
                </a:cubicBezTo>
                <a:cubicBezTo>
                  <a:pt x="1501916" y="2519472"/>
                  <a:pt x="1508343" y="2530604"/>
                  <a:pt x="1498388" y="2532642"/>
                </a:cubicBezTo>
                <a:cubicBezTo>
                  <a:pt x="1493998" y="2531466"/>
                  <a:pt x="1493998" y="2531466"/>
                  <a:pt x="1493998" y="2531466"/>
                </a:cubicBezTo>
                <a:cubicBezTo>
                  <a:pt x="1493998" y="2531466"/>
                  <a:pt x="1493998" y="2531466"/>
                  <a:pt x="1492823" y="2535852"/>
                </a:cubicBezTo>
                <a:cubicBezTo>
                  <a:pt x="1492823" y="2535852"/>
                  <a:pt x="1492823" y="2535852"/>
                  <a:pt x="1491647" y="2540241"/>
                </a:cubicBezTo>
                <a:cubicBezTo>
                  <a:pt x="1496037" y="2541420"/>
                  <a:pt x="1496037" y="2541420"/>
                  <a:pt x="1496037" y="2541420"/>
                </a:cubicBezTo>
                <a:cubicBezTo>
                  <a:pt x="1490472" y="2544632"/>
                  <a:pt x="1490472" y="2544632"/>
                  <a:pt x="1484908" y="2547842"/>
                </a:cubicBezTo>
                <a:lnTo>
                  <a:pt x="1480204" y="2565400"/>
                </a:lnTo>
                <a:lnTo>
                  <a:pt x="1473492" y="2579476"/>
                </a:lnTo>
                <a:cubicBezTo>
                  <a:pt x="1472208" y="2582072"/>
                  <a:pt x="1470523" y="2583971"/>
                  <a:pt x="1464370" y="2589380"/>
                </a:cubicBezTo>
                <a:cubicBezTo>
                  <a:pt x="1465546" y="2584991"/>
                  <a:pt x="1461158" y="2583815"/>
                  <a:pt x="1461158" y="2583815"/>
                </a:cubicBezTo>
                <a:cubicBezTo>
                  <a:pt x="1461158" y="2583815"/>
                  <a:pt x="1459981" y="2588205"/>
                  <a:pt x="1459981" y="2588205"/>
                </a:cubicBezTo>
                <a:cubicBezTo>
                  <a:pt x="1455593" y="2587026"/>
                  <a:pt x="1455593" y="2587026"/>
                  <a:pt x="1455593" y="2587026"/>
                </a:cubicBezTo>
                <a:cubicBezTo>
                  <a:pt x="1471426" y="2563047"/>
                  <a:pt x="1456770" y="2582638"/>
                  <a:pt x="1452380" y="2581463"/>
                </a:cubicBezTo>
                <a:cubicBezTo>
                  <a:pt x="1460297" y="2569473"/>
                  <a:pt x="1468213" y="2557480"/>
                  <a:pt x="1471740" y="2544315"/>
                </a:cubicBezTo>
                <a:cubicBezTo>
                  <a:pt x="1476130" y="2545491"/>
                  <a:pt x="1476130" y="2545491"/>
                  <a:pt x="1476130" y="2545491"/>
                </a:cubicBezTo>
                <a:cubicBezTo>
                  <a:pt x="1482870" y="2537890"/>
                  <a:pt x="1484046" y="2533501"/>
                  <a:pt x="1485222" y="2529113"/>
                </a:cubicBezTo>
                <a:cubicBezTo>
                  <a:pt x="1478482" y="2536713"/>
                  <a:pt x="1477306" y="2541104"/>
                  <a:pt x="1472916" y="2539926"/>
                </a:cubicBezTo>
                <a:cubicBezTo>
                  <a:pt x="1480833" y="2527937"/>
                  <a:pt x="1476444" y="2526761"/>
                  <a:pt x="1483185" y="2519158"/>
                </a:cubicBezTo>
                <a:cubicBezTo>
                  <a:pt x="1483185" y="2519158"/>
                  <a:pt x="1484361" y="2514768"/>
                  <a:pt x="1488750" y="2515946"/>
                </a:cubicBezTo>
                <a:cubicBezTo>
                  <a:pt x="1489926" y="2511558"/>
                  <a:pt x="1489926" y="2511558"/>
                  <a:pt x="1489926" y="2511558"/>
                </a:cubicBezTo>
                <a:cubicBezTo>
                  <a:pt x="1491102" y="2507170"/>
                  <a:pt x="1492279" y="2502780"/>
                  <a:pt x="1486712" y="2505993"/>
                </a:cubicBezTo>
                <a:cubicBezTo>
                  <a:pt x="1481148" y="2509205"/>
                  <a:pt x="1481148" y="2509205"/>
                  <a:pt x="1481148" y="2509205"/>
                </a:cubicBezTo>
                <a:cubicBezTo>
                  <a:pt x="1476761" y="2508031"/>
                  <a:pt x="1475584" y="2512417"/>
                  <a:pt x="1474408" y="2516807"/>
                </a:cubicBezTo>
                <a:cubicBezTo>
                  <a:pt x="1473233" y="2521196"/>
                  <a:pt x="1473233" y="2521196"/>
                  <a:pt x="1473233" y="2521196"/>
                </a:cubicBezTo>
                <a:cubicBezTo>
                  <a:pt x="1477620" y="2522370"/>
                  <a:pt x="1477620" y="2522370"/>
                  <a:pt x="1477620" y="2522370"/>
                </a:cubicBezTo>
                <a:cubicBezTo>
                  <a:pt x="1474092" y="2535536"/>
                  <a:pt x="1452695" y="2562733"/>
                  <a:pt x="1447990" y="2580287"/>
                </a:cubicBezTo>
                <a:cubicBezTo>
                  <a:pt x="1442427" y="2583502"/>
                  <a:pt x="1442427" y="2583502"/>
                  <a:pt x="1442427" y="2583502"/>
                </a:cubicBezTo>
                <a:cubicBezTo>
                  <a:pt x="1442427" y="2583502"/>
                  <a:pt x="1442427" y="2583502"/>
                  <a:pt x="1441252" y="2587888"/>
                </a:cubicBezTo>
                <a:cubicBezTo>
                  <a:pt x="1441252" y="2587888"/>
                  <a:pt x="1440076" y="2592277"/>
                  <a:pt x="1440076" y="2592277"/>
                </a:cubicBezTo>
                <a:cubicBezTo>
                  <a:pt x="1437724" y="2601056"/>
                  <a:pt x="1429807" y="2613046"/>
                  <a:pt x="1424241" y="2616259"/>
                </a:cubicBezTo>
                <a:cubicBezTo>
                  <a:pt x="1428631" y="2617435"/>
                  <a:pt x="1428631" y="2617435"/>
                  <a:pt x="1428631" y="2617435"/>
                </a:cubicBezTo>
                <a:cubicBezTo>
                  <a:pt x="1423065" y="2620646"/>
                  <a:pt x="1423065" y="2620646"/>
                  <a:pt x="1423065" y="2620646"/>
                </a:cubicBezTo>
                <a:cubicBezTo>
                  <a:pt x="1423065" y="2620646"/>
                  <a:pt x="1417501" y="2623860"/>
                  <a:pt x="1416325" y="2628250"/>
                </a:cubicBezTo>
                <a:cubicBezTo>
                  <a:pt x="1416325" y="2628250"/>
                  <a:pt x="1415149" y="2632636"/>
                  <a:pt x="1419537" y="2633816"/>
                </a:cubicBezTo>
                <a:cubicBezTo>
                  <a:pt x="1403390" y="2676529"/>
                  <a:pt x="1384343" y="2694941"/>
                  <a:pt x="1380501" y="2726844"/>
                </a:cubicBezTo>
                <a:cubicBezTo>
                  <a:pt x="1376112" y="2725668"/>
                  <a:pt x="1374936" y="2730055"/>
                  <a:pt x="1373761" y="2734444"/>
                </a:cubicBezTo>
                <a:cubicBezTo>
                  <a:pt x="1373761" y="2734444"/>
                  <a:pt x="1372584" y="2738834"/>
                  <a:pt x="1372584" y="2738834"/>
                </a:cubicBezTo>
                <a:cubicBezTo>
                  <a:pt x="1376973" y="2740010"/>
                  <a:pt x="1376973" y="2740010"/>
                  <a:pt x="1376973" y="2740010"/>
                </a:cubicBezTo>
                <a:cubicBezTo>
                  <a:pt x="1367020" y="2742047"/>
                  <a:pt x="1363493" y="2755213"/>
                  <a:pt x="1361141" y="2763987"/>
                </a:cubicBezTo>
                <a:cubicBezTo>
                  <a:pt x="1361141" y="2763987"/>
                  <a:pt x="1359964" y="2768378"/>
                  <a:pt x="1359964" y="2768378"/>
                </a:cubicBezTo>
                <a:cubicBezTo>
                  <a:pt x="1354400" y="2771588"/>
                  <a:pt x="1354400" y="2771588"/>
                  <a:pt x="1357613" y="2777156"/>
                </a:cubicBezTo>
                <a:cubicBezTo>
                  <a:pt x="1356436" y="2781545"/>
                  <a:pt x="1356436" y="2781545"/>
                  <a:pt x="1356436" y="2781545"/>
                </a:cubicBezTo>
                <a:cubicBezTo>
                  <a:pt x="1356436" y="2781545"/>
                  <a:pt x="1352047" y="2780373"/>
                  <a:pt x="1350871" y="2784756"/>
                </a:cubicBezTo>
                <a:cubicBezTo>
                  <a:pt x="1350871" y="2784756"/>
                  <a:pt x="1350871" y="2784756"/>
                  <a:pt x="1349697" y="2789146"/>
                </a:cubicBezTo>
                <a:cubicBezTo>
                  <a:pt x="1351733" y="2799098"/>
                  <a:pt x="1333862" y="2813125"/>
                  <a:pt x="1342640" y="2815473"/>
                </a:cubicBezTo>
                <a:cubicBezTo>
                  <a:pt x="1342640" y="2815473"/>
                  <a:pt x="1342640" y="2815473"/>
                  <a:pt x="1341464" y="2819866"/>
                </a:cubicBezTo>
                <a:cubicBezTo>
                  <a:pt x="1340288" y="2824252"/>
                  <a:pt x="1339112" y="2828643"/>
                  <a:pt x="1339112" y="2828643"/>
                </a:cubicBezTo>
                <a:cubicBezTo>
                  <a:pt x="1339112" y="2828643"/>
                  <a:pt x="1337936" y="2833031"/>
                  <a:pt x="1337936" y="2833031"/>
                </a:cubicBezTo>
                <a:cubicBezTo>
                  <a:pt x="1327983" y="2835070"/>
                  <a:pt x="1332057" y="2854980"/>
                  <a:pt x="1329704" y="2863758"/>
                </a:cubicBezTo>
                <a:cubicBezTo>
                  <a:pt x="1326177" y="2876919"/>
                  <a:pt x="1319751" y="2865791"/>
                  <a:pt x="1316225" y="2878956"/>
                </a:cubicBezTo>
                <a:cubicBezTo>
                  <a:pt x="1316225" y="2878956"/>
                  <a:pt x="1315047" y="2883346"/>
                  <a:pt x="1310660" y="2882167"/>
                </a:cubicBezTo>
                <a:cubicBezTo>
                  <a:pt x="1310660" y="2882167"/>
                  <a:pt x="1309483" y="2886559"/>
                  <a:pt x="1309483" y="2886559"/>
                </a:cubicBezTo>
                <a:cubicBezTo>
                  <a:pt x="1308307" y="2890947"/>
                  <a:pt x="1308307" y="2890947"/>
                  <a:pt x="1313871" y="2887732"/>
                </a:cubicBezTo>
                <a:cubicBezTo>
                  <a:pt x="1313871" y="2887732"/>
                  <a:pt x="1313871" y="2887732"/>
                  <a:pt x="1315047" y="2883346"/>
                </a:cubicBezTo>
                <a:cubicBezTo>
                  <a:pt x="1317085" y="2893298"/>
                  <a:pt x="1310344" y="2900899"/>
                  <a:pt x="1314733" y="2902077"/>
                </a:cubicBezTo>
                <a:cubicBezTo>
                  <a:pt x="1306817" y="2914067"/>
                  <a:pt x="1310344" y="2900899"/>
                  <a:pt x="1305956" y="2899725"/>
                </a:cubicBezTo>
                <a:lnTo>
                  <a:pt x="1302937" y="2894496"/>
                </a:lnTo>
                <a:lnTo>
                  <a:pt x="1311080" y="2870452"/>
                </a:lnTo>
                <a:cubicBezTo>
                  <a:pt x="1318368" y="2845724"/>
                  <a:pt x="1320087" y="2829424"/>
                  <a:pt x="1326262" y="2806382"/>
                </a:cubicBezTo>
                <a:cubicBezTo>
                  <a:pt x="1326262" y="2806382"/>
                  <a:pt x="1330650" y="2807560"/>
                  <a:pt x="1331827" y="2803167"/>
                </a:cubicBezTo>
                <a:cubicBezTo>
                  <a:pt x="1331827" y="2803167"/>
                  <a:pt x="1333003" y="2798780"/>
                  <a:pt x="1333003" y="2798780"/>
                </a:cubicBezTo>
                <a:cubicBezTo>
                  <a:pt x="1336530" y="2785620"/>
                  <a:pt x="1337706" y="2781228"/>
                  <a:pt x="1334493" y="2775664"/>
                </a:cubicBezTo>
                <a:cubicBezTo>
                  <a:pt x="1329789" y="2793217"/>
                  <a:pt x="1329789" y="2793217"/>
                  <a:pt x="1329789" y="2793217"/>
                </a:cubicBezTo>
                <a:cubicBezTo>
                  <a:pt x="1329789" y="2793217"/>
                  <a:pt x="1330965" y="2788830"/>
                  <a:pt x="1326577" y="2787655"/>
                </a:cubicBezTo>
                <a:cubicBezTo>
                  <a:pt x="1326577" y="2787655"/>
                  <a:pt x="1325401" y="2792044"/>
                  <a:pt x="1325401" y="2792044"/>
                </a:cubicBezTo>
                <a:cubicBezTo>
                  <a:pt x="1324224" y="2796428"/>
                  <a:pt x="1324224" y="2796428"/>
                  <a:pt x="1324224" y="2796428"/>
                </a:cubicBezTo>
                <a:cubicBezTo>
                  <a:pt x="1323048" y="2800817"/>
                  <a:pt x="1323048" y="2800817"/>
                  <a:pt x="1323048" y="2800817"/>
                </a:cubicBezTo>
                <a:cubicBezTo>
                  <a:pt x="1311921" y="2807246"/>
                  <a:pt x="1301966" y="2809280"/>
                  <a:pt x="1289346" y="2838830"/>
                </a:cubicBezTo>
                <a:cubicBezTo>
                  <a:pt x="1265911" y="2856073"/>
                  <a:pt x="1240985" y="2896427"/>
                  <a:pt x="1223976" y="2924793"/>
                </a:cubicBezTo>
                <a:cubicBezTo>
                  <a:pt x="1222801" y="2929182"/>
                  <a:pt x="1218412" y="2928006"/>
                  <a:pt x="1218412" y="2928006"/>
                </a:cubicBezTo>
                <a:cubicBezTo>
                  <a:pt x="1218412" y="2928006"/>
                  <a:pt x="1214023" y="2926831"/>
                  <a:pt x="1212847" y="2931216"/>
                </a:cubicBezTo>
                <a:cubicBezTo>
                  <a:pt x="1212847" y="2931216"/>
                  <a:pt x="1214023" y="2926831"/>
                  <a:pt x="1209634" y="2925654"/>
                </a:cubicBezTo>
                <a:cubicBezTo>
                  <a:pt x="1207282" y="2934428"/>
                  <a:pt x="1206106" y="2938819"/>
                  <a:pt x="1206106" y="2938819"/>
                </a:cubicBezTo>
                <a:cubicBezTo>
                  <a:pt x="1190273" y="2962800"/>
                  <a:pt x="1176477" y="2996731"/>
                  <a:pt x="1166209" y="3017499"/>
                </a:cubicBezTo>
                <a:cubicBezTo>
                  <a:pt x="1160645" y="3020711"/>
                  <a:pt x="1162997" y="3011933"/>
                  <a:pt x="1164172" y="3007543"/>
                </a:cubicBezTo>
                <a:cubicBezTo>
                  <a:pt x="1156255" y="3019536"/>
                  <a:pt x="1133366" y="3069854"/>
                  <a:pt x="1123728" y="3053158"/>
                </a:cubicBezTo>
                <a:cubicBezTo>
                  <a:pt x="1126080" y="3044382"/>
                  <a:pt x="1126080" y="3044382"/>
                  <a:pt x="1126080" y="3044382"/>
                </a:cubicBezTo>
                <a:cubicBezTo>
                  <a:pt x="1127255" y="3039995"/>
                  <a:pt x="1127255" y="3039995"/>
                  <a:pt x="1127255" y="3039995"/>
                </a:cubicBezTo>
                <a:cubicBezTo>
                  <a:pt x="1127255" y="3039995"/>
                  <a:pt x="1122869" y="3038817"/>
                  <a:pt x="1121693" y="3043205"/>
                </a:cubicBezTo>
                <a:cubicBezTo>
                  <a:pt x="1119340" y="3051983"/>
                  <a:pt x="1119340" y="3051983"/>
                  <a:pt x="1119340" y="3051983"/>
                </a:cubicBezTo>
                <a:cubicBezTo>
                  <a:pt x="1119656" y="3033251"/>
                  <a:pt x="1131100" y="3008091"/>
                  <a:pt x="1138155" y="2981758"/>
                </a:cubicBezTo>
                <a:cubicBezTo>
                  <a:pt x="1122091" y="2953936"/>
                  <a:pt x="1084545" y="3023841"/>
                  <a:pt x="1063693" y="3084111"/>
                </a:cubicBezTo>
                <a:cubicBezTo>
                  <a:pt x="1058127" y="3087324"/>
                  <a:pt x="1054915" y="3081761"/>
                  <a:pt x="1042611" y="3092573"/>
                </a:cubicBezTo>
                <a:cubicBezTo>
                  <a:pt x="1050527" y="3080584"/>
                  <a:pt x="1046139" y="3079408"/>
                  <a:pt x="1041750" y="3078232"/>
                </a:cubicBezTo>
                <a:cubicBezTo>
                  <a:pt x="1051157" y="3043122"/>
                  <a:pt x="1064953" y="3009184"/>
                  <a:pt x="1074361" y="2974074"/>
                </a:cubicBezTo>
                <a:lnTo>
                  <a:pt x="1074446" y="2973268"/>
                </a:lnTo>
                <a:lnTo>
                  <a:pt x="1071348" y="2972375"/>
                </a:lnTo>
                <a:cubicBezTo>
                  <a:pt x="1070033" y="2968674"/>
                  <a:pt x="1065507" y="2967843"/>
                  <a:pt x="1063059" y="2964763"/>
                </a:cubicBezTo>
                <a:cubicBezTo>
                  <a:pt x="1060611" y="2961684"/>
                  <a:pt x="1058477" y="2959169"/>
                  <a:pt x="1058735" y="2954974"/>
                </a:cubicBezTo>
                <a:cubicBezTo>
                  <a:pt x="1059560" y="2950467"/>
                  <a:pt x="1058498" y="2945889"/>
                  <a:pt x="1057310" y="2941752"/>
                </a:cubicBezTo>
                <a:cubicBezTo>
                  <a:pt x="1056247" y="2937173"/>
                  <a:pt x="1055625" y="2932724"/>
                  <a:pt x="1054437" y="2928586"/>
                </a:cubicBezTo>
                <a:cubicBezTo>
                  <a:pt x="1053815" y="2924136"/>
                  <a:pt x="1051306" y="2919618"/>
                  <a:pt x="1047539" y="2916158"/>
                </a:cubicBezTo>
                <a:cubicBezTo>
                  <a:pt x="1049055" y="2910902"/>
                  <a:pt x="1050573" y="2905647"/>
                  <a:pt x="1052090" y="2900391"/>
                </a:cubicBezTo>
                <a:lnTo>
                  <a:pt x="1057812" y="2896650"/>
                </a:lnTo>
                <a:lnTo>
                  <a:pt x="1147585" y="2683246"/>
                </a:lnTo>
                <a:cubicBezTo>
                  <a:pt x="1149937" y="2674468"/>
                  <a:pt x="1152288" y="2665689"/>
                  <a:pt x="1157853" y="2662480"/>
                </a:cubicBezTo>
                <a:lnTo>
                  <a:pt x="1165412" y="2648623"/>
                </a:lnTo>
                <a:lnTo>
                  <a:pt x="1166569" y="2643502"/>
                </a:lnTo>
                <a:cubicBezTo>
                  <a:pt x="1167594" y="2642392"/>
                  <a:pt x="1169362" y="2641144"/>
                  <a:pt x="1168762" y="2639565"/>
                </a:cubicBezTo>
                <a:cubicBezTo>
                  <a:pt x="1166637" y="2634731"/>
                  <a:pt x="1167155" y="2631718"/>
                  <a:pt x="1172915" y="2631271"/>
                </a:cubicBezTo>
                <a:cubicBezTo>
                  <a:pt x="1174309" y="2631321"/>
                  <a:pt x="1175196" y="2629468"/>
                  <a:pt x="1174177" y="2628119"/>
                </a:cubicBezTo>
                <a:cubicBezTo>
                  <a:pt x="1170983" y="2623330"/>
                  <a:pt x="1176001" y="2623020"/>
                  <a:pt x="1177400" y="2620612"/>
                </a:cubicBezTo>
                <a:lnTo>
                  <a:pt x="1182007" y="2618204"/>
                </a:lnTo>
                <a:lnTo>
                  <a:pt x="1313244" y="2377642"/>
                </a:lnTo>
                <a:cubicBezTo>
                  <a:pt x="1712780" y="1741531"/>
                  <a:pt x="2362945" y="1309343"/>
                  <a:pt x="3093635" y="1173129"/>
                </a:cubicBezTo>
                <a:lnTo>
                  <a:pt x="3190643" y="1158181"/>
                </a:lnTo>
                <a:lnTo>
                  <a:pt x="3190542" y="1157164"/>
                </a:lnTo>
                <a:cubicBezTo>
                  <a:pt x="3184887" y="1155045"/>
                  <a:pt x="3185241" y="1151869"/>
                  <a:pt x="3188774" y="1147633"/>
                </a:cubicBezTo>
                <a:cubicBezTo>
                  <a:pt x="3189834" y="1146220"/>
                  <a:pt x="3188421" y="1144456"/>
                  <a:pt x="3187714" y="1143045"/>
                </a:cubicBezTo>
                <a:cubicBezTo>
                  <a:pt x="3186300" y="1140926"/>
                  <a:pt x="3185947" y="1138809"/>
                  <a:pt x="3188068" y="1137043"/>
                </a:cubicBezTo>
                <a:cubicBezTo>
                  <a:pt x="3190188" y="1135279"/>
                  <a:pt x="3189835" y="1133161"/>
                  <a:pt x="3190542" y="1131043"/>
                </a:cubicBezTo>
                <a:cubicBezTo>
                  <a:pt x="3192308" y="1125748"/>
                  <a:pt x="3194430" y="1119041"/>
                  <a:pt x="3198317" y="1116571"/>
                </a:cubicBezTo>
                <a:cubicBezTo>
                  <a:pt x="3206797" y="1111277"/>
                  <a:pt x="3214929" y="1105628"/>
                  <a:pt x="3223409" y="1100686"/>
                </a:cubicBezTo>
                <a:cubicBezTo>
                  <a:pt x="3224115" y="1100686"/>
                  <a:pt x="3225529" y="1100685"/>
                  <a:pt x="3225883" y="1101391"/>
                </a:cubicBezTo>
                <a:cubicBezTo>
                  <a:pt x="3229415" y="1104568"/>
                  <a:pt x="3232598" y="1107393"/>
                  <a:pt x="3237191" y="1102803"/>
                </a:cubicBezTo>
                <a:cubicBezTo>
                  <a:pt x="3238606" y="1101038"/>
                  <a:pt x="3239665" y="1102803"/>
                  <a:pt x="3240018" y="1104215"/>
                </a:cubicBezTo>
                <a:cubicBezTo>
                  <a:pt x="3241081" y="1110216"/>
                  <a:pt x="3243906" y="1110216"/>
                  <a:pt x="3248148" y="1106687"/>
                </a:cubicBezTo>
                <a:cubicBezTo>
                  <a:pt x="3250974" y="1104215"/>
                  <a:pt x="3252389" y="1104922"/>
                  <a:pt x="3252389" y="1108451"/>
                </a:cubicBezTo>
                <a:cubicBezTo>
                  <a:pt x="3252390" y="1110569"/>
                  <a:pt x="3251681" y="1113041"/>
                  <a:pt x="3254862" y="1113394"/>
                </a:cubicBezTo>
                <a:cubicBezTo>
                  <a:pt x="3261932" y="1114805"/>
                  <a:pt x="3264758" y="1119747"/>
                  <a:pt x="3264406" y="1126101"/>
                </a:cubicBezTo>
                <a:cubicBezTo>
                  <a:pt x="3264052" y="1130690"/>
                  <a:pt x="3265466" y="1132808"/>
                  <a:pt x="3268646" y="1134572"/>
                </a:cubicBezTo>
                <a:cubicBezTo>
                  <a:pt x="3268646" y="1135984"/>
                  <a:pt x="3268646" y="1137396"/>
                  <a:pt x="3268646" y="1138809"/>
                </a:cubicBezTo>
                <a:lnTo>
                  <a:pt x="3265216" y="1148055"/>
                </a:lnTo>
                <a:lnTo>
                  <a:pt x="3266366" y="1148363"/>
                </a:lnTo>
                <a:cubicBezTo>
                  <a:pt x="3266366" y="1148363"/>
                  <a:pt x="3270754" y="1149540"/>
                  <a:pt x="3270754" y="1149540"/>
                </a:cubicBezTo>
                <a:cubicBezTo>
                  <a:pt x="3260801" y="1151576"/>
                  <a:pt x="3264014" y="1157139"/>
                  <a:pt x="3273969" y="1155104"/>
                </a:cubicBezTo>
                <a:cubicBezTo>
                  <a:pt x="3264014" y="1157139"/>
                  <a:pt x="3264014" y="1157139"/>
                  <a:pt x="3264014" y="1157139"/>
                </a:cubicBezTo>
                <a:lnTo>
                  <a:pt x="3261738" y="1158925"/>
                </a:lnTo>
                <a:lnTo>
                  <a:pt x="3260463" y="1162931"/>
                </a:lnTo>
                <a:lnTo>
                  <a:pt x="3261662" y="1165918"/>
                </a:lnTo>
                <a:cubicBezTo>
                  <a:pt x="3261662" y="1165918"/>
                  <a:pt x="3266053" y="1167094"/>
                  <a:pt x="3271616" y="1163880"/>
                </a:cubicBezTo>
                <a:cubicBezTo>
                  <a:pt x="3277180" y="1160668"/>
                  <a:pt x="3277180" y="1160668"/>
                  <a:pt x="3277180" y="1160668"/>
                </a:cubicBezTo>
                <a:cubicBezTo>
                  <a:pt x="3281571" y="1161845"/>
                  <a:pt x="3281571" y="1161845"/>
                  <a:pt x="3281571" y="1161845"/>
                </a:cubicBezTo>
                <a:cubicBezTo>
                  <a:pt x="3279217" y="1170622"/>
                  <a:pt x="3283608" y="1171797"/>
                  <a:pt x="3293562" y="1169761"/>
                </a:cubicBezTo>
                <a:cubicBezTo>
                  <a:pt x="3304691" y="1163335"/>
                  <a:pt x="3294737" y="1165371"/>
                  <a:pt x="3301479" y="1157772"/>
                </a:cubicBezTo>
                <a:cubicBezTo>
                  <a:pt x="3291523" y="1159807"/>
                  <a:pt x="3291523" y="1159807"/>
                  <a:pt x="3291523" y="1159807"/>
                </a:cubicBezTo>
                <a:cubicBezTo>
                  <a:pt x="3297090" y="1156595"/>
                  <a:pt x="3301479" y="1157772"/>
                  <a:pt x="3298266" y="1152207"/>
                </a:cubicBezTo>
                <a:cubicBezTo>
                  <a:pt x="3293877" y="1151031"/>
                  <a:pt x="3289486" y="1149854"/>
                  <a:pt x="3283922" y="1153068"/>
                </a:cubicBezTo>
                <a:cubicBezTo>
                  <a:pt x="3278358" y="1156280"/>
                  <a:pt x="3278358" y="1156280"/>
                  <a:pt x="3278358" y="1156280"/>
                </a:cubicBezTo>
                <a:cubicBezTo>
                  <a:pt x="3279532" y="1151892"/>
                  <a:pt x="3283922" y="1153068"/>
                  <a:pt x="3285098" y="1148678"/>
                </a:cubicBezTo>
                <a:cubicBezTo>
                  <a:pt x="3289486" y="1149854"/>
                  <a:pt x="3289486" y="1149854"/>
                  <a:pt x="3289486" y="1149854"/>
                </a:cubicBezTo>
                <a:cubicBezTo>
                  <a:pt x="3295052" y="1146639"/>
                  <a:pt x="3295052" y="1146639"/>
                  <a:pt x="3295052" y="1146639"/>
                </a:cubicBezTo>
                <a:cubicBezTo>
                  <a:pt x="3296228" y="1142253"/>
                  <a:pt x="3296228" y="1142253"/>
                  <a:pt x="3296228" y="1142253"/>
                </a:cubicBezTo>
                <a:cubicBezTo>
                  <a:pt x="3332673" y="1137907"/>
                  <a:pt x="3369920" y="1134951"/>
                  <a:pt x="3407570" y="1132691"/>
                </a:cubicBezTo>
                <a:lnTo>
                  <a:pt x="3408629" y="1132641"/>
                </a:lnTo>
                <a:lnTo>
                  <a:pt x="3422555" y="1115689"/>
                </a:lnTo>
                <a:cubicBezTo>
                  <a:pt x="3427352" y="1110669"/>
                  <a:pt x="3432653" y="1105555"/>
                  <a:pt x="3439596" y="1098067"/>
                </a:cubicBezTo>
                <a:close/>
                <a:moveTo>
                  <a:pt x="3600857" y="1069314"/>
                </a:moveTo>
                <a:lnTo>
                  <a:pt x="3486834" y="1070377"/>
                </a:lnTo>
                <a:lnTo>
                  <a:pt x="3482853" y="1076212"/>
                </a:lnTo>
                <a:cubicBezTo>
                  <a:pt x="3477325" y="1082921"/>
                  <a:pt x="3471020" y="1088215"/>
                  <a:pt x="3470292" y="1084198"/>
                </a:cubicBezTo>
                <a:cubicBezTo>
                  <a:pt x="3471020" y="1088215"/>
                  <a:pt x="3471020" y="1088215"/>
                  <a:pt x="3467732" y="1092964"/>
                </a:cubicBezTo>
                <a:cubicBezTo>
                  <a:pt x="3467732" y="1092964"/>
                  <a:pt x="3467732" y="1092964"/>
                  <a:pt x="3463714" y="1093692"/>
                </a:cubicBezTo>
                <a:cubicBezTo>
                  <a:pt x="3463714" y="1093692"/>
                  <a:pt x="3459691" y="1094422"/>
                  <a:pt x="3459691" y="1094422"/>
                </a:cubicBezTo>
                <a:cubicBezTo>
                  <a:pt x="3459691" y="1094422"/>
                  <a:pt x="3459691" y="1094422"/>
                  <a:pt x="3462981" y="1089674"/>
                </a:cubicBezTo>
                <a:cubicBezTo>
                  <a:pt x="3439223" y="1118892"/>
                  <a:pt x="3460422" y="1098440"/>
                  <a:pt x="3465169" y="1101729"/>
                </a:cubicBezTo>
                <a:cubicBezTo>
                  <a:pt x="3469916" y="1105021"/>
                  <a:pt x="3463337" y="1114518"/>
                  <a:pt x="3463337" y="1114518"/>
                </a:cubicBezTo>
                <a:cubicBezTo>
                  <a:pt x="3468084" y="1117808"/>
                  <a:pt x="3488553" y="1093336"/>
                  <a:pt x="3482703" y="1106851"/>
                </a:cubicBezTo>
                <a:lnTo>
                  <a:pt x="3470763" y="1129698"/>
                </a:lnTo>
                <a:lnTo>
                  <a:pt x="3521310" y="1127302"/>
                </a:lnTo>
                <a:cubicBezTo>
                  <a:pt x="3520135" y="1131691"/>
                  <a:pt x="3523345" y="1137257"/>
                  <a:pt x="3533298" y="1135219"/>
                </a:cubicBezTo>
                <a:cubicBezTo>
                  <a:pt x="3534473" y="1130831"/>
                  <a:pt x="3534473" y="1130831"/>
                  <a:pt x="3534473" y="1130831"/>
                </a:cubicBezTo>
                <a:cubicBezTo>
                  <a:pt x="3594835" y="1129367"/>
                  <a:pt x="3655782" y="1130117"/>
                  <a:pt x="3717086" y="1133094"/>
                </a:cubicBezTo>
                <a:lnTo>
                  <a:pt x="3868378" y="1145890"/>
                </a:lnTo>
                <a:lnTo>
                  <a:pt x="3877327" y="1137338"/>
                </a:lnTo>
                <a:lnTo>
                  <a:pt x="3925635" y="1095084"/>
                </a:lnTo>
                <a:lnTo>
                  <a:pt x="3888953" y="1089400"/>
                </a:lnTo>
                <a:cubicBezTo>
                  <a:pt x="3792161" y="1077578"/>
                  <a:pt x="3696040" y="1070933"/>
                  <a:pt x="3600857" y="1069314"/>
                </a:cubicBezTo>
                <a:close/>
                <a:moveTo>
                  <a:pt x="1529358" y="1068042"/>
                </a:moveTo>
                <a:cubicBezTo>
                  <a:pt x="1530737" y="1067167"/>
                  <a:pt x="1531933" y="1067864"/>
                  <a:pt x="1532900" y="1068456"/>
                </a:cubicBezTo>
                <a:cubicBezTo>
                  <a:pt x="1536199" y="1070281"/>
                  <a:pt x="1539332" y="1072163"/>
                  <a:pt x="1543017" y="1069322"/>
                </a:cubicBezTo>
                <a:cubicBezTo>
                  <a:pt x="1543792" y="1068855"/>
                  <a:pt x="1544532" y="1069340"/>
                  <a:pt x="1545108" y="1069886"/>
                </a:cubicBezTo>
                <a:cubicBezTo>
                  <a:pt x="1548147" y="1072557"/>
                  <a:pt x="1552112" y="1074139"/>
                  <a:pt x="1555638" y="1076068"/>
                </a:cubicBezTo>
                <a:cubicBezTo>
                  <a:pt x="1561040" y="1079014"/>
                  <a:pt x="1564955" y="1083064"/>
                  <a:pt x="1565563" y="1089439"/>
                </a:cubicBezTo>
                <a:cubicBezTo>
                  <a:pt x="1565906" y="1091954"/>
                  <a:pt x="1567782" y="1092972"/>
                  <a:pt x="1569598" y="1093822"/>
                </a:cubicBezTo>
                <a:cubicBezTo>
                  <a:pt x="1573745" y="1095904"/>
                  <a:pt x="1574180" y="1097631"/>
                  <a:pt x="1571749" y="1101337"/>
                </a:cubicBezTo>
                <a:cubicBezTo>
                  <a:pt x="1568983" y="1105164"/>
                  <a:pt x="1568983" y="1105164"/>
                  <a:pt x="1573311" y="1107747"/>
                </a:cubicBezTo>
                <a:cubicBezTo>
                  <a:pt x="1574279" y="1108339"/>
                  <a:pt x="1575020" y="1108826"/>
                  <a:pt x="1574381" y="1110186"/>
                </a:cubicBezTo>
                <a:cubicBezTo>
                  <a:pt x="1572432" y="1115226"/>
                  <a:pt x="1570816" y="1120145"/>
                  <a:pt x="1568640" y="1125078"/>
                </a:cubicBezTo>
                <a:cubicBezTo>
                  <a:pt x="1567163" y="1128816"/>
                  <a:pt x="1564657" y="1131793"/>
                  <a:pt x="1561289" y="1133953"/>
                </a:cubicBezTo>
                <a:cubicBezTo>
                  <a:pt x="1559196" y="1135464"/>
                  <a:pt x="1556863" y="1143091"/>
                  <a:pt x="1557599" y="1145653"/>
                </a:cubicBezTo>
                <a:cubicBezTo>
                  <a:pt x="1557900" y="1146486"/>
                  <a:pt x="1558141" y="1147153"/>
                  <a:pt x="1559263" y="1147125"/>
                </a:cubicBezTo>
                <a:cubicBezTo>
                  <a:pt x="1565276" y="1147589"/>
                  <a:pt x="1569404" y="1151185"/>
                  <a:pt x="1573320" y="1155235"/>
                </a:cubicBezTo>
                <a:cubicBezTo>
                  <a:pt x="1574180" y="1156054"/>
                  <a:pt x="1574815" y="1156767"/>
                  <a:pt x="1575617" y="1157419"/>
                </a:cubicBezTo>
                <a:cubicBezTo>
                  <a:pt x="1578247" y="1159483"/>
                  <a:pt x="1579925" y="1161516"/>
                  <a:pt x="1579962" y="1165271"/>
                </a:cubicBezTo>
                <a:cubicBezTo>
                  <a:pt x="1580000" y="1169025"/>
                  <a:pt x="1583041" y="1171697"/>
                  <a:pt x="1585792" y="1174094"/>
                </a:cubicBezTo>
                <a:cubicBezTo>
                  <a:pt x="1587001" y="1175353"/>
                  <a:pt x="1587696" y="1176232"/>
                  <a:pt x="1587072" y="1178155"/>
                </a:cubicBezTo>
                <a:cubicBezTo>
                  <a:pt x="1584691" y="1186176"/>
                  <a:pt x="1583720" y="1194441"/>
                  <a:pt x="1586005" y="1202850"/>
                </a:cubicBezTo>
                <a:cubicBezTo>
                  <a:pt x="1586260" y="1204076"/>
                  <a:pt x="1586107" y="1204698"/>
                  <a:pt x="1584819" y="1204785"/>
                </a:cubicBezTo>
                <a:cubicBezTo>
                  <a:pt x="1579789" y="1205472"/>
                  <a:pt x="1577691" y="1209057"/>
                  <a:pt x="1576395" y="1213296"/>
                </a:cubicBezTo>
                <a:cubicBezTo>
                  <a:pt x="1575770" y="1215218"/>
                  <a:pt x="1575070" y="1216413"/>
                  <a:pt x="1572541" y="1216197"/>
                </a:cubicBezTo>
                <a:cubicBezTo>
                  <a:pt x="1569330" y="1215661"/>
                  <a:pt x="1567311" y="1217899"/>
                  <a:pt x="1565807" y="1220516"/>
                </a:cubicBezTo>
                <a:cubicBezTo>
                  <a:pt x="1564513" y="1222678"/>
                  <a:pt x="1563342" y="1225176"/>
                  <a:pt x="1562050" y="1227337"/>
                </a:cubicBezTo>
                <a:cubicBezTo>
                  <a:pt x="1561374" y="1228336"/>
                  <a:pt x="1560635" y="1229027"/>
                  <a:pt x="1559873" y="1229137"/>
                </a:cubicBezTo>
                <a:cubicBezTo>
                  <a:pt x="1559111" y="1229248"/>
                  <a:pt x="1558328" y="1228777"/>
                  <a:pt x="1557567" y="1227452"/>
                </a:cubicBezTo>
                <a:cubicBezTo>
                  <a:pt x="1557325" y="1226784"/>
                  <a:pt x="1556917" y="1226178"/>
                  <a:pt x="1556343" y="1225631"/>
                </a:cubicBezTo>
                <a:cubicBezTo>
                  <a:pt x="1555708" y="1224918"/>
                  <a:pt x="1555226" y="1223586"/>
                  <a:pt x="1553999" y="1223842"/>
                </a:cubicBezTo>
                <a:cubicBezTo>
                  <a:pt x="1552997" y="1224203"/>
                  <a:pt x="1552632" y="1225277"/>
                  <a:pt x="1552373" y="1226123"/>
                </a:cubicBezTo>
                <a:cubicBezTo>
                  <a:pt x="1550896" y="1229861"/>
                  <a:pt x="1549835" y="1230058"/>
                  <a:pt x="1547068" y="1227100"/>
                </a:cubicBezTo>
                <a:cubicBezTo>
                  <a:pt x="1546435" y="1226387"/>
                  <a:pt x="1546027" y="1225781"/>
                  <a:pt x="1545285" y="1225295"/>
                </a:cubicBezTo>
                <a:cubicBezTo>
                  <a:pt x="1544257" y="1224536"/>
                  <a:pt x="1543289" y="1223944"/>
                  <a:pt x="1541862" y="1225213"/>
                </a:cubicBezTo>
                <a:cubicBezTo>
                  <a:pt x="1540663" y="1226590"/>
                  <a:pt x="1540904" y="1227256"/>
                  <a:pt x="1541719" y="1228469"/>
                </a:cubicBezTo>
                <a:lnTo>
                  <a:pt x="1542911" y="1230888"/>
                </a:lnTo>
                <a:lnTo>
                  <a:pt x="1525192" y="1222637"/>
                </a:lnTo>
                <a:lnTo>
                  <a:pt x="1525555" y="1221308"/>
                </a:lnTo>
                <a:cubicBezTo>
                  <a:pt x="1525347" y="1219688"/>
                  <a:pt x="1524485" y="1218869"/>
                  <a:pt x="1522910" y="1218685"/>
                </a:cubicBezTo>
                <a:cubicBezTo>
                  <a:pt x="1521729" y="1218547"/>
                  <a:pt x="1520608" y="1218575"/>
                  <a:pt x="1519426" y="1218436"/>
                </a:cubicBezTo>
                <a:cubicBezTo>
                  <a:pt x="1517458" y="1218205"/>
                  <a:pt x="1516369" y="1217280"/>
                  <a:pt x="1515979" y="1215159"/>
                </a:cubicBezTo>
                <a:cubicBezTo>
                  <a:pt x="1514811" y="1208797"/>
                  <a:pt x="1511136" y="1205414"/>
                  <a:pt x="1504836" y="1204676"/>
                </a:cubicBezTo>
                <a:cubicBezTo>
                  <a:pt x="1503822" y="1204478"/>
                  <a:pt x="1502048" y="1205306"/>
                  <a:pt x="1501839" y="1203687"/>
                </a:cubicBezTo>
                <a:cubicBezTo>
                  <a:pt x="1501463" y="1202126"/>
                  <a:pt x="1502844" y="1201251"/>
                  <a:pt x="1504285" y="1200542"/>
                </a:cubicBezTo>
                <a:cubicBezTo>
                  <a:pt x="1504451" y="1200481"/>
                  <a:pt x="1504618" y="1200421"/>
                  <a:pt x="1504785" y="1200361"/>
                </a:cubicBezTo>
                <a:cubicBezTo>
                  <a:pt x="1508546" y="1198247"/>
                  <a:pt x="1509050" y="1195991"/>
                  <a:pt x="1505906" y="1193548"/>
                </a:cubicBezTo>
                <a:cubicBezTo>
                  <a:pt x="1502986" y="1191212"/>
                  <a:pt x="1502643" y="1188697"/>
                  <a:pt x="1503407" y="1185595"/>
                </a:cubicBezTo>
                <a:cubicBezTo>
                  <a:pt x="1504370" y="1181478"/>
                  <a:pt x="1504772" y="1177376"/>
                  <a:pt x="1502266" y="1173570"/>
                </a:cubicBezTo>
                <a:cubicBezTo>
                  <a:pt x="1501102" y="1171917"/>
                  <a:pt x="1502635" y="1170421"/>
                  <a:pt x="1503682" y="1169666"/>
                </a:cubicBezTo>
                <a:cubicBezTo>
                  <a:pt x="1507475" y="1166597"/>
                  <a:pt x="1508452" y="1163041"/>
                  <a:pt x="1507386" y="1158528"/>
                </a:cubicBezTo>
                <a:cubicBezTo>
                  <a:pt x="1506756" y="1155740"/>
                  <a:pt x="1507576" y="1154879"/>
                  <a:pt x="1510846" y="1155580"/>
                </a:cubicBezTo>
                <a:cubicBezTo>
                  <a:pt x="1517782" y="1157030"/>
                  <a:pt x="1525215" y="1151517"/>
                  <a:pt x="1525608" y="1144779"/>
                </a:cubicBezTo>
                <a:cubicBezTo>
                  <a:pt x="1525686" y="1143431"/>
                  <a:pt x="1525811" y="1141690"/>
                  <a:pt x="1524283" y="1141112"/>
                </a:cubicBezTo>
                <a:cubicBezTo>
                  <a:pt x="1522754" y="1140534"/>
                  <a:pt x="1520906" y="1140636"/>
                  <a:pt x="1519767" y="1142180"/>
                </a:cubicBezTo>
                <a:cubicBezTo>
                  <a:pt x="1518946" y="1143040"/>
                  <a:pt x="1518248" y="1144235"/>
                  <a:pt x="1517488" y="1145264"/>
                </a:cubicBezTo>
                <a:cubicBezTo>
                  <a:pt x="1516788" y="1146460"/>
                  <a:pt x="1515968" y="1147321"/>
                  <a:pt x="1514773" y="1146622"/>
                </a:cubicBezTo>
                <a:cubicBezTo>
                  <a:pt x="1513351" y="1145818"/>
                  <a:pt x="1513656" y="1144577"/>
                  <a:pt x="1514189" y="1143442"/>
                </a:cubicBezTo>
                <a:cubicBezTo>
                  <a:pt x="1514555" y="1142368"/>
                  <a:pt x="1515314" y="1141339"/>
                  <a:pt x="1515740" y="1140431"/>
                </a:cubicBezTo>
                <a:cubicBezTo>
                  <a:pt x="1516699" y="1138388"/>
                  <a:pt x="1516810" y="1136086"/>
                  <a:pt x="1514706" y="1134962"/>
                </a:cubicBezTo>
                <a:cubicBezTo>
                  <a:pt x="1512891" y="1134112"/>
                  <a:pt x="1511538" y="1136107"/>
                  <a:pt x="1510565" y="1137590"/>
                </a:cubicBezTo>
                <a:cubicBezTo>
                  <a:pt x="1509699" y="1138845"/>
                  <a:pt x="1509408" y="1140647"/>
                  <a:pt x="1508088" y="1141689"/>
                </a:cubicBezTo>
                <a:cubicBezTo>
                  <a:pt x="1506221" y="1143307"/>
                  <a:pt x="1504767" y="1143455"/>
                  <a:pt x="1503970" y="1140729"/>
                </a:cubicBezTo>
                <a:cubicBezTo>
                  <a:pt x="1502811" y="1137002"/>
                  <a:pt x="1503227" y="1133458"/>
                  <a:pt x="1504203" y="1129901"/>
                </a:cubicBezTo>
                <a:cubicBezTo>
                  <a:pt x="1505380" y="1125331"/>
                  <a:pt x="1504823" y="1123270"/>
                  <a:pt x="1500890" y="1120734"/>
                </a:cubicBezTo>
                <a:cubicBezTo>
                  <a:pt x="1499575" y="1119702"/>
                  <a:pt x="1497818" y="1119018"/>
                  <a:pt x="1496230" y="1118274"/>
                </a:cubicBezTo>
                <a:cubicBezTo>
                  <a:pt x="1495549" y="1117954"/>
                  <a:pt x="1494534" y="1117756"/>
                  <a:pt x="1494566" y="1116801"/>
                </a:cubicBezTo>
                <a:cubicBezTo>
                  <a:pt x="1494538" y="1115681"/>
                  <a:pt x="1495312" y="1115213"/>
                  <a:pt x="1496040" y="1115139"/>
                </a:cubicBezTo>
                <a:cubicBezTo>
                  <a:pt x="1499282" y="1114720"/>
                  <a:pt x="1499467" y="1113145"/>
                  <a:pt x="1498336" y="1110539"/>
                </a:cubicBezTo>
                <a:cubicBezTo>
                  <a:pt x="1496964" y="1107264"/>
                  <a:pt x="1498289" y="1104148"/>
                  <a:pt x="1499961" y="1101470"/>
                </a:cubicBezTo>
                <a:cubicBezTo>
                  <a:pt x="1501253" y="1099306"/>
                  <a:pt x="1500998" y="1098078"/>
                  <a:pt x="1498682" y="1097407"/>
                </a:cubicBezTo>
                <a:cubicBezTo>
                  <a:pt x="1497440" y="1097104"/>
                  <a:pt x="1496531" y="1096678"/>
                  <a:pt x="1496383" y="1095224"/>
                </a:cubicBezTo>
                <a:cubicBezTo>
                  <a:pt x="1496054" y="1093269"/>
                  <a:pt x="1497508" y="1093121"/>
                  <a:pt x="1498556" y="1092365"/>
                </a:cubicBezTo>
                <a:cubicBezTo>
                  <a:pt x="1499162" y="1091958"/>
                  <a:pt x="1499997" y="1091657"/>
                  <a:pt x="1500770" y="1091189"/>
                </a:cubicBezTo>
                <a:cubicBezTo>
                  <a:pt x="1505091" y="1089061"/>
                  <a:pt x="1505188" y="1086199"/>
                  <a:pt x="1501135" y="1083330"/>
                </a:cubicBezTo>
                <a:cubicBezTo>
                  <a:pt x="1500620" y="1082951"/>
                  <a:pt x="1500166" y="1082740"/>
                  <a:pt x="1499819" y="1082299"/>
                </a:cubicBezTo>
                <a:cubicBezTo>
                  <a:pt x="1498957" y="1081481"/>
                  <a:pt x="1498142" y="1080267"/>
                  <a:pt x="1498901" y="1079239"/>
                </a:cubicBezTo>
                <a:cubicBezTo>
                  <a:pt x="1499494" y="1078270"/>
                  <a:pt x="1500902" y="1078516"/>
                  <a:pt x="1501810" y="1078941"/>
                </a:cubicBezTo>
                <a:cubicBezTo>
                  <a:pt x="1502718" y="1079367"/>
                  <a:pt x="1503459" y="1079853"/>
                  <a:pt x="1504260" y="1080505"/>
                </a:cubicBezTo>
                <a:cubicBezTo>
                  <a:pt x="1505683" y="1081310"/>
                  <a:pt x="1506804" y="1081282"/>
                  <a:pt x="1507777" y="1079800"/>
                </a:cubicBezTo>
                <a:cubicBezTo>
                  <a:pt x="1510162" y="1076487"/>
                  <a:pt x="1513542" y="1074889"/>
                  <a:pt x="1516984" y="1073456"/>
                </a:cubicBezTo>
                <a:cubicBezTo>
                  <a:pt x="1521034" y="1071616"/>
                  <a:pt x="1525550" y="1070549"/>
                  <a:pt x="1529358" y="1068042"/>
                </a:cubicBezTo>
                <a:close/>
                <a:moveTo>
                  <a:pt x="11427963" y="1065298"/>
                </a:moveTo>
                <a:cubicBezTo>
                  <a:pt x="11431896" y="1064808"/>
                  <a:pt x="11435739" y="1067401"/>
                  <a:pt x="11439295" y="1065664"/>
                </a:cubicBezTo>
                <a:cubicBezTo>
                  <a:pt x="11442139" y="1067195"/>
                  <a:pt x="11444577" y="1068509"/>
                  <a:pt x="11447420" y="1070040"/>
                </a:cubicBezTo>
                <a:cubicBezTo>
                  <a:pt x="11446766" y="1071253"/>
                  <a:pt x="11446954" y="1071876"/>
                  <a:pt x="11447767" y="1072314"/>
                </a:cubicBezTo>
                <a:cubicBezTo>
                  <a:pt x="11453859" y="1075596"/>
                  <a:pt x="11454930" y="1081390"/>
                  <a:pt x="11454347" y="1087336"/>
                </a:cubicBezTo>
                <a:cubicBezTo>
                  <a:pt x="11453982" y="1092879"/>
                  <a:pt x="11454241" y="1098235"/>
                  <a:pt x="11450597" y="1103054"/>
                </a:cubicBezTo>
                <a:cubicBezTo>
                  <a:pt x="11446328" y="1108061"/>
                  <a:pt x="11443467" y="1114345"/>
                  <a:pt x="11436197" y="1116167"/>
                </a:cubicBezTo>
                <a:cubicBezTo>
                  <a:pt x="11433700" y="1116910"/>
                  <a:pt x="11431422" y="1117247"/>
                  <a:pt x="11428143" y="1116524"/>
                </a:cubicBezTo>
                <a:cubicBezTo>
                  <a:pt x="11423428" y="1115549"/>
                  <a:pt x="11417465" y="1114945"/>
                  <a:pt x="11415199" y="1122071"/>
                </a:cubicBezTo>
                <a:cubicBezTo>
                  <a:pt x="11414297" y="1124716"/>
                  <a:pt x="11411424" y="1124212"/>
                  <a:pt x="11410364" y="1125206"/>
                </a:cubicBezTo>
                <a:cubicBezTo>
                  <a:pt x="11404848" y="1130582"/>
                  <a:pt x="11398450" y="1130787"/>
                  <a:pt x="11392079" y="1129964"/>
                </a:cubicBezTo>
                <a:cubicBezTo>
                  <a:pt x="11388859" y="1127186"/>
                  <a:pt x="11386047" y="1124627"/>
                  <a:pt x="11382391" y="1122657"/>
                </a:cubicBezTo>
                <a:cubicBezTo>
                  <a:pt x="11378734" y="1120688"/>
                  <a:pt x="11376385" y="1116292"/>
                  <a:pt x="11376503" y="1112183"/>
                </a:cubicBezTo>
                <a:cubicBezTo>
                  <a:pt x="11376811" y="1108695"/>
                  <a:pt x="11376463" y="1106420"/>
                  <a:pt x="11374680" y="1103895"/>
                </a:cubicBezTo>
                <a:cubicBezTo>
                  <a:pt x="11377293" y="1099043"/>
                  <a:pt x="11379907" y="1094189"/>
                  <a:pt x="11382521" y="1089337"/>
                </a:cubicBezTo>
                <a:cubicBezTo>
                  <a:pt x="11387672" y="1089504"/>
                  <a:pt x="11392665" y="1088019"/>
                  <a:pt x="11396250" y="1085255"/>
                </a:cubicBezTo>
                <a:cubicBezTo>
                  <a:pt x="11400023" y="1083114"/>
                  <a:pt x="11403609" y="1080350"/>
                  <a:pt x="11407600" y="1077805"/>
                </a:cubicBezTo>
                <a:cubicBezTo>
                  <a:pt x="11411374" y="1075665"/>
                  <a:pt x="11415366" y="1073120"/>
                  <a:pt x="11417950" y="1069294"/>
                </a:cubicBezTo>
                <a:cubicBezTo>
                  <a:pt x="11420722" y="1066093"/>
                  <a:pt x="11424030" y="1065789"/>
                  <a:pt x="11427963" y="1065298"/>
                </a:cubicBezTo>
                <a:close/>
                <a:moveTo>
                  <a:pt x="6994838" y="1041027"/>
                </a:moveTo>
                <a:lnTo>
                  <a:pt x="6995169" y="1041173"/>
                </a:lnTo>
                <a:lnTo>
                  <a:pt x="6994914" y="1041210"/>
                </a:lnTo>
                <a:close/>
                <a:moveTo>
                  <a:pt x="6997333" y="1040857"/>
                </a:moveTo>
                <a:cubicBezTo>
                  <a:pt x="6998656" y="1040955"/>
                  <a:pt x="7000203" y="1041601"/>
                  <a:pt x="7001105" y="1043795"/>
                </a:cubicBezTo>
                <a:lnTo>
                  <a:pt x="6995169" y="1041173"/>
                </a:lnTo>
                <a:close/>
                <a:moveTo>
                  <a:pt x="7080310" y="1036883"/>
                </a:moveTo>
                <a:cubicBezTo>
                  <a:pt x="7085719" y="1050053"/>
                  <a:pt x="7123640" y="1054979"/>
                  <a:pt x="7139624" y="1068921"/>
                </a:cubicBezTo>
                <a:cubicBezTo>
                  <a:pt x="7144012" y="1067118"/>
                  <a:pt x="7147617" y="1075893"/>
                  <a:pt x="7149421" y="1080280"/>
                </a:cubicBezTo>
                <a:lnTo>
                  <a:pt x="7152998" y="1082122"/>
                </a:lnTo>
                <a:lnTo>
                  <a:pt x="7156436" y="1079103"/>
                </a:lnTo>
                <a:cubicBezTo>
                  <a:pt x="7157623" y="1078240"/>
                  <a:pt x="7158756" y="1077755"/>
                  <a:pt x="7159673" y="1077943"/>
                </a:cubicBezTo>
                <a:cubicBezTo>
                  <a:pt x="7160590" y="1078131"/>
                  <a:pt x="7161292" y="1078995"/>
                  <a:pt x="7161615" y="1080829"/>
                </a:cubicBezTo>
                <a:cubicBezTo>
                  <a:pt x="7161615" y="1081692"/>
                  <a:pt x="7161831" y="1082554"/>
                  <a:pt x="7162263" y="1083417"/>
                </a:cubicBezTo>
                <a:cubicBezTo>
                  <a:pt x="7162694" y="1084496"/>
                  <a:pt x="7162694" y="1086221"/>
                  <a:pt x="7164206" y="1086436"/>
                </a:cubicBezTo>
                <a:cubicBezTo>
                  <a:pt x="7165501" y="1086435"/>
                  <a:pt x="7166363" y="1085358"/>
                  <a:pt x="7167011" y="1084496"/>
                </a:cubicBezTo>
                <a:cubicBezTo>
                  <a:pt x="7170249" y="1080829"/>
                  <a:pt x="7171543" y="1081044"/>
                  <a:pt x="7173486" y="1085574"/>
                </a:cubicBezTo>
                <a:cubicBezTo>
                  <a:pt x="7173917" y="1086653"/>
                  <a:pt x="7174134" y="1087515"/>
                  <a:pt x="7174781" y="1088377"/>
                </a:cubicBezTo>
                <a:cubicBezTo>
                  <a:pt x="7175644" y="1089672"/>
                  <a:pt x="7176508" y="1090750"/>
                  <a:pt x="7178666" y="1089889"/>
                </a:cubicBezTo>
                <a:cubicBezTo>
                  <a:pt x="7180608" y="1088810"/>
                  <a:pt x="7180608" y="1087946"/>
                  <a:pt x="7180176" y="1086221"/>
                </a:cubicBezTo>
                <a:lnTo>
                  <a:pt x="7180036" y="1084955"/>
                </a:lnTo>
                <a:lnTo>
                  <a:pt x="7179408" y="1084620"/>
                </a:lnTo>
                <a:cubicBezTo>
                  <a:pt x="7145559" y="1067765"/>
                  <a:pt x="7112161" y="1052005"/>
                  <a:pt x="7080310" y="1036883"/>
                </a:cubicBezTo>
                <a:close/>
                <a:moveTo>
                  <a:pt x="6950148" y="1029461"/>
                </a:moveTo>
                <a:lnTo>
                  <a:pt x="6953741" y="1029928"/>
                </a:lnTo>
                <a:lnTo>
                  <a:pt x="6954911" y="1031515"/>
                </a:lnTo>
                <a:lnTo>
                  <a:pt x="6950766" y="1029708"/>
                </a:lnTo>
                <a:close/>
                <a:moveTo>
                  <a:pt x="6930432" y="1021560"/>
                </a:moveTo>
                <a:lnTo>
                  <a:pt x="6950148" y="1029461"/>
                </a:lnTo>
                <a:lnTo>
                  <a:pt x="6949002" y="1029312"/>
                </a:lnTo>
                <a:cubicBezTo>
                  <a:pt x="6942811" y="1026727"/>
                  <a:pt x="6942811" y="1026727"/>
                  <a:pt x="6942811" y="1026727"/>
                </a:cubicBezTo>
                <a:cubicBezTo>
                  <a:pt x="6938424" y="1028530"/>
                  <a:pt x="6936620" y="1024144"/>
                  <a:pt x="6930432" y="1021560"/>
                </a:cubicBezTo>
                <a:close/>
                <a:moveTo>
                  <a:pt x="10397309" y="1010275"/>
                </a:moveTo>
                <a:cubicBezTo>
                  <a:pt x="10398922" y="1007279"/>
                  <a:pt x="10400445" y="1007326"/>
                  <a:pt x="10401715" y="1010716"/>
                </a:cubicBezTo>
                <a:cubicBezTo>
                  <a:pt x="10403701" y="1015652"/>
                  <a:pt x="10406102" y="1016944"/>
                  <a:pt x="10409746" y="1012336"/>
                </a:cubicBezTo>
                <a:cubicBezTo>
                  <a:pt x="10410691" y="1011299"/>
                  <a:pt x="10412398" y="1010286"/>
                  <a:pt x="10412791" y="1012431"/>
                </a:cubicBezTo>
                <a:cubicBezTo>
                  <a:pt x="10414592" y="1018427"/>
                  <a:pt x="10418583" y="1017484"/>
                  <a:pt x="10423036" y="1016404"/>
                </a:cubicBezTo>
                <a:cubicBezTo>
                  <a:pt x="10423659" y="1015965"/>
                  <a:pt x="10424859" y="1016612"/>
                  <a:pt x="10425459" y="1016935"/>
                </a:cubicBezTo>
                <a:cubicBezTo>
                  <a:pt x="10430399" y="1025009"/>
                  <a:pt x="10434716" y="1033520"/>
                  <a:pt x="10439496" y="1041892"/>
                </a:cubicBezTo>
                <a:cubicBezTo>
                  <a:pt x="10441665" y="1045767"/>
                  <a:pt x="10440399" y="1052431"/>
                  <a:pt x="10439479" y="1057734"/>
                </a:cubicBezTo>
                <a:cubicBezTo>
                  <a:pt x="10439109" y="1059855"/>
                  <a:pt x="10437842" y="1061490"/>
                  <a:pt x="10438835" y="1063958"/>
                </a:cubicBezTo>
                <a:cubicBezTo>
                  <a:pt x="10439827" y="1066426"/>
                  <a:pt x="10438559" y="1068062"/>
                  <a:pt x="10436391" y="1069214"/>
                </a:cubicBezTo>
                <a:cubicBezTo>
                  <a:pt x="10435144" y="1070089"/>
                  <a:pt x="10433138" y="1070941"/>
                  <a:pt x="10433392" y="1072623"/>
                </a:cubicBezTo>
                <a:cubicBezTo>
                  <a:pt x="10434456" y="1077835"/>
                  <a:pt x="10433303" y="1080693"/>
                  <a:pt x="10427534" y="1079905"/>
                </a:cubicBezTo>
                <a:cubicBezTo>
                  <a:pt x="10426173" y="1079558"/>
                  <a:pt x="10424904" y="1081194"/>
                  <a:pt x="10425621" y="1082738"/>
                </a:cubicBezTo>
                <a:cubicBezTo>
                  <a:pt x="10427745" y="1088136"/>
                  <a:pt x="10422737" y="1087372"/>
                  <a:pt x="10420846" y="1089445"/>
                </a:cubicBezTo>
                <a:cubicBezTo>
                  <a:pt x="10414388" y="1096403"/>
                  <a:pt x="10406381" y="1088997"/>
                  <a:pt x="10399552" y="1093050"/>
                </a:cubicBezTo>
                <a:cubicBezTo>
                  <a:pt x="10397222" y="1094499"/>
                  <a:pt x="10392329" y="1089931"/>
                  <a:pt x="10389790" y="1088178"/>
                </a:cubicBezTo>
                <a:cubicBezTo>
                  <a:pt x="10383976" y="1083886"/>
                  <a:pt x="10374376" y="1083741"/>
                  <a:pt x="10373150" y="1073802"/>
                </a:cubicBezTo>
                <a:cubicBezTo>
                  <a:pt x="10372896" y="1072119"/>
                  <a:pt x="10371903" y="1069651"/>
                  <a:pt x="10369504" y="1068359"/>
                </a:cubicBezTo>
                <a:cubicBezTo>
                  <a:pt x="10366042" y="1066881"/>
                  <a:pt x="10365210" y="1064113"/>
                  <a:pt x="10366386" y="1060494"/>
                </a:cubicBezTo>
                <a:cubicBezTo>
                  <a:pt x="10366915" y="1058074"/>
                  <a:pt x="10366061" y="1056067"/>
                  <a:pt x="10365368" y="1053761"/>
                </a:cubicBezTo>
                <a:cubicBezTo>
                  <a:pt x="10363405" y="1048063"/>
                  <a:pt x="10363866" y="1042898"/>
                  <a:pt x="10368271" y="1038314"/>
                </a:cubicBezTo>
                <a:cubicBezTo>
                  <a:pt x="10370784" y="1035802"/>
                  <a:pt x="10371660" y="1032022"/>
                  <a:pt x="10369628" y="1028608"/>
                </a:cubicBezTo>
                <a:cubicBezTo>
                  <a:pt x="10370274" y="1027409"/>
                  <a:pt x="10370919" y="1026211"/>
                  <a:pt x="10371566" y="1025013"/>
                </a:cubicBezTo>
                <a:cubicBezTo>
                  <a:pt x="10375073" y="1024969"/>
                  <a:pt x="10377240" y="1023818"/>
                  <a:pt x="10379038" y="1019761"/>
                </a:cubicBezTo>
                <a:cubicBezTo>
                  <a:pt x="10381643" y="1014207"/>
                  <a:pt x="10386303" y="1011304"/>
                  <a:pt x="10392949" y="1013338"/>
                </a:cubicBezTo>
                <a:cubicBezTo>
                  <a:pt x="10395810" y="1014494"/>
                  <a:pt x="10396341" y="1012073"/>
                  <a:pt x="10397309" y="1010275"/>
                </a:cubicBezTo>
                <a:close/>
                <a:moveTo>
                  <a:pt x="5174944" y="1004625"/>
                </a:moveTo>
                <a:cubicBezTo>
                  <a:pt x="5176755" y="1009012"/>
                  <a:pt x="5176755" y="1009012"/>
                  <a:pt x="5176755" y="1009012"/>
                </a:cubicBezTo>
                <a:cubicBezTo>
                  <a:pt x="5172355" y="1010815"/>
                  <a:pt x="5172355" y="1010815"/>
                  <a:pt x="5172355" y="1010815"/>
                </a:cubicBezTo>
                <a:cubicBezTo>
                  <a:pt x="5176755" y="1009012"/>
                  <a:pt x="5174944" y="1004625"/>
                  <a:pt x="5174944" y="1004625"/>
                </a:cubicBezTo>
                <a:close/>
                <a:moveTo>
                  <a:pt x="11177571" y="994819"/>
                </a:moveTo>
                <a:cubicBezTo>
                  <a:pt x="11179184" y="991823"/>
                  <a:pt x="11180707" y="991870"/>
                  <a:pt x="11181977" y="995260"/>
                </a:cubicBezTo>
                <a:cubicBezTo>
                  <a:pt x="11183963" y="1000195"/>
                  <a:pt x="11186364" y="1001489"/>
                  <a:pt x="11190007" y="996880"/>
                </a:cubicBezTo>
                <a:cubicBezTo>
                  <a:pt x="11190952" y="995843"/>
                  <a:pt x="11192660" y="994830"/>
                  <a:pt x="11193053" y="996974"/>
                </a:cubicBezTo>
                <a:cubicBezTo>
                  <a:pt x="11194854" y="1002970"/>
                  <a:pt x="11198845" y="1002028"/>
                  <a:pt x="11203298" y="1000947"/>
                </a:cubicBezTo>
                <a:cubicBezTo>
                  <a:pt x="11203921" y="1000510"/>
                  <a:pt x="11205121" y="1001156"/>
                  <a:pt x="11205721" y="1001480"/>
                </a:cubicBezTo>
                <a:cubicBezTo>
                  <a:pt x="11210661" y="1009552"/>
                  <a:pt x="11214979" y="1018063"/>
                  <a:pt x="11219757" y="1026436"/>
                </a:cubicBezTo>
                <a:cubicBezTo>
                  <a:pt x="11221927" y="1030311"/>
                  <a:pt x="11220662" y="1036974"/>
                  <a:pt x="11219740" y="1042275"/>
                </a:cubicBezTo>
                <a:cubicBezTo>
                  <a:pt x="11219371" y="1044397"/>
                  <a:pt x="11218103" y="1046033"/>
                  <a:pt x="11219096" y="1048500"/>
                </a:cubicBezTo>
                <a:cubicBezTo>
                  <a:pt x="11220089" y="1050970"/>
                  <a:pt x="11218821" y="1052606"/>
                  <a:pt x="11216653" y="1053757"/>
                </a:cubicBezTo>
                <a:cubicBezTo>
                  <a:pt x="11215406" y="1054632"/>
                  <a:pt x="11213399" y="1055483"/>
                  <a:pt x="11213654" y="1057168"/>
                </a:cubicBezTo>
                <a:cubicBezTo>
                  <a:pt x="11214717" y="1062379"/>
                  <a:pt x="11213565" y="1065237"/>
                  <a:pt x="11207797" y="1064448"/>
                </a:cubicBezTo>
                <a:cubicBezTo>
                  <a:pt x="11206435" y="1064102"/>
                  <a:pt x="11205166" y="1065738"/>
                  <a:pt x="11205883" y="1067284"/>
                </a:cubicBezTo>
                <a:cubicBezTo>
                  <a:pt x="11208007" y="1072680"/>
                  <a:pt x="11202999" y="1071915"/>
                  <a:pt x="11201108" y="1073989"/>
                </a:cubicBezTo>
                <a:cubicBezTo>
                  <a:pt x="11194650" y="1080947"/>
                  <a:pt x="11186642" y="1073541"/>
                  <a:pt x="11179813" y="1077594"/>
                </a:cubicBezTo>
                <a:cubicBezTo>
                  <a:pt x="11177484" y="1079045"/>
                  <a:pt x="11172591" y="1074477"/>
                  <a:pt x="11170052" y="1072722"/>
                </a:cubicBezTo>
                <a:cubicBezTo>
                  <a:pt x="11164238" y="1068430"/>
                  <a:pt x="11154638" y="1068284"/>
                  <a:pt x="11153412" y="1058346"/>
                </a:cubicBezTo>
                <a:cubicBezTo>
                  <a:pt x="11153158" y="1056663"/>
                  <a:pt x="11152165" y="1054195"/>
                  <a:pt x="11149765" y="1052903"/>
                </a:cubicBezTo>
                <a:cubicBezTo>
                  <a:pt x="11146304" y="1051424"/>
                  <a:pt x="11145472" y="1048656"/>
                  <a:pt x="11146647" y="1045036"/>
                </a:cubicBezTo>
                <a:cubicBezTo>
                  <a:pt x="11147177" y="1042616"/>
                  <a:pt x="11146323" y="1040610"/>
                  <a:pt x="11145631" y="1038304"/>
                </a:cubicBezTo>
                <a:cubicBezTo>
                  <a:pt x="11143667" y="1032606"/>
                  <a:pt x="11144128" y="1027443"/>
                  <a:pt x="11148533" y="1022858"/>
                </a:cubicBezTo>
                <a:cubicBezTo>
                  <a:pt x="11151047" y="1020347"/>
                  <a:pt x="11151922" y="1016566"/>
                  <a:pt x="11149890" y="1013152"/>
                </a:cubicBezTo>
                <a:cubicBezTo>
                  <a:pt x="11150536" y="1011954"/>
                  <a:pt x="11151181" y="1010755"/>
                  <a:pt x="11151828" y="1009556"/>
                </a:cubicBezTo>
                <a:cubicBezTo>
                  <a:pt x="11155335" y="1009513"/>
                  <a:pt x="11157503" y="1008362"/>
                  <a:pt x="11159300" y="1004305"/>
                </a:cubicBezTo>
                <a:cubicBezTo>
                  <a:pt x="11161905" y="998750"/>
                  <a:pt x="11166565" y="995849"/>
                  <a:pt x="11173211" y="997882"/>
                </a:cubicBezTo>
                <a:cubicBezTo>
                  <a:pt x="11176073" y="999037"/>
                  <a:pt x="11176602" y="996617"/>
                  <a:pt x="11177571" y="994819"/>
                </a:cubicBezTo>
                <a:close/>
                <a:moveTo>
                  <a:pt x="452680" y="989550"/>
                </a:moveTo>
                <a:cubicBezTo>
                  <a:pt x="456042" y="988334"/>
                  <a:pt x="460212" y="989350"/>
                  <a:pt x="462782" y="991786"/>
                </a:cubicBezTo>
                <a:cubicBezTo>
                  <a:pt x="464844" y="993984"/>
                  <a:pt x="466502" y="995068"/>
                  <a:pt x="469148" y="995373"/>
                </a:cubicBezTo>
                <a:cubicBezTo>
                  <a:pt x="470761" y="999836"/>
                  <a:pt x="472374" y="1004299"/>
                  <a:pt x="473988" y="1008763"/>
                </a:cubicBezTo>
                <a:cubicBezTo>
                  <a:pt x="470924" y="1011973"/>
                  <a:pt x="469010" y="1016029"/>
                  <a:pt x="468726" y="1019917"/>
                </a:cubicBezTo>
                <a:cubicBezTo>
                  <a:pt x="467934" y="1023568"/>
                  <a:pt x="467649" y="1027455"/>
                  <a:pt x="466991" y="1031478"/>
                </a:cubicBezTo>
                <a:cubicBezTo>
                  <a:pt x="466199" y="1035130"/>
                  <a:pt x="465541" y="1039152"/>
                  <a:pt x="466512" y="1043006"/>
                </a:cubicBezTo>
                <a:cubicBezTo>
                  <a:pt x="466974" y="1046625"/>
                  <a:pt x="465270" y="1048922"/>
                  <a:pt x="463327" y="1051736"/>
                </a:cubicBezTo>
                <a:cubicBezTo>
                  <a:pt x="461384" y="1054541"/>
                  <a:pt x="457513" y="1055520"/>
                  <a:pt x="456587" y="1058798"/>
                </a:cubicBezTo>
                <a:cubicBezTo>
                  <a:pt x="453971" y="1059743"/>
                  <a:pt x="451729" y="1060552"/>
                  <a:pt x="449114" y="1061499"/>
                </a:cubicBezTo>
                <a:cubicBezTo>
                  <a:pt x="448710" y="1060383"/>
                  <a:pt x="448203" y="1060146"/>
                  <a:pt x="447455" y="1060417"/>
                </a:cubicBezTo>
                <a:cubicBezTo>
                  <a:pt x="441851" y="1062442"/>
                  <a:pt x="437518" y="1059803"/>
                  <a:pt x="434036" y="1056015"/>
                </a:cubicBezTo>
                <a:cubicBezTo>
                  <a:pt x="430689" y="1052600"/>
                  <a:pt x="427103" y="1049691"/>
                  <a:pt x="426102" y="1044577"/>
                </a:cubicBezTo>
                <a:cubicBezTo>
                  <a:pt x="425340" y="1038964"/>
                  <a:pt x="422950" y="1033520"/>
                  <a:pt x="425954" y="1027808"/>
                </a:cubicBezTo>
                <a:cubicBezTo>
                  <a:pt x="426911" y="1025780"/>
                  <a:pt x="428003" y="1024124"/>
                  <a:pt x="430349" y="1022435"/>
                </a:cubicBezTo>
                <a:cubicBezTo>
                  <a:pt x="433682" y="1019968"/>
                  <a:pt x="437494" y="1016488"/>
                  <a:pt x="434221" y="1010942"/>
                </a:cubicBezTo>
                <a:cubicBezTo>
                  <a:pt x="433041" y="1008845"/>
                  <a:pt x="435013" y="1007291"/>
                  <a:pt x="434984" y="1006040"/>
                </a:cubicBezTo>
                <a:cubicBezTo>
                  <a:pt x="434700" y="999414"/>
                  <a:pt x="438244" y="995189"/>
                  <a:pt x="442428" y="991574"/>
                </a:cubicBezTo>
                <a:cubicBezTo>
                  <a:pt x="446059" y="991102"/>
                  <a:pt x="449317" y="990766"/>
                  <a:pt x="452680" y="989550"/>
                </a:cubicBezTo>
                <a:close/>
                <a:moveTo>
                  <a:pt x="851606" y="988026"/>
                </a:moveTo>
                <a:cubicBezTo>
                  <a:pt x="854442" y="987038"/>
                  <a:pt x="857394" y="986768"/>
                  <a:pt x="860689" y="989056"/>
                </a:cubicBezTo>
                <a:cubicBezTo>
                  <a:pt x="861829" y="989804"/>
                  <a:pt x="863834" y="990529"/>
                  <a:pt x="865888" y="989787"/>
                </a:cubicBezTo>
                <a:cubicBezTo>
                  <a:pt x="868620" y="988509"/>
                  <a:pt x="870718" y="989491"/>
                  <a:pt x="872251" y="992126"/>
                </a:cubicBezTo>
                <a:lnTo>
                  <a:pt x="872252" y="992127"/>
                </a:lnTo>
                <a:cubicBezTo>
                  <a:pt x="873414" y="993737"/>
                  <a:pt x="875069" y="994298"/>
                  <a:pt x="876817" y="995116"/>
                </a:cubicBezTo>
                <a:cubicBezTo>
                  <a:pt x="881268" y="996987"/>
                  <a:pt x="884106" y="1000021"/>
                  <a:pt x="884491" y="1005101"/>
                </a:cubicBezTo>
                <a:cubicBezTo>
                  <a:pt x="884647" y="1007944"/>
                  <a:pt x="886438" y="1010487"/>
                  <a:pt x="889562" y="1011097"/>
                </a:cubicBezTo>
                <a:cubicBezTo>
                  <a:pt x="889932" y="1012123"/>
                  <a:pt x="890304" y="1013150"/>
                  <a:pt x="890674" y="1014175"/>
                </a:cubicBezTo>
                <a:cubicBezTo>
                  <a:pt x="888827" y="1016293"/>
                  <a:pt x="888356" y="1018202"/>
                  <a:pt x="889818" y="1021444"/>
                </a:cubicBezTo>
                <a:cubicBezTo>
                  <a:pt x="891743" y="1025968"/>
                  <a:pt x="890986" y="1030301"/>
                  <a:pt x="886222" y="1033182"/>
                </a:cubicBezTo>
                <a:cubicBezTo>
                  <a:pt x="884004" y="1034275"/>
                  <a:pt x="885166" y="1035885"/>
                  <a:pt x="885722" y="1037423"/>
                </a:cubicBezTo>
                <a:cubicBezTo>
                  <a:pt x="886650" y="1039988"/>
                  <a:pt x="885808" y="1040872"/>
                  <a:pt x="883105" y="1039819"/>
                </a:cubicBezTo>
                <a:cubicBezTo>
                  <a:pt x="879096" y="1038369"/>
                  <a:pt x="877042" y="1039111"/>
                  <a:pt x="877847" y="1043749"/>
                </a:cubicBezTo>
                <a:cubicBezTo>
                  <a:pt x="877961" y="1044868"/>
                  <a:pt x="877655" y="1046429"/>
                  <a:pt x="876164" y="1045518"/>
                </a:cubicBezTo>
                <a:cubicBezTo>
                  <a:pt x="871621" y="1043391"/>
                  <a:pt x="870051" y="1046278"/>
                  <a:pt x="868317" y="1049522"/>
                </a:cubicBezTo>
                <a:cubicBezTo>
                  <a:pt x="868246" y="1050127"/>
                  <a:pt x="867219" y="1050500"/>
                  <a:pt x="866705" y="1050684"/>
                </a:cubicBezTo>
                <a:cubicBezTo>
                  <a:pt x="859245" y="1049314"/>
                  <a:pt x="851856" y="1047346"/>
                  <a:pt x="844301" y="1045726"/>
                </a:cubicBezTo>
                <a:lnTo>
                  <a:pt x="844301" y="1045726"/>
                </a:lnTo>
                <a:cubicBezTo>
                  <a:pt x="840826" y="1044952"/>
                  <a:pt x="837525" y="1040635"/>
                  <a:pt x="834850" y="1037253"/>
                </a:cubicBezTo>
                <a:cubicBezTo>
                  <a:pt x="833781" y="1035900"/>
                  <a:pt x="833481" y="1034268"/>
                  <a:pt x="831476" y="1033543"/>
                </a:cubicBezTo>
                <a:cubicBezTo>
                  <a:pt x="829472" y="1032817"/>
                  <a:pt x="829173" y="1031186"/>
                  <a:pt x="829643" y="1029275"/>
                </a:cubicBezTo>
                <a:cubicBezTo>
                  <a:pt x="829786" y="1028064"/>
                  <a:pt x="830350" y="1026410"/>
                  <a:pt x="829209" y="1025663"/>
                </a:cubicBezTo>
                <a:cubicBezTo>
                  <a:pt x="825529" y="1023514"/>
                  <a:pt x="824437" y="1021299"/>
                  <a:pt x="827991" y="1018274"/>
                </a:cubicBezTo>
                <a:cubicBezTo>
                  <a:pt x="828924" y="1017647"/>
                  <a:pt x="828625" y="1016016"/>
                  <a:pt x="827320" y="1015617"/>
                </a:cubicBezTo>
                <a:cubicBezTo>
                  <a:pt x="822962" y="1014003"/>
                  <a:pt x="826093" y="1011421"/>
                  <a:pt x="825865" y="1009184"/>
                </a:cubicBezTo>
                <a:cubicBezTo>
                  <a:pt x="825160" y="1001609"/>
                  <a:pt x="833861" y="1000783"/>
                  <a:pt x="835089" y="994541"/>
                </a:cubicBezTo>
                <a:cubicBezTo>
                  <a:pt x="835467" y="992374"/>
                  <a:pt x="840809" y="991892"/>
                  <a:pt x="843213" y="991314"/>
                </a:cubicBezTo>
                <a:cubicBezTo>
                  <a:pt x="846048" y="990724"/>
                  <a:pt x="848770" y="989015"/>
                  <a:pt x="851606" y="988026"/>
                </a:cubicBezTo>
                <a:close/>
                <a:moveTo>
                  <a:pt x="8188293" y="987309"/>
                </a:moveTo>
                <a:cubicBezTo>
                  <a:pt x="8194184" y="990742"/>
                  <a:pt x="8199831" y="994664"/>
                  <a:pt x="8205722" y="998341"/>
                </a:cubicBezTo>
                <a:cubicBezTo>
                  <a:pt x="8208423" y="1000057"/>
                  <a:pt x="8209895" y="1004716"/>
                  <a:pt x="8211123" y="1008393"/>
                </a:cubicBezTo>
                <a:cubicBezTo>
                  <a:pt x="8211614" y="1009865"/>
                  <a:pt x="8211369" y="1011335"/>
                  <a:pt x="8212842" y="1012561"/>
                </a:cubicBezTo>
                <a:cubicBezTo>
                  <a:pt x="8214314" y="1013787"/>
                  <a:pt x="8214068" y="1015258"/>
                  <a:pt x="8213087" y="1016729"/>
                </a:cubicBezTo>
                <a:lnTo>
                  <a:pt x="8213087" y="1016730"/>
                </a:lnTo>
                <a:cubicBezTo>
                  <a:pt x="8212596" y="1017710"/>
                  <a:pt x="8211614" y="1018936"/>
                  <a:pt x="8212351" y="1019916"/>
                </a:cubicBezTo>
                <a:cubicBezTo>
                  <a:pt x="8214805" y="1022859"/>
                  <a:pt x="8215050" y="1025065"/>
                  <a:pt x="8211124" y="1026536"/>
                </a:cubicBezTo>
                <a:cubicBezTo>
                  <a:pt x="8210142" y="1026782"/>
                  <a:pt x="8209896" y="1028252"/>
                  <a:pt x="8210878" y="1028988"/>
                </a:cubicBezTo>
                <a:cubicBezTo>
                  <a:pt x="8214068" y="1031684"/>
                  <a:pt x="8210632" y="1032910"/>
                  <a:pt x="8210141" y="1034872"/>
                </a:cubicBezTo>
                <a:cubicBezTo>
                  <a:pt x="8208422" y="1041491"/>
                  <a:pt x="8200813" y="1039530"/>
                  <a:pt x="8197867" y="1044433"/>
                </a:cubicBezTo>
                <a:cubicBezTo>
                  <a:pt x="8196885" y="1046150"/>
                  <a:pt x="8192221" y="1044924"/>
                  <a:pt x="8190012" y="1044679"/>
                </a:cubicBezTo>
                <a:cubicBezTo>
                  <a:pt x="8184857" y="1043943"/>
                  <a:pt x="8178719" y="1047130"/>
                  <a:pt x="8174546" y="1041246"/>
                </a:cubicBezTo>
                <a:cubicBezTo>
                  <a:pt x="8173809" y="1040266"/>
                  <a:pt x="8172337" y="1039039"/>
                  <a:pt x="8170373" y="1039039"/>
                </a:cubicBezTo>
                <a:cubicBezTo>
                  <a:pt x="8167673" y="1039285"/>
                  <a:pt x="8166200" y="1037814"/>
                  <a:pt x="8165709" y="1035117"/>
                </a:cubicBezTo>
                <a:cubicBezTo>
                  <a:pt x="8165218" y="1033401"/>
                  <a:pt x="8163990" y="1032420"/>
                  <a:pt x="8162763" y="1031194"/>
                </a:cubicBezTo>
                <a:cubicBezTo>
                  <a:pt x="8159572" y="1028252"/>
                  <a:pt x="8158099" y="1024820"/>
                  <a:pt x="8159327" y="1020407"/>
                </a:cubicBezTo>
                <a:cubicBezTo>
                  <a:pt x="8160063" y="1017955"/>
                  <a:pt x="8159326" y="1015259"/>
                  <a:pt x="8156872" y="1013787"/>
                </a:cubicBezTo>
                <a:lnTo>
                  <a:pt x="8156872" y="1013787"/>
                </a:lnTo>
                <a:lnTo>
                  <a:pt x="8156872" y="1010845"/>
                </a:lnTo>
                <a:cubicBezTo>
                  <a:pt x="8159081" y="1009619"/>
                  <a:pt x="8160063" y="1008148"/>
                  <a:pt x="8159817" y="1004961"/>
                </a:cubicBezTo>
                <a:cubicBezTo>
                  <a:pt x="8159572" y="1000548"/>
                  <a:pt x="8161536" y="997116"/>
                  <a:pt x="8166446" y="996134"/>
                </a:cubicBezTo>
                <a:cubicBezTo>
                  <a:pt x="8168654" y="995889"/>
                  <a:pt x="8168164" y="994173"/>
                  <a:pt x="8168164" y="992702"/>
                </a:cubicBezTo>
                <a:cubicBezTo>
                  <a:pt x="8168164" y="990251"/>
                  <a:pt x="8169145" y="989761"/>
                  <a:pt x="8171110" y="991476"/>
                </a:cubicBezTo>
                <a:cubicBezTo>
                  <a:pt x="8174055" y="993928"/>
                  <a:pt x="8176019" y="993928"/>
                  <a:pt x="8176755" y="989760"/>
                </a:cubicBezTo>
                <a:cubicBezTo>
                  <a:pt x="8177001" y="988780"/>
                  <a:pt x="8177737" y="987554"/>
                  <a:pt x="8178719" y="988780"/>
                </a:cubicBezTo>
                <a:cubicBezTo>
                  <a:pt x="8181911" y="991967"/>
                  <a:pt x="8184121" y="990005"/>
                  <a:pt x="8186575" y="987799"/>
                </a:cubicBezTo>
                <a:cubicBezTo>
                  <a:pt x="8186821" y="987309"/>
                  <a:pt x="8187802" y="987309"/>
                  <a:pt x="8188293" y="987309"/>
                </a:cubicBezTo>
                <a:close/>
                <a:moveTo>
                  <a:pt x="3557296" y="968784"/>
                </a:moveTo>
                <a:lnTo>
                  <a:pt x="3540675" y="982712"/>
                </a:lnTo>
                <a:lnTo>
                  <a:pt x="3552670" y="983190"/>
                </a:lnTo>
                <a:close/>
                <a:moveTo>
                  <a:pt x="2209806" y="956984"/>
                </a:moveTo>
                <a:lnTo>
                  <a:pt x="2210072" y="957248"/>
                </a:lnTo>
                <a:lnTo>
                  <a:pt x="2209579" y="957365"/>
                </a:lnTo>
                <a:close/>
                <a:moveTo>
                  <a:pt x="10684116" y="950821"/>
                </a:moveTo>
                <a:cubicBezTo>
                  <a:pt x="10685729" y="947824"/>
                  <a:pt x="10687252" y="947872"/>
                  <a:pt x="10688522" y="951262"/>
                </a:cubicBezTo>
                <a:cubicBezTo>
                  <a:pt x="10690508" y="956197"/>
                  <a:pt x="10692909" y="957490"/>
                  <a:pt x="10696552" y="952881"/>
                </a:cubicBezTo>
                <a:cubicBezTo>
                  <a:pt x="10697497" y="951845"/>
                  <a:pt x="10699205" y="950831"/>
                  <a:pt x="10699598" y="952975"/>
                </a:cubicBezTo>
                <a:cubicBezTo>
                  <a:pt x="10701399" y="958972"/>
                  <a:pt x="10705390" y="958030"/>
                  <a:pt x="10709843" y="956949"/>
                </a:cubicBezTo>
                <a:cubicBezTo>
                  <a:pt x="10710466" y="956511"/>
                  <a:pt x="10711666" y="957158"/>
                  <a:pt x="10712266" y="957481"/>
                </a:cubicBezTo>
                <a:cubicBezTo>
                  <a:pt x="10717206" y="965554"/>
                  <a:pt x="10721524" y="974065"/>
                  <a:pt x="10726302" y="982437"/>
                </a:cubicBezTo>
                <a:cubicBezTo>
                  <a:pt x="10728472" y="986312"/>
                  <a:pt x="10727207" y="992975"/>
                  <a:pt x="10726285" y="998277"/>
                </a:cubicBezTo>
                <a:cubicBezTo>
                  <a:pt x="10725916" y="1000398"/>
                  <a:pt x="10724648" y="1002035"/>
                  <a:pt x="10725641" y="1004501"/>
                </a:cubicBezTo>
                <a:cubicBezTo>
                  <a:pt x="10726634" y="1006970"/>
                  <a:pt x="10725365" y="1008606"/>
                  <a:pt x="10723197" y="1009757"/>
                </a:cubicBezTo>
                <a:cubicBezTo>
                  <a:pt x="10721951" y="1010632"/>
                  <a:pt x="10719944" y="1011483"/>
                  <a:pt x="10720199" y="1013168"/>
                </a:cubicBezTo>
                <a:cubicBezTo>
                  <a:pt x="10721262" y="1018379"/>
                  <a:pt x="10720109" y="1021236"/>
                  <a:pt x="10714342" y="1020449"/>
                </a:cubicBezTo>
                <a:cubicBezTo>
                  <a:pt x="10712979" y="1020102"/>
                  <a:pt x="10711712" y="1021738"/>
                  <a:pt x="10712428" y="1023283"/>
                </a:cubicBezTo>
                <a:cubicBezTo>
                  <a:pt x="10714551" y="1028679"/>
                  <a:pt x="10709544" y="1027915"/>
                  <a:pt x="10707653" y="1029989"/>
                </a:cubicBezTo>
                <a:cubicBezTo>
                  <a:pt x="10701196" y="1036947"/>
                  <a:pt x="10693187" y="1029540"/>
                  <a:pt x="10686358" y="1033593"/>
                </a:cubicBezTo>
                <a:cubicBezTo>
                  <a:pt x="10684030" y="1035045"/>
                  <a:pt x="10679136" y="1030477"/>
                  <a:pt x="10676597" y="1028722"/>
                </a:cubicBezTo>
                <a:cubicBezTo>
                  <a:pt x="10670782" y="1024429"/>
                  <a:pt x="10661184" y="1024284"/>
                  <a:pt x="10659958" y="1014346"/>
                </a:cubicBezTo>
                <a:cubicBezTo>
                  <a:pt x="10659703" y="1012663"/>
                  <a:pt x="10658710" y="1010195"/>
                  <a:pt x="10656310" y="1008903"/>
                </a:cubicBezTo>
                <a:cubicBezTo>
                  <a:pt x="10652850" y="1007424"/>
                  <a:pt x="10652017" y="1004657"/>
                  <a:pt x="10653192" y="1001038"/>
                </a:cubicBezTo>
                <a:cubicBezTo>
                  <a:pt x="10653722" y="998617"/>
                  <a:pt x="10652868" y="996611"/>
                  <a:pt x="10652176" y="994305"/>
                </a:cubicBezTo>
                <a:cubicBezTo>
                  <a:pt x="10650212" y="988608"/>
                  <a:pt x="10650673" y="983444"/>
                  <a:pt x="10655078" y="978859"/>
                </a:cubicBezTo>
                <a:cubicBezTo>
                  <a:pt x="10657592" y="976348"/>
                  <a:pt x="10658467" y="972568"/>
                  <a:pt x="10656435" y="969154"/>
                </a:cubicBezTo>
                <a:cubicBezTo>
                  <a:pt x="10657081" y="967955"/>
                  <a:pt x="10657726" y="966756"/>
                  <a:pt x="10658373" y="965558"/>
                </a:cubicBezTo>
                <a:cubicBezTo>
                  <a:pt x="10661880" y="965514"/>
                  <a:pt x="10664048" y="964364"/>
                  <a:pt x="10665845" y="960307"/>
                </a:cubicBezTo>
                <a:cubicBezTo>
                  <a:pt x="10668450" y="954752"/>
                  <a:pt x="10673110" y="951850"/>
                  <a:pt x="10679756" y="953884"/>
                </a:cubicBezTo>
                <a:cubicBezTo>
                  <a:pt x="10682618" y="955038"/>
                  <a:pt x="10683147" y="952618"/>
                  <a:pt x="10684116" y="950821"/>
                </a:cubicBezTo>
                <a:close/>
                <a:moveTo>
                  <a:pt x="2905368" y="946296"/>
                </a:moveTo>
                <a:cubicBezTo>
                  <a:pt x="2908889" y="946297"/>
                  <a:pt x="2911908" y="946296"/>
                  <a:pt x="2915427" y="946297"/>
                </a:cubicBezTo>
                <a:cubicBezTo>
                  <a:pt x="2915428" y="947798"/>
                  <a:pt x="2915931" y="948300"/>
                  <a:pt x="2916937" y="948299"/>
                </a:cubicBezTo>
                <a:cubicBezTo>
                  <a:pt x="2924479" y="948300"/>
                  <a:pt x="2928501" y="953307"/>
                  <a:pt x="2931016" y="959315"/>
                </a:cubicBezTo>
                <a:cubicBezTo>
                  <a:pt x="2933531" y="964823"/>
                  <a:pt x="2936549" y="969830"/>
                  <a:pt x="2935541" y="976340"/>
                </a:cubicBezTo>
                <a:cubicBezTo>
                  <a:pt x="2934033" y="983350"/>
                  <a:pt x="2934536" y="990860"/>
                  <a:pt x="2928501" y="996369"/>
                </a:cubicBezTo>
                <a:cubicBezTo>
                  <a:pt x="2926491" y="998371"/>
                  <a:pt x="2924480" y="999874"/>
                  <a:pt x="2920961" y="1000875"/>
                </a:cubicBezTo>
                <a:cubicBezTo>
                  <a:pt x="2915930" y="1002376"/>
                  <a:pt x="2909896" y="1004880"/>
                  <a:pt x="2911406" y="1012892"/>
                </a:cubicBezTo>
                <a:cubicBezTo>
                  <a:pt x="2911908" y="1015896"/>
                  <a:pt x="2908889" y="1016897"/>
                  <a:pt x="2908388" y="1018400"/>
                </a:cubicBezTo>
                <a:cubicBezTo>
                  <a:pt x="2905872" y="1026411"/>
                  <a:pt x="2899836" y="1029917"/>
                  <a:pt x="2893297" y="1032421"/>
                </a:cubicBezTo>
                <a:cubicBezTo>
                  <a:pt x="2888768" y="1031418"/>
                  <a:pt x="2884746" y="1030417"/>
                  <a:pt x="2880217" y="1030417"/>
                </a:cubicBezTo>
                <a:cubicBezTo>
                  <a:pt x="2875691" y="1030417"/>
                  <a:pt x="2871163" y="1027413"/>
                  <a:pt x="2869150" y="1023407"/>
                </a:cubicBezTo>
                <a:cubicBezTo>
                  <a:pt x="2867643" y="1019902"/>
                  <a:pt x="2866134" y="1017900"/>
                  <a:pt x="2863113" y="1016398"/>
                </a:cubicBezTo>
                <a:cubicBezTo>
                  <a:pt x="2863114" y="1010389"/>
                  <a:pt x="2863114" y="1004380"/>
                  <a:pt x="2863113" y="998372"/>
                </a:cubicBezTo>
                <a:cubicBezTo>
                  <a:pt x="2868145" y="995868"/>
                  <a:pt x="2872170" y="991862"/>
                  <a:pt x="2874181" y="987356"/>
                </a:cubicBezTo>
                <a:cubicBezTo>
                  <a:pt x="2876696" y="983350"/>
                  <a:pt x="2878709" y="978844"/>
                  <a:pt x="2881223" y="974337"/>
                </a:cubicBezTo>
                <a:cubicBezTo>
                  <a:pt x="2883738" y="970331"/>
                  <a:pt x="2886255" y="965824"/>
                  <a:pt x="2886756" y="960818"/>
                </a:cubicBezTo>
                <a:cubicBezTo>
                  <a:pt x="2887763" y="956311"/>
                  <a:pt x="2890781" y="954308"/>
                  <a:pt x="2894301" y="951805"/>
                </a:cubicBezTo>
                <a:cubicBezTo>
                  <a:pt x="2897823" y="949301"/>
                  <a:pt x="2902854" y="949801"/>
                  <a:pt x="2905368" y="946296"/>
                </a:cubicBezTo>
                <a:close/>
                <a:moveTo>
                  <a:pt x="2260447" y="944656"/>
                </a:moveTo>
                <a:cubicBezTo>
                  <a:pt x="2263968" y="944656"/>
                  <a:pt x="2266988" y="944656"/>
                  <a:pt x="2270507" y="944656"/>
                </a:cubicBezTo>
                <a:cubicBezTo>
                  <a:pt x="2273021" y="948161"/>
                  <a:pt x="2278053" y="947661"/>
                  <a:pt x="2281574" y="950164"/>
                </a:cubicBezTo>
                <a:cubicBezTo>
                  <a:pt x="2285095" y="952667"/>
                  <a:pt x="2288113" y="954671"/>
                  <a:pt x="2289119" y="959177"/>
                </a:cubicBezTo>
                <a:cubicBezTo>
                  <a:pt x="2289621" y="964184"/>
                  <a:pt x="2292136" y="968690"/>
                  <a:pt x="2294651" y="972696"/>
                </a:cubicBezTo>
                <a:cubicBezTo>
                  <a:pt x="2297165" y="977203"/>
                  <a:pt x="2299178" y="981709"/>
                  <a:pt x="2301692" y="985715"/>
                </a:cubicBezTo>
                <a:cubicBezTo>
                  <a:pt x="2303707" y="990222"/>
                  <a:pt x="2307729" y="994227"/>
                  <a:pt x="2312761" y="996731"/>
                </a:cubicBezTo>
                <a:cubicBezTo>
                  <a:pt x="2312760" y="1002739"/>
                  <a:pt x="2312761" y="1008748"/>
                  <a:pt x="2312760" y="1014757"/>
                </a:cubicBezTo>
                <a:cubicBezTo>
                  <a:pt x="2309742" y="1016259"/>
                  <a:pt x="2308232" y="1018262"/>
                  <a:pt x="2306725" y="1021767"/>
                </a:cubicBezTo>
                <a:cubicBezTo>
                  <a:pt x="2304711" y="1025772"/>
                  <a:pt x="2300183" y="1028777"/>
                  <a:pt x="2295658" y="1028777"/>
                </a:cubicBezTo>
                <a:cubicBezTo>
                  <a:pt x="2291129" y="1028777"/>
                  <a:pt x="2287107" y="1029778"/>
                  <a:pt x="2282579" y="1030780"/>
                </a:cubicBezTo>
                <a:cubicBezTo>
                  <a:pt x="2276042" y="1028276"/>
                  <a:pt x="2270004" y="1024771"/>
                  <a:pt x="2267489" y="1016759"/>
                </a:cubicBezTo>
                <a:cubicBezTo>
                  <a:pt x="2266989" y="1015257"/>
                  <a:pt x="2263968" y="1014256"/>
                  <a:pt x="2264473" y="1011252"/>
                </a:cubicBezTo>
                <a:cubicBezTo>
                  <a:pt x="2265979" y="1003240"/>
                  <a:pt x="2259943" y="1000736"/>
                  <a:pt x="2254917" y="999234"/>
                </a:cubicBezTo>
                <a:cubicBezTo>
                  <a:pt x="2251397" y="998232"/>
                  <a:pt x="2249383" y="996731"/>
                  <a:pt x="2247372" y="994728"/>
                </a:cubicBezTo>
                <a:cubicBezTo>
                  <a:pt x="2241335" y="989220"/>
                  <a:pt x="2241840" y="981709"/>
                  <a:pt x="2240329" y="974699"/>
                </a:cubicBezTo>
                <a:cubicBezTo>
                  <a:pt x="2239325" y="968190"/>
                  <a:pt x="2242342" y="963183"/>
                  <a:pt x="2244855" y="957675"/>
                </a:cubicBezTo>
                <a:cubicBezTo>
                  <a:pt x="2247372" y="951666"/>
                  <a:pt x="2251397" y="946659"/>
                  <a:pt x="2258937" y="946659"/>
                </a:cubicBezTo>
                <a:cubicBezTo>
                  <a:pt x="2259943" y="946659"/>
                  <a:pt x="2260447" y="946158"/>
                  <a:pt x="2260447" y="944656"/>
                </a:cubicBezTo>
                <a:close/>
                <a:moveTo>
                  <a:pt x="8445790" y="941572"/>
                </a:moveTo>
                <a:cubicBezTo>
                  <a:pt x="8446496" y="941572"/>
                  <a:pt x="8447910" y="941571"/>
                  <a:pt x="8448263" y="942277"/>
                </a:cubicBezTo>
                <a:cubicBezTo>
                  <a:pt x="8451799" y="945454"/>
                  <a:pt x="8454979" y="948278"/>
                  <a:pt x="8459574" y="943689"/>
                </a:cubicBezTo>
                <a:cubicBezTo>
                  <a:pt x="8460986" y="941924"/>
                  <a:pt x="8462047" y="943689"/>
                  <a:pt x="8462400" y="945101"/>
                </a:cubicBezTo>
                <a:cubicBezTo>
                  <a:pt x="8463460" y="951101"/>
                  <a:pt x="8466288" y="951102"/>
                  <a:pt x="8470529" y="947572"/>
                </a:cubicBezTo>
                <a:cubicBezTo>
                  <a:pt x="8473357" y="945101"/>
                  <a:pt x="8474771" y="945807"/>
                  <a:pt x="8474771" y="949336"/>
                </a:cubicBezTo>
                <a:cubicBezTo>
                  <a:pt x="8474770" y="951455"/>
                  <a:pt x="8474063" y="953925"/>
                  <a:pt x="8477244" y="954278"/>
                </a:cubicBezTo>
                <a:cubicBezTo>
                  <a:pt x="8484312" y="955691"/>
                  <a:pt x="8487139" y="960632"/>
                  <a:pt x="8486786" y="966985"/>
                </a:cubicBezTo>
                <a:cubicBezTo>
                  <a:pt x="8486433" y="971574"/>
                  <a:pt x="8487846" y="973691"/>
                  <a:pt x="8491028" y="975456"/>
                </a:cubicBezTo>
                <a:cubicBezTo>
                  <a:pt x="8491028" y="976868"/>
                  <a:pt x="8491028" y="978279"/>
                  <a:pt x="8491027" y="979691"/>
                </a:cubicBezTo>
                <a:cubicBezTo>
                  <a:pt x="8487493" y="981809"/>
                  <a:pt x="8486433" y="985692"/>
                  <a:pt x="8487493" y="989222"/>
                </a:cubicBezTo>
                <a:cubicBezTo>
                  <a:pt x="8489261" y="995575"/>
                  <a:pt x="8487139" y="1000517"/>
                  <a:pt x="8482546" y="1004753"/>
                </a:cubicBezTo>
                <a:cubicBezTo>
                  <a:pt x="8480779" y="1006517"/>
                  <a:pt x="8479011" y="1007929"/>
                  <a:pt x="8478304" y="1010400"/>
                </a:cubicBezTo>
                <a:cubicBezTo>
                  <a:pt x="8477597" y="1014282"/>
                  <a:pt x="8475478" y="1016400"/>
                  <a:pt x="8471589" y="1016047"/>
                </a:cubicBezTo>
                <a:cubicBezTo>
                  <a:pt x="8468762" y="1016047"/>
                  <a:pt x="8466641" y="1017812"/>
                  <a:pt x="8465582" y="1019223"/>
                </a:cubicBezTo>
                <a:cubicBezTo>
                  <a:pt x="8459573" y="1027695"/>
                  <a:pt x="8450737" y="1023106"/>
                  <a:pt x="8443316" y="1024165"/>
                </a:cubicBezTo>
                <a:cubicBezTo>
                  <a:pt x="8440136" y="1024519"/>
                  <a:pt x="8433420" y="1026283"/>
                  <a:pt x="8432006" y="1023812"/>
                </a:cubicBezTo>
                <a:cubicBezTo>
                  <a:pt x="8427766" y="1016753"/>
                  <a:pt x="8416809" y="1019577"/>
                  <a:pt x="8414336" y="1010047"/>
                </a:cubicBezTo>
                <a:cubicBezTo>
                  <a:pt x="8413629" y="1007223"/>
                  <a:pt x="8408682" y="1005458"/>
                  <a:pt x="8413276" y="1001575"/>
                </a:cubicBezTo>
                <a:cubicBezTo>
                  <a:pt x="8414689" y="1000517"/>
                  <a:pt x="8414335" y="998399"/>
                  <a:pt x="8412923" y="998045"/>
                </a:cubicBezTo>
                <a:cubicBezTo>
                  <a:pt x="8407267" y="995928"/>
                  <a:pt x="8407621" y="992751"/>
                  <a:pt x="8411155" y="988516"/>
                </a:cubicBezTo>
                <a:cubicBezTo>
                  <a:pt x="8412215" y="987104"/>
                  <a:pt x="8410801" y="985339"/>
                  <a:pt x="8410095" y="983928"/>
                </a:cubicBezTo>
                <a:cubicBezTo>
                  <a:pt x="8408682" y="981810"/>
                  <a:pt x="8408328" y="979692"/>
                  <a:pt x="8410449" y="977927"/>
                </a:cubicBezTo>
                <a:cubicBezTo>
                  <a:pt x="8412569" y="976162"/>
                  <a:pt x="8412216" y="974044"/>
                  <a:pt x="8412922" y="971927"/>
                </a:cubicBezTo>
                <a:cubicBezTo>
                  <a:pt x="8414689" y="966631"/>
                  <a:pt x="8416810" y="959926"/>
                  <a:pt x="8420697" y="957455"/>
                </a:cubicBezTo>
                <a:cubicBezTo>
                  <a:pt x="8429180" y="952160"/>
                  <a:pt x="8437308" y="946513"/>
                  <a:pt x="8445790" y="941572"/>
                </a:cubicBezTo>
                <a:close/>
                <a:moveTo>
                  <a:pt x="8552998" y="925507"/>
                </a:moveTo>
                <a:lnTo>
                  <a:pt x="8553196" y="925838"/>
                </a:lnTo>
                <a:lnTo>
                  <a:pt x="8552768" y="925736"/>
                </a:lnTo>
                <a:close/>
                <a:moveTo>
                  <a:pt x="2546234" y="923434"/>
                </a:moveTo>
                <a:cubicBezTo>
                  <a:pt x="2552567" y="927122"/>
                  <a:pt x="2558635" y="931338"/>
                  <a:pt x="2564962" y="935290"/>
                </a:cubicBezTo>
                <a:cubicBezTo>
                  <a:pt x="2567865" y="937133"/>
                  <a:pt x="2569445" y="942140"/>
                  <a:pt x="2570765" y="946091"/>
                </a:cubicBezTo>
                <a:cubicBezTo>
                  <a:pt x="2571294" y="947672"/>
                  <a:pt x="2571027" y="949253"/>
                  <a:pt x="2572614" y="950569"/>
                </a:cubicBezTo>
                <a:cubicBezTo>
                  <a:pt x="2574198" y="951887"/>
                  <a:pt x="2573933" y="953468"/>
                  <a:pt x="2572874" y="955049"/>
                </a:cubicBezTo>
                <a:cubicBezTo>
                  <a:pt x="2572346" y="956103"/>
                  <a:pt x="2571294" y="957420"/>
                  <a:pt x="2572085" y="958474"/>
                </a:cubicBezTo>
                <a:cubicBezTo>
                  <a:pt x="2574722" y="961636"/>
                  <a:pt x="2574993" y="964006"/>
                  <a:pt x="2570765" y="965587"/>
                </a:cubicBezTo>
                <a:cubicBezTo>
                  <a:pt x="2569710" y="965850"/>
                  <a:pt x="2569444" y="967431"/>
                  <a:pt x="2570502" y="968222"/>
                </a:cubicBezTo>
                <a:cubicBezTo>
                  <a:pt x="2573932" y="971120"/>
                  <a:pt x="2570235" y="972437"/>
                  <a:pt x="2569710" y="974544"/>
                </a:cubicBezTo>
                <a:cubicBezTo>
                  <a:pt x="2567866" y="981658"/>
                  <a:pt x="2559687" y="979551"/>
                  <a:pt x="2556523" y="984820"/>
                </a:cubicBezTo>
                <a:cubicBezTo>
                  <a:pt x="2555470" y="986664"/>
                  <a:pt x="2550456" y="985346"/>
                  <a:pt x="2548083" y="985083"/>
                </a:cubicBezTo>
                <a:cubicBezTo>
                  <a:pt x="2542543" y="984292"/>
                  <a:pt x="2535947" y="987718"/>
                  <a:pt x="2531463" y="981394"/>
                </a:cubicBezTo>
                <a:cubicBezTo>
                  <a:pt x="2530671" y="980340"/>
                  <a:pt x="2529088" y="979023"/>
                  <a:pt x="2526978" y="979024"/>
                </a:cubicBezTo>
                <a:cubicBezTo>
                  <a:pt x="2524075" y="979287"/>
                  <a:pt x="2522493" y="977706"/>
                  <a:pt x="2521965" y="974808"/>
                </a:cubicBezTo>
                <a:cubicBezTo>
                  <a:pt x="2521438" y="972964"/>
                  <a:pt x="2520119" y="971910"/>
                  <a:pt x="2518800" y="970593"/>
                </a:cubicBezTo>
                <a:cubicBezTo>
                  <a:pt x="2515370" y="967431"/>
                  <a:pt x="2513788" y="963743"/>
                  <a:pt x="2515106" y="959001"/>
                </a:cubicBezTo>
                <a:cubicBezTo>
                  <a:pt x="2515898" y="956366"/>
                  <a:pt x="2515106" y="953468"/>
                  <a:pt x="2512468" y="951887"/>
                </a:cubicBezTo>
                <a:cubicBezTo>
                  <a:pt x="2512468" y="950833"/>
                  <a:pt x="2512468" y="949780"/>
                  <a:pt x="2512468" y="948726"/>
                </a:cubicBezTo>
                <a:cubicBezTo>
                  <a:pt x="2514843" y="947409"/>
                  <a:pt x="2515898" y="945828"/>
                  <a:pt x="2515635" y="942403"/>
                </a:cubicBezTo>
                <a:cubicBezTo>
                  <a:pt x="2515370" y="937661"/>
                  <a:pt x="2517481" y="933973"/>
                  <a:pt x="2522757" y="932918"/>
                </a:cubicBezTo>
                <a:cubicBezTo>
                  <a:pt x="2525132" y="932655"/>
                  <a:pt x="2524603" y="930810"/>
                  <a:pt x="2524603" y="929230"/>
                </a:cubicBezTo>
                <a:cubicBezTo>
                  <a:pt x="2524604" y="926596"/>
                  <a:pt x="2525658" y="926068"/>
                  <a:pt x="2527770" y="927913"/>
                </a:cubicBezTo>
                <a:cubicBezTo>
                  <a:pt x="2530935" y="930547"/>
                  <a:pt x="2533046" y="930548"/>
                  <a:pt x="2533838" y="926068"/>
                </a:cubicBezTo>
                <a:cubicBezTo>
                  <a:pt x="2534099" y="925014"/>
                  <a:pt x="2534891" y="923697"/>
                  <a:pt x="2535946" y="925015"/>
                </a:cubicBezTo>
                <a:cubicBezTo>
                  <a:pt x="2539377" y="928440"/>
                  <a:pt x="2541751" y="926332"/>
                  <a:pt x="2544388" y="923961"/>
                </a:cubicBezTo>
                <a:cubicBezTo>
                  <a:pt x="2544654" y="923434"/>
                  <a:pt x="2545707" y="923434"/>
                  <a:pt x="2546234" y="923434"/>
                </a:cubicBezTo>
                <a:close/>
                <a:moveTo>
                  <a:pt x="5379329" y="915503"/>
                </a:moveTo>
                <a:cubicBezTo>
                  <a:pt x="5379329" y="915503"/>
                  <a:pt x="5379329" y="915503"/>
                  <a:pt x="5374936" y="917306"/>
                </a:cubicBezTo>
                <a:lnTo>
                  <a:pt x="5374848" y="917099"/>
                </a:lnTo>
                <a:close/>
                <a:moveTo>
                  <a:pt x="4021382" y="913322"/>
                </a:moveTo>
                <a:cubicBezTo>
                  <a:pt x="4022367" y="913792"/>
                  <a:pt x="4024036" y="914150"/>
                  <a:pt x="4025584" y="913339"/>
                </a:cubicBezTo>
                <a:cubicBezTo>
                  <a:pt x="4027613" y="912029"/>
                  <a:pt x="4029382" y="912581"/>
                  <a:pt x="4030884" y="914505"/>
                </a:cubicBezTo>
                <a:cubicBezTo>
                  <a:pt x="4031981" y="915656"/>
                  <a:pt x="4033354" y="915922"/>
                  <a:pt x="4034829" y="916382"/>
                </a:cubicBezTo>
                <a:cubicBezTo>
                  <a:pt x="4038561" y="917384"/>
                  <a:pt x="4041141" y="919483"/>
                  <a:pt x="4041997" y="923470"/>
                </a:cubicBezTo>
                <a:cubicBezTo>
                  <a:pt x="4042429" y="925708"/>
                  <a:pt x="4044124" y="927530"/>
                  <a:pt x="4046668" y="927677"/>
                </a:cubicBezTo>
                <a:cubicBezTo>
                  <a:pt x="4047074" y="928450"/>
                  <a:pt x="4047478" y="929224"/>
                  <a:pt x="4047884" y="929997"/>
                </a:cubicBezTo>
                <a:cubicBezTo>
                  <a:pt x="4046648" y="931877"/>
                  <a:pt x="4046482" y="933443"/>
                  <a:pt x="4047992" y="935855"/>
                </a:cubicBezTo>
                <a:cubicBezTo>
                  <a:pt x="4050009" y="939235"/>
                  <a:pt x="4049879" y="942753"/>
                  <a:pt x="4046411" y="945556"/>
                </a:cubicBezTo>
                <a:cubicBezTo>
                  <a:pt x="4044770" y="946662"/>
                  <a:pt x="4045867" y="947812"/>
                  <a:pt x="4046474" y="948973"/>
                </a:cubicBezTo>
                <a:cubicBezTo>
                  <a:pt x="4047488" y="950907"/>
                  <a:pt x="4046916" y="951700"/>
                  <a:pt x="4044658" y="951157"/>
                </a:cubicBezTo>
                <a:cubicBezTo>
                  <a:pt x="4041321" y="950440"/>
                  <a:pt x="4039773" y="951253"/>
                  <a:pt x="4040915" y="954844"/>
                </a:cubicBezTo>
                <a:cubicBezTo>
                  <a:pt x="4041126" y="955718"/>
                  <a:pt x="4041052" y="956990"/>
                  <a:pt x="4039770" y="956428"/>
                </a:cubicBezTo>
                <a:cubicBezTo>
                  <a:pt x="4035936" y="955234"/>
                  <a:pt x="4035003" y="957693"/>
                  <a:pt x="4033979" y="960448"/>
                </a:cubicBezTo>
                <a:cubicBezTo>
                  <a:pt x="4033989" y="960937"/>
                  <a:pt x="4033214" y="961342"/>
                  <a:pt x="4032827" y="961546"/>
                </a:cubicBezTo>
                <a:cubicBezTo>
                  <a:pt x="4026761" y="961272"/>
                  <a:pt x="4020689" y="960512"/>
                  <a:pt x="4014522" y="960045"/>
                </a:cubicBezTo>
                <a:cubicBezTo>
                  <a:pt x="4011682" y="959808"/>
                  <a:pt x="4008595" y="956742"/>
                  <a:pt x="4006109" y="954349"/>
                </a:cubicBezTo>
                <a:cubicBezTo>
                  <a:pt x="4005112" y="953392"/>
                  <a:pt x="4004699" y="952130"/>
                  <a:pt x="4003029" y="951772"/>
                </a:cubicBezTo>
                <a:cubicBezTo>
                  <a:pt x="4001362" y="951413"/>
                  <a:pt x="4000948" y="950152"/>
                  <a:pt x="4001114" y="948586"/>
                </a:cubicBezTo>
                <a:cubicBezTo>
                  <a:pt x="4001097" y="947610"/>
                  <a:pt x="4001365" y="946236"/>
                  <a:pt x="4000379" y="945767"/>
                </a:cubicBezTo>
                <a:cubicBezTo>
                  <a:pt x="3997227" y="944462"/>
                  <a:pt x="3996121" y="942823"/>
                  <a:pt x="3998611" y="940039"/>
                </a:cubicBezTo>
                <a:cubicBezTo>
                  <a:pt x="3999285" y="939441"/>
                  <a:pt x="3998870" y="938178"/>
                  <a:pt x="3997792" y="938005"/>
                </a:cubicBezTo>
                <a:cubicBezTo>
                  <a:pt x="3994161" y="937196"/>
                  <a:pt x="3996365" y="934809"/>
                  <a:pt x="3995940" y="933059"/>
                </a:cubicBezTo>
                <a:cubicBezTo>
                  <a:pt x="3994561" y="927128"/>
                  <a:pt x="4001374" y="925531"/>
                  <a:pt x="4001671" y="920446"/>
                </a:cubicBezTo>
                <a:cubicBezTo>
                  <a:pt x="4001737" y="918686"/>
                  <a:pt x="4005921" y="917726"/>
                  <a:pt x="4007765" y="917006"/>
                </a:cubicBezTo>
                <a:cubicBezTo>
                  <a:pt x="4012136" y="915456"/>
                  <a:pt x="4015659" y="910406"/>
                  <a:pt x="4021382" y="913322"/>
                </a:cubicBezTo>
                <a:close/>
                <a:moveTo>
                  <a:pt x="5373132" y="912918"/>
                </a:moveTo>
                <a:lnTo>
                  <a:pt x="5374848" y="917099"/>
                </a:lnTo>
                <a:lnTo>
                  <a:pt x="5367518" y="919716"/>
                </a:lnTo>
                <a:cubicBezTo>
                  <a:pt x="5360582" y="924486"/>
                  <a:pt x="5364934" y="930392"/>
                  <a:pt x="5350421" y="932509"/>
                </a:cubicBezTo>
                <a:cubicBezTo>
                  <a:pt x="5348616" y="928123"/>
                  <a:pt x="5348616" y="928123"/>
                  <a:pt x="5344230" y="929926"/>
                </a:cubicBezTo>
                <a:cubicBezTo>
                  <a:pt x="5339843" y="931729"/>
                  <a:pt x="5339843" y="931729"/>
                  <a:pt x="5339843" y="931729"/>
                </a:cubicBezTo>
                <a:cubicBezTo>
                  <a:pt x="5338042" y="927341"/>
                  <a:pt x="5338042" y="927341"/>
                  <a:pt x="5333651" y="929144"/>
                </a:cubicBezTo>
                <a:cubicBezTo>
                  <a:pt x="5333651" y="929144"/>
                  <a:pt x="5333651" y="929144"/>
                  <a:pt x="5329260" y="930947"/>
                </a:cubicBezTo>
                <a:cubicBezTo>
                  <a:pt x="5331067" y="935334"/>
                  <a:pt x="5335460" y="933532"/>
                  <a:pt x="5331067" y="935334"/>
                </a:cubicBezTo>
                <a:cubicBezTo>
                  <a:pt x="5317911" y="940743"/>
                  <a:pt x="5302944" y="941765"/>
                  <a:pt x="5297772" y="954144"/>
                </a:cubicBezTo>
                <a:cubicBezTo>
                  <a:pt x="5300360" y="947955"/>
                  <a:pt x="5300360" y="947955"/>
                  <a:pt x="5295974" y="949758"/>
                </a:cubicBezTo>
                <a:cubicBezTo>
                  <a:pt x="5289781" y="947174"/>
                  <a:pt x="5287202" y="953363"/>
                  <a:pt x="5287202" y="953363"/>
                </a:cubicBezTo>
                <a:cubicBezTo>
                  <a:pt x="5287202" y="953363"/>
                  <a:pt x="5287202" y="953363"/>
                  <a:pt x="5282808" y="955166"/>
                </a:cubicBezTo>
                <a:cubicBezTo>
                  <a:pt x="5266048" y="951801"/>
                  <a:pt x="5258298" y="970370"/>
                  <a:pt x="5237137" y="968808"/>
                </a:cubicBezTo>
                <a:cubicBezTo>
                  <a:pt x="5238944" y="973196"/>
                  <a:pt x="5238944" y="973196"/>
                  <a:pt x="5238944" y="973196"/>
                </a:cubicBezTo>
                <a:cubicBezTo>
                  <a:pt x="5237137" y="968808"/>
                  <a:pt x="5232751" y="970610"/>
                  <a:pt x="5232751" y="970610"/>
                </a:cubicBezTo>
                <a:cubicBezTo>
                  <a:pt x="5228358" y="972414"/>
                  <a:pt x="5228358" y="972414"/>
                  <a:pt x="5230159" y="976802"/>
                </a:cubicBezTo>
                <a:cubicBezTo>
                  <a:pt x="5216993" y="982210"/>
                  <a:pt x="5203836" y="987618"/>
                  <a:pt x="5203836" y="987618"/>
                </a:cubicBezTo>
                <a:cubicBezTo>
                  <a:pt x="5190686" y="993028"/>
                  <a:pt x="5214409" y="988400"/>
                  <a:pt x="5192483" y="997413"/>
                </a:cubicBezTo>
                <a:cubicBezTo>
                  <a:pt x="5195069" y="991224"/>
                  <a:pt x="5188889" y="988640"/>
                  <a:pt x="5186302" y="994830"/>
                </a:cubicBezTo>
                <a:cubicBezTo>
                  <a:pt x="5183724" y="1001019"/>
                  <a:pt x="5207443" y="996392"/>
                  <a:pt x="5185522" y="1005407"/>
                </a:cubicBezTo>
                <a:cubicBezTo>
                  <a:pt x="5185522" y="1005407"/>
                  <a:pt x="5185522" y="1005407"/>
                  <a:pt x="5183724" y="1001019"/>
                </a:cubicBezTo>
                <a:cubicBezTo>
                  <a:pt x="5183724" y="1001019"/>
                  <a:pt x="5183724" y="1001019"/>
                  <a:pt x="5179328" y="1002822"/>
                </a:cubicBezTo>
                <a:cubicBezTo>
                  <a:pt x="5179328" y="1002822"/>
                  <a:pt x="5174944" y="1004625"/>
                  <a:pt x="5174944" y="1004625"/>
                </a:cubicBezTo>
                <a:cubicBezTo>
                  <a:pt x="5170560" y="1006429"/>
                  <a:pt x="5170560" y="1006429"/>
                  <a:pt x="5170560" y="1006429"/>
                </a:cubicBezTo>
                <a:cubicBezTo>
                  <a:pt x="5166160" y="1008231"/>
                  <a:pt x="5166160" y="1008231"/>
                  <a:pt x="5166160" y="1008231"/>
                </a:cubicBezTo>
                <a:cubicBezTo>
                  <a:pt x="5164355" y="1003845"/>
                  <a:pt x="5159982" y="1005648"/>
                  <a:pt x="5155589" y="1007450"/>
                </a:cubicBezTo>
                <a:cubicBezTo>
                  <a:pt x="5157392" y="1011837"/>
                  <a:pt x="5152997" y="1013640"/>
                  <a:pt x="5148611" y="1015443"/>
                </a:cubicBezTo>
                <a:cubicBezTo>
                  <a:pt x="5142424" y="1012859"/>
                  <a:pt x="5129266" y="1018268"/>
                  <a:pt x="5120488" y="1021873"/>
                </a:cubicBezTo>
                <a:cubicBezTo>
                  <a:pt x="5155589" y="1007450"/>
                  <a:pt x="5168750" y="1002041"/>
                  <a:pt x="5197657" y="985034"/>
                </a:cubicBezTo>
                <a:cubicBezTo>
                  <a:pt x="5189667" y="978062"/>
                  <a:pt x="5205401" y="966465"/>
                  <a:pt x="5227340" y="957450"/>
                </a:cubicBezTo>
                <a:cubicBezTo>
                  <a:pt x="5249287" y="948437"/>
                  <a:pt x="5271216" y="939422"/>
                  <a:pt x="5269411" y="935033"/>
                </a:cubicBezTo>
                <a:cubicBezTo>
                  <a:pt x="5289547" y="921633"/>
                  <a:pt x="5323860" y="917786"/>
                  <a:pt x="5347599" y="913159"/>
                </a:cubicBezTo>
                <a:cubicBezTo>
                  <a:pt x="5343210" y="914962"/>
                  <a:pt x="5343210" y="914962"/>
                  <a:pt x="5345009" y="919350"/>
                </a:cubicBezTo>
                <a:cubicBezTo>
                  <a:pt x="5345009" y="919350"/>
                  <a:pt x="5349397" y="917545"/>
                  <a:pt x="5349397" y="917545"/>
                </a:cubicBezTo>
                <a:cubicBezTo>
                  <a:pt x="5368747" y="914721"/>
                  <a:pt x="5368747" y="914721"/>
                  <a:pt x="5368747" y="914721"/>
                </a:cubicBezTo>
                <a:cubicBezTo>
                  <a:pt x="5373132" y="912918"/>
                  <a:pt x="5373132" y="912918"/>
                  <a:pt x="5373132" y="912918"/>
                </a:cubicBezTo>
                <a:close/>
                <a:moveTo>
                  <a:pt x="5381913" y="909312"/>
                </a:moveTo>
                <a:lnTo>
                  <a:pt x="5381752" y="909689"/>
                </a:lnTo>
                <a:lnTo>
                  <a:pt x="5377518" y="911116"/>
                </a:lnTo>
                <a:cubicBezTo>
                  <a:pt x="5377518" y="911116"/>
                  <a:pt x="5377518" y="911116"/>
                  <a:pt x="5381913" y="909312"/>
                </a:cubicBezTo>
                <a:close/>
                <a:moveTo>
                  <a:pt x="6290812" y="898549"/>
                </a:moveTo>
                <a:cubicBezTo>
                  <a:pt x="6294003" y="898519"/>
                  <a:pt x="6298195" y="899360"/>
                  <a:pt x="6301289" y="900653"/>
                </a:cubicBezTo>
                <a:lnTo>
                  <a:pt x="6290539" y="898739"/>
                </a:lnTo>
                <a:close/>
                <a:moveTo>
                  <a:pt x="2129505" y="892138"/>
                </a:moveTo>
                <a:cubicBezTo>
                  <a:pt x="2130423" y="892326"/>
                  <a:pt x="2131124" y="893190"/>
                  <a:pt x="2131448" y="895024"/>
                </a:cubicBezTo>
                <a:cubicBezTo>
                  <a:pt x="2131448" y="895887"/>
                  <a:pt x="2131663" y="896750"/>
                  <a:pt x="2132095" y="897612"/>
                </a:cubicBezTo>
                <a:cubicBezTo>
                  <a:pt x="2132527" y="898691"/>
                  <a:pt x="2132527" y="900417"/>
                  <a:pt x="2134038" y="900632"/>
                </a:cubicBezTo>
                <a:cubicBezTo>
                  <a:pt x="2135334" y="900632"/>
                  <a:pt x="2136197" y="899554"/>
                  <a:pt x="2136844" y="898691"/>
                </a:cubicBezTo>
                <a:cubicBezTo>
                  <a:pt x="2140082" y="895024"/>
                  <a:pt x="2141377" y="895239"/>
                  <a:pt x="2143319" y="899769"/>
                </a:cubicBezTo>
                <a:cubicBezTo>
                  <a:pt x="2143751" y="900848"/>
                  <a:pt x="2143968" y="901710"/>
                  <a:pt x="2144615" y="902573"/>
                </a:cubicBezTo>
                <a:cubicBezTo>
                  <a:pt x="2145478" y="903868"/>
                  <a:pt x="2146342" y="904946"/>
                  <a:pt x="2148500" y="904084"/>
                </a:cubicBezTo>
                <a:cubicBezTo>
                  <a:pt x="2150442" y="903005"/>
                  <a:pt x="2150442" y="902142"/>
                  <a:pt x="2150011" y="900416"/>
                </a:cubicBezTo>
                <a:lnTo>
                  <a:pt x="2149647" y="897153"/>
                </a:lnTo>
                <a:lnTo>
                  <a:pt x="2166515" y="913930"/>
                </a:lnTo>
                <a:lnTo>
                  <a:pt x="2165550" y="915300"/>
                </a:lnTo>
                <a:cubicBezTo>
                  <a:pt x="2165119" y="917242"/>
                  <a:pt x="2165766" y="918537"/>
                  <a:pt x="2167491" y="919399"/>
                </a:cubicBezTo>
                <a:cubicBezTo>
                  <a:pt x="2168787" y="920046"/>
                  <a:pt x="2170083" y="920477"/>
                  <a:pt x="2171376" y="921125"/>
                </a:cubicBezTo>
                <a:cubicBezTo>
                  <a:pt x="2173535" y="922203"/>
                  <a:pt x="2174400" y="923714"/>
                  <a:pt x="2173967" y="926303"/>
                </a:cubicBezTo>
                <a:cubicBezTo>
                  <a:pt x="2172672" y="934068"/>
                  <a:pt x="2175478" y="939461"/>
                  <a:pt x="2182384" y="942912"/>
                </a:cubicBezTo>
                <a:cubicBezTo>
                  <a:pt x="2183463" y="943559"/>
                  <a:pt x="2185837" y="943343"/>
                  <a:pt x="2185407" y="945285"/>
                </a:cubicBezTo>
                <a:cubicBezTo>
                  <a:pt x="2185190" y="947227"/>
                  <a:pt x="2183248" y="947658"/>
                  <a:pt x="2181304" y="947874"/>
                </a:cubicBezTo>
                <a:cubicBezTo>
                  <a:pt x="2181089" y="947874"/>
                  <a:pt x="2180874" y="947874"/>
                  <a:pt x="2180658" y="947874"/>
                </a:cubicBezTo>
                <a:cubicBezTo>
                  <a:pt x="2175478" y="948737"/>
                  <a:pt x="2173967" y="951110"/>
                  <a:pt x="2176557" y="955208"/>
                </a:cubicBezTo>
                <a:cubicBezTo>
                  <a:pt x="2178931" y="959091"/>
                  <a:pt x="2178283" y="962111"/>
                  <a:pt x="2176126" y="965347"/>
                </a:cubicBezTo>
                <a:cubicBezTo>
                  <a:pt x="2173319" y="969661"/>
                  <a:pt x="2171162" y="974191"/>
                  <a:pt x="2172457" y="979584"/>
                </a:cubicBezTo>
                <a:cubicBezTo>
                  <a:pt x="2173105" y="981958"/>
                  <a:pt x="2170731" y="983036"/>
                  <a:pt x="2169218" y="983467"/>
                </a:cubicBezTo>
                <a:cubicBezTo>
                  <a:pt x="2163607" y="985408"/>
                  <a:pt x="2161018" y="989076"/>
                  <a:pt x="2160370" y="994684"/>
                </a:cubicBezTo>
                <a:cubicBezTo>
                  <a:pt x="2159940" y="998135"/>
                  <a:pt x="2158644" y="998783"/>
                  <a:pt x="2155192" y="996626"/>
                </a:cubicBezTo>
                <a:cubicBezTo>
                  <a:pt x="2147853" y="992096"/>
                  <a:pt x="2137060" y="995332"/>
                  <a:pt x="2133823" y="1002881"/>
                </a:cubicBezTo>
                <a:cubicBezTo>
                  <a:pt x="2133175" y="1004391"/>
                  <a:pt x="2132312" y="1006333"/>
                  <a:pt x="2133823" y="1007627"/>
                </a:cubicBezTo>
                <a:cubicBezTo>
                  <a:pt x="2135334" y="1008922"/>
                  <a:pt x="2137491" y="1009568"/>
                  <a:pt x="2139433" y="1008274"/>
                </a:cubicBezTo>
                <a:cubicBezTo>
                  <a:pt x="2140729" y="1007626"/>
                  <a:pt x="2142023" y="1006548"/>
                  <a:pt x="2143319" y="1005685"/>
                </a:cubicBezTo>
                <a:cubicBezTo>
                  <a:pt x="2144615" y="1004607"/>
                  <a:pt x="2145909" y="1003960"/>
                  <a:pt x="2146990" y="1005254"/>
                </a:cubicBezTo>
                <a:cubicBezTo>
                  <a:pt x="2148284" y="1006764"/>
                  <a:pt x="2147422" y="1008058"/>
                  <a:pt x="2146342" y="1009137"/>
                </a:cubicBezTo>
                <a:cubicBezTo>
                  <a:pt x="2145478" y="1010216"/>
                  <a:pt x="2144183" y="1011078"/>
                  <a:pt x="2143319" y="1011941"/>
                </a:cubicBezTo>
                <a:cubicBezTo>
                  <a:pt x="2141378" y="1013883"/>
                  <a:pt x="2140297" y="1016471"/>
                  <a:pt x="2142241" y="1018629"/>
                </a:cubicBezTo>
                <a:cubicBezTo>
                  <a:pt x="2143968" y="1020354"/>
                  <a:pt x="2146342" y="1018629"/>
                  <a:pt x="2148068" y="1017335"/>
                </a:cubicBezTo>
                <a:cubicBezTo>
                  <a:pt x="2149579" y="1016256"/>
                  <a:pt x="2150658" y="1014314"/>
                  <a:pt x="2152602" y="1013667"/>
                </a:cubicBezTo>
                <a:cubicBezTo>
                  <a:pt x="2155407" y="1012589"/>
                  <a:pt x="2157135" y="1013021"/>
                  <a:pt x="2156918" y="1016472"/>
                </a:cubicBezTo>
                <a:cubicBezTo>
                  <a:pt x="2156703" y="1021217"/>
                  <a:pt x="2154760" y="1025100"/>
                  <a:pt x="2152169" y="1028768"/>
                </a:cubicBezTo>
                <a:cubicBezTo>
                  <a:pt x="2148931" y="1033513"/>
                  <a:pt x="2148717" y="1036101"/>
                  <a:pt x="2152169" y="1040631"/>
                </a:cubicBezTo>
                <a:cubicBezTo>
                  <a:pt x="2153249" y="1042357"/>
                  <a:pt x="2154975" y="1043867"/>
                  <a:pt x="2156487" y="1045377"/>
                </a:cubicBezTo>
                <a:cubicBezTo>
                  <a:pt x="2157134" y="1046024"/>
                  <a:pt x="2158213" y="1046672"/>
                  <a:pt x="2157780" y="1047750"/>
                </a:cubicBezTo>
                <a:cubicBezTo>
                  <a:pt x="2157348" y="1049045"/>
                  <a:pt x="2156270" y="1049260"/>
                  <a:pt x="2155406" y="1049044"/>
                </a:cubicBezTo>
                <a:cubicBezTo>
                  <a:pt x="2151522" y="1048181"/>
                  <a:pt x="2150658" y="1049916"/>
                  <a:pt x="2150876" y="1053367"/>
                </a:cubicBezTo>
                <a:cubicBezTo>
                  <a:pt x="2151090" y="1057681"/>
                  <a:pt x="2148285" y="1060701"/>
                  <a:pt x="2145262" y="1063074"/>
                </a:cubicBezTo>
                <a:cubicBezTo>
                  <a:pt x="2142888" y="1065015"/>
                  <a:pt x="2142672" y="1066525"/>
                  <a:pt x="2145046" y="1068252"/>
                </a:cubicBezTo>
                <a:cubicBezTo>
                  <a:pt x="2146342" y="1069114"/>
                  <a:pt x="2147204" y="1069977"/>
                  <a:pt x="2146773" y="1071703"/>
                </a:cubicBezTo>
                <a:cubicBezTo>
                  <a:pt x="2146342" y="1074075"/>
                  <a:pt x="2144615" y="1073644"/>
                  <a:pt x="2143104" y="1074075"/>
                </a:cubicBezTo>
                <a:cubicBezTo>
                  <a:pt x="2142240" y="1074292"/>
                  <a:pt x="2141160" y="1074291"/>
                  <a:pt x="2140082" y="1074507"/>
                </a:cubicBezTo>
                <a:cubicBezTo>
                  <a:pt x="2134254" y="1075155"/>
                  <a:pt x="2132960" y="1078390"/>
                  <a:pt x="2136414" y="1083351"/>
                </a:cubicBezTo>
                <a:cubicBezTo>
                  <a:pt x="2136844" y="1083997"/>
                  <a:pt x="2137276" y="1084429"/>
                  <a:pt x="2137491" y="1085076"/>
                </a:cubicBezTo>
                <a:cubicBezTo>
                  <a:pt x="2138138" y="1086371"/>
                  <a:pt x="2138571" y="1088096"/>
                  <a:pt x="2137276" y="1088959"/>
                </a:cubicBezTo>
                <a:cubicBezTo>
                  <a:pt x="2136198" y="1089822"/>
                  <a:pt x="2134687" y="1088958"/>
                  <a:pt x="2133824" y="1088096"/>
                </a:cubicBezTo>
                <a:cubicBezTo>
                  <a:pt x="2132960" y="1087233"/>
                  <a:pt x="2132312" y="1086371"/>
                  <a:pt x="2131664" y="1085291"/>
                </a:cubicBezTo>
                <a:cubicBezTo>
                  <a:pt x="2130368" y="1083781"/>
                  <a:pt x="2129073" y="1083351"/>
                  <a:pt x="2127347" y="1084645"/>
                </a:cubicBezTo>
                <a:cubicBezTo>
                  <a:pt x="2123245" y="1087449"/>
                  <a:pt x="2118713" y="1087880"/>
                  <a:pt x="2114180" y="1088096"/>
                </a:cubicBezTo>
                <a:cubicBezTo>
                  <a:pt x="2108785" y="1088527"/>
                  <a:pt x="2103173" y="1087880"/>
                  <a:pt x="2097778" y="1089174"/>
                </a:cubicBezTo>
                <a:cubicBezTo>
                  <a:pt x="2095821" y="1089606"/>
                  <a:pt x="2094740" y="1088312"/>
                  <a:pt x="2093878" y="1087233"/>
                </a:cubicBezTo>
                <a:cubicBezTo>
                  <a:pt x="2090856" y="1083781"/>
                  <a:pt x="2088051" y="1080330"/>
                  <a:pt x="2082656" y="1082056"/>
                </a:cubicBezTo>
                <a:cubicBezTo>
                  <a:pt x="2081578" y="1082271"/>
                  <a:pt x="2080927" y="1081409"/>
                  <a:pt x="2080496" y="1080547"/>
                </a:cubicBezTo>
                <a:cubicBezTo>
                  <a:pt x="2078124" y="1076232"/>
                  <a:pt x="2074238" y="1072781"/>
                  <a:pt x="2071000" y="1069114"/>
                </a:cubicBezTo>
                <a:cubicBezTo>
                  <a:pt x="2066037" y="1063505"/>
                  <a:pt x="2063230" y="1057250"/>
                  <a:pt x="2065173" y="1049700"/>
                </a:cubicBezTo>
                <a:cubicBezTo>
                  <a:pt x="2065820" y="1046672"/>
                  <a:pt x="2064092" y="1044730"/>
                  <a:pt x="2062368" y="1043005"/>
                </a:cubicBezTo>
                <a:cubicBezTo>
                  <a:pt x="2058481" y="1038906"/>
                  <a:pt x="2058697" y="1036749"/>
                  <a:pt x="2063015" y="1033513"/>
                </a:cubicBezTo>
                <a:cubicBezTo>
                  <a:pt x="2067763" y="1030278"/>
                  <a:pt x="2067763" y="1030278"/>
                  <a:pt x="2063878" y="1025532"/>
                </a:cubicBezTo>
                <a:cubicBezTo>
                  <a:pt x="2063015" y="1024453"/>
                  <a:pt x="2062368" y="1023590"/>
                  <a:pt x="2063661" y="1022296"/>
                </a:cubicBezTo>
                <a:cubicBezTo>
                  <a:pt x="2067979" y="1017334"/>
                  <a:pt x="2071863" y="1012373"/>
                  <a:pt x="2076397" y="1007627"/>
                </a:cubicBezTo>
                <a:cubicBezTo>
                  <a:pt x="2079635" y="1003960"/>
                  <a:pt x="2083734" y="1001587"/>
                  <a:pt x="2088483" y="1000508"/>
                </a:cubicBezTo>
                <a:cubicBezTo>
                  <a:pt x="2091504" y="999645"/>
                  <a:pt x="2097348" y="991880"/>
                  <a:pt x="2097564" y="988645"/>
                </a:cubicBezTo>
                <a:cubicBezTo>
                  <a:pt x="2097564" y="987566"/>
                  <a:pt x="2097564" y="986703"/>
                  <a:pt x="2096252" y="986271"/>
                </a:cubicBezTo>
                <a:cubicBezTo>
                  <a:pt x="2089561" y="983251"/>
                  <a:pt x="2086325" y="977427"/>
                  <a:pt x="2083519" y="971171"/>
                </a:cubicBezTo>
                <a:cubicBezTo>
                  <a:pt x="2082871" y="969877"/>
                  <a:pt x="2082440" y="968798"/>
                  <a:pt x="2081793" y="967720"/>
                </a:cubicBezTo>
                <a:cubicBezTo>
                  <a:pt x="2079635" y="964268"/>
                  <a:pt x="2078555" y="961248"/>
                  <a:pt x="2080066" y="956934"/>
                </a:cubicBezTo>
                <a:cubicBezTo>
                  <a:pt x="2081577" y="952619"/>
                  <a:pt x="2079202" y="948305"/>
                  <a:pt x="2077044" y="944422"/>
                </a:cubicBezTo>
                <a:cubicBezTo>
                  <a:pt x="2076180" y="942481"/>
                  <a:pt x="2075749" y="941186"/>
                  <a:pt x="2077260" y="939245"/>
                </a:cubicBezTo>
                <a:cubicBezTo>
                  <a:pt x="2083303" y="931048"/>
                  <a:pt x="2087834" y="921988"/>
                  <a:pt x="2088699" y="911418"/>
                </a:cubicBezTo>
                <a:cubicBezTo>
                  <a:pt x="2088915" y="909908"/>
                  <a:pt x="2089345" y="909261"/>
                  <a:pt x="2090856" y="909692"/>
                </a:cubicBezTo>
                <a:cubicBezTo>
                  <a:pt x="2096898" y="910987"/>
                  <a:pt x="2100799" y="907751"/>
                  <a:pt x="2104037" y="903436"/>
                </a:cubicBezTo>
                <a:cubicBezTo>
                  <a:pt x="2105549" y="901495"/>
                  <a:pt x="2106845" y="900417"/>
                  <a:pt x="2109649" y="901711"/>
                </a:cubicBezTo>
                <a:cubicBezTo>
                  <a:pt x="2113102" y="903652"/>
                  <a:pt x="2116338" y="901926"/>
                  <a:pt x="2119145" y="899553"/>
                </a:cubicBezTo>
                <a:cubicBezTo>
                  <a:pt x="2121519" y="897612"/>
                  <a:pt x="2123893" y="895239"/>
                  <a:pt x="2126268" y="893297"/>
                </a:cubicBezTo>
                <a:cubicBezTo>
                  <a:pt x="2127455" y="892435"/>
                  <a:pt x="2128588" y="891950"/>
                  <a:pt x="2129505" y="892138"/>
                </a:cubicBezTo>
                <a:close/>
                <a:moveTo>
                  <a:pt x="9480411" y="883157"/>
                </a:moveTo>
                <a:cubicBezTo>
                  <a:pt x="9483873" y="883197"/>
                  <a:pt x="9487177" y="884062"/>
                  <a:pt x="9489852" y="887833"/>
                </a:cubicBezTo>
                <a:cubicBezTo>
                  <a:pt x="9490796" y="889090"/>
                  <a:pt x="9492685" y="890661"/>
                  <a:pt x="9495202" y="890661"/>
                </a:cubicBezTo>
                <a:cubicBezTo>
                  <a:pt x="9498665" y="890347"/>
                  <a:pt x="9500553" y="892233"/>
                  <a:pt x="9501182" y="895690"/>
                </a:cubicBezTo>
                <a:cubicBezTo>
                  <a:pt x="9501810" y="897890"/>
                  <a:pt x="9503384" y="899147"/>
                  <a:pt x="9504957" y="900718"/>
                </a:cubicBezTo>
                <a:cubicBezTo>
                  <a:pt x="9509048" y="904491"/>
                  <a:pt x="9510938" y="908890"/>
                  <a:pt x="9509363" y="914547"/>
                </a:cubicBezTo>
                <a:cubicBezTo>
                  <a:pt x="9508420" y="917690"/>
                  <a:pt x="9509363" y="921147"/>
                  <a:pt x="9512510" y="923033"/>
                </a:cubicBezTo>
                <a:cubicBezTo>
                  <a:pt x="9512510" y="924291"/>
                  <a:pt x="9512510" y="925548"/>
                  <a:pt x="9512511" y="926804"/>
                </a:cubicBezTo>
                <a:cubicBezTo>
                  <a:pt x="9509678" y="928376"/>
                  <a:pt x="9508419" y="930262"/>
                  <a:pt x="9508735" y="934348"/>
                </a:cubicBezTo>
                <a:cubicBezTo>
                  <a:pt x="9509049" y="940005"/>
                  <a:pt x="9506532" y="944405"/>
                  <a:pt x="9500237" y="945662"/>
                </a:cubicBezTo>
                <a:cubicBezTo>
                  <a:pt x="9497405" y="945976"/>
                  <a:pt x="9498034" y="948176"/>
                  <a:pt x="9498035" y="950062"/>
                </a:cubicBezTo>
                <a:cubicBezTo>
                  <a:pt x="9498035" y="953205"/>
                  <a:pt x="9496776" y="953834"/>
                  <a:pt x="9494258" y="951634"/>
                </a:cubicBezTo>
                <a:cubicBezTo>
                  <a:pt x="9490483" y="948491"/>
                  <a:pt x="9487964" y="948491"/>
                  <a:pt x="9487021" y="953834"/>
                </a:cubicBezTo>
                <a:cubicBezTo>
                  <a:pt x="9486705" y="955091"/>
                  <a:pt x="9485762" y="956663"/>
                  <a:pt x="9484503" y="955091"/>
                </a:cubicBezTo>
                <a:cubicBezTo>
                  <a:pt x="9480411" y="951005"/>
                  <a:pt x="9477580" y="953519"/>
                  <a:pt x="9474432" y="956348"/>
                </a:cubicBezTo>
                <a:cubicBezTo>
                  <a:pt x="9474119" y="956977"/>
                  <a:pt x="9472859" y="956977"/>
                  <a:pt x="9472229" y="956977"/>
                </a:cubicBezTo>
                <a:cubicBezTo>
                  <a:pt x="9464677" y="952577"/>
                  <a:pt x="9457440" y="947548"/>
                  <a:pt x="9449887" y="942833"/>
                </a:cubicBezTo>
                <a:cubicBezTo>
                  <a:pt x="9446426" y="940633"/>
                  <a:pt x="9444537" y="934662"/>
                  <a:pt x="9442963" y="929948"/>
                </a:cubicBezTo>
                <a:cubicBezTo>
                  <a:pt x="9442335" y="928062"/>
                  <a:pt x="9442649" y="926177"/>
                  <a:pt x="9440760" y="924605"/>
                </a:cubicBezTo>
                <a:cubicBezTo>
                  <a:pt x="9438872" y="923034"/>
                  <a:pt x="9439187" y="921147"/>
                  <a:pt x="9440446" y="919262"/>
                </a:cubicBezTo>
                <a:cubicBezTo>
                  <a:pt x="9441076" y="918004"/>
                  <a:pt x="9442334" y="916433"/>
                  <a:pt x="9441390" y="915176"/>
                </a:cubicBezTo>
                <a:cubicBezTo>
                  <a:pt x="9438244" y="911404"/>
                  <a:pt x="9437928" y="908576"/>
                  <a:pt x="9442964" y="906690"/>
                </a:cubicBezTo>
                <a:cubicBezTo>
                  <a:pt x="9444222" y="906376"/>
                  <a:pt x="9444537" y="904491"/>
                  <a:pt x="9443279" y="903547"/>
                </a:cubicBezTo>
                <a:cubicBezTo>
                  <a:pt x="9439187" y="900090"/>
                  <a:pt x="9443592" y="898519"/>
                  <a:pt x="9444223" y="896004"/>
                </a:cubicBezTo>
                <a:cubicBezTo>
                  <a:pt x="9446425" y="887518"/>
                  <a:pt x="9456180" y="890033"/>
                  <a:pt x="9459956" y="883747"/>
                </a:cubicBezTo>
                <a:cubicBezTo>
                  <a:pt x="9461216" y="881547"/>
                  <a:pt x="9467194" y="883119"/>
                  <a:pt x="9470028" y="883433"/>
                </a:cubicBezTo>
                <a:cubicBezTo>
                  <a:pt x="9473331" y="883904"/>
                  <a:pt x="9476950" y="883118"/>
                  <a:pt x="9480411" y="883157"/>
                </a:cubicBezTo>
                <a:close/>
                <a:moveTo>
                  <a:pt x="1571998" y="883072"/>
                </a:moveTo>
                <a:cubicBezTo>
                  <a:pt x="1574834" y="882083"/>
                  <a:pt x="1577785" y="881813"/>
                  <a:pt x="1581080" y="884102"/>
                </a:cubicBezTo>
                <a:cubicBezTo>
                  <a:pt x="1582221" y="884849"/>
                  <a:pt x="1584225" y="885574"/>
                  <a:pt x="1586280" y="884833"/>
                </a:cubicBezTo>
                <a:cubicBezTo>
                  <a:pt x="1589011" y="883555"/>
                  <a:pt x="1591109" y="884537"/>
                  <a:pt x="1592642" y="887172"/>
                </a:cubicBezTo>
                <a:cubicBezTo>
                  <a:pt x="1593805" y="888782"/>
                  <a:pt x="1595459" y="889343"/>
                  <a:pt x="1597207" y="890161"/>
                </a:cubicBezTo>
                <a:cubicBezTo>
                  <a:pt x="1601657" y="892032"/>
                  <a:pt x="1604496" y="895066"/>
                  <a:pt x="1604881" y="900146"/>
                </a:cubicBezTo>
                <a:cubicBezTo>
                  <a:pt x="1605038" y="902989"/>
                  <a:pt x="1606828" y="905532"/>
                  <a:pt x="1609952" y="906142"/>
                </a:cubicBezTo>
                <a:cubicBezTo>
                  <a:pt x="1610322" y="907169"/>
                  <a:pt x="1610693" y="908194"/>
                  <a:pt x="1611065" y="909220"/>
                </a:cubicBezTo>
                <a:cubicBezTo>
                  <a:pt x="1609217" y="911338"/>
                  <a:pt x="1608746" y="913247"/>
                  <a:pt x="1610208" y="916489"/>
                </a:cubicBezTo>
                <a:cubicBezTo>
                  <a:pt x="1612133" y="921012"/>
                  <a:pt x="1611377" y="925346"/>
                  <a:pt x="1606612" y="928228"/>
                </a:cubicBezTo>
                <a:cubicBezTo>
                  <a:pt x="1604394" y="929320"/>
                  <a:pt x="1605555" y="930929"/>
                  <a:pt x="1606112" y="932468"/>
                </a:cubicBezTo>
                <a:cubicBezTo>
                  <a:pt x="1607039" y="935033"/>
                  <a:pt x="1606197" y="935917"/>
                  <a:pt x="1603495" y="934864"/>
                </a:cubicBezTo>
                <a:cubicBezTo>
                  <a:pt x="1599486" y="933413"/>
                  <a:pt x="1597432" y="934156"/>
                  <a:pt x="1598237" y="938794"/>
                </a:cubicBezTo>
                <a:cubicBezTo>
                  <a:pt x="1598352" y="939913"/>
                  <a:pt x="1598044" y="941474"/>
                  <a:pt x="1596554" y="940563"/>
                </a:cubicBezTo>
                <a:cubicBezTo>
                  <a:pt x="1592010" y="938436"/>
                  <a:pt x="1590441" y="941323"/>
                  <a:pt x="1588707" y="944559"/>
                </a:cubicBezTo>
                <a:cubicBezTo>
                  <a:pt x="1588636" y="945165"/>
                  <a:pt x="1587609" y="945536"/>
                  <a:pt x="1587095" y="945721"/>
                </a:cubicBezTo>
                <a:cubicBezTo>
                  <a:pt x="1579634" y="944359"/>
                  <a:pt x="1572245" y="942390"/>
                  <a:pt x="1564692" y="940771"/>
                </a:cubicBezTo>
                <a:cubicBezTo>
                  <a:pt x="1561219" y="939997"/>
                  <a:pt x="1557916" y="935681"/>
                  <a:pt x="1555242" y="932299"/>
                </a:cubicBezTo>
                <a:cubicBezTo>
                  <a:pt x="1554172" y="930946"/>
                  <a:pt x="1553872" y="929314"/>
                  <a:pt x="1551868" y="928589"/>
                </a:cubicBezTo>
                <a:cubicBezTo>
                  <a:pt x="1549864" y="927863"/>
                  <a:pt x="1549564" y="926232"/>
                  <a:pt x="1550035" y="924321"/>
                </a:cubicBezTo>
                <a:cubicBezTo>
                  <a:pt x="1550177" y="923110"/>
                  <a:pt x="1550742" y="921456"/>
                  <a:pt x="1549600" y="920709"/>
                </a:cubicBezTo>
                <a:cubicBezTo>
                  <a:pt x="1545920" y="918560"/>
                  <a:pt x="1544830" y="916344"/>
                  <a:pt x="1548381" y="913320"/>
                </a:cubicBezTo>
                <a:cubicBezTo>
                  <a:pt x="1549316" y="912692"/>
                  <a:pt x="1549016" y="911062"/>
                  <a:pt x="1547711" y="910663"/>
                </a:cubicBezTo>
                <a:cubicBezTo>
                  <a:pt x="1543354" y="909049"/>
                  <a:pt x="1546485" y="906467"/>
                  <a:pt x="1546256" y="904229"/>
                </a:cubicBezTo>
                <a:cubicBezTo>
                  <a:pt x="1545551" y="896655"/>
                  <a:pt x="1554253" y="895829"/>
                  <a:pt x="1555480" y="889586"/>
                </a:cubicBezTo>
                <a:cubicBezTo>
                  <a:pt x="1555859" y="887420"/>
                  <a:pt x="1561201" y="886938"/>
                  <a:pt x="1563604" y="886359"/>
                </a:cubicBezTo>
                <a:cubicBezTo>
                  <a:pt x="1566440" y="885769"/>
                  <a:pt x="1569161" y="884061"/>
                  <a:pt x="1571998" y="883072"/>
                </a:cubicBezTo>
                <a:close/>
                <a:moveTo>
                  <a:pt x="6662223" y="880517"/>
                </a:moveTo>
                <a:cubicBezTo>
                  <a:pt x="6667632" y="893678"/>
                  <a:pt x="6653450" y="884123"/>
                  <a:pt x="6649063" y="885926"/>
                </a:cubicBezTo>
                <a:cubicBezTo>
                  <a:pt x="6665829" y="889292"/>
                  <a:pt x="6657056" y="892898"/>
                  <a:pt x="6669436" y="898065"/>
                </a:cubicBezTo>
                <a:cubicBezTo>
                  <a:pt x="6680011" y="898847"/>
                  <a:pt x="6661442" y="891096"/>
                  <a:pt x="6676406" y="890073"/>
                </a:cubicBezTo>
                <a:cubicBezTo>
                  <a:pt x="6690589" y="899628"/>
                  <a:pt x="6705552" y="898606"/>
                  <a:pt x="6713545" y="905578"/>
                </a:cubicBezTo>
                <a:cubicBezTo>
                  <a:pt x="6707356" y="902993"/>
                  <a:pt x="6701165" y="900409"/>
                  <a:pt x="6696778" y="902212"/>
                </a:cubicBezTo>
                <a:cubicBezTo>
                  <a:pt x="6725924" y="910745"/>
                  <a:pt x="6761262" y="921863"/>
                  <a:pt x="6800984" y="931176"/>
                </a:cubicBezTo>
                <a:cubicBezTo>
                  <a:pt x="6840708" y="940492"/>
                  <a:pt x="6880431" y="949806"/>
                  <a:pt x="6913965" y="956536"/>
                </a:cubicBezTo>
                <a:cubicBezTo>
                  <a:pt x="6909576" y="958340"/>
                  <a:pt x="6911380" y="962726"/>
                  <a:pt x="6917571" y="965311"/>
                </a:cubicBezTo>
                <a:cubicBezTo>
                  <a:pt x="6952906" y="976427"/>
                  <a:pt x="6982054" y="984961"/>
                  <a:pt x="7014806" y="1002269"/>
                </a:cubicBezTo>
                <a:cubicBezTo>
                  <a:pt x="7021776" y="994276"/>
                  <a:pt x="7039564" y="1012604"/>
                  <a:pt x="7051944" y="1017773"/>
                </a:cubicBezTo>
                <a:cubicBezTo>
                  <a:pt x="7058135" y="1020357"/>
                  <a:pt x="7060719" y="1014167"/>
                  <a:pt x="7068712" y="1021140"/>
                </a:cubicBezTo>
                <a:cubicBezTo>
                  <a:pt x="7073099" y="1019336"/>
                  <a:pt x="7082894" y="1030693"/>
                  <a:pt x="7095273" y="1035861"/>
                </a:cubicBezTo>
                <a:cubicBezTo>
                  <a:pt x="7113843" y="1043613"/>
                  <a:pt x="7136799" y="1049571"/>
                  <a:pt x="7155370" y="1057325"/>
                </a:cubicBezTo>
                <a:cubicBezTo>
                  <a:pt x="7180130" y="1067660"/>
                  <a:pt x="7184516" y="1065857"/>
                  <a:pt x="7211078" y="1080578"/>
                </a:cubicBezTo>
                <a:cubicBezTo>
                  <a:pt x="7271175" y="1102033"/>
                  <a:pt x="7335897" y="1147227"/>
                  <a:pt x="7365045" y="1155761"/>
                </a:cubicBezTo>
                <a:cubicBezTo>
                  <a:pt x="7370453" y="1168921"/>
                  <a:pt x="7397795" y="1173068"/>
                  <a:pt x="7410176" y="1178235"/>
                </a:cubicBezTo>
                <a:cubicBezTo>
                  <a:pt x="7399599" y="1177455"/>
                  <a:pt x="7405789" y="1180038"/>
                  <a:pt x="7407592" y="1184425"/>
                </a:cubicBezTo>
                <a:cubicBezTo>
                  <a:pt x="7450921" y="1202515"/>
                  <a:pt x="7488300" y="1243557"/>
                  <a:pt x="7547617" y="1275588"/>
                </a:cubicBezTo>
                <a:cubicBezTo>
                  <a:pt x="7572375" y="1285924"/>
                  <a:pt x="7558192" y="1276370"/>
                  <a:pt x="7582170" y="1297282"/>
                </a:cubicBezTo>
                <a:cubicBezTo>
                  <a:pt x="7598157" y="1311225"/>
                  <a:pt x="7616726" y="1318976"/>
                  <a:pt x="7632711" y="1332920"/>
                </a:cubicBezTo>
                <a:cubicBezTo>
                  <a:pt x="7693048" y="1379914"/>
                  <a:pt x="7748998" y="1428713"/>
                  <a:pt x="7796955" y="1470542"/>
                </a:cubicBezTo>
                <a:cubicBezTo>
                  <a:pt x="7819130" y="1487068"/>
                  <a:pt x="7830729" y="1502812"/>
                  <a:pt x="7849298" y="1510564"/>
                </a:cubicBezTo>
                <a:cubicBezTo>
                  <a:pt x="7851101" y="1514952"/>
                  <a:pt x="7851101" y="1514952"/>
                  <a:pt x="7852904" y="1519337"/>
                </a:cubicBezTo>
                <a:cubicBezTo>
                  <a:pt x="7854708" y="1523724"/>
                  <a:pt x="7860116" y="1536884"/>
                  <a:pt x="7882292" y="1553410"/>
                </a:cubicBezTo>
                <a:lnTo>
                  <a:pt x="7910865" y="1575666"/>
                </a:lnTo>
                <a:lnTo>
                  <a:pt x="7979585" y="1515824"/>
                </a:lnTo>
                <a:lnTo>
                  <a:pt x="8005155" y="1497189"/>
                </a:lnTo>
                <a:lnTo>
                  <a:pt x="7965942" y="1457499"/>
                </a:lnTo>
                <a:cubicBezTo>
                  <a:pt x="7970330" y="1455695"/>
                  <a:pt x="7970330" y="1455695"/>
                  <a:pt x="7970330" y="1455695"/>
                </a:cubicBezTo>
                <a:cubicBezTo>
                  <a:pt x="7970330" y="1455695"/>
                  <a:pt x="7972132" y="1460082"/>
                  <a:pt x="7972132" y="1460082"/>
                </a:cubicBezTo>
                <a:cubicBezTo>
                  <a:pt x="7978323" y="1462668"/>
                  <a:pt x="7980125" y="1467054"/>
                  <a:pt x="7982709" y="1460864"/>
                </a:cubicBezTo>
                <a:cubicBezTo>
                  <a:pt x="7982709" y="1460864"/>
                  <a:pt x="7980906" y="1456476"/>
                  <a:pt x="7974717" y="1453892"/>
                </a:cubicBezTo>
                <a:cubicBezTo>
                  <a:pt x="7972915" y="1449505"/>
                  <a:pt x="7972915" y="1449505"/>
                  <a:pt x="7966724" y="1446921"/>
                </a:cubicBezTo>
                <a:cubicBezTo>
                  <a:pt x="7971111" y="1445118"/>
                  <a:pt x="7969309" y="1440730"/>
                  <a:pt x="7965703" y="1431959"/>
                </a:cubicBezTo>
                <a:cubicBezTo>
                  <a:pt x="7963509" y="1432860"/>
                  <a:pt x="7961315" y="1433761"/>
                  <a:pt x="7960668" y="1435308"/>
                </a:cubicBezTo>
                <a:lnTo>
                  <a:pt x="7962086" y="1437716"/>
                </a:lnTo>
                <a:lnTo>
                  <a:pt x="7950738" y="1432981"/>
                </a:lnTo>
                <a:cubicBezTo>
                  <a:pt x="7952542" y="1437367"/>
                  <a:pt x="7954344" y="1441752"/>
                  <a:pt x="7956147" y="1446140"/>
                </a:cubicBezTo>
                <a:cubicBezTo>
                  <a:pt x="7937578" y="1438387"/>
                  <a:pt x="7925197" y="1433219"/>
                  <a:pt x="7907410" y="1414890"/>
                </a:cubicBezTo>
                <a:cubicBezTo>
                  <a:pt x="7913599" y="1417475"/>
                  <a:pt x="7911796" y="1413087"/>
                  <a:pt x="7909993" y="1408698"/>
                </a:cubicBezTo>
                <a:cubicBezTo>
                  <a:pt x="7892205" y="1390371"/>
                  <a:pt x="7861257" y="1377449"/>
                  <a:pt x="7851460" y="1366091"/>
                </a:cubicBezTo>
                <a:cubicBezTo>
                  <a:pt x="7851460" y="1366091"/>
                  <a:pt x="7855847" y="1364288"/>
                  <a:pt x="7857650" y="1368675"/>
                </a:cubicBezTo>
                <a:cubicBezTo>
                  <a:pt x="7831869" y="1343374"/>
                  <a:pt x="7800919" y="1330455"/>
                  <a:pt x="7799898" y="1315490"/>
                </a:cubicBezTo>
                <a:cubicBezTo>
                  <a:pt x="7801700" y="1319877"/>
                  <a:pt x="7795510" y="1317293"/>
                  <a:pt x="7793707" y="1312907"/>
                </a:cubicBezTo>
                <a:cubicBezTo>
                  <a:pt x="7776939" y="1309541"/>
                  <a:pt x="7799117" y="1326068"/>
                  <a:pt x="7800919" y="1330455"/>
                </a:cubicBezTo>
                <a:cubicBezTo>
                  <a:pt x="7776939" y="1309541"/>
                  <a:pt x="7773335" y="1300767"/>
                  <a:pt x="7756568" y="1297402"/>
                </a:cubicBezTo>
                <a:cubicBezTo>
                  <a:pt x="7759152" y="1291212"/>
                  <a:pt x="7771531" y="1296379"/>
                  <a:pt x="7757350" y="1286824"/>
                </a:cubicBezTo>
                <a:cubicBezTo>
                  <a:pt x="7746772" y="1286043"/>
                  <a:pt x="7752962" y="1288628"/>
                  <a:pt x="7740583" y="1283460"/>
                </a:cubicBezTo>
                <a:cubicBezTo>
                  <a:pt x="7736195" y="1285263"/>
                  <a:pt x="7734393" y="1280875"/>
                  <a:pt x="7734393" y="1280875"/>
                </a:cubicBezTo>
                <a:cubicBezTo>
                  <a:pt x="7728202" y="1278292"/>
                  <a:pt x="7726400" y="1273904"/>
                  <a:pt x="7722013" y="1275708"/>
                </a:cubicBezTo>
                <a:cubicBezTo>
                  <a:pt x="7717627" y="1277510"/>
                  <a:pt x="7719428" y="1281897"/>
                  <a:pt x="7725618" y="1284482"/>
                </a:cubicBezTo>
                <a:cubicBezTo>
                  <a:pt x="7725618" y="1284482"/>
                  <a:pt x="7725618" y="1284482"/>
                  <a:pt x="7727422" y="1288868"/>
                </a:cubicBezTo>
                <a:cubicBezTo>
                  <a:pt x="7689261" y="1258401"/>
                  <a:pt x="7672494" y="1255035"/>
                  <a:pt x="7621953" y="1219401"/>
                </a:cubicBezTo>
                <a:cubicBezTo>
                  <a:pt x="7623515" y="1198246"/>
                  <a:pt x="7615763" y="1216816"/>
                  <a:pt x="7598756" y="1187909"/>
                </a:cubicBezTo>
                <a:cubicBezTo>
                  <a:pt x="7603143" y="1186108"/>
                  <a:pt x="7603143" y="1186108"/>
                  <a:pt x="7603143" y="1186108"/>
                </a:cubicBezTo>
                <a:cubicBezTo>
                  <a:pt x="7609333" y="1188691"/>
                  <a:pt x="7607530" y="1184303"/>
                  <a:pt x="7601339" y="1181719"/>
                </a:cubicBezTo>
                <a:cubicBezTo>
                  <a:pt x="7599537" y="1177334"/>
                  <a:pt x="7593347" y="1174750"/>
                  <a:pt x="7588960" y="1176552"/>
                </a:cubicBezTo>
                <a:cubicBezTo>
                  <a:pt x="7582770" y="1173968"/>
                  <a:pt x="7582770" y="1173968"/>
                  <a:pt x="7582770" y="1173968"/>
                </a:cubicBezTo>
                <a:lnTo>
                  <a:pt x="7576269" y="1170943"/>
                </a:lnTo>
                <a:lnTo>
                  <a:pt x="7571739" y="1171064"/>
                </a:lnTo>
                <a:lnTo>
                  <a:pt x="7567806" y="1174990"/>
                </a:lnTo>
                <a:cubicBezTo>
                  <a:pt x="7564200" y="1166218"/>
                  <a:pt x="7553623" y="1165435"/>
                  <a:pt x="7547434" y="1162850"/>
                </a:cubicBezTo>
                <a:cubicBezTo>
                  <a:pt x="7555427" y="1169822"/>
                  <a:pt x="7563419" y="1176793"/>
                  <a:pt x="7571413" y="1183764"/>
                </a:cubicBezTo>
                <a:cubicBezTo>
                  <a:pt x="7575800" y="1181961"/>
                  <a:pt x="7580187" y="1180157"/>
                  <a:pt x="7580187" y="1180157"/>
                </a:cubicBezTo>
                <a:cubicBezTo>
                  <a:pt x="7580187" y="1180157"/>
                  <a:pt x="7581988" y="1184545"/>
                  <a:pt x="7586376" y="1182742"/>
                </a:cubicBezTo>
                <a:cubicBezTo>
                  <a:pt x="7586376" y="1182742"/>
                  <a:pt x="7588179" y="1187130"/>
                  <a:pt x="7588179" y="1187130"/>
                </a:cubicBezTo>
                <a:cubicBezTo>
                  <a:pt x="7589981" y="1191516"/>
                  <a:pt x="7594369" y="1189712"/>
                  <a:pt x="7598756" y="1187909"/>
                </a:cubicBezTo>
                <a:cubicBezTo>
                  <a:pt x="7598997" y="1213451"/>
                  <a:pt x="7614202" y="1237969"/>
                  <a:pt x="7657530" y="1256057"/>
                </a:cubicBezTo>
                <a:cubicBezTo>
                  <a:pt x="7659334" y="1260445"/>
                  <a:pt x="7665523" y="1263027"/>
                  <a:pt x="7661136" y="1264831"/>
                </a:cubicBezTo>
                <a:cubicBezTo>
                  <a:pt x="7659334" y="1260445"/>
                  <a:pt x="7654946" y="1262247"/>
                  <a:pt x="7656749" y="1266634"/>
                </a:cubicBezTo>
                <a:cubicBezTo>
                  <a:pt x="7656749" y="1266634"/>
                  <a:pt x="7656749" y="1266634"/>
                  <a:pt x="7662940" y="1269218"/>
                </a:cubicBezTo>
                <a:cubicBezTo>
                  <a:pt x="7662940" y="1269218"/>
                  <a:pt x="7664743" y="1273606"/>
                  <a:pt x="7664743" y="1273606"/>
                </a:cubicBezTo>
                <a:cubicBezTo>
                  <a:pt x="7647073" y="1268046"/>
                  <a:pt x="7632696" y="1261136"/>
                  <a:pt x="7619060" y="1251355"/>
                </a:cubicBezTo>
                <a:lnTo>
                  <a:pt x="7581590" y="1215476"/>
                </a:lnTo>
                <a:lnTo>
                  <a:pt x="7584032" y="1214473"/>
                </a:lnTo>
                <a:cubicBezTo>
                  <a:pt x="7582229" y="1210085"/>
                  <a:pt x="7582229" y="1210085"/>
                  <a:pt x="7577843" y="1211888"/>
                </a:cubicBezTo>
                <a:cubicBezTo>
                  <a:pt x="7574237" y="1203115"/>
                  <a:pt x="7569851" y="1204917"/>
                  <a:pt x="7561858" y="1197947"/>
                </a:cubicBezTo>
                <a:cubicBezTo>
                  <a:pt x="7561858" y="1197947"/>
                  <a:pt x="7566244" y="1196142"/>
                  <a:pt x="7568047" y="1200530"/>
                </a:cubicBezTo>
                <a:cubicBezTo>
                  <a:pt x="7568047" y="1200530"/>
                  <a:pt x="7566244" y="1196142"/>
                  <a:pt x="7566244" y="1196142"/>
                </a:cubicBezTo>
                <a:cubicBezTo>
                  <a:pt x="7566244" y="1196142"/>
                  <a:pt x="7560054" y="1193559"/>
                  <a:pt x="7560054" y="1193559"/>
                </a:cubicBezTo>
                <a:cubicBezTo>
                  <a:pt x="7536076" y="1172646"/>
                  <a:pt x="7527062" y="1150711"/>
                  <a:pt x="7496113" y="1137791"/>
                </a:cubicBezTo>
                <a:cubicBezTo>
                  <a:pt x="7508491" y="1142958"/>
                  <a:pt x="7500499" y="1135988"/>
                  <a:pt x="7496894" y="1127213"/>
                </a:cubicBezTo>
                <a:cubicBezTo>
                  <a:pt x="7515462" y="1134966"/>
                  <a:pt x="7520871" y="1148127"/>
                  <a:pt x="7527842" y="1140133"/>
                </a:cubicBezTo>
                <a:cubicBezTo>
                  <a:pt x="7495090" y="1122827"/>
                  <a:pt x="7474718" y="1110687"/>
                  <a:pt x="7436557" y="1080217"/>
                </a:cubicBezTo>
                <a:cubicBezTo>
                  <a:pt x="7440943" y="1078413"/>
                  <a:pt x="7434754" y="1075830"/>
                  <a:pt x="7432951" y="1071444"/>
                </a:cubicBezTo>
                <a:cubicBezTo>
                  <a:pt x="7426761" y="1068858"/>
                  <a:pt x="7420571" y="1066276"/>
                  <a:pt x="7422375" y="1070663"/>
                </a:cubicBezTo>
                <a:cubicBezTo>
                  <a:pt x="7414382" y="1063692"/>
                  <a:pt x="7403804" y="1062910"/>
                  <a:pt x="7387038" y="1059544"/>
                </a:cubicBezTo>
                <a:cubicBezTo>
                  <a:pt x="7389622" y="1053356"/>
                  <a:pt x="7402002" y="1058523"/>
                  <a:pt x="7394009" y="1051551"/>
                </a:cubicBezTo>
                <a:cubicBezTo>
                  <a:pt x="7389622" y="1053356"/>
                  <a:pt x="7381629" y="1046376"/>
                  <a:pt x="7377242" y="1048179"/>
                </a:cubicBezTo>
                <a:cubicBezTo>
                  <a:pt x="7377242" y="1048179"/>
                  <a:pt x="7375438" y="1043791"/>
                  <a:pt x="7371053" y="1045594"/>
                </a:cubicBezTo>
                <a:cubicBezTo>
                  <a:pt x="7369249" y="1041208"/>
                  <a:pt x="7369249" y="1041208"/>
                  <a:pt x="7369249" y="1041208"/>
                </a:cubicBezTo>
                <a:cubicBezTo>
                  <a:pt x="7364862" y="1043010"/>
                  <a:pt x="7364862" y="1043010"/>
                  <a:pt x="7364862" y="1043010"/>
                </a:cubicBezTo>
                <a:cubicBezTo>
                  <a:pt x="7371053" y="1045594"/>
                  <a:pt x="7371053" y="1045594"/>
                  <a:pt x="7371053" y="1045594"/>
                </a:cubicBezTo>
                <a:cubicBezTo>
                  <a:pt x="7372855" y="1049991"/>
                  <a:pt x="7372855" y="1049991"/>
                  <a:pt x="7372855" y="1049991"/>
                </a:cubicBezTo>
                <a:cubicBezTo>
                  <a:pt x="7352483" y="1037842"/>
                  <a:pt x="7352483" y="1037842"/>
                  <a:pt x="7352483" y="1037842"/>
                </a:cubicBezTo>
                <a:cubicBezTo>
                  <a:pt x="7358672" y="1040427"/>
                  <a:pt x="7363060" y="1038623"/>
                  <a:pt x="7356869" y="1036040"/>
                </a:cubicBezTo>
                <a:cubicBezTo>
                  <a:pt x="7305548" y="1010980"/>
                  <a:pt x="7244671" y="1000104"/>
                  <a:pt x="7186378" y="983036"/>
                </a:cubicBezTo>
                <a:cubicBezTo>
                  <a:pt x="7125501" y="972160"/>
                  <a:pt x="7069012" y="959481"/>
                  <a:pt x="7012522" y="946801"/>
                </a:cubicBezTo>
                <a:cubicBezTo>
                  <a:pt x="7008915" y="938026"/>
                  <a:pt x="7013302" y="936223"/>
                  <a:pt x="7022076" y="932618"/>
                </a:cubicBezTo>
                <a:cubicBezTo>
                  <a:pt x="6973579" y="926909"/>
                  <a:pt x="6940047" y="920178"/>
                  <a:pt x="6903929" y="919639"/>
                </a:cubicBezTo>
                <a:cubicBezTo>
                  <a:pt x="6866007" y="914712"/>
                  <a:pt x="6829891" y="914171"/>
                  <a:pt x="6779590" y="904074"/>
                </a:cubicBezTo>
                <a:cubicBezTo>
                  <a:pt x="6785780" y="906659"/>
                  <a:pt x="6785780" y="906659"/>
                  <a:pt x="6783976" y="902272"/>
                </a:cubicBezTo>
                <a:cubicBezTo>
                  <a:pt x="6783976" y="902272"/>
                  <a:pt x="6782173" y="897883"/>
                  <a:pt x="6775984" y="895301"/>
                </a:cubicBezTo>
                <a:cubicBezTo>
                  <a:pt x="6774181" y="890913"/>
                  <a:pt x="6774181" y="890913"/>
                  <a:pt x="6774181" y="890913"/>
                </a:cubicBezTo>
                <a:cubicBezTo>
                  <a:pt x="6763604" y="890132"/>
                  <a:pt x="6751225" y="884964"/>
                  <a:pt x="6748641" y="891154"/>
                </a:cubicBezTo>
                <a:cubicBezTo>
                  <a:pt x="6746838" y="886768"/>
                  <a:pt x="6740649" y="884183"/>
                  <a:pt x="6736261" y="885985"/>
                </a:cubicBezTo>
                <a:cubicBezTo>
                  <a:pt x="6730071" y="883401"/>
                  <a:pt x="6731873" y="887789"/>
                  <a:pt x="6731873" y="887789"/>
                </a:cubicBezTo>
                <a:cubicBezTo>
                  <a:pt x="6733678" y="892176"/>
                  <a:pt x="6733678" y="892176"/>
                  <a:pt x="6733678" y="892176"/>
                </a:cubicBezTo>
                <a:cubicBezTo>
                  <a:pt x="6704531" y="883642"/>
                  <a:pt x="6691370" y="889051"/>
                  <a:pt x="6662223" y="880517"/>
                </a:cubicBezTo>
                <a:close/>
                <a:moveTo>
                  <a:pt x="8622589" y="869310"/>
                </a:moveTo>
                <a:cubicBezTo>
                  <a:pt x="8623385" y="869147"/>
                  <a:pt x="8624366" y="869566"/>
                  <a:pt x="8625394" y="870315"/>
                </a:cubicBezTo>
                <a:cubicBezTo>
                  <a:pt x="8627453" y="871997"/>
                  <a:pt x="8629510" y="874053"/>
                  <a:pt x="8631567" y="875736"/>
                </a:cubicBezTo>
                <a:cubicBezTo>
                  <a:pt x="8633999" y="877793"/>
                  <a:pt x="8636805" y="879288"/>
                  <a:pt x="8639798" y="877605"/>
                </a:cubicBezTo>
                <a:cubicBezTo>
                  <a:pt x="8642228" y="876484"/>
                  <a:pt x="8643351" y="877419"/>
                  <a:pt x="8644661" y="879101"/>
                </a:cubicBezTo>
                <a:cubicBezTo>
                  <a:pt x="8647466" y="882840"/>
                  <a:pt x="8650832" y="885644"/>
                  <a:pt x="8656069" y="884523"/>
                </a:cubicBezTo>
                <a:cubicBezTo>
                  <a:pt x="8657378" y="884149"/>
                  <a:pt x="8657753" y="884709"/>
                  <a:pt x="8657941" y="886018"/>
                </a:cubicBezTo>
                <a:cubicBezTo>
                  <a:pt x="8658688" y="895178"/>
                  <a:pt x="8662616" y="903030"/>
                  <a:pt x="8667853" y="910134"/>
                </a:cubicBezTo>
                <a:cubicBezTo>
                  <a:pt x="8669162" y="911816"/>
                  <a:pt x="8668788" y="912939"/>
                  <a:pt x="8668041" y="914621"/>
                </a:cubicBezTo>
                <a:cubicBezTo>
                  <a:pt x="8666171" y="917986"/>
                  <a:pt x="8664113" y="921725"/>
                  <a:pt x="8665421" y="925464"/>
                </a:cubicBezTo>
                <a:cubicBezTo>
                  <a:pt x="8666731" y="929203"/>
                  <a:pt x="8665795" y="931820"/>
                  <a:pt x="8663925" y="934811"/>
                </a:cubicBezTo>
                <a:cubicBezTo>
                  <a:pt x="8663364" y="935746"/>
                  <a:pt x="8662991" y="936680"/>
                  <a:pt x="8662429" y="937802"/>
                </a:cubicBezTo>
                <a:cubicBezTo>
                  <a:pt x="8659997" y="943224"/>
                  <a:pt x="8657191" y="948271"/>
                  <a:pt x="8651394" y="950889"/>
                </a:cubicBezTo>
                <a:cubicBezTo>
                  <a:pt x="8650271" y="951262"/>
                  <a:pt x="8650271" y="952010"/>
                  <a:pt x="8650272" y="952945"/>
                </a:cubicBezTo>
                <a:cubicBezTo>
                  <a:pt x="8650459" y="955749"/>
                  <a:pt x="8655509" y="962479"/>
                  <a:pt x="8658127" y="963226"/>
                </a:cubicBezTo>
                <a:cubicBezTo>
                  <a:pt x="8662242" y="964162"/>
                  <a:pt x="8665795" y="966218"/>
                  <a:pt x="8668601" y="969396"/>
                </a:cubicBezTo>
                <a:cubicBezTo>
                  <a:pt x="8672530" y="973509"/>
                  <a:pt x="8675897" y="977809"/>
                  <a:pt x="8679637" y="982109"/>
                </a:cubicBezTo>
                <a:cubicBezTo>
                  <a:pt x="8680759" y="983231"/>
                  <a:pt x="8680198" y="983978"/>
                  <a:pt x="8679450" y="984913"/>
                </a:cubicBezTo>
                <a:cubicBezTo>
                  <a:pt x="8676083" y="989026"/>
                  <a:pt x="8676083" y="989026"/>
                  <a:pt x="8680198" y="991830"/>
                </a:cubicBezTo>
                <a:cubicBezTo>
                  <a:pt x="8683940" y="994634"/>
                  <a:pt x="8684126" y="996504"/>
                  <a:pt x="8680759" y="1000056"/>
                </a:cubicBezTo>
                <a:cubicBezTo>
                  <a:pt x="8679263" y="1001551"/>
                  <a:pt x="8677767" y="1003233"/>
                  <a:pt x="8678328" y="1005851"/>
                </a:cubicBezTo>
                <a:cubicBezTo>
                  <a:pt x="8680011" y="1012394"/>
                  <a:pt x="8677579" y="1017815"/>
                  <a:pt x="8673278" y="1022676"/>
                </a:cubicBezTo>
                <a:cubicBezTo>
                  <a:pt x="8670472" y="1025854"/>
                  <a:pt x="8667105" y="1028845"/>
                  <a:pt x="8665047" y="1032584"/>
                </a:cubicBezTo>
                <a:cubicBezTo>
                  <a:pt x="8664673" y="1033332"/>
                  <a:pt x="8664113" y="1034079"/>
                  <a:pt x="8663177" y="1033893"/>
                </a:cubicBezTo>
                <a:cubicBezTo>
                  <a:pt x="8658502" y="1032397"/>
                  <a:pt x="8656069" y="1035388"/>
                  <a:pt x="8653452" y="1038380"/>
                </a:cubicBezTo>
                <a:cubicBezTo>
                  <a:pt x="8652702" y="1039314"/>
                  <a:pt x="8651767" y="1040436"/>
                  <a:pt x="8650084" y="1040062"/>
                </a:cubicBezTo>
                <a:cubicBezTo>
                  <a:pt x="8645409" y="1038940"/>
                  <a:pt x="8640546" y="1039501"/>
                  <a:pt x="8635870" y="1039127"/>
                </a:cubicBezTo>
                <a:cubicBezTo>
                  <a:pt x="8631941" y="1038941"/>
                  <a:pt x="8628013" y="1038566"/>
                  <a:pt x="8624460" y="1036136"/>
                </a:cubicBezTo>
                <a:cubicBezTo>
                  <a:pt x="8622963" y="1035015"/>
                  <a:pt x="8621840" y="1035388"/>
                  <a:pt x="8620719" y="1036697"/>
                </a:cubicBezTo>
                <a:cubicBezTo>
                  <a:pt x="8620158" y="1037631"/>
                  <a:pt x="8619596" y="1038379"/>
                  <a:pt x="8618848" y="1039127"/>
                </a:cubicBezTo>
                <a:cubicBezTo>
                  <a:pt x="8618101" y="1039875"/>
                  <a:pt x="8616791" y="1040623"/>
                  <a:pt x="8615855" y="1039875"/>
                </a:cubicBezTo>
                <a:cubicBezTo>
                  <a:pt x="8614734" y="1039127"/>
                  <a:pt x="8615107" y="1037632"/>
                  <a:pt x="8615669" y="1036510"/>
                </a:cubicBezTo>
                <a:cubicBezTo>
                  <a:pt x="8615855" y="1035950"/>
                  <a:pt x="8616229" y="1035574"/>
                  <a:pt x="8616603" y="1035014"/>
                </a:cubicBezTo>
                <a:cubicBezTo>
                  <a:pt x="8619596" y="1030714"/>
                  <a:pt x="8618475" y="1027910"/>
                  <a:pt x="8613424" y="1027349"/>
                </a:cubicBezTo>
                <a:cubicBezTo>
                  <a:pt x="8612488" y="1027162"/>
                  <a:pt x="8611553" y="1027163"/>
                  <a:pt x="8610805" y="1026976"/>
                </a:cubicBezTo>
                <a:cubicBezTo>
                  <a:pt x="8609496" y="1026602"/>
                  <a:pt x="8607999" y="1026975"/>
                  <a:pt x="8607625" y="1024919"/>
                </a:cubicBezTo>
                <a:cubicBezTo>
                  <a:pt x="8607252" y="1023424"/>
                  <a:pt x="8607999" y="1022676"/>
                  <a:pt x="8609122" y="1021928"/>
                </a:cubicBezTo>
                <a:cubicBezTo>
                  <a:pt x="8611180" y="1020432"/>
                  <a:pt x="8610993" y="1019124"/>
                  <a:pt x="8608935" y="1017442"/>
                </a:cubicBezTo>
                <a:cubicBezTo>
                  <a:pt x="8606316" y="1015386"/>
                  <a:pt x="8603884" y="1012768"/>
                  <a:pt x="8604072" y="1009029"/>
                </a:cubicBezTo>
                <a:cubicBezTo>
                  <a:pt x="8604259" y="1006038"/>
                  <a:pt x="8603510" y="1004542"/>
                  <a:pt x="8600145" y="1005290"/>
                </a:cubicBezTo>
                <a:cubicBezTo>
                  <a:pt x="8599395" y="1005477"/>
                  <a:pt x="8598461" y="1005290"/>
                  <a:pt x="8598086" y="1004168"/>
                </a:cubicBezTo>
                <a:cubicBezTo>
                  <a:pt x="8597712" y="1003233"/>
                  <a:pt x="8598647" y="1002673"/>
                  <a:pt x="8599208" y="1002112"/>
                </a:cubicBezTo>
                <a:cubicBezTo>
                  <a:pt x="8600518" y="1000803"/>
                  <a:pt x="8602014" y="999494"/>
                  <a:pt x="8602949" y="997999"/>
                </a:cubicBezTo>
                <a:cubicBezTo>
                  <a:pt x="8605942" y="994074"/>
                  <a:pt x="8605755" y="991830"/>
                  <a:pt x="8602949" y="987717"/>
                </a:cubicBezTo>
                <a:cubicBezTo>
                  <a:pt x="8600705" y="984539"/>
                  <a:pt x="8599021" y="981174"/>
                  <a:pt x="8598834" y="977060"/>
                </a:cubicBezTo>
                <a:cubicBezTo>
                  <a:pt x="8598648" y="974070"/>
                  <a:pt x="8600144" y="973696"/>
                  <a:pt x="8602576" y="974631"/>
                </a:cubicBezTo>
                <a:cubicBezTo>
                  <a:pt x="8604259" y="975192"/>
                  <a:pt x="8605194" y="976874"/>
                  <a:pt x="8606504" y="977809"/>
                </a:cubicBezTo>
                <a:cubicBezTo>
                  <a:pt x="8607999" y="978931"/>
                  <a:pt x="8610057" y="980426"/>
                  <a:pt x="8611553" y="978931"/>
                </a:cubicBezTo>
                <a:cubicBezTo>
                  <a:pt x="8613238" y="977061"/>
                  <a:pt x="8612301" y="974818"/>
                  <a:pt x="8610618" y="973135"/>
                </a:cubicBezTo>
                <a:cubicBezTo>
                  <a:pt x="8609870" y="972387"/>
                  <a:pt x="8608748" y="971640"/>
                  <a:pt x="8607999" y="970705"/>
                </a:cubicBezTo>
                <a:cubicBezTo>
                  <a:pt x="8607064" y="969770"/>
                  <a:pt x="8606316" y="968649"/>
                  <a:pt x="8607439" y="967340"/>
                </a:cubicBezTo>
                <a:cubicBezTo>
                  <a:pt x="8608374" y="966218"/>
                  <a:pt x="8609497" y="966779"/>
                  <a:pt x="8610618" y="967713"/>
                </a:cubicBezTo>
                <a:cubicBezTo>
                  <a:pt x="8611741" y="968462"/>
                  <a:pt x="8612863" y="969396"/>
                  <a:pt x="8613986" y="969957"/>
                </a:cubicBezTo>
                <a:cubicBezTo>
                  <a:pt x="8615669" y="971079"/>
                  <a:pt x="8617539" y="970518"/>
                  <a:pt x="8618849" y="969396"/>
                </a:cubicBezTo>
                <a:cubicBezTo>
                  <a:pt x="8620157" y="968274"/>
                  <a:pt x="8619409" y="966592"/>
                  <a:pt x="8618849" y="965283"/>
                </a:cubicBezTo>
                <a:cubicBezTo>
                  <a:pt x="8616042" y="958741"/>
                  <a:pt x="8606691" y="955937"/>
                  <a:pt x="8600331" y="959861"/>
                </a:cubicBezTo>
                <a:cubicBezTo>
                  <a:pt x="8597338" y="961732"/>
                  <a:pt x="8596216" y="961171"/>
                  <a:pt x="8595842" y="958179"/>
                </a:cubicBezTo>
                <a:cubicBezTo>
                  <a:pt x="8595281" y="953319"/>
                  <a:pt x="8593037" y="950140"/>
                  <a:pt x="8588173" y="948458"/>
                </a:cubicBezTo>
                <a:cubicBezTo>
                  <a:pt x="8586864" y="948085"/>
                  <a:pt x="8584806" y="947149"/>
                  <a:pt x="8585367" y="945093"/>
                </a:cubicBezTo>
                <a:cubicBezTo>
                  <a:pt x="8586489" y="940419"/>
                  <a:pt x="8584620" y="936493"/>
                  <a:pt x="8582187" y="932755"/>
                </a:cubicBezTo>
                <a:cubicBezTo>
                  <a:pt x="8580317" y="929951"/>
                  <a:pt x="8579756" y="927333"/>
                  <a:pt x="8581814" y="923969"/>
                </a:cubicBezTo>
                <a:cubicBezTo>
                  <a:pt x="8584059" y="920416"/>
                  <a:pt x="8582749" y="918359"/>
                  <a:pt x="8578261" y="917612"/>
                </a:cubicBezTo>
                <a:cubicBezTo>
                  <a:pt x="8578073" y="917612"/>
                  <a:pt x="8577886" y="917612"/>
                  <a:pt x="8577699" y="917612"/>
                </a:cubicBezTo>
                <a:cubicBezTo>
                  <a:pt x="8576016" y="917425"/>
                  <a:pt x="8574332" y="917052"/>
                  <a:pt x="8574145" y="915369"/>
                </a:cubicBezTo>
                <a:cubicBezTo>
                  <a:pt x="8573771" y="913686"/>
                  <a:pt x="8575828" y="913874"/>
                  <a:pt x="8576763" y="913312"/>
                </a:cubicBezTo>
                <a:cubicBezTo>
                  <a:pt x="8582749" y="910321"/>
                  <a:pt x="8585181" y="905647"/>
                  <a:pt x="8584059" y="898918"/>
                </a:cubicBezTo>
                <a:cubicBezTo>
                  <a:pt x="8583684" y="896673"/>
                  <a:pt x="8584432" y="895365"/>
                  <a:pt x="8586302" y="894431"/>
                </a:cubicBezTo>
                <a:cubicBezTo>
                  <a:pt x="8587426" y="893870"/>
                  <a:pt x="8588547" y="893496"/>
                  <a:pt x="8589670" y="892935"/>
                </a:cubicBezTo>
                <a:cubicBezTo>
                  <a:pt x="8591166" y="892188"/>
                  <a:pt x="8591727" y="891066"/>
                  <a:pt x="8591353" y="889383"/>
                </a:cubicBezTo>
                <a:lnTo>
                  <a:pt x="8590516" y="888195"/>
                </a:lnTo>
                <a:lnTo>
                  <a:pt x="8605136" y="873656"/>
                </a:lnTo>
                <a:lnTo>
                  <a:pt x="8604820" y="876484"/>
                </a:lnTo>
                <a:cubicBezTo>
                  <a:pt x="8604446" y="877980"/>
                  <a:pt x="8604445" y="878727"/>
                  <a:pt x="8606130" y="879662"/>
                </a:cubicBezTo>
                <a:cubicBezTo>
                  <a:pt x="8608000" y="880410"/>
                  <a:pt x="8608749" y="879475"/>
                  <a:pt x="8609496" y="878353"/>
                </a:cubicBezTo>
                <a:cubicBezTo>
                  <a:pt x="8610058" y="877606"/>
                  <a:pt x="8610245" y="876858"/>
                  <a:pt x="8610618" y="875923"/>
                </a:cubicBezTo>
                <a:cubicBezTo>
                  <a:pt x="8612301" y="871998"/>
                  <a:pt x="8613424" y="871810"/>
                  <a:pt x="8616229" y="874989"/>
                </a:cubicBezTo>
                <a:cubicBezTo>
                  <a:pt x="8616790" y="875736"/>
                  <a:pt x="8617539" y="876671"/>
                  <a:pt x="8618661" y="876671"/>
                </a:cubicBezTo>
                <a:cubicBezTo>
                  <a:pt x="8619970" y="876484"/>
                  <a:pt x="8619970" y="874989"/>
                  <a:pt x="8620345" y="874054"/>
                </a:cubicBezTo>
                <a:cubicBezTo>
                  <a:pt x="8620719" y="873305"/>
                  <a:pt x="8620906" y="872558"/>
                  <a:pt x="8620905" y="871811"/>
                </a:cubicBezTo>
                <a:cubicBezTo>
                  <a:pt x="8621186" y="870221"/>
                  <a:pt x="8621794" y="869474"/>
                  <a:pt x="8622589" y="869310"/>
                </a:cubicBezTo>
                <a:close/>
                <a:moveTo>
                  <a:pt x="6180318" y="868322"/>
                </a:moveTo>
                <a:cubicBezTo>
                  <a:pt x="6180318" y="868322"/>
                  <a:pt x="6180318" y="868322"/>
                  <a:pt x="6186508" y="870906"/>
                </a:cubicBezTo>
                <a:cubicBezTo>
                  <a:pt x="6182122" y="872708"/>
                  <a:pt x="6175932" y="870124"/>
                  <a:pt x="6177734" y="874512"/>
                </a:cubicBezTo>
                <a:lnTo>
                  <a:pt x="6172085" y="869839"/>
                </a:lnTo>
                <a:lnTo>
                  <a:pt x="6175932" y="870124"/>
                </a:lnTo>
                <a:cubicBezTo>
                  <a:pt x="6180318" y="868322"/>
                  <a:pt x="6180318" y="868322"/>
                  <a:pt x="6180318" y="868322"/>
                </a:cubicBezTo>
                <a:close/>
                <a:moveTo>
                  <a:pt x="11609853" y="868216"/>
                </a:moveTo>
                <a:cubicBezTo>
                  <a:pt x="11611356" y="865428"/>
                  <a:pt x="11612772" y="865472"/>
                  <a:pt x="11613954" y="868627"/>
                </a:cubicBezTo>
                <a:cubicBezTo>
                  <a:pt x="11615804" y="873220"/>
                  <a:pt x="11618037" y="874423"/>
                  <a:pt x="11621427" y="870134"/>
                </a:cubicBezTo>
                <a:cubicBezTo>
                  <a:pt x="11622307" y="869169"/>
                  <a:pt x="11623896" y="868227"/>
                  <a:pt x="11624261" y="870222"/>
                </a:cubicBezTo>
                <a:cubicBezTo>
                  <a:pt x="11625938" y="875802"/>
                  <a:pt x="11629652" y="874925"/>
                  <a:pt x="11633795" y="873920"/>
                </a:cubicBezTo>
                <a:cubicBezTo>
                  <a:pt x="11634375" y="873512"/>
                  <a:pt x="11635492" y="874113"/>
                  <a:pt x="11636051" y="874414"/>
                </a:cubicBezTo>
                <a:cubicBezTo>
                  <a:pt x="11640647" y="881927"/>
                  <a:pt x="11644665" y="889847"/>
                  <a:pt x="11649113" y="897639"/>
                </a:cubicBezTo>
                <a:cubicBezTo>
                  <a:pt x="11651131" y="901245"/>
                  <a:pt x="11649953" y="907445"/>
                  <a:pt x="11649097" y="912379"/>
                </a:cubicBezTo>
                <a:cubicBezTo>
                  <a:pt x="11648753" y="914353"/>
                  <a:pt x="11647572" y="915875"/>
                  <a:pt x="11648496" y="918172"/>
                </a:cubicBezTo>
                <a:cubicBezTo>
                  <a:pt x="11649420" y="920468"/>
                  <a:pt x="11648241" y="921991"/>
                  <a:pt x="11646222" y="923061"/>
                </a:cubicBezTo>
                <a:cubicBezTo>
                  <a:pt x="11645063" y="923876"/>
                  <a:pt x="11643195" y="924669"/>
                  <a:pt x="11643432" y="926235"/>
                </a:cubicBezTo>
                <a:cubicBezTo>
                  <a:pt x="11644422" y="931085"/>
                  <a:pt x="11643349" y="933745"/>
                  <a:pt x="11637981" y="933011"/>
                </a:cubicBezTo>
                <a:cubicBezTo>
                  <a:pt x="11636715" y="932688"/>
                  <a:pt x="11635534" y="934211"/>
                  <a:pt x="11636200" y="935648"/>
                </a:cubicBezTo>
                <a:cubicBezTo>
                  <a:pt x="11638177" y="940670"/>
                  <a:pt x="11633517" y="939959"/>
                  <a:pt x="11631759" y="941889"/>
                </a:cubicBezTo>
                <a:cubicBezTo>
                  <a:pt x="11625748" y="948365"/>
                  <a:pt x="11618295" y="941472"/>
                  <a:pt x="11611942" y="945244"/>
                </a:cubicBezTo>
                <a:cubicBezTo>
                  <a:pt x="11609773" y="946593"/>
                  <a:pt x="11605221" y="942342"/>
                  <a:pt x="11602858" y="940710"/>
                </a:cubicBezTo>
                <a:cubicBezTo>
                  <a:pt x="11597446" y="936715"/>
                  <a:pt x="11588514" y="936580"/>
                  <a:pt x="11587374" y="927332"/>
                </a:cubicBezTo>
                <a:cubicBezTo>
                  <a:pt x="11587136" y="925766"/>
                  <a:pt x="11586213" y="923469"/>
                  <a:pt x="11583980" y="922265"/>
                </a:cubicBezTo>
                <a:cubicBezTo>
                  <a:pt x="11580757" y="920890"/>
                  <a:pt x="11579984" y="918315"/>
                  <a:pt x="11581078" y="914947"/>
                </a:cubicBezTo>
                <a:cubicBezTo>
                  <a:pt x="11581572" y="912694"/>
                  <a:pt x="11580775" y="910827"/>
                  <a:pt x="11580131" y="908682"/>
                </a:cubicBezTo>
                <a:cubicBezTo>
                  <a:pt x="11578304" y="903381"/>
                  <a:pt x="11578733" y="898576"/>
                  <a:pt x="11582831" y="894308"/>
                </a:cubicBezTo>
                <a:cubicBezTo>
                  <a:pt x="11585171" y="891971"/>
                  <a:pt x="11585986" y="888454"/>
                  <a:pt x="11584095" y="885277"/>
                </a:cubicBezTo>
                <a:cubicBezTo>
                  <a:pt x="11584695" y="884162"/>
                  <a:pt x="11585297" y="883046"/>
                  <a:pt x="11585897" y="881931"/>
                </a:cubicBezTo>
                <a:cubicBezTo>
                  <a:pt x="11589160" y="881890"/>
                  <a:pt x="11591179" y="880818"/>
                  <a:pt x="11592852" y="877044"/>
                </a:cubicBezTo>
                <a:cubicBezTo>
                  <a:pt x="11595276" y="871875"/>
                  <a:pt x="11599612" y="869175"/>
                  <a:pt x="11605797" y="871067"/>
                </a:cubicBezTo>
                <a:cubicBezTo>
                  <a:pt x="11608459" y="872141"/>
                  <a:pt x="11608952" y="869890"/>
                  <a:pt x="11609853" y="868216"/>
                </a:cubicBezTo>
                <a:close/>
                <a:moveTo>
                  <a:pt x="6161671" y="867805"/>
                </a:moveTo>
                <a:lnTo>
                  <a:pt x="6170937" y="868892"/>
                </a:lnTo>
                <a:lnTo>
                  <a:pt x="6172085" y="869839"/>
                </a:lnTo>
                <a:lnTo>
                  <a:pt x="6165354" y="869343"/>
                </a:lnTo>
                <a:close/>
                <a:moveTo>
                  <a:pt x="6143887" y="867020"/>
                </a:moveTo>
                <a:lnTo>
                  <a:pt x="6144201" y="867781"/>
                </a:lnTo>
                <a:lnTo>
                  <a:pt x="6135789" y="867103"/>
                </a:lnTo>
                <a:close/>
                <a:moveTo>
                  <a:pt x="10072362" y="865574"/>
                </a:moveTo>
                <a:cubicBezTo>
                  <a:pt x="10076163" y="864684"/>
                  <a:pt x="10080219" y="865032"/>
                  <a:pt x="10084509" y="867343"/>
                </a:cubicBezTo>
                <a:cubicBezTo>
                  <a:pt x="10085653" y="867959"/>
                  <a:pt x="10086532" y="867698"/>
                  <a:pt x="10087452" y="865990"/>
                </a:cubicBezTo>
                <a:cubicBezTo>
                  <a:pt x="10091456" y="868146"/>
                  <a:pt x="10094888" y="869996"/>
                  <a:pt x="10098892" y="872153"/>
                </a:cubicBezTo>
                <a:cubicBezTo>
                  <a:pt x="10099605" y="877679"/>
                  <a:pt x="10105632" y="880191"/>
                  <a:pt x="10108102" y="885195"/>
                </a:cubicBezTo>
                <a:cubicBezTo>
                  <a:pt x="10110572" y="890200"/>
                  <a:pt x="10112777" y="894327"/>
                  <a:pt x="10111160" y="900067"/>
                </a:cubicBezTo>
                <a:cubicBezTo>
                  <a:pt x="10108665" y="906070"/>
                  <a:pt x="10108764" y="912735"/>
                  <a:pt x="10109171" y="918832"/>
                </a:cubicBezTo>
                <a:cubicBezTo>
                  <a:pt x="10109269" y="925497"/>
                  <a:pt x="10108796" y="931855"/>
                  <a:pt x="10109202" y="937951"/>
                </a:cubicBezTo>
                <a:cubicBezTo>
                  <a:pt x="10108730" y="944308"/>
                  <a:pt x="10110852" y="951329"/>
                  <a:pt x="10115038" y="957258"/>
                </a:cubicBezTo>
                <a:cubicBezTo>
                  <a:pt x="10111358" y="964091"/>
                  <a:pt x="10107676" y="970924"/>
                  <a:pt x="10103996" y="977757"/>
                </a:cubicBezTo>
                <a:cubicBezTo>
                  <a:pt x="10099642" y="977617"/>
                  <a:pt x="10096700" y="978970"/>
                  <a:pt x="10092836" y="982032"/>
                </a:cubicBezTo>
                <a:cubicBezTo>
                  <a:pt x="10088094" y="985355"/>
                  <a:pt x="10081105" y="985999"/>
                  <a:pt x="10075957" y="983225"/>
                </a:cubicBezTo>
                <a:cubicBezTo>
                  <a:pt x="10070809" y="980452"/>
                  <a:pt x="10065621" y="979125"/>
                  <a:pt x="10059858" y="977492"/>
                </a:cubicBezTo>
                <a:cubicBezTo>
                  <a:pt x="10053957" y="970638"/>
                  <a:pt x="10049239" y="962955"/>
                  <a:pt x="10051287" y="952302"/>
                </a:cubicBezTo>
                <a:cubicBezTo>
                  <a:pt x="10051635" y="950286"/>
                  <a:pt x="10048817" y="947298"/>
                  <a:pt x="10051229" y="944190"/>
                </a:cubicBezTo>
                <a:cubicBezTo>
                  <a:pt x="10057853" y="936004"/>
                  <a:pt x="10052523" y="929459"/>
                  <a:pt x="10047723" y="924668"/>
                </a:cubicBezTo>
                <a:cubicBezTo>
                  <a:pt x="10044334" y="921373"/>
                  <a:pt x="10042965" y="918432"/>
                  <a:pt x="10041904" y="914922"/>
                </a:cubicBezTo>
                <a:cubicBezTo>
                  <a:pt x="10038414" y="904961"/>
                  <a:pt x="10043589" y="896727"/>
                  <a:pt x="10046166" y="887830"/>
                </a:cubicBezTo>
                <a:cubicBezTo>
                  <a:pt x="10049011" y="879811"/>
                  <a:pt x="10055510" y="875966"/>
                  <a:pt x="10061744" y="871243"/>
                </a:cubicBezTo>
                <a:cubicBezTo>
                  <a:pt x="10065016" y="868596"/>
                  <a:pt x="10068561" y="866466"/>
                  <a:pt x="10072362" y="865574"/>
                </a:cubicBezTo>
                <a:close/>
                <a:moveTo>
                  <a:pt x="6142398" y="863394"/>
                </a:moveTo>
                <a:cubicBezTo>
                  <a:pt x="6148588" y="865977"/>
                  <a:pt x="6154777" y="868562"/>
                  <a:pt x="6159165" y="866759"/>
                </a:cubicBezTo>
                <a:lnTo>
                  <a:pt x="6161671" y="867805"/>
                </a:lnTo>
                <a:lnTo>
                  <a:pt x="6154099" y="866918"/>
                </a:lnTo>
                <a:lnTo>
                  <a:pt x="6143887" y="867020"/>
                </a:lnTo>
                <a:close/>
                <a:moveTo>
                  <a:pt x="10022309" y="848986"/>
                </a:moveTo>
                <a:lnTo>
                  <a:pt x="10022449" y="849450"/>
                </a:lnTo>
                <a:lnTo>
                  <a:pt x="10021816" y="849280"/>
                </a:lnTo>
                <a:close/>
                <a:moveTo>
                  <a:pt x="1317955" y="842634"/>
                </a:moveTo>
                <a:cubicBezTo>
                  <a:pt x="1321004" y="841571"/>
                  <a:pt x="1324175" y="841282"/>
                  <a:pt x="1327716" y="843741"/>
                </a:cubicBezTo>
                <a:cubicBezTo>
                  <a:pt x="1328943" y="844545"/>
                  <a:pt x="1331096" y="845323"/>
                  <a:pt x="1333304" y="844526"/>
                </a:cubicBezTo>
                <a:cubicBezTo>
                  <a:pt x="1336239" y="843153"/>
                  <a:pt x="1338492" y="844208"/>
                  <a:pt x="1340140" y="847040"/>
                </a:cubicBezTo>
                <a:cubicBezTo>
                  <a:pt x="1341390" y="848769"/>
                  <a:pt x="1343168" y="849373"/>
                  <a:pt x="1345046" y="850253"/>
                </a:cubicBezTo>
                <a:cubicBezTo>
                  <a:pt x="1349828" y="852263"/>
                  <a:pt x="1352879" y="855522"/>
                  <a:pt x="1353292" y="860982"/>
                </a:cubicBezTo>
                <a:cubicBezTo>
                  <a:pt x="1353461" y="864038"/>
                  <a:pt x="1355384" y="866770"/>
                  <a:pt x="1358741" y="867426"/>
                </a:cubicBezTo>
                <a:cubicBezTo>
                  <a:pt x="1359140" y="868528"/>
                  <a:pt x="1359539" y="869631"/>
                  <a:pt x="1359937" y="870733"/>
                </a:cubicBezTo>
                <a:cubicBezTo>
                  <a:pt x="1357951" y="873009"/>
                  <a:pt x="1357446" y="875062"/>
                  <a:pt x="1359016" y="878544"/>
                </a:cubicBezTo>
                <a:cubicBezTo>
                  <a:pt x="1361086" y="883405"/>
                  <a:pt x="1360272" y="888062"/>
                  <a:pt x="1355152" y="891159"/>
                </a:cubicBezTo>
                <a:cubicBezTo>
                  <a:pt x="1352768" y="892332"/>
                  <a:pt x="1354018" y="894061"/>
                  <a:pt x="1354615" y="895715"/>
                </a:cubicBezTo>
                <a:cubicBezTo>
                  <a:pt x="1355611" y="898471"/>
                  <a:pt x="1354707" y="899422"/>
                  <a:pt x="1351802" y="898290"/>
                </a:cubicBezTo>
                <a:cubicBezTo>
                  <a:pt x="1347495" y="896731"/>
                  <a:pt x="1345287" y="897529"/>
                  <a:pt x="1346153" y="902513"/>
                </a:cubicBezTo>
                <a:cubicBezTo>
                  <a:pt x="1346275" y="903716"/>
                  <a:pt x="1345946" y="905393"/>
                  <a:pt x="1344344" y="904414"/>
                </a:cubicBezTo>
                <a:cubicBezTo>
                  <a:pt x="1339461" y="902128"/>
                  <a:pt x="1337775" y="905231"/>
                  <a:pt x="1335912" y="908708"/>
                </a:cubicBezTo>
                <a:cubicBezTo>
                  <a:pt x="1335835" y="909359"/>
                  <a:pt x="1334731" y="909758"/>
                  <a:pt x="1334179" y="909958"/>
                </a:cubicBezTo>
                <a:cubicBezTo>
                  <a:pt x="1326162" y="908493"/>
                  <a:pt x="1318222" y="906379"/>
                  <a:pt x="1310104" y="904638"/>
                </a:cubicBezTo>
                <a:cubicBezTo>
                  <a:pt x="1306372" y="903806"/>
                  <a:pt x="1302823" y="899168"/>
                  <a:pt x="1299949" y="895533"/>
                </a:cubicBezTo>
                <a:cubicBezTo>
                  <a:pt x="1298800" y="894079"/>
                  <a:pt x="1298478" y="892326"/>
                  <a:pt x="1296324" y="891547"/>
                </a:cubicBezTo>
                <a:cubicBezTo>
                  <a:pt x="1294170" y="890767"/>
                  <a:pt x="1293849" y="889014"/>
                  <a:pt x="1294355" y="886961"/>
                </a:cubicBezTo>
                <a:cubicBezTo>
                  <a:pt x="1294508" y="885659"/>
                  <a:pt x="1295114" y="883882"/>
                  <a:pt x="1293887" y="883079"/>
                </a:cubicBezTo>
                <a:cubicBezTo>
                  <a:pt x="1289932" y="880769"/>
                  <a:pt x="1288760" y="878389"/>
                  <a:pt x="1292577" y="875139"/>
                </a:cubicBezTo>
                <a:cubicBezTo>
                  <a:pt x="1293582" y="874465"/>
                  <a:pt x="1293260" y="872712"/>
                  <a:pt x="1291857" y="872284"/>
                </a:cubicBezTo>
                <a:cubicBezTo>
                  <a:pt x="1287174" y="870549"/>
                  <a:pt x="1290539" y="867774"/>
                  <a:pt x="1290294" y="865370"/>
                </a:cubicBezTo>
                <a:cubicBezTo>
                  <a:pt x="1289535" y="857231"/>
                  <a:pt x="1298887" y="856343"/>
                  <a:pt x="1300206" y="849635"/>
                </a:cubicBezTo>
                <a:cubicBezTo>
                  <a:pt x="1300612" y="847307"/>
                  <a:pt x="1306353" y="846789"/>
                  <a:pt x="1308937" y="846167"/>
                </a:cubicBezTo>
                <a:cubicBezTo>
                  <a:pt x="1311984" y="845533"/>
                  <a:pt x="1314908" y="843697"/>
                  <a:pt x="1317955" y="842634"/>
                </a:cubicBezTo>
                <a:close/>
                <a:moveTo>
                  <a:pt x="9068586" y="829016"/>
                </a:moveTo>
                <a:cubicBezTo>
                  <a:pt x="9070990" y="829043"/>
                  <a:pt x="9073285" y="829643"/>
                  <a:pt x="9075142" y="832263"/>
                </a:cubicBezTo>
                <a:cubicBezTo>
                  <a:pt x="9075798" y="833136"/>
                  <a:pt x="9077110" y="834227"/>
                  <a:pt x="9078859" y="834227"/>
                </a:cubicBezTo>
                <a:cubicBezTo>
                  <a:pt x="9081262" y="834009"/>
                  <a:pt x="9082574" y="835319"/>
                  <a:pt x="9083011" y="837720"/>
                </a:cubicBezTo>
                <a:cubicBezTo>
                  <a:pt x="9083449" y="839249"/>
                  <a:pt x="9084542" y="840121"/>
                  <a:pt x="9085634" y="841213"/>
                </a:cubicBezTo>
                <a:cubicBezTo>
                  <a:pt x="9088476" y="843832"/>
                  <a:pt x="9089787" y="846889"/>
                  <a:pt x="9088694" y="850818"/>
                </a:cubicBezTo>
                <a:cubicBezTo>
                  <a:pt x="9088039" y="853001"/>
                  <a:pt x="9088694" y="855403"/>
                  <a:pt x="9090880" y="856713"/>
                </a:cubicBezTo>
                <a:cubicBezTo>
                  <a:pt x="9090880" y="857586"/>
                  <a:pt x="9090880" y="858459"/>
                  <a:pt x="9090880" y="859332"/>
                </a:cubicBezTo>
                <a:cubicBezTo>
                  <a:pt x="9088914" y="860423"/>
                  <a:pt x="9088038" y="861734"/>
                  <a:pt x="9088258" y="864572"/>
                </a:cubicBezTo>
                <a:cubicBezTo>
                  <a:pt x="9088477" y="868501"/>
                  <a:pt x="9086727" y="871557"/>
                  <a:pt x="9082355" y="872431"/>
                </a:cubicBezTo>
                <a:cubicBezTo>
                  <a:pt x="9080388" y="872649"/>
                  <a:pt x="9080825" y="874177"/>
                  <a:pt x="9080826" y="875486"/>
                </a:cubicBezTo>
                <a:cubicBezTo>
                  <a:pt x="9080825" y="877670"/>
                  <a:pt x="9079951" y="878107"/>
                  <a:pt x="9078202" y="876578"/>
                </a:cubicBezTo>
                <a:cubicBezTo>
                  <a:pt x="9075579" y="874395"/>
                  <a:pt x="9073831" y="874395"/>
                  <a:pt x="9073176" y="878106"/>
                </a:cubicBezTo>
                <a:cubicBezTo>
                  <a:pt x="9072957" y="878980"/>
                  <a:pt x="9072301" y="880072"/>
                  <a:pt x="9071426" y="878980"/>
                </a:cubicBezTo>
                <a:cubicBezTo>
                  <a:pt x="9068586" y="876142"/>
                  <a:pt x="9066618" y="877888"/>
                  <a:pt x="9064432" y="879853"/>
                </a:cubicBezTo>
                <a:cubicBezTo>
                  <a:pt x="9064214" y="880290"/>
                  <a:pt x="9063339" y="880290"/>
                  <a:pt x="9062901" y="880289"/>
                </a:cubicBezTo>
                <a:cubicBezTo>
                  <a:pt x="9057655" y="877232"/>
                  <a:pt x="9052629" y="873740"/>
                  <a:pt x="9047382" y="870465"/>
                </a:cubicBezTo>
                <a:cubicBezTo>
                  <a:pt x="9044979" y="868937"/>
                  <a:pt x="9043666" y="864790"/>
                  <a:pt x="9042573" y="861515"/>
                </a:cubicBezTo>
                <a:cubicBezTo>
                  <a:pt x="9042136" y="860206"/>
                  <a:pt x="9042355" y="858896"/>
                  <a:pt x="9041043" y="857804"/>
                </a:cubicBezTo>
                <a:cubicBezTo>
                  <a:pt x="9039733" y="856712"/>
                  <a:pt x="9039950" y="855403"/>
                  <a:pt x="9040826" y="854093"/>
                </a:cubicBezTo>
                <a:cubicBezTo>
                  <a:pt x="9041262" y="853219"/>
                  <a:pt x="9042137" y="852128"/>
                  <a:pt x="9041480" y="851255"/>
                </a:cubicBezTo>
                <a:cubicBezTo>
                  <a:pt x="9039295" y="848636"/>
                  <a:pt x="9039077" y="846670"/>
                  <a:pt x="9042573" y="845360"/>
                </a:cubicBezTo>
                <a:cubicBezTo>
                  <a:pt x="9043449" y="845143"/>
                  <a:pt x="9043666" y="843832"/>
                  <a:pt x="9042793" y="843178"/>
                </a:cubicBezTo>
                <a:cubicBezTo>
                  <a:pt x="9039951" y="840777"/>
                  <a:pt x="9043011" y="839685"/>
                  <a:pt x="9043448" y="837938"/>
                </a:cubicBezTo>
                <a:cubicBezTo>
                  <a:pt x="9044979" y="832044"/>
                  <a:pt x="9051754" y="833791"/>
                  <a:pt x="9054378" y="829425"/>
                </a:cubicBezTo>
                <a:cubicBezTo>
                  <a:pt x="9055252" y="827896"/>
                  <a:pt x="9059405" y="828988"/>
                  <a:pt x="9061371" y="829206"/>
                </a:cubicBezTo>
                <a:cubicBezTo>
                  <a:pt x="9063666" y="829534"/>
                  <a:pt x="9066180" y="828989"/>
                  <a:pt x="9068586" y="829016"/>
                </a:cubicBezTo>
                <a:close/>
                <a:moveTo>
                  <a:pt x="5928837" y="817844"/>
                </a:moveTo>
                <a:cubicBezTo>
                  <a:pt x="5928837" y="817844"/>
                  <a:pt x="5928837" y="817844"/>
                  <a:pt x="5924450" y="819646"/>
                </a:cubicBezTo>
                <a:cubicBezTo>
                  <a:pt x="5920063" y="821450"/>
                  <a:pt x="5920063" y="821450"/>
                  <a:pt x="5920063" y="821450"/>
                </a:cubicBezTo>
                <a:lnTo>
                  <a:pt x="5918605" y="821341"/>
                </a:lnTo>
                <a:close/>
                <a:moveTo>
                  <a:pt x="9250954" y="817680"/>
                </a:moveTo>
                <a:cubicBezTo>
                  <a:pt x="9255089" y="819263"/>
                  <a:pt x="9258905" y="821480"/>
                  <a:pt x="9260496" y="826545"/>
                </a:cubicBezTo>
                <a:cubicBezTo>
                  <a:pt x="9260813" y="827495"/>
                  <a:pt x="9262721" y="828128"/>
                  <a:pt x="9262403" y="830028"/>
                </a:cubicBezTo>
                <a:cubicBezTo>
                  <a:pt x="9261449" y="835093"/>
                  <a:pt x="9265266" y="836677"/>
                  <a:pt x="9268447" y="837626"/>
                </a:cubicBezTo>
                <a:cubicBezTo>
                  <a:pt x="9270673" y="838260"/>
                  <a:pt x="9271945" y="839209"/>
                  <a:pt x="9273216" y="840476"/>
                </a:cubicBezTo>
                <a:cubicBezTo>
                  <a:pt x="9277033" y="843959"/>
                  <a:pt x="9276715" y="848708"/>
                  <a:pt x="9277669" y="853140"/>
                </a:cubicBezTo>
                <a:cubicBezTo>
                  <a:pt x="9278305" y="857257"/>
                  <a:pt x="9276397" y="860422"/>
                  <a:pt x="9274807" y="863905"/>
                </a:cubicBezTo>
                <a:cubicBezTo>
                  <a:pt x="9273217" y="867705"/>
                  <a:pt x="9270672" y="870870"/>
                  <a:pt x="9265902" y="870870"/>
                </a:cubicBezTo>
                <a:cubicBezTo>
                  <a:pt x="9265266" y="870871"/>
                  <a:pt x="9264948" y="871187"/>
                  <a:pt x="9264948" y="872136"/>
                </a:cubicBezTo>
                <a:cubicBezTo>
                  <a:pt x="9262721" y="872136"/>
                  <a:pt x="9260813" y="872137"/>
                  <a:pt x="9258588" y="872136"/>
                </a:cubicBezTo>
                <a:cubicBezTo>
                  <a:pt x="9256997" y="869921"/>
                  <a:pt x="9253817" y="870237"/>
                  <a:pt x="9251590" y="868654"/>
                </a:cubicBezTo>
                <a:cubicBezTo>
                  <a:pt x="9249364" y="867071"/>
                  <a:pt x="9247456" y="865804"/>
                  <a:pt x="9246820" y="862955"/>
                </a:cubicBezTo>
                <a:cubicBezTo>
                  <a:pt x="9246502" y="859789"/>
                  <a:pt x="9244911" y="856939"/>
                  <a:pt x="9243321" y="854406"/>
                </a:cubicBezTo>
                <a:cubicBezTo>
                  <a:pt x="9241731" y="851557"/>
                  <a:pt x="9240460" y="848708"/>
                  <a:pt x="9238869" y="846175"/>
                </a:cubicBezTo>
                <a:cubicBezTo>
                  <a:pt x="9237597" y="843325"/>
                  <a:pt x="9235052" y="840792"/>
                  <a:pt x="9231872" y="839209"/>
                </a:cubicBezTo>
                <a:cubicBezTo>
                  <a:pt x="9231872" y="835410"/>
                  <a:pt x="9231873" y="831611"/>
                  <a:pt x="9231873" y="827812"/>
                </a:cubicBezTo>
                <a:cubicBezTo>
                  <a:pt x="9233781" y="826862"/>
                  <a:pt x="9234734" y="825595"/>
                  <a:pt x="9235689" y="823379"/>
                </a:cubicBezTo>
                <a:cubicBezTo>
                  <a:pt x="9236961" y="820846"/>
                  <a:pt x="9239823" y="818947"/>
                  <a:pt x="9242685" y="818946"/>
                </a:cubicBezTo>
                <a:cubicBezTo>
                  <a:pt x="9245547" y="818946"/>
                  <a:pt x="9248092" y="818313"/>
                  <a:pt x="9250954" y="817680"/>
                </a:cubicBezTo>
                <a:close/>
                <a:moveTo>
                  <a:pt x="8102504" y="812227"/>
                </a:moveTo>
                <a:cubicBezTo>
                  <a:pt x="8108835" y="815916"/>
                  <a:pt x="8114903" y="820131"/>
                  <a:pt x="8121234" y="824083"/>
                </a:cubicBezTo>
                <a:cubicBezTo>
                  <a:pt x="8124135" y="825928"/>
                  <a:pt x="8125718" y="830933"/>
                  <a:pt x="8127037" y="834885"/>
                </a:cubicBezTo>
                <a:cubicBezTo>
                  <a:pt x="8127565" y="836466"/>
                  <a:pt x="8127301" y="838046"/>
                  <a:pt x="8128883" y="839364"/>
                </a:cubicBezTo>
                <a:cubicBezTo>
                  <a:pt x="8130466" y="840681"/>
                  <a:pt x="8130203" y="842262"/>
                  <a:pt x="8129147" y="843842"/>
                </a:cubicBezTo>
                <a:cubicBezTo>
                  <a:pt x="8128620" y="844896"/>
                  <a:pt x="8127565" y="846214"/>
                  <a:pt x="8128356" y="847268"/>
                </a:cubicBezTo>
                <a:cubicBezTo>
                  <a:pt x="8130993" y="850429"/>
                  <a:pt x="8131258" y="852800"/>
                  <a:pt x="8127037" y="854380"/>
                </a:cubicBezTo>
                <a:cubicBezTo>
                  <a:pt x="8125982" y="854644"/>
                  <a:pt x="8125718" y="856224"/>
                  <a:pt x="8126773" y="857015"/>
                </a:cubicBezTo>
                <a:cubicBezTo>
                  <a:pt x="8130203" y="859914"/>
                  <a:pt x="8126509" y="861231"/>
                  <a:pt x="8125982" y="863338"/>
                </a:cubicBezTo>
                <a:cubicBezTo>
                  <a:pt x="8124135" y="870452"/>
                  <a:pt x="8115958" y="868344"/>
                  <a:pt x="8112792" y="873613"/>
                </a:cubicBezTo>
                <a:cubicBezTo>
                  <a:pt x="8111737" y="875457"/>
                  <a:pt x="8106725" y="874140"/>
                  <a:pt x="8104350" y="873877"/>
                </a:cubicBezTo>
                <a:cubicBezTo>
                  <a:pt x="8098811" y="873086"/>
                  <a:pt x="8092216" y="876511"/>
                  <a:pt x="8087732" y="870188"/>
                </a:cubicBezTo>
                <a:cubicBezTo>
                  <a:pt x="8086940" y="869134"/>
                  <a:pt x="8085358" y="867817"/>
                  <a:pt x="8083247" y="867817"/>
                </a:cubicBezTo>
                <a:cubicBezTo>
                  <a:pt x="8080345" y="868081"/>
                  <a:pt x="8078763" y="866500"/>
                  <a:pt x="8078235" y="863602"/>
                </a:cubicBezTo>
                <a:cubicBezTo>
                  <a:pt x="8077708" y="861758"/>
                  <a:pt x="8076388" y="860704"/>
                  <a:pt x="8075070" y="859386"/>
                </a:cubicBezTo>
                <a:cubicBezTo>
                  <a:pt x="8071640" y="856225"/>
                  <a:pt x="8070057" y="852537"/>
                  <a:pt x="8071377" y="847795"/>
                </a:cubicBezTo>
                <a:cubicBezTo>
                  <a:pt x="8072168" y="845159"/>
                  <a:pt x="8071376" y="842262"/>
                  <a:pt x="8068738" y="840681"/>
                </a:cubicBezTo>
                <a:cubicBezTo>
                  <a:pt x="8068738" y="839627"/>
                  <a:pt x="8068739" y="838574"/>
                  <a:pt x="8068739" y="837520"/>
                </a:cubicBezTo>
                <a:cubicBezTo>
                  <a:pt x="8071112" y="836202"/>
                  <a:pt x="8072168" y="834622"/>
                  <a:pt x="8071904" y="831196"/>
                </a:cubicBezTo>
                <a:cubicBezTo>
                  <a:pt x="8071640" y="826455"/>
                  <a:pt x="8073750" y="822766"/>
                  <a:pt x="8079027" y="821712"/>
                </a:cubicBezTo>
                <a:cubicBezTo>
                  <a:pt x="8081400" y="821449"/>
                  <a:pt x="8080873" y="819604"/>
                  <a:pt x="8080873" y="818024"/>
                </a:cubicBezTo>
                <a:cubicBezTo>
                  <a:pt x="8080873" y="815389"/>
                  <a:pt x="8081928" y="814862"/>
                  <a:pt x="8084038" y="816707"/>
                </a:cubicBezTo>
                <a:cubicBezTo>
                  <a:pt x="8087204" y="819341"/>
                  <a:pt x="8089314" y="819341"/>
                  <a:pt x="8090106" y="814862"/>
                </a:cubicBezTo>
                <a:cubicBezTo>
                  <a:pt x="8090370" y="813808"/>
                  <a:pt x="8091161" y="812491"/>
                  <a:pt x="8092216" y="813809"/>
                </a:cubicBezTo>
                <a:cubicBezTo>
                  <a:pt x="8095646" y="817233"/>
                  <a:pt x="8098020" y="815126"/>
                  <a:pt x="8100657" y="812755"/>
                </a:cubicBezTo>
                <a:cubicBezTo>
                  <a:pt x="8100921" y="812227"/>
                  <a:pt x="8101977" y="812227"/>
                  <a:pt x="8102504" y="812227"/>
                </a:cubicBezTo>
                <a:close/>
                <a:moveTo>
                  <a:pt x="1836633" y="811775"/>
                </a:moveTo>
                <a:cubicBezTo>
                  <a:pt x="1843739" y="817556"/>
                  <a:pt x="1854131" y="810460"/>
                  <a:pt x="1860322" y="819494"/>
                </a:cubicBezTo>
                <a:cubicBezTo>
                  <a:pt x="1862130" y="822180"/>
                  <a:pt x="1867973" y="822155"/>
                  <a:pt x="1864636" y="827954"/>
                </a:cubicBezTo>
                <a:cubicBezTo>
                  <a:pt x="1863556" y="829596"/>
                  <a:pt x="1864727" y="831678"/>
                  <a:pt x="1866340" y="831512"/>
                </a:cubicBezTo>
                <a:cubicBezTo>
                  <a:pt x="1873055" y="831589"/>
                  <a:pt x="1873888" y="835046"/>
                  <a:pt x="1871792" y="840814"/>
                </a:cubicBezTo>
                <a:cubicBezTo>
                  <a:pt x="1871217" y="842691"/>
                  <a:pt x="1873363" y="844003"/>
                  <a:pt x="1874635" y="845212"/>
                </a:cubicBezTo>
                <a:cubicBezTo>
                  <a:pt x="1876915" y="846894"/>
                  <a:pt x="1878085" y="848975"/>
                  <a:pt x="1876536" y="851624"/>
                </a:cubicBezTo>
                <a:cubicBezTo>
                  <a:pt x="1874985" y="854271"/>
                  <a:pt x="1876154" y="856353"/>
                  <a:pt x="1876216" y="858835"/>
                </a:cubicBezTo>
                <a:cubicBezTo>
                  <a:pt x="1876370" y="865042"/>
                  <a:pt x="1876688" y="872860"/>
                  <a:pt x="1873555" y="876914"/>
                </a:cubicBezTo>
                <a:cubicBezTo>
                  <a:pt x="1866684" y="885660"/>
                  <a:pt x="1860316" y="894641"/>
                  <a:pt x="1853312" y="903017"/>
                </a:cubicBezTo>
                <a:cubicBezTo>
                  <a:pt x="1852573" y="903284"/>
                  <a:pt x="1851095" y="903818"/>
                  <a:pt x="1850458" y="903214"/>
                </a:cubicBezTo>
                <a:cubicBezTo>
                  <a:pt x="1845560" y="901227"/>
                  <a:pt x="1841165" y="899477"/>
                  <a:pt x="1838094" y="906014"/>
                </a:cubicBezTo>
                <a:cubicBezTo>
                  <a:pt x="1837282" y="908394"/>
                  <a:pt x="1835506" y="906949"/>
                  <a:pt x="1834602" y="905605"/>
                </a:cubicBezTo>
                <a:cubicBezTo>
                  <a:pt x="1831224" y="899730"/>
                  <a:pt x="1828266" y="900799"/>
                  <a:pt x="1825165" y="906095"/>
                </a:cubicBezTo>
                <a:cubicBezTo>
                  <a:pt x="1823141" y="909748"/>
                  <a:pt x="1821396" y="909544"/>
                  <a:pt x="1820062" y="905852"/>
                </a:cubicBezTo>
                <a:cubicBezTo>
                  <a:pt x="1819261" y="903637"/>
                  <a:pt x="1819065" y="900785"/>
                  <a:pt x="1815605" y="901618"/>
                </a:cubicBezTo>
                <a:cubicBezTo>
                  <a:pt x="1807677" y="902814"/>
                  <a:pt x="1802851" y="898714"/>
                  <a:pt x="1800818" y="891934"/>
                </a:cubicBezTo>
                <a:cubicBezTo>
                  <a:pt x="1799453" y="887001"/>
                  <a:pt x="1797173" y="885320"/>
                  <a:pt x="1793179" y="884677"/>
                </a:cubicBezTo>
                <a:cubicBezTo>
                  <a:pt x="1792644" y="883200"/>
                  <a:pt x="1792111" y="881723"/>
                  <a:pt x="1791578" y="880247"/>
                </a:cubicBezTo>
                <a:cubicBezTo>
                  <a:pt x="1794473" y="876694"/>
                  <a:pt x="1794114" y="872232"/>
                  <a:pt x="1791671" y="868941"/>
                </a:cubicBezTo>
                <a:cubicBezTo>
                  <a:pt x="1787420" y="862963"/>
                  <a:pt x="1787769" y="856992"/>
                  <a:pt x="1790974" y="850824"/>
                </a:cubicBezTo>
                <a:cubicBezTo>
                  <a:pt x="1792155" y="848310"/>
                  <a:pt x="1793469" y="846164"/>
                  <a:pt x="1793274" y="843312"/>
                </a:cubicBezTo>
                <a:cubicBezTo>
                  <a:pt x="1792545" y="838984"/>
                  <a:pt x="1793963" y="835967"/>
                  <a:pt x="1798163" y="834866"/>
                </a:cubicBezTo>
                <a:cubicBezTo>
                  <a:pt x="1801121" y="833797"/>
                  <a:pt x="1802672" y="831150"/>
                  <a:pt x="1803247" y="829271"/>
                </a:cubicBezTo>
                <a:cubicBezTo>
                  <a:pt x="1806328" y="818138"/>
                  <a:pt x="1817306" y="819597"/>
                  <a:pt x="1824669" y="815683"/>
                </a:cubicBezTo>
                <a:cubicBezTo>
                  <a:pt x="1827863" y="814111"/>
                  <a:pt x="1834220" y="809725"/>
                  <a:pt x="1836633" y="811775"/>
                </a:cubicBezTo>
                <a:close/>
                <a:moveTo>
                  <a:pt x="6219183" y="810045"/>
                </a:moveTo>
                <a:cubicBezTo>
                  <a:pt x="6220731" y="810690"/>
                  <a:pt x="6221633" y="812883"/>
                  <a:pt x="6220340" y="815978"/>
                </a:cubicBezTo>
                <a:cubicBezTo>
                  <a:pt x="6218538" y="811592"/>
                  <a:pt x="6218538" y="811592"/>
                  <a:pt x="6214150" y="813394"/>
                </a:cubicBezTo>
                <a:cubicBezTo>
                  <a:pt x="6215442" y="810299"/>
                  <a:pt x="6217635" y="809398"/>
                  <a:pt x="6219183" y="810045"/>
                </a:cubicBezTo>
                <a:close/>
                <a:moveTo>
                  <a:pt x="3158128" y="801511"/>
                </a:moveTo>
                <a:lnTo>
                  <a:pt x="3158128" y="801512"/>
                </a:lnTo>
                <a:cubicBezTo>
                  <a:pt x="3164022" y="804944"/>
                  <a:pt x="3169669" y="808867"/>
                  <a:pt x="3175559" y="812545"/>
                </a:cubicBezTo>
                <a:cubicBezTo>
                  <a:pt x="3178259" y="814261"/>
                  <a:pt x="3179731" y="818919"/>
                  <a:pt x="3180960" y="822597"/>
                </a:cubicBezTo>
                <a:cubicBezTo>
                  <a:pt x="3181449" y="824068"/>
                  <a:pt x="3181204" y="825538"/>
                  <a:pt x="3182677" y="826764"/>
                </a:cubicBezTo>
                <a:cubicBezTo>
                  <a:pt x="3184149" y="827990"/>
                  <a:pt x="3183904" y="829461"/>
                  <a:pt x="3182922" y="830932"/>
                </a:cubicBezTo>
                <a:cubicBezTo>
                  <a:pt x="3182433" y="831913"/>
                  <a:pt x="3181450" y="833139"/>
                  <a:pt x="3182187" y="834119"/>
                </a:cubicBezTo>
                <a:cubicBezTo>
                  <a:pt x="3184640" y="837061"/>
                  <a:pt x="3184885" y="839267"/>
                  <a:pt x="3180959" y="840738"/>
                </a:cubicBezTo>
                <a:cubicBezTo>
                  <a:pt x="3179976" y="840984"/>
                  <a:pt x="3179731" y="842454"/>
                  <a:pt x="3180713" y="843190"/>
                </a:cubicBezTo>
                <a:cubicBezTo>
                  <a:pt x="3183904" y="845888"/>
                  <a:pt x="3180468" y="847113"/>
                  <a:pt x="3179976" y="849074"/>
                </a:cubicBezTo>
                <a:cubicBezTo>
                  <a:pt x="3178260" y="855694"/>
                  <a:pt x="3170649" y="853732"/>
                  <a:pt x="3167705" y="858635"/>
                </a:cubicBezTo>
                <a:cubicBezTo>
                  <a:pt x="3166722" y="860352"/>
                  <a:pt x="3162057" y="859127"/>
                  <a:pt x="3159847" y="858881"/>
                </a:cubicBezTo>
                <a:cubicBezTo>
                  <a:pt x="3157271" y="858513"/>
                  <a:pt x="3154446" y="859126"/>
                  <a:pt x="3151747" y="859095"/>
                </a:cubicBezTo>
                <a:lnTo>
                  <a:pt x="3151746" y="859094"/>
                </a:lnTo>
                <a:cubicBezTo>
                  <a:pt x="3149046" y="859064"/>
                  <a:pt x="3146467" y="858390"/>
                  <a:pt x="3144383" y="855448"/>
                </a:cubicBezTo>
                <a:cubicBezTo>
                  <a:pt x="3143645" y="854467"/>
                  <a:pt x="3142173" y="853241"/>
                  <a:pt x="3140208" y="853241"/>
                </a:cubicBezTo>
                <a:cubicBezTo>
                  <a:pt x="3137507" y="853486"/>
                  <a:pt x="3136035" y="852015"/>
                  <a:pt x="3135545" y="849319"/>
                </a:cubicBezTo>
                <a:cubicBezTo>
                  <a:pt x="3135053" y="847602"/>
                  <a:pt x="3133825" y="846622"/>
                  <a:pt x="3132598" y="845396"/>
                </a:cubicBezTo>
                <a:cubicBezTo>
                  <a:pt x="3129407" y="842454"/>
                  <a:pt x="3127934" y="839021"/>
                  <a:pt x="3129161" y="834609"/>
                </a:cubicBezTo>
                <a:cubicBezTo>
                  <a:pt x="3129897" y="832157"/>
                  <a:pt x="3129161" y="829460"/>
                  <a:pt x="3126708" y="827989"/>
                </a:cubicBezTo>
                <a:cubicBezTo>
                  <a:pt x="3126708" y="827008"/>
                  <a:pt x="3126708" y="826028"/>
                  <a:pt x="3126708" y="825047"/>
                </a:cubicBezTo>
                <a:cubicBezTo>
                  <a:pt x="3128917" y="823821"/>
                  <a:pt x="3129896" y="822351"/>
                  <a:pt x="3129652" y="819163"/>
                </a:cubicBezTo>
                <a:cubicBezTo>
                  <a:pt x="3129407" y="814750"/>
                  <a:pt x="3131371" y="811317"/>
                  <a:pt x="3136279" y="810337"/>
                </a:cubicBezTo>
                <a:cubicBezTo>
                  <a:pt x="3138490" y="810092"/>
                  <a:pt x="3137999" y="808375"/>
                  <a:pt x="3137999" y="806904"/>
                </a:cubicBezTo>
                <a:cubicBezTo>
                  <a:pt x="3137999" y="804453"/>
                  <a:pt x="3138981" y="803963"/>
                  <a:pt x="3140943" y="805679"/>
                </a:cubicBezTo>
                <a:cubicBezTo>
                  <a:pt x="3143891" y="808130"/>
                  <a:pt x="3145853" y="808131"/>
                  <a:pt x="3146590" y="803963"/>
                </a:cubicBezTo>
                <a:cubicBezTo>
                  <a:pt x="3146836" y="802982"/>
                  <a:pt x="3147575" y="801756"/>
                  <a:pt x="3148556" y="802983"/>
                </a:cubicBezTo>
                <a:cubicBezTo>
                  <a:pt x="3151746" y="806170"/>
                  <a:pt x="3153954" y="804208"/>
                  <a:pt x="3156407" y="802001"/>
                </a:cubicBezTo>
                <a:cubicBezTo>
                  <a:pt x="3156654" y="801511"/>
                  <a:pt x="3157635" y="801511"/>
                  <a:pt x="3158128" y="801511"/>
                </a:cubicBezTo>
                <a:close/>
                <a:moveTo>
                  <a:pt x="10975865" y="789481"/>
                </a:moveTo>
                <a:cubicBezTo>
                  <a:pt x="10977480" y="786484"/>
                  <a:pt x="10979002" y="786532"/>
                  <a:pt x="10980273" y="789922"/>
                </a:cubicBezTo>
                <a:cubicBezTo>
                  <a:pt x="10982258" y="794857"/>
                  <a:pt x="10984658" y="796151"/>
                  <a:pt x="10988303" y="791541"/>
                </a:cubicBezTo>
                <a:cubicBezTo>
                  <a:pt x="10989248" y="790505"/>
                  <a:pt x="10990954" y="789492"/>
                  <a:pt x="10991347" y="791636"/>
                </a:cubicBezTo>
                <a:cubicBezTo>
                  <a:pt x="10993149" y="797632"/>
                  <a:pt x="10997140" y="796689"/>
                  <a:pt x="11001593" y="795609"/>
                </a:cubicBezTo>
                <a:cubicBezTo>
                  <a:pt x="11002217" y="795171"/>
                  <a:pt x="11003417" y="795817"/>
                  <a:pt x="11004016" y="796141"/>
                </a:cubicBezTo>
                <a:cubicBezTo>
                  <a:pt x="11008956" y="804214"/>
                  <a:pt x="11013273" y="812725"/>
                  <a:pt x="11018053" y="821097"/>
                </a:cubicBezTo>
                <a:cubicBezTo>
                  <a:pt x="11020222" y="824972"/>
                  <a:pt x="11018956" y="831635"/>
                  <a:pt x="11018036" y="836937"/>
                </a:cubicBezTo>
                <a:cubicBezTo>
                  <a:pt x="11017666" y="839058"/>
                  <a:pt x="11016399" y="840695"/>
                  <a:pt x="11017392" y="843162"/>
                </a:cubicBezTo>
                <a:cubicBezTo>
                  <a:pt x="11018385" y="845630"/>
                  <a:pt x="11017115" y="847266"/>
                  <a:pt x="11014948" y="848417"/>
                </a:cubicBezTo>
                <a:cubicBezTo>
                  <a:pt x="11013701" y="849292"/>
                  <a:pt x="11011695" y="850144"/>
                  <a:pt x="11011950" y="851827"/>
                </a:cubicBezTo>
                <a:cubicBezTo>
                  <a:pt x="11013013" y="857039"/>
                  <a:pt x="11011859" y="859897"/>
                  <a:pt x="11006091" y="859109"/>
                </a:cubicBezTo>
                <a:cubicBezTo>
                  <a:pt x="11004729" y="858762"/>
                  <a:pt x="11003461" y="860398"/>
                  <a:pt x="11004177" y="861943"/>
                </a:cubicBezTo>
                <a:cubicBezTo>
                  <a:pt x="11006301" y="867340"/>
                  <a:pt x="11001295" y="866576"/>
                  <a:pt x="10999404" y="868649"/>
                </a:cubicBezTo>
                <a:cubicBezTo>
                  <a:pt x="10992945" y="875607"/>
                  <a:pt x="10984938" y="868201"/>
                  <a:pt x="10978109" y="872253"/>
                </a:cubicBezTo>
                <a:cubicBezTo>
                  <a:pt x="10975779" y="873705"/>
                  <a:pt x="10970886" y="869136"/>
                  <a:pt x="10968347" y="867382"/>
                </a:cubicBezTo>
                <a:cubicBezTo>
                  <a:pt x="10962533" y="863090"/>
                  <a:pt x="10952933" y="862944"/>
                  <a:pt x="10951707" y="853006"/>
                </a:cubicBezTo>
                <a:cubicBezTo>
                  <a:pt x="10951453" y="851322"/>
                  <a:pt x="10950460" y="848855"/>
                  <a:pt x="10948061" y="847563"/>
                </a:cubicBezTo>
                <a:cubicBezTo>
                  <a:pt x="10944599" y="846084"/>
                  <a:pt x="10943768" y="843317"/>
                  <a:pt x="10944943" y="839698"/>
                </a:cubicBezTo>
                <a:cubicBezTo>
                  <a:pt x="10945472" y="837277"/>
                  <a:pt x="10944619" y="835271"/>
                  <a:pt x="10943925" y="832965"/>
                </a:cubicBezTo>
                <a:cubicBezTo>
                  <a:pt x="10941963" y="827268"/>
                  <a:pt x="10942422" y="822104"/>
                  <a:pt x="10946827" y="817519"/>
                </a:cubicBezTo>
                <a:cubicBezTo>
                  <a:pt x="10949341" y="815008"/>
                  <a:pt x="10950216" y="811228"/>
                  <a:pt x="10948185" y="807814"/>
                </a:cubicBezTo>
                <a:cubicBezTo>
                  <a:pt x="10948830" y="806615"/>
                  <a:pt x="10949476" y="805416"/>
                  <a:pt x="10950122" y="804218"/>
                </a:cubicBezTo>
                <a:cubicBezTo>
                  <a:pt x="10953629" y="804174"/>
                  <a:pt x="10955797" y="803024"/>
                  <a:pt x="10957596" y="798967"/>
                </a:cubicBezTo>
                <a:cubicBezTo>
                  <a:pt x="10960201" y="793412"/>
                  <a:pt x="10964861" y="790510"/>
                  <a:pt x="10971507" y="792544"/>
                </a:cubicBezTo>
                <a:cubicBezTo>
                  <a:pt x="10974367" y="793699"/>
                  <a:pt x="10974898" y="791278"/>
                  <a:pt x="10975865" y="789481"/>
                </a:cubicBezTo>
                <a:close/>
                <a:moveTo>
                  <a:pt x="9626745" y="786684"/>
                </a:moveTo>
                <a:lnTo>
                  <a:pt x="9626595" y="786936"/>
                </a:lnTo>
                <a:lnTo>
                  <a:pt x="9626421" y="786762"/>
                </a:lnTo>
                <a:close/>
                <a:moveTo>
                  <a:pt x="2719876" y="777613"/>
                </a:moveTo>
                <a:cubicBezTo>
                  <a:pt x="2726205" y="781301"/>
                  <a:pt x="2732271" y="785516"/>
                  <a:pt x="2738602" y="789469"/>
                </a:cubicBezTo>
                <a:cubicBezTo>
                  <a:pt x="2741504" y="791313"/>
                  <a:pt x="2743086" y="796319"/>
                  <a:pt x="2744405" y="800270"/>
                </a:cubicBezTo>
                <a:cubicBezTo>
                  <a:pt x="2744935" y="801851"/>
                  <a:pt x="2744670" y="803432"/>
                  <a:pt x="2746252" y="804749"/>
                </a:cubicBezTo>
                <a:cubicBezTo>
                  <a:pt x="2747837" y="806066"/>
                  <a:pt x="2747570" y="807648"/>
                  <a:pt x="2746517" y="809228"/>
                </a:cubicBezTo>
                <a:cubicBezTo>
                  <a:pt x="2745988" y="810282"/>
                  <a:pt x="2744935" y="811599"/>
                  <a:pt x="2745725" y="812653"/>
                </a:cubicBezTo>
                <a:cubicBezTo>
                  <a:pt x="2748365" y="815815"/>
                  <a:pt x="2748628" y="818186"/>
                  <a:pt x="2744406" y="819766"/>
                </a:cubicBezTo>
                <a:cubicBezTo>
                  <a:pt x="2743352" y="820030"/>
                  <a:pt x="2743087" y="821611"/>
                  <a:pt x="2744142" y="822401"/>
                </a:cubicBezTo>
                <a:cubicBezTo>
                  <a:pt x="2747571" y="825299"/>
                  <a:pt x="2743879" y="826616"/>
                  <a:pt x="2743352" y="828724"/>
                </a:cubicBezTo>
                <a:cubicBezTo>
                  <a:pt x="2741505" y="835837"/>
                  <a:pt x="2733327" y="833730"/>
                  <a:pt x="2730161" y="838998"/>
                </a:cubicBezTo>
                <a:cubicBezTo>
                  <a:pt x="2729106" y="840843"/>
                  <a:pt x="2724094" y="839526"/>
                  <a:pt x="2721719" y="839262"/>
                </a:cubicBezTo>
                <a:cubicBezTo>
                  <a:pt x="2716183" y="838472"/>
                  <a:pt x="2709586" y="841897"/>
                  <a:pt x="2705102" y="835573"/>
                </a:cubicBezTo>
                <a:cubicBezTo>
                  <a:pt x="2704310" y="834520"/>
                  <a:pt x="2702729" y="833202"/>
                  <a:pt x="2700617" y="833203"/>
                </a:cubicBezTo>
                <a:cubicBezTo>
                  <a:pt x="2697715" y="833466"/>
                  <a:pt x="2696132" y="831885"/>
                  <a:pt x="2695605" y="828987"/>
                </a:cubicBezTo>
                <a:cubicBezTo>
                  <a:pt x="2695077" y="827143"/>
                  <a:pt x="2693757" y="826089"/>
                  <a:pt x="2692440" y="824772"/>
                </a:cubicBezTo>
                <a:cubicBezTo>
                  <a:pt x="2689010" y="821610"/>
                  <a:pt x="2687428" y="817922"/>
                  <a:pt x="2688745" y="813180"/>
                </a:cubicBezTo>
                <a:cubicBezTo>
                  <a:pt x="2689537" y="810546"/>
                  <a:pt x="2688745" y="807647"/>
                  <a:pt x="2686108" y="806066"/>
                </a:cubicBezTo>
                <a:cubicBezTo>
                  <a:pt x="2686108" y="805012"/>
                  <a:pt x="2686109" y="803959"/>
                  <a:pt x="2686109" y="802905"/>
                </a:cubicBezTo>
                <a:cubicBezTo>
                  <a:pt x="2688482" y="801588"/>
                  <a:pt x="2689537" y="800007"/>
                  <a:pt x="2689275" y="796583"/>
                </a:cubicBezTo>
                <a:cubicBezTo>
                  <a:pt x="2689010" y="791840"/>
                  <a:pt x="2691120" y="788152"/>
                  <a:pt x="2696397" y="787097"/>
                </a:cubicBezTo>
                <a:cubicBezTo>
                  <a:pt x="2698770" y="786834"/>
                  <a:pt x="2698243" y="784990"/>
                  <a:pt x="2698243" y="783410"/>
                </a:cubicBezTo>
                <a:cubicBezTo>
                  <a:pt x="2698243" y="780775"/>
                  <a:pt x="2699298" y="780247"/>
                  <a:pt x="2701407" y="782092"/>
                </a:cubicBezTo>
                <a:cubicBezTo>
                  <a:pt x="2704573" y="784726"/>
                  <a:pt x="2706683" y="784726"/>
                  <a:pt x="2707476" y="780248"/>
                </a:cubicBezTo>
                <a:cubicBezTo>
                  <a:pt x="2707738" y="779194"/>
                  <a:pt x="2708531" y="777877"/>
                  <a:pt x="2709587" y="779194"/>
                </a:cubicBezTo>
                <a:cubicBezTo>
                  <a:pt x="2713015" y="782619"/>
                  <a:pt x="2715390" y="780511"/>
                  <a:pt x="2718030" y="778140"/>
                </a:cubicBezTo>
                <a:cubicBezTo>
                  <a:pt x="2718292" y="777613"/>
                  <a:pt x="2719347" y="777613"/>
                  <a:pt x="2719876" y="777613"/>
                </a:cubicBezTo>
                <a:close/>
                <a:moveTo>
                  <a:pt x="8879049" y="770345"/>
                </a:moveTo>
                <a:cubicBezTo>
                  <a:pt x="8881453" y="770372"/>
                  <a:pt x="8883748" y="770972"/>
                  <a:pt x="8885606" y="773591"/>
                </a:cubicBezTo>
                <a:cubicBezTo>
                  <a:pt x="8886263" y="774464"/>
                  <a:pt x="8887573" y="775556"/>
                  <a:pt x="8889322" y="775556"/>
                </a:cubicBezTo>
                <a:cubicBezTo>
                  <a:pt x="8891727" y="775338"/>
                  <a:pt x="8893039" y="776648"/>
                  <a:pt x="8893475" y="779050"/>
                </a:cubicBezTo>
                <a:cubicBezTo>
                  <a:pt x="8893912" y="780578"/>
                  <a:pt x="8895005" y="781450"/>
                  <a:pt x="8896098" y="782542"/>
                </a:cubicBezTo>
                <a:cubicBezTo>
                  <a:pt x="8898940" y="785161"/>
                  <a:pt x="8900251" y="788218"/>
                  <a:pt x="8899159" y="792147"/>
                </a:cubicBezTo>
                <a:cubicBezTo>
                  <a:pt x="8898502" y="794331"/>
                  <a:pt x="8899158" y="796732"/>
                  <a:pt x="8901344" y="798041"/>
                </a:cubicBezTo>
                <a:cubicBezTo>
                  <a:pt x="8901344" y="798915"/>
                  <a:pt x="8901344" y="799788"/>
                  <a:pt x="8901344" y="800661"/>
                </a:cubicBezTo>
                <a:cubicBezTo>
                  <a:pt x="8899377" y="801753"/>
                  <a:pt x="8898502" y="803062"/>
                  <a:pt x="8898721" y="805901"/>
                </a:cubicBezTo>
                <a:cubicBezTo>
                  <a:pt x="8898940" y="809830"/>
                  <a:pt x="8897191" y="812886"/>
                  <a:pt x="8892820" y="813759"/>
                </a:cubicBezTo>
                <a:cubicBezTo>
                  <a:pt x="8890853" y="813978"/>
                  <a:pt x="8891289" y="815506"/>
                  <a:pt x="8891290" y="816815"/>
                </a:cubicBezTo>
                <a:cubicBezTo>
                  <a:pt x="8891289" y="818999"/>
                  <a:pt x="8890416" y="819435"/>
                  <a:pt x="8888666" y="817908"/>
                </a:cubicBezTo>
                <a:cubicBezTo>
                  <a:pt x="8886044" y="815724"/>
                  <a:pt x="8884296" y="815724"/>
                  <a:pt x="8883639" y="819435"/>
                </a:cubicBezTo>
                <a:cubicBezTo>
                  <a:pt x="8883420" y="820308"/>
                  <a:pt x="8882765" y="821400"/>
                  <a:pt x="8881891" y="820308"/>
                </a:cubicBezTo>
                <a:cubicBezTo>
                  <a:pt x="8879049" y="817471"/>
                  <a:pt x="8877081" y="819217"/>
                  <a:pt x="8874896" y="821181"/>
                </a:cubicBezTo>
                <a:cubicBezTo>
                  <a:pt x="8874677" y="821618"/>
                  <a:pt x="8873804" y="821618"/>
                  <a:pt x="8873365" y="821618"/>
                </a:cubicBezTo>
                <a:cubicBezTo>
                  <a:pt x="8868120" y="818562"/>
                  <a:pt x="8863092" y="815068"/>
                  <a:pt x="8857847" y="811794"/>
                </a:cubicBezTo>
                <a:cubicBezTo>
                  <a:pt x="8855442" y="810267"/>
                  <a:pt x="8854130" y="806118"/>
                  <a:pt x="8853037" y="802845"/>
                </a:cubicBezTo>
                <a:cubicBezTo>
                  <a:pt x="8852600" y="801534"/>
                  <a:pt x="8852820" y="800224"/>
                  <a:pt x="8851507" y="799133"/>
                </a:cubicBezTo>
                <a:cubicBezTo>
                  <a:pt x="8850196" y="798041"/>
                  <a:pt x="8850414" y="796732"/>
                  <a:pt x="8851289" y="795421"/>
                </a:cubicBezTo>
                <a:cubicBezTo>
                  <a:pt x="8851727" y="794549"/>
                  <a:pt x="8852600" y="793457"/>
                  <a:pt x="8851945" y="792584"/>
                </a:cubicBezTo>
                <a:cubicBezTo>
                  <a:pt x="8849759" y="789964"/>
                  <a:pt x="8849541" y="787999"/>
                  <a:pt x="8853038" y="786690"/>
                </a:cubicBezTo>
                <a:cubicBezTo>
                  <a:pt x="8853912" y="786471"/>
                  <a:pt x="8854130" y="785162"/>
                  <a:pt x="8853256" y="784507"/>
                </a:cubicBezTo>
                <a:cubicBezTo>
                  <a:pt x="8850414" y="782106"/>
                  <a:pt x="8853474" y="781014"/>
                  <a:pt x="8853913" y="779267"/>
                </a:cubicBezTo>
                <a:cubicBezTo>
                  <a:pt x="8855442" y="773374"/>
                  <a:pt x="8862219" y="775119"/>
                  <a:pt x="8864841" y="770753"/>
                </a:cubicBezTo>
                <a:cubicBezTo>
                  <a:pt x="8865716" y="769225"/>
                  <a:pt x="8869868" y="770317"/>
                  <a:pt x="8871836" y="770535"/>
                </a:cubicBezTo>
                <a:cubicBezTo>
                  <a:pt x="8874131" y="770863"/>
                  <a:pt x="8876645" y="770317"/>
                  <a:pt x="8879049" y="770345"/>
                </a:cubicBezTo>
                <a:close/>
                <a:moveTo>
                  <a:pt x="8292402" y="770215"/>
                </a:moveTo>
                <a:cubicBezTo>
                  <a:pt x="8292403" y="771282"/>
                  <a:pt x="8292760" y="771637"/>
                  <a:pt x="8293474" y="771638"/>
                </a:cubicBezTo>
                <a:cubicBezTo>
                  <a:pt x="8298832" y="771638"/>
                  <a:pt x="8301689" y="775194"/>
                  <a:pt x="8303475" y="779460"/>
                </a:cubicBezTo>
                <a:cubicBezTo>
                  <a:pt x="8305261" y="783372"/>
                  <a:pt x="8307404" y="786927"/>
                  <a:pt x="8306689" y="791550"/>
                </a:cubicBezTo>
                <a:cubicBezTo>
                  <a:pt x="8305618" y="796528"/>
                  <a:pt x="8305975" y="801860"/>
                  <a:pt x="8301689" y="805772"/>
                </a:cubicBezTo>
                <a:cubicBezTo>
                  <a:pt x="8300260" y="807194"/>
                  <a:pt x="8298831" y="808261"/>
                  <a:pt x="8296331" y="808973"/>
                </a:cubicBezTo>
                <a:cubicBezTo>
                  <a:pt x="8292759" y="810039"/>
                  <a:pt x="8288474" y="811817"/>
                  <a:pt x="8289545" y="817506"/>
                </a:cubicBezTo>
                <a:cubicBezTo>
                  <a:pt x="8289902" y="819639"/>
                  <a:pt x="8287759" y="820351"/>
                  <a:pt x="8287402" y="821417"/>
                </a:cubicBezTo>
                <a:cubicBezTo>
                  <a:pt x="8285616" y="827106"/>
                  <a:pt x="8281330" y="829595"/>
                  <a:pt x="8276687" y="831373"/>
                </a:cubicBezTo>
                <a:cubicBezTo>
                  <a:pt x="8273472" y="830662"/>
                  <a:pt x="8270615" y="829951"/>
                  <a:pt x="8267401" y="829951"/>
                </a:cubicBezTo>
                <a:cubicBezTo>
                  <a:pt x="8264186" y="829950"/>
                  <a:pt x="8260971" y="827817"/>
                  <a:pt x="8259543" y="824973"/>
                </a:cubicBezTo>
                <a:cubicBezTo>
                  <a:pt x="8258471" y="822484"/>
                  <a:pt x="8257400" y="821062"/>
                  <a:pt x="8255256" y="819995"/>
                </a:cubicBezTo>
                <a:cubicBezTo>
                  <a:pt x="8255256" y="815728"/>
                  <a:pt x="8255257" y="811461"/>
                  <a:pt x="8255257" y="807195"/>
                </a:cubicBezTo>
                <a:cubicBezTo>
                  <a:pt x="8258828" y="805416"/>
                  <a:pt x="8261685" y="802572"/>
                  <a:pt x="8263115" y="799372"/>
                </a:cubicBezTo>
                <a:cubicBezTo>
                  <a:pt x="8264900" y="796527"/>
                  <a:pt x="8266329" y="793327"/>
                  <a:pt x="8268115" y="790127"/>
                </a:cubicBezTo>
                <a:cubicBezTo>
                  <a:pt x="8269901" y="787283"/>
                  <a:pt x="8271687" y="784083"/>
                  <a:pt x="8272043" y="780526"/>
                </a:cubicBezTo>
                <a:cubicBezTo>
                  <a:pt x="8272759" y="777327"/>
                  <a:pt x="8274901" y="775904"/>
                  <a:pt x="8277401" y="774127"/>
                </a:cubicBezTo>
                <a:cubicBezTo>
                  <a:pt x="8279902" y="772349"/>
                  <a:pt x="8283473" y="772704"/>
                  <a:pt x="8285259" y="770216"/>
                </a:cubicBezTo>
                <a:cubicBezTo>
                  <a:pt x="8287759" y="770216"/>
                  <a:pt x="8289902" y="770215"/>
                  <a:pt x="8292402" y="770215"/>
                </a:cubicBezTo>
                <a:close/>
                <a:moveTo>
                  <a:pt x="3415630" y="755773"/>
                </a:moveTo>
                <a:cubicBezTo>
                  <a:pt x="3416338" y="755774"/>
                  <a:pt x="3417751" y="755774"/>
                  <a:pt x="3418105" y="756480"/>
                </a:cubicBezTo>
                <a:cubicBezTo>
                  <a:pt x="3421639" y="759657"/>
                  <a:pt x="3424819" y="762481"/>
                  <a:pt x="3429412" y="757892"/>
                </a:cubicBezTo>
                <a:cubicBezTo>
                  <a:pt x="3430827" y="756127"/>
                  <a:pt x="3431884" y="757891"/>
                  <a:pt x="3432240" y="759303"/>
                </a:cubicBezTo>
                <a:cubicBezTo>
                  <a:pt x="3433300" y="765304"/>
                  <a:pt x="3436126" y="765304"/>
                  <a:pt x="3440367" y="761775"/>
                </a:cubicBezTo>
                <a:cubicBezTo>
                  <a:pt x="3443195" y="759303"/>
                  <a:pt x="3444609" y="760009"/>
                  <a:pt x="3444609" y="763539"/>
                </a:cubicBezTo>
                <a:cubicBezTo>
                  <a:pt x="3444609" y="765657"/>
                  <a:pt x="3443903" y="768128"/>
                  <a:pt x="3447082" y="768481"/>
                </a:cubicBezTo>
                <a:cubicBezTo>
                  <a:pt x="3454148" y="769893"/>
                  <a:pt x="3456978" y="774834"/>
                  <a:pt x="3456623" y="781187"/>
                </a:cubicBezTo>
                <a:cubicBezTo>
                  <a:pt x="3456270" y="785776"/>
                  <a:pt x="3457686" y="787894"/>
                  <a:pt x="3460868" y="789659"/>
                </a:cubicBezTo>
                <a:cubicBezTo>
                  <a:pt x="3460868" y="791071"/>
                  <a:pt x="3460868" y="792482"/>
                  <a:pt x="3460867" y="793894"/>
                </a:cubicBezTo>
                <a:cubicBezTo>
                  <a:pt x="3457331" y="796011"/>
                  <a:pt x="3456270" y="799894"/>
                  <a:pt x="3457331" y="803424"/>
                </a:cubicBezTo>
                <a:cubicBezTo>
                  <a:pt x="3459096" y="809777"/>
                  <a:pt x="3456978" y="814719"/>
                  <a:pt x="3452382" y="818955"/>
                </a:cubicBezTo>
                <a:cubicBezTo>
                  <a:pt x="3450617" y="820719"/>
                  <a:pt x="3448848" y="822131"/>
                  <a:pt x="3448142" y="824602"/>
                </a:cubicBezTo>
                <a:cubicBezTo>
                  <a:pt x="3447436" y="828485"/>
                  <a:pt x="3445315" y="830603"/>
                  <a:pt x="3441429" y="830249"/>
                </a:cubicBezTo>
                <a:cubicBezTo>
                  <a:pt x="3438601" y="830249"/>
                  <a:pt x="3436482" y="832014"/>
                  <a:pt x="3435420" y="833426"/>
                </a:cubicBezTo>
                <a:cubicBezTo>
                  <a:pt x="3429413" y="841897"/>
                  <a:pt x="3420577" y="837309"/>
                  <a:pt x="3413157" y="838368"/>
                </a:cubicBezTo>
                <a:cubicBezTo>
                  <a:pt x="3409977" y="838720"/>
                  <a:pt x="3403261" y="840486"/>
                  <a:pt x="3401849" y="838015"/>
                </a:cubicBezTo>
                <a:cubicBezTo>
                  <a:pt x="3397609" y="830956"/>
                  <a:pt x="3386651" y="833779"/>
                  <a:pt x="3384176" y="824249"/>
                </a:cubicBezTo>
                <a:cubicBezTo>
                  <a:pt x="3383469" y="821425"/>
                  <a:pt x="3378521" y="819660"/>
                  <a:pt x="3383116" y="815778"/>
                </a:cubicBezTo>
                <a:cubicBezTo>
                  <a:pt x="3384529" y="814719"/>
                  <a:pt x="3384176" y="812602"/>
                  <a:pt x="3382762" y="812248"/>
                </a:cubicBezTo>
                <a:cubicBezTo>
                  <a:pt x="3377107" y="810131"/>
                  <a:pt x="3377461" y="806953"/>
                  <a:pt x="3380993" y="802718"/>
                </a:cubicBezTo>
                <a:cubicBezTo>
                  <a:pt x="3382056" y="801307"/>
                  <a:pt x="3380642" y="799541"/>
                  <a:pt x="3379934" y="798129"/>
                </a:cubicBezTo>
                <a:cubicBezTo>
                  <a:pt x="3378521" y="796012"/>
                  <a:pt x="3378167" y="793894"/>
                  <a:pt x="3380289" y="792129"/>
                </a:cubicBezTo>
                <a:cubicBezTo>
                  <a:pt x="3382409" y="790364"/>
                  <a:pt x="3382057" y="788246"/>
                  <a:pt x="3382762" y="786129"/>
                </a:cubicBezTo>
                <a:cubicBezTo>
                  <a:pt x="3384529" y="780834"/>
                  <a:pt x="3386652" y="774128"/>
                  <a:pt x="3390539" y="771657"/>
                </a:cubicBezTo>
                <a:cubicBezTo>
                  <a:pt x="3399023" y="766362"/>
                  <a:pt x="3407150" y="760715"/>
                  <a:pt x="3415630" y="755773"/>
                </a:cubicBezTo>
                <a:close/>
                <a:moveTo>
                  <a:pt x="7889644" y="746337"/>
                </a:moveTo>
                <a:cubicBezTo>
                  <a:pt x="7895975" y="750025"/>
                  <a:pt x="7902042" y="754241"/>
                  <a:pt x="7908373" y="758192"/>
                </a:cubicBezTo>
                <a:cubicBezTo>
                  <a:pt x="7911275" y="760036"/>
                  <a:pt x="7912858" y="765043"/>
                  <a:pt x="7914177" y="768995"/>
                </a:cubicBezTo>
                <a:cubicBezTo>
                  <a:pt x="7914705" y="770575"/>
                  <a:pt x="7914440" y="772156"/>
                  <a:pt x="7916024" y="773474"/>
                </a:cubicBezTo>
                <a:cubicBezTo>
                  <a:pt x="7917606" y="774791"/>
                  <a:pt x="7917343" y="776371"/>
                  <a:pt x="7916287" y="777952"/>
                </a:cubicBezTo>
                <a:cubicBezTo>
                  <a:pt x="7915760" y="779006"/>
                  <a:pt x="7914704" y="780323"/>
                  <a:pt x="7915496" y="781376"/>
                </a:cubicBezTo>
                <a:cubicBezTo>
                  <a:pt x="7918134" y="784539"/>
                  <a:pt x="7918397" y="786909"/>
                  <a:pt x="7914177" y="788490"/>
                </a:cubicBezTo>
                <a:cubicBezTo>
                  <a:pt x="7913121" y="788753"/>
                  <a:pt x="7912858" y="790335"/>
                  <a:pt x="7913913" y="791125"/>
                </a:cubicBezTo>
                <a:cubicBezTo>
                  <a:pt x="7917342" y="794023"/>
                  <a:pt x="7913649" y="795340"/>
                  <a:pt x="7913121" y="797448"/>
                </a:cubicBezTo>
                <a:cubicBezTo>
                  <a:pt x="7911275" y="804561"/>
                  <a:pt x="7903097" y="802454"/>
                  <a:pt x="7899933" y="807723"/>
                </a:cubicBezTo>
                <a:cubicBezTo>
                  <a:pt x="7898877" y="809567"/>
                  <a:pt x="7893864" y="808249"/>
                  <a:pt x="7891491" y="807987"/>
                </a:cubicBezTo>
                <a:cubicBezTo>
                  <a:pt x="7885951" y="807195"/>
                  <a:pt x="7879356" y="810621"/>
                  <a:pt x="7874871" y="804297"/>
                </a:cubicBezTo>
                <a:cubicBezTo>
                  <a:pt x="7874080" y="803244"/>
                  <a:pt x="7872497" y="801927"/>
                  <a:pt x="7870387" y="801926"/>
                </a:cubicBezTo>
                <a:cubicBezTo>
                  <a:pt x="7867486" y="802190"/>
                  <a:pt x="7865902" y="800609"/>
                  <a:pt x="7865375" y="797711"/>
                </a:cubicBezTo>
                <a:cubicBezTo>
                  <a:pt x="7864847" y="795866"/>
                  <a:pt x="7863529" y="794814"/>
                  <a:pt x="7862209" y="793496"/>
                </a:cubicBezTo>
                <a:cubicBezTo>
                  <a:pt x="7858780" y="790335"/>
                  <a:pt x="7857198" y="786646"/>
                  <a:pt x="7858517" y="781904"/>
                </a:cubicBezTo>
                <a:cubicBezTo>
                  <a:pt x="7859308" y="779269"/>
                  <a:pt x="7858517" y="776372"/>
                  <a:pt x="7855879" y="774790"/>
                </a:cubicBezTo>
                <a:cubicBezTo>
                  <a:pt x="7855879" y="773737"/>
                  <a:pt x="7855879" y="772683"/>
                  <a:pt x="7855878" y="771629"/>
                </a:cubicBezTo>
                <a:cubicBezTo>
                  <a:pt x="7858253" y="770311"/>
                  <a:pt x="7859308" y="768731"/>
                  <a:pt x="7859044" y="765306"/>
                </a:cubicBezTo>
                <a:cubicBezTo>
                  <a:pt x="7858780" y="760564"/>
                  <a:pt x="7860891" y="756876"/>
                  <a:pt x="7866166" y="755821"/>
                </a:cubicBezTo>
                <a:cubicBezTo>
                  <a:pt x="7868541" y="755558"/>
                  <a:pt x="7868013" y="753714"/>
                  <a:pt x="7868013" y="752133"/>
                </a:cubicBezTo>
                <a:cubicBezTo>
                  <a:pt x="7868013" y="749499"/>
                  <a:pt x="7869068" y="748971"/>
                  <a:pt x="7871179" y="750816"/>
                </a:cubicBezTo>
                <a:cubicBezTo>
                  <a:pt x="7874344" y="753450"/>
                  <a:pt x="7876455" y="753451"/>
                  <a:pt x="7877246" y="748971"/>
                </a:cubicBezTo>
                <a:cubicBezTo>
                  <a:pt x="7877509" y="747918"/>
                  <a:pt x="7878301" y="746600"/>
                  <a:pt x="7879356" y="747918"/>
                </a:cubicBezTo>
                <a:cubicBezTo>
                  <a:pt x="7882785" y="751343"/>
                  <a:pt x="7885160" y="749235"/>
                  <a:pt x="7887798" y="746864"/>
                </a:cubicBezTo>
                <a:cubicBezTo>
                  <a:pt x="7888061" y="746338"/>
                  <a:pt x="7889116" y="746337"/>
                  <a:pt x="7889644" y="746337"/>
                </a:cubicBezTo>
                <a:close/>
                <a:moveTo>
                  <a:pt x="11361673" y="745523"/>
                </a:moveTo>
                <a:cubicBezTo>
                  <a:pt x="11364373" y="744890"/>
                  <a:pt x="11367252" y="745138"/>
                  <a:pt x="11370298" y="746778"/>
                </a:cubicBezTo>
                <a:cubicBezTo>
                  <a:pt x="11371112" y="747217"/>
                  <a:pt x="11371735" y="747030"/>
                  <a:pt x="11372388" y="745818"/>
                </a:cubicBezTo>
                <a:cubicBezTo>
                  <a:pt x="11375232" y="747349"/>
                  <a:pt x="11377670" y="748662"/>
                  <a:pt x="11380512" y="750194"/>
                </a:cubicBezTo>
                <a:cubicBezTo>
                  <a:pt x="11381018" y="754119"/>
                  <a:pt x="11385299" y="755902"/>
                  <a:pt x="11387053" y="759456"/>
                </a:cubicBezTo>
                <a:cubicBezTo>
                  <a:pt x="11388807" y="763009"/>
                  <a:pt x="11390372" y="765939"/>
                  <a:pt x="11389224" y="770017"/>
                </a:cubicBezTo>
                <a:cubicBezTo>
                  <a:pt x="11387452" y="774279"/>
                  <a:pt x="11387522" y="779013"/>
                  <a:pt x="11387810" y="783341"/>
                </a:cubicBezTo>
                <a:cubicBezTo>
                  <a:pt x="11387882" y="788075"/>
                  <a:pt x="11387545" y="792589"/>
                  <a:pt x="11387833" y="796919"/>
                </a:cubicBezTo>
                <a:cubicBezTo>
                  <a:pt x="11387498" y="801433"/>
                  <a:pt x="11389005" y="806418"/>
                  <a:pt x="11391978" y="810628"/>
                </a:cubicBezTo>
                <a:cubicBezTo>
                  <a:pt x="11389364" y="815481"/>
                  <a:pt x="11386750" y="820333"/>
                  <a:pt x="11384136" y="825185"/>
                </a:cubicBezTo>
                <a:cubicBezTo>
                  <a:pt x="11381045" y="825086"/>
                  <a:pt x="11378955" y="826047"/>
                  <a:pt x="11376212" y="828221"/>
                </a:cubicBezTo>
                <a:cubicBezTo>
                  <a:pt x="11372845" y="830581"/>
                  <a:pt x="11367881" y="831037"/>
                  <a:pt x="11364226" y="829068"/>
                </a:cubicBezTo>
                <a:cubicBezTo>
                  <a:pt x="11360570" y="827099"/>
                  <a:pt x="11356886" y="826157"/>
                  <a:pt x="11352793" y="824996"/>
                </a:cubicBezTo>
                <a:cubicBezTo>
                  <a:pt x="11348603" y="820130"/>
                  <a:pt x="11345254" y="814673"/>
                  <a:pt x="11346707" y="807109"/>
                </a:cubicBezTo>
                <a:cubicBezTo>
                  <a:pt x="11346954" y="805678"/>
                  <a:pt x="11344953" y="803556"/>
                  <a:pt x="11346666" y="801349"/>
                </a:cubicBezTo>
                <a:cubicBezTo>
                  <a:pt x="11351371" y="795536"/>
                  <a:pt x="11347585" y="790888"/>
                  <a:pt x="11344177" y="787487"/>
                </a:cubicBezTo>
                <a:cubicBezTo>
                  <a:pt x="11341769" y="785146"/>
                  <a:pt x="11340798" y="783058"/>
                  <a:pt x="11340044" y="780565"/>
                </a:cubicBezTo>
                <a:cubicBezTo>
                  <a:pt x="11337566" y="773491"/>
                  <a:pt x="11341240" y="767645"/>
                  <a:pt x="11343071" y="761327"/>
                </a:cubicBezTo>
                <a:cubicBezTo>
                  <a:pt x="11345090" y="755633"/>
                  <a:pt x="11349706" y="752901"/>
                  <a:pt x="11354133" y="749548"/>
                </a:cubicBezTo>
                <a:cubicBezTo>
                  <a:pt x="11356455" y="747668"/>
                  <a:pt x="11358975" y="746156"/>
                  <a:pt x="11361673" y="745523"/>
                </a:cubicBezTo>
                <a:close/>
                <a:moveTo>
                  <a:pt x="3522833" y="739710"/>
                </a:moveTo>
                <a:lnTo>
                  <a:pt x="3523031" y="740040"/>
                </a:lnTo>
                <a:lnTo>
                  <a:pt x="3522603" y="739939"/>
                </a:lnTo>
                <a:close/>
                <a:moveTo>
                  <a:pt x="3919363" y="727256"/>
                </a:moveTo>
                <a:lnTo>
                  <a:pt x="3919276" y="727532"/>
                </a:lnTo>
                <a:lnTo>
                  <a:pt x="3918982" y="727353"/>
                </a:lnTo>
                <a:close/>
                <a:moveTo>
                  <a:pt x="9916027" y="722342"/>
                </a:moveTo>
                <a:cubicBezTo>
                  <a:pt x="9922108" y="727515"/>
                  <a:pt x="9928508" y="726216"/>
                  <a:pt x="9934832" y="723293"/>
                </a:cubicBezTo>
                <a:cubicBezTo>
                  <a:pt x="9937740" y="722011"/>
                  <a:pt x="9939874" y="721578"/>
                  <a:pt x="9942270" y="724768"/>
                </a:cubicBezTo>
                <a:cubicBezTo>
                  <a:pt x="9945008" y="729092"/>
                  <a:pt x="9949747" y="729112"/>
                  <a:pt x="9954392" y="728133"/>
                </a:cubicBezTo>
                <a:cubicBezTo>
                  <a:pt x="9958282" y="727380"/>
                  <a:pt x="9962435" y="726135"/>
                  <a:pt x="9966324" y="725382"/>
                </a:cubicBezTo>
                <a:cubicBezTo>
                  <a:pt x="9968202" y="725128"/>
                  <a:pt x="9969789" y="725270"/>
                  <a:pt x="9970717" y="726046"/>
                </a:cubicBezTo>
                <a:cubicBezTo>
                  <a:pt x="9971644" y="726824"/>
                  <a:pt x="9971913" y="728234"/>
                  <a:pt x="9971157" y="730518"/>
                </a:cubicBezTo>
                <a:cubicBezTo>
                  <a:pt x="9970629" y="731499"/>
                  <a:pt x="9970346" y="732612"/>
                  <a:pt x="9970308" y="733858"/>
                </a:cubicBezTo>
                <a:cubicBezTo>
                  <a:pt x="9970139" y="735350"/>
                  <a:pt x="9969082" y="737312"/>
                  <a:pt x="9970667" y="738483"/>
                </a:cubicBezTo>
                <a:cubicBezTo>
                  <a:pt x="9972139" y="739276"/>
                  <a:pt x="9973782" y="738579"/>
                  <a:pt x="9975048" y="737993"/>
                </a:cubicBezTo>
                <a:cubicBezTo>
                  <a:pt x="9980975" y="735807"/>
                  <a:pt x="9982316" y="736845"/>
                  <a:pt x="9981750" y="743187"/>
                </a:cubicBezTo>
                <a:cubicBezTo>
                  <a:pt x="9981580" y="744678"/>
                  <a:pt x="9981296" y="745791"/>
                  <a:pt x="9981505" y="747170"/>
                </a:cubicBezTo>
                <a:cubicBezTo>
                  <a:pt x="9981693" y="749170"/>
                  <a:pt x="9982014" y="750926"/>
                  <a:pt x="9984997" y="751267"/>
                </a:cubicBezTo>
                <a:cubicBezTo>
                  <a:pt x="9987867" y="751230"/>
                  <a:pt x="9988396" y="750249"/>
                  <a:pt x="9988963" y="748022"/>
                </a:cubicBezTo>
                <a:lnTo>
                  <a:pt x="9990547" y="744089"/>
                </a:lnTo>
                <a:lnTo>
                  <a:pt x="9999453" y="773502"/>
                </a:lnTo>
                <a:lnTo>
                  <a:pt x="9997515" y="774469"/>
                </a:lnTo>
                <a:cubicBezTo>
                  <a:pt x="9995835" y="776413"/>
                  <a:pt x="9995780" y="778281"/>
                  <a:pt x="9997213" y="780320"/>
                </a:cubicBezTo>
                <a:cubicBezTo>
                  <a:pt x="9998290" y="781849"/>
                  <a:pt x="9999499" y="783134"/>
                  <a:pt x="10000574" y="784663"/>
                </a:cubicBezTo>
                <a:cubicBezTo>
                  <a:pt x="10002369" y="787211"/>
                  <a:pt x="10002425" y="789458"/>
                  <a:pt x="10000349" y="792137"/>
                </a:cubicBezTo>
                <a:cubicBezTo>
                  <a:pt x="9994118" y="800175"/>
                  <a:pt x="9994005" y="808028"/>
                  <a:pt x="9999744" y="816183"/>
                </a:cubicBezTo>
                <a:cubicBezTo>
                  <a:pt x="10000575" y="817580"/>
                  <a:pt x="10003407" y="818790"/>
                  <a:pt x="10001727" y="820733"/>
                </a:cubicBezTo>
                <a:cubicBezTo>
                  <a:pt x="10000293" y="822809"/>
                  <a:pt x="9997820" y="822110"/>
                  <a:pt x="9995478" y="821165"/>
                </a:cubicBezTo>
                <a:cubicBezTo>
                  <a:pt x="9995233" y="821033"/>
                  <a:pt x="9994987" y="820901"/>
                  <a:pt x="9994741" y="820768"/>
                </a:cubicBezTo>
                <a:cubicBezTo>
                  <a:pt x="9988322" y="818576"/>
                  <a:pt x="9985151" y="820349"/>
                  <a:pt x="9985585" y="826596"/>
                </a:cubicBezTo>
                <a:cubicBezTo>
                  <a:pt x="9985907" y="832467"/>
                  <a:pt x="9983319" y="835505"/>
                  <a:pt x="9978883" y="837862"/>
                </a:cubicBezTo>
                <a:cubicBezTo>
                  <a:pt x="9973049" y="841050"/>
                  <a:pt x="9967819" y="844879"/>
                  <a:pt x="9965987" y="851806"/>
                </a:cubicBezTo>
                <a:cubicBezTo>
                  <a:pt x="9965271" y="854901"/>
                  <a:pt x="9961909" y="854673"/>
                  <a:pt x="9959927" y="854238"/>
                </a:cubicBezTo>
                <a:cubicBezTo>
                  <a:pt x="9952357" y="853008"/>
                  <a:pt x="9947165" y="855592"/>
                  <a:pt x="9942993" y="861574"/>
                </a:cubicBezTo>
                <a:cubicBezTo>
                  <a:pt x="9940386" y="865234"/>
                  <a:pt x="9938518" y="865177"/>
                  <a:pt x="9935912" y="860609"/>
                </a:cubicBezTo>
                <a:cubicBezTo>
                  <a:pt x="9930342" y="850961"/>
                  <a:pt x="9916087" y="848029"/>
                  <a:pt x="9907781" y="854633"/>
                </a:cubicBezTo>
                <a:cubicBezTo>
                  <a:pt x="9906118" y="855953"/>
                  <a:pt x="9903947" y="857633"/>
                  <a:pt x="9904872" y="860029"/>
                </a:cubicBezTo>
                <a:cubicBezTo>
                  <a:pt x="9905799" y="862427"/>
                  <a:pt x="9907856" y="864485"/>
                  <a:pt x="9910857" y="864204"/>
                </a:cubicBezTo>
                <a:cubicBezTo>
                  <a:pt x="9912728" y="864261"/>
                  <a:pt x="9914860" y="863828"/>
                  <a:pt x="9916861" y="863640"/>
                </a:cubicBezTo>
                <a:cubicBezTo>
                  <a:pt x="9918995" y="863207"/>
                  <a:pt x="9920865" y="863263"/>
                  <a:pt x="9921299" y="865397"/>
                </a:cubicBezTo>
                <a:cubicBezTo>
                  <a:pt x="9921847" y="867908"/>
                  <a:pt x="9920072" y="868850"/>
                  <a:pt x="9918184" y="869416"/>
                </a:cubicBezTo>
                <a:cubicBezTo>
                  <a:pt x="9916542" y="870114"/>
                  <a:pt x="9914540" y="870302"/>
                  <a:pt x="9913030" y="870754"/>
                </a:cubicBezTo>
                <a:cubicBezTo>
                  <a:pt x="9909631" y="871771"/>
                  <a:pt x="9906818" y="874054"/>
                  <a:pt x="9907705" y="877698"/>
                </a:cubicBezTo>
                <a:cubicBezTo>
                  <a:pt x="9908612" y="880719"/>
                  <a:pt x="9912368" y="880210"/>
                  <a:pt x="9915126" y="879796"/>
                </a:cubicBezTo>
                <a:cubicBezTo>
                  <a:pt x="9917504" y="879495"/>
                  <a:pt x="9919920" y="877948"/>
                  <a:pt x="9922526" y="878402"/>
                </a:cubicBezTo>
                <a:cubicBezTo>
                  <a:pt x="9926378" y="878894"/>
                  <a:pt x="9928077" y="880443"/>
                  <a:pt x="9925717" y="884236"/>
                </a:cubicBezTo>
                <a:cubicBezTo>
                  <a:pt x="9922564" y="889500"/>
                  <a:pt x="9917976" y="892726"/>
                  <a:pt x="9912785" y="895311"/>
                </a:cubicBezTo>
                <a:cubicBezTo>
                  <a:pt x="9906195" y="898724"/>
                  <a:pt x="9904365" y="901535"/>
                  <a:pt x="9905517" y="908803"/>
                </a:cubicBezTo>
                <a:cubicBezTo>
                  <a:pt x="9905686" y="911426"/>
                  <a:pt x="9906724" y="914201"/>
                  <a:pt x="9907517" y="916845"/>
                </a:cubicBezTo>
                <a:cubicBezTo>
                  <a:pt x="9907858" y="917977"/>
                  <a:pt x="9908689" y="919374"/>
                  <a:pt x="9907536" y="920336"/>
                </a:cubicBezTo>
                <a:cubicBezTo>
                  <a:pt x="9906253" y="921543"/>
                  <a:pt x="9904894" y="921128"/>
                  <a:pt x="9904043" y="920353"/>
                </a:cubicBezTo>
                <a:cubicBezTo>
                  <a:pt x="9900154" y="916992"/>
                  <a:pt x="9898115" y="918426"/>
                  <a:pt x="9896246" y="922484"/>
                </a:cubicBezTo>
                <a:cubicBezTo>
                  <a:pt x="9893848" y="927522"/>
                  <a:pt x="9888807" y="929238"/>
                  <a:pt x="9883917" y="930085"/>
                </a:cubicBezTo>
                <a:cubicBezTo>
                  <a:pt x="9880028" y="930838"/>
                  <a:pt x="9878858" y="932424"/>
                  <a:pt x="9880501" y="935840"/>
                </a:cubicBezTo>
                <a:cubicBezTo>
                  <a:pt x="9881444" y="937616"/>
                  <a:pt x="9881898" y="939126"/>
                  <a:pt x="9880349" y="940823"/>
                </a:cubicBezTo>
                <a:cubicBezTo>
                  <a:pt x="9878405" y="943258"/>
                  <a:pt x="9876705" y="941710"/>
                  <a:pt x="9874724" y="941274"/>
                </a:cubicBezTo>
                <a:cubicBezTo>
                  <a:pt x="9873610" y="940991"/>
                  <a:pt x="9872383" y="940329"/>
                  <a:pt x="9871023" y="939914"/>
                </a:cubicBezTo>
                <a:cubicBezTo>
                  <a:pt x="9863999" y="937079"/>
                  <a:pt x="9860545" y="939967"/>
                  <a:pt x="9861432" y="947724"/>
                </a:cubicBezTo>
                <a:cubicBezTo>
                  <a:pt x="9861526" y="948724"/>
                  <a:pt x="9861752" y="949479"/>
                  <a:pt x="9861601" y="950347"/>
                </a:cubicBezTo>
                <a:cubicBezTo>
                  <a:pt x="9861545" y="952216"/>
                  <a:pt x="9860978" y="954444"/>
                  <a:pt x="9858977" y="954631"/>
                </a:cubicBezTo>
                <a:cubicBezTo>
                  <a:pt x="9857221" y="954951"/>
                  <a:pt x="9856033" y="953045"/>
                  <a:pt x="9855578" y="951535"/>
                </a:cubicBezTo>
                <a:cubicBezTo>
                  <a:pt x="9855125" y="950025"/>
                  <a:pt x="9854919" y="948647"/>
                  <a:pt x="9854842" y="947023"/>
                </a:cubicBezTo>
                <a:cubicBezTo>
                  <a:pt x="9854294" y="944513"/>
                  <a:pt x="9853087" y="943228"/>
                  <a:pt x="9850330" y="943643"/>
                </a:cubicBezTo>
                <a:cubicBezTo>
                  <a:pt x="9843948" y="944320"/>
                  <a:pt x="9838529" y="942033"/>
                  <a:pt x="9833244" y="939502"/>
                </a:cubicBezTo>
                <a:cubicBezTo>
                  <a:pt x="9826843" y="936687"/>
                  <a:pt x="9820858" y="932514"/>
                  <a:pt x="9813928" y="930680"/>
                </a:cubicBezTo>
                <a:cubicBezTo>
                  <a:pt x="9811456" y="929981"/>
                  <a:pt x="9811022" y="927848"/>
                  <a:pt x="9810700" y="926092"/>
                </a:cubicBezTo>
                <a:cubicBezTo>
                  <a:pt x="9809378" y="920316"/>
                  <a:pt x="9808301" y="914672"/>
                  <a:pt x="9801108" y="913329"/>
                </a:cubicBezTo>
                <a:cubicBezTo>
                  <a:pt x="9799749" y="912913"/>
                  <a:pt x="9799541" y="911535"/>
                  <a:pt x="9799579" y="910289"/>
                </a:cubicBezTo>
                <a:cubicBezTo>
                  <a:pt x="9799522" y="903928"/>
                  <a:pt x="9797218" y="897623"/>
                  <a:pt x="9795783" y="891470"/>
                </a:cubicBezTo>
                <a:cubicBezTo>
                  <a:pt x="9793574" y="882050"/>
                  <a:pt x="9794216" y="873217"/>
                  <a:pt x="9801050" y="865820"/>
                </a:cubicBezTo>
                <a:cubicBezTo>
                  <a:pt x="9803637" y="862782"/>
                  <a:pt x="9802863" y="859517"/>
                  <a:pt x="9801956" y="856497"/>
                </a:cubicBezTo>
                <a:cubicBezTo>
                  <a:pt x="9800049" y="849455"/>
                  <a:pt x="9801616" y="847134"/>
                  <a:pt x="9808508" y="846099"/>
                </a:cubicBezTo>
                <a:cubicBezTo>
                  <a:pt x="9815889" y="845329"/>
                  <a:pt x="9815889" y="845329"/>
                  <a:pt x="9814379" y="837551"/>
                </a:cubicBezTo>
                <a:cubicBezTo>
                  <a:pt x="9814058" y="835796"/>
                  <a:pt x="9813850" y="834418"/>
                  <a:pt x="9816116" y="833739"/>
                </a:cubicBezTo>
                <a:cubicBezTo>
                  <a:pt x="9824065" y="830741"/>
                  <a:pt x="9831523" y="827479"/>
                  <a:pt x="9839583" y="824859"/>
                </a:cubicBezTo>
                <a:cubicBezTo>
                  <a:pt x="9845512" y="822671"/>
                  <a:pt x="9851629" y="822485"/>
                  <a:pt x="9857690" y="824167"/>
                </a:cubicBezTo>
                <a:cubicBezTo>
                  <a:pt x="9861656" y="825037"/>
                  <a:pt x="9873040" y="819776"/>
                  <a:pt x="9875267" y="816229"/>
                </a:cubicBezTo>
                <a:cubicBezTo>
                  <a:pt x="9875928" y="815001"/>
                  <a:pt x="9876456" y="814020"/>
                  <a:pt x="9875248" y="812737"/>
                </a:cubicBezTo>
                <a:cubicBezTo>
                  <a:pt x="9869489" y="805202"/>
                  <a:pt x="9869377" y="796596"/>
                  <a:pt x="9870019" y="787763"/>
                </a:cubicBezTo>
                <a:cubicBezTo>
                  <a:pt x="9870074" y="785894"/>
                  <a:pt x="9870245" y="784403"/>
                  <a:pt x="9870168" y="782780"/>
                </a:cubicBezTo>
                <a:cubicBezTo>
                  <a:pt x="9869829" y="777533"/>
                  <a:pt x="9870452" y="773437"/>
                  <a:pt x="9874814" y="769456"/>
                </a:cubicBezTo>
                <a:cubicBezTo>
                  <a:pt x="9879174" y="765475"/>
                  <a:pt x="9879117" y="759114"/>
                  <a:pt x="9879042" y="753376"/>
                </a:cubicBezTo>
                <a:cubicBezTo>
                  <a:pt x="9879249" y="750640"/>
                  <a:pt x="9879552" y="748903"/>
                  <a:pt x="9882458" y="747621"/>
                </a:cubicBezTo>
                <a:cubicBezTo>
                  <a:pt x="9894354" y="742001"/>
                  <a:pt x="9905059" y="734474"/>
                  <a:pt x="9912515" y="722982"/>
                </a:cubicBezTo>
                <a:cubicBezTo>
                  <a:pt x="9913686" y="721397"/>
                  <a:pt x="9914573" y="720925"/>
                  <a:pt x="9916027" y="722342"/>
                </a:cubicBezTo>
                <a:close/>
                <a:moveTo>
                  <a:pt x="1070860" y="706138"/>
                </a:moveTo>
                <a:cubicBezTo>
                  <a:pt x="1075595" y="704426"/>
                  <a:pt x="1081467" y="705858"/>
                  <a:pt x="1085086" y="709287"/>
                </a:cubicBezTo>
                <a:cubicBezTo>
                  <a:pt x="1087990" y="712383"/>
                  <a:pt x="1090325" y="713908"/>
                  <a:pt x="1094051" y="714338"/>
                </a:cubicBezTo>
                <a:cubicBezTo>
                  <a:pt x="1096322" y="720624"/>
                  <a:pt x="1098595" y="726909"/>
                  <a:pt x="1100866" y="733194"/>
                </a:cubicBezTo>
                <a:cubicBezTo>
                  <a:pt x="1096552" y="737715"/>
                  <a:pt x="1093858" y="743427"/>
                  <a:pt x="1093457" y="748901"/>
                </a:cubicBezTo>
                <a:cubicBezTo>
                  <a:pt x="1092342" y="754043"/>
                  <a:pt x="1091940" y="759518"/>
                  <a:pt x="1091013" y="765183"/>
                </a:cubicBezTo>
                <a:cubicBezTo>
                  <a:pt x="1089897" y="770325"/>
                  <a:pt x="1088970" y="775989"/>
                  <a:pt x="1090338" y="781417"/>
                </a:cubicBezTo>
                <a:cubicBezTo>
                  <a:pt x="1090990" y="786512"/>
                  <a:pt x="1088590" y="789748"/>
                  <a:pt x="1085854" y="793698"/>
                </a:cubicBezTo>
                <a:cubicBezTo>
                  <a:pt x="1083117" y="797648"/>
                  <a:pt x="1077666" y="799026"/>
                  <a:pt x="1076362" y="803644"/>
                </a:cubicBezTo>
                <a:cubicBezTo>
                  <a:pt x="1072678" y="804976"/>
                  <a:pt x="1069522" y="806117"/>
                  <a:pt x="1065838" y="807448"/>
                </a:cubicBezTo>
                <a:cubicBezTo>
                  <a:pt x="1065270" y="805876"/>
                  <a:pt x="1064554" y="805543"/>
                  <a:pt x="1063503" y="805924"/>
                </a:cubicBezTo>
                <a:cubicBezTo>
                  <a:pt x="1055611" y="808776"/>
                  <a:pt x="1049508" y="805060"/>
                  <a:pt x="1044605" y="799725"/>
                </a:cubicBezTo>
                <a:cubicBezTo>
                  <a:pt x="1039892" y="794915"/>
                  <a:pt x="1034841" y="790818"/>
                  <a:pt x="1033431" y="783628"/>
                </a:cubicBezTo>
                <a:cubicBezTo>
                  <a:pt x="1032360" y="775725"/>
                  <a:pt x="1028993" y="768058"/>
                  <a:pt x="1033224" y="760014"/>
                </a:cubicBezTo>
                <a:cubicBezTo>
                  <a:pt x="1034571" y="757159"/>
                  <a:pt x="1036109" y="754826"/>
                  <a:pt x="1039413" y="752447"/>
                </a:cubicBezTo>
                <a:cubicBezTo>
                  <a:pt x="1044105" y="748975"/>
                  <a:pt x="1049474" y="744073"/>
                  <a:pt x="1044865" y="736263"/>
                </a:cubicBezTo>
                <a:cubicBezTo>
                  <a:pt x="1043203" y="733310"/>
                  <a:pt x="1045981" y="731122"/>
                  <a:pt x="1045939" y="729360"/>
                </a:cubicBezTo>
                <a:cubicBezTo>
                  <a:pt x="1045542" y="720028"/>
                  <a:pt x="1050530" y="714080"/>
                  <a:pt x="1056422" y="708989"/>
                </a:cubicBezTo>
                <a:cubicBezTo>
                  <a:pt x="1061537" y="708324"/>
                  <a:pt x="1066125" y="707850"/>
                  <a:pt x="1070860" y="706138"/>
                </a:cubicBezTo>
                <a:close/>
                <a:moveTo>
                  <a:pt x="10521196" y="704686"/>
                </a:moveTo>
                <a:cubicBezTo>
                  <a:pt x="10522697" y="701898"/>
                  <a:pt x="10524114" y="701941"/>
                  <a:pt x="10525297" y="705096"/>
                </a:cubicBezTo>
                <a:cubicBezTo>
                  <a:pt x="10527145" y="709689"/>
                  <a:pt x="10529378" y="710893"/>
                  <a:pt x="10532770" y="706604"/>
                </a:cubicBezTo>
                <a:cubicBezTo>
                  <a:pt x="10533650" y="705639"/>
                  <a:pt x="10535237" y="704696"/>
                  <a:pt x="10535603" y="706692"/>
                </a:cubicBezTo>
                <a:cubicBezTo>
                  <a:pt x="10537281" y="712271"/>
                  <a:pt x="10540995" y="711395"/>
                  <a:pt x="10545137" y="710388"/>
                </a:cubicBezTo>
                <a:cubicBezTo>
                  <a:pt x="10545718" y="709982"/>
                  <a:pt x="10546833" y="710583"/>
                  <a:pt x="10547392" y="710884"/>
                </a:cubicBezTo>
                <a:cubicBezTo>
                  <a:pt x="10551990" y="718397"/>
                  <a:pt x="10556007" y="726317"/>
                  <a:pt x="10560454" y="734109"/>
                </a:cubicBezTo>
                <a:cubicBezTo>
                  <a:pt x="10562474" y="737714"/>
                  <a:pt x="10561295" y="743915"/>
                  <a:pt x="10560438" y="748848"/>
                </a:cubicBezTo>
                <a:cubicBezTo>
                  <a:pt x="10560095" y="750822"/>
                  <a:pt x="10558914" y="752345"/>
                  <a:pt x="10559839" y="754641"/>
                </a:cubicBezTo>
                <a:cubicBezTo>
                  <a:pt x="10560763" y="756938"/>
                  <a:pt x="10559582" y="758459"/>
                  <a:pt x="10557565" y="759531"/>
                </a:cubicBezTo>
                <a:cubicBezTo>
                  <a:pt x="10556405" y="760346"/>
                  <a:pt x="10554537" y="761139"/>
                  <a:pt x="10554774" y="762705"/>
                </a:cubicBezTo>
                <a:cubicBezTo>
                  <a:pt x="10555763" y="767554"/>
                  <a:pt x="10554691" y="770214"/>
                  <a:pt x="10549323" y="769481"/>
                </a:cubicBezTo>
                <a:cubicBezTo>
                  <a:pt x="10548056" y="769158"/>
                  <a:pt x="10546877" y="770680"/>
                  <a:pt x="10547543" y="772118"/>
                </a:cubicBezTo>
                <a:cubicBezTo>
                  <a:pt x="10549519" y="777140"/>
                  <a:pt x="10544860" y="776429"/>
                  <a:pt x="10543100" y="778358"/>
                </a:cubicBezTo>
                <a:cubicBezTo>
                  <a:pt x="10537090" y="784834"/>
                  <a:pt x="10529638" y="777942"/>
                  <a:pt x="10523283" y="781713"/>
                </a:cubicBezTo>
                <a:cubicBezTo>
                  <a:pt x="10521116" y="783063"/>
                  <a:pt x="10516562" y="778811"/>
                  <a:pt x="10514200" y="777179"/>
                </a:cubicBezTo>
                <a:cubicBezTo>
                  <a:pt x="10508789" y="773185"/>
                  <a:pt x="10499857" y="773050"/>
                  <a:pt x="10498715" y="763802"/>
                </a:cubicBezTo>
                <a:cubicBezTo>
                  <a:pt x="10498478" y="762235"/>
                  <a:pt x="10497554" y="759938"/>
                  <a:pt x="10495321" y="758735"/>
                </a:cubicBezTo>
                <a:cubicBezTo>
                  <a:pt x="10492100" y="757360"/>
                  <a:pt x="10491326" y="754785"/>
                  <a:pt x="10492419" y="751417"/>
                </a:cubicBezTo>
                <a:cubicBezTo>
                  <a:pt x="10492913" y="749164"/>
                  <a:pt x="10492117" y="747297"/>
                  <a:pt x="10491474" y="745152"/>
                </a:cubicBezTo>
                <a:cubicBezTo>
                  <a:pt x="10489647" y="739850"/>
                  <a:pt x="10490074" y="735045"/>
                  <a:pt x="10494173" y="730778"/>
                </a:cubicBezTo>
                <a:cubicBezTo>
                  <a:pt x="10496512" y="728442"/>
                  <a:pt x="10497327" y="724923"/>
                  <a:pt x="10495437" y="721746"/>
                </a:cubicBezTo>
                <a:cubicBezTo>
                  <a:pt x="10496038" y="720631"/>
                  <a:pt x="10496638" y="719516"/>
                  <a:pt x="10497240" y="718400"/>
                </a:cubicBezTo>
                <a:cubicBezTo>
                  <a:pt x="10500502" y="718360"/>
                  <a:pt x="10502520" y="717288"/>
                  <a:pt x="10504195" y="713514"/>
                </a:cubicBezTo>
                <a:cubicBezTo>
                  <a:pt x="10506618" y="708344"/>
                  <a:pt x="10510955" y="705644"/>
                  <a:pt x="10517138" y="707537"/>
                </a:cubicBezTo>
                <a:cubicBezTo>
                  <a:pt x="10519801" y="708611"/>
                  <a:pt x="10520294" y="706359"/>
                  <a:pt x="10521196" y="704686"/>
                </a:cubicBezTo>
                <a:close/>
                <a:moveTo>
                  <a:pt x="9700273" y="700001"/>
                </a:moveTo>
                <a:cubicBezTo>
                  <a:pt x="9701550" y="699717"/>
                  <a:pt x="9702260" y="700568"/>
                  <a:pt x="9702828" y="701277"/>
                </a:cubicBezTo>
                <a:cubicBezTo>
                  <a:pt x="9704815" y="703547"/>
                  <a:pt x="9706661" y="705818"/>
                  <a:pt x="9710209" y="704682"/>
                </a:cubicBezTo>
                <a:cubicBezTo>
                  <a:pt x="9710918" y="704540"/>
                  <a:pt x="9711344" y="705108"/>
                  <a:pt x="9711629" y="705676"/>
                </a:cubicBezTo>
                <a:cubicBezTo>
                  <a:pt x="9713190" y="708513"/>
                  <a:pt x="9715745" y="710783"/>
                  <a:pt x="9717875" y="713194"/>
                </a:cubicBezTo>
                <a:cubicBezTo>
                  <a:pt x="9721140" y="716883"/>
                  <a:pt x="9722984" y="720998"/>
                  <a:pt x="9721706" y="725963"/>
                </a:cubicBezTo>
                <a:cubicBezTo>
                  <a:pt x="9721281" y="727950"/>
                  <a:pt x="9722417" y="729226"/>
                  <a:pt x="9723553" y="730361"/>
                </a:cubicBezTo>
                <a:cubicBezTo>
                  <a:pt x="9726107" y="733057"/>
                  <a:pt x="9725965" y="734476"/>
                  <a:pt x="9723126" y="736604"/>
                </a:cubicBezTo>
                <a:cubicBezTo>
                  <a:pt x="9720003" y="738732"/>
                  <a:pt x="9720003" y="738732"/>
                  <a:pt x="9722558" y="741853"/>
                </a:cubicBezTo>
                <a:cubicBezTo>
                  <a:pt x="9723127" y="742563"/>
                  <a:pt x="9723553" y="743130"/>
                  <a:pt x="9722701" y="743981"/>
                </a:cubicBezTo>
                <a:cubicBezTo>
                  <a:pt x="9719862" y="747244"/>
                  <a:pt x="9717307" y="750507"/>
                  <a:pt x="9714325" y="753628"/>
                </a:cubicBezTo>
                <a:cubicBezTo>
                  <a:pt x="9712196" y="756041"/>
                  <a:pt x="9709499" y="757600"/>
                  <a:pt x="9706377" y="758311"/>
                </a:cubicBezTo>
                <a:cubicBezTo>
                  <a:pt x="9704389" y="758878"/>
                  <a:pt x="9700557" y="763985"/>
                  <a:pt x="9700414" y="766113"/>
                </a:cubicBezTo>
                <a:cubicBezTo>
                  <a:pt x="9700414" y="766823"/>
                  <a:pt x="9700414" y="767390"/>
                  <a:pt x="9701267" y="767674"/>
                </a:cubicBezTo>
                <a:cubicBezTo>
                  <a:pt x="9705666" y="769660"/>
                  <a:pt x="9707796" y="773491"/>
                  <a:pt x="9709641" y="777604"/>
                </a:cubicBezTo>
                <a:cubicBezTo>
                  <a:pt x="9710068" y="778456"/>
                  <a:pt x="9710351" y="779165"/>
                  <a:pt x="9710777" y="779874"/>
                </a:cubicBezTo>
                <a:cubicBezTo>
                  <a:pt x="9712197" y="782145"/>
                  <a:pt x="9712906" y="784131"/>
                  <a:pt x="9711912" y="786968"/>
                </a:cubicBezTo>
                <a:cubicBezTo>
                  <a:pt x="9710918" y="789806"/>
                  <a:pt x="9712480" y="792644"/>
                  <a:pt x="9713900" y="795197"/>
                </a:cubicBezTo>
                <a:cubicBezTo>
                  <a:pt x="9714467" y="796474"/>
                  <a:pt x="9714752" y="797325"/>
                  <a:pt x="9713757" y="798602"/>
                </a:cubicBezTo>
                <a:cubicBezTo>
                  <a:pt x="9709784" y="803993"/>
                  <a:pt x="9706803" y="809952"/>
                  <a:pt x="9706234" y="816903"/>
                </a:cubicBezTo>
                <a:cubicBezTo>
                  <a:pt x="9706093" y="817897"/>
                  <a:pt x="9705808" y="818322"/>
                  <a:pt x="9704815" y="818038"/>
                </a:cubicBezTo>
                <a:cubicBezTo>
                  <a:pt x="9700841" y="817187"/>
                  <a:pt x="9698286" y="819316"/>
                  <a:pt x="9696156" y="822153"/>
                </a:cubicBezTo>
                <a:cubicBezTo>
                  <a:pt x="9695163" y="823430"/>
                  <a:pt x="9694311" y="824139"/>
                  <a:pt x="9692466" y="823288"/>
                </a:cubicBezTo>
                <a:cubicBezTo>
                  <a:pt x="9690194" y="822011"/>
                  <a:pt x="9688065" y="823146"/>
                  <a:pt x="9686220" y="824706"/>
                </a:cubicBezTo>
                <a:cubicBezTo>
                  <a:pt x="9684659" y="825983"/>
                  <a:pt x="9683097" y="827544"/>
                  <a:pt x="9681536" y="828821"/>
                </a:cubicBezTo>
                <a:cubicBezTo>
                  <a:pt x="9680756" y="829389"/>
                  <a:pt x="9680010" y="829708"/>
                  <a:pt x="9679408" y="829584"/>
                </a:cubicBezTo>
                <a:cubicBezTo>
                  <a:pt x="9678803" y="829460"/>
                  <a:pt x="9678343" y="828892"/>
                  <a:pt x="9678129" y="827686"/>
                </a:cubicBezTo>
                <a:cubicBezTo>
                  <a:pt x="9678129" y="827118"/>
                  <a:pt x="9677987" y="826551"/>
                  <a:pt x="9677704" y="825984"/>
                </a:cubicBezTo>
                <a:cubicBezTo>
                  <a:pt x="9677419" y="825274"/>
                  <a:pt x="9677419" y="824139"/>
                  <a:pt x="9676427" y="823997"/>
                </a:cubicBezTo>
                <a:cubicBezTo>
                  <a:pt x="9675574" y="823998"/>
                  <a:pt x="9675006" y="824706"/>
                  <a:pt x="9674580" y="825274"/>
                </a:cubicBezTo>
                <a:cubicBezTo>
                  <a:pt x="9672451" y="827686"/>
                  <a:pt x="9671600" y="827543"/>
                  <a:pt x="9670323" y="824564"/>
                </a:cubicBezTo>
                <a:cubicBezTo>
                  <a:pt x="9670038" y="823855"/>
                  <a:pt x="9669896" y="823288"/>
                  <a:pt x="9669470" y="822720"/>
                </a:cubicBezTo>
                <a:cubicBezTo>
                  <a:pt x="9668903" y="821869"/>
                  <a:pt x="9668335" y="821160"/>
                  <a:pt x="9666915" y="821727"/>
                </a:cubicBezTo>
                <a:cubicBezTo>
                  <a:pt x="9665638" y="822437"/>
                  <a:pt x="9665639" y="823004"/>
                  <a:pt x="9665923" y="824139"/>
                </a:cubicBezTo>
                <a:lnTo>
                  <a:pt x="9666161" y="826285"/>
                </a:lnTo>
                <a:lnTo>
                  <a:pt x="9655067" y="815251"/>
                </a:lnTo>
                <a:lnTo>
                  <a:pt x="9655703" y="814350"/>
                </a:lnTo>
                <a:cubicBezTo>
                  <a:pt x="9655986" y="813073"/>
                  <a:pt x="9655560" y="812222"/>
                  <a:pt x="9654425" y="811654"/>
                </a:cubicBezTo>
                <a:cubicBezTo>
                  <a:pt x="9653572" y="811228"/>
                  <a:pt x="9652721" y="810945"/>
                  <a:pt x="9651870" y="810520"/>
                </a:cubicBezTo>
                <a:cubicBezTo>
                  <a:pt x="9650450" y="809810"/>
                  <a:pt x="9649882" y="808817"/>
                  <a:pt x="9650167" y="807114"/>
                </a:cubicBezTo>
                <a:cubicBezTo>
                  <a:pt x="9651018" y="802007"/>
                  <a:pt x="9649172" y="798460"/>
                  <a:pt x="9644630" y="796190"/>
                </a:cubicBezTo>
                <a:cubicBezTo>
                  <a:pt x="9643920" y="795765"/>
                  <a:pt x="9642360" y="795907"/>
                  <a:pt x="9642644" y="794630"/>
                </a:cubicBezTo>
                <a:cubicBezTo>
                  <a:pt x="9642785" y="793352"/>
                  <a:pt x="9644062" y="793069"/>
                  <a:pt x="9645340" y="792927"/>
                </a:cubicBezTo>
                <a:cubicBezTo>
                  <a:pt x="9645482" y="792927"/>
                  <a:pt x="9645623" y="792927"/>
                  <a:pt x="9645765" y="792927"/>
                </a:cubicBezTo>
                <a:cubicBezTo>
                  <a:pt x="9649172" y="792359"/>
                  <a:pt x="9650166" y="790799"/>
                  <a:pt x="9648463" y="788104"/>
                </a:cubicBezTo>
                <a:cubicBezTo>
                  <a:pt x="9646901" y="785549"/>
                  <a:pt x="9647328" y="783563"/>
                  <a:pt x="9648747" y="781435"/>
                </a:cubicBezTo>
                <a:cubicBezTo>
                  <a:pt x="9650592" y="778598"/>
                  <a:pt x="9652012" y="775619"/>
                  <a:pt x="9651159" y="772071"/>
                </a:cubicBezTo>
                <a:cubicBezTo>
                  <a:pt x="9650734" y="770511"/>
                  <a:pt x="9652295" y="769801"/>
                  <a:pt x="9653289" y="769518"/>
                </a:cubicBezTo>
                <a:cubicBezTo>
                  <a:pt x="9656979" y="768241"/>
                  <a:pt x="9658683" y="765830"/>
                  <a:pt x="9659109" y="762141"/>
                </a:cubicBezTo>
                <a:cubicBezTo>
                  <a:pt x="9659393" y="759871"/>
                  <a:pt x="9660244" y="759445"/>
                  <a:pt x="9662515" y="760864"/>
                </a:cubicBezTo>
                <a:cubicBezTo>
                  <a:pt x="9667341" y="763843"/>
                  <a:pt x="9674438" y="761715"/>
                  <a:pt x="9676568" y="756750"/>
                </a:cubicBezTo>
                <a:cubicBezTo>
                  <a:pt x="9676993" y="755756"/>
                  <a:pt x="9677561" y="754480"/>
                  <a:pt x="9676568" y="753628"/>
                </a:cubicBezTo>
                <a:cubicBezTo>
                  <a:pt x="9675575" y="752777"/>
                  <a:pt x="9674155" y="752352"/>
                  <a:pt x="9672878" y="753203"/>
                </a:cubicBezTo>
                <a:cubicBezTo>
                  <a:pt x="9672025" y="753628"/>
                  <a:pt x="9671175" y="754337"/>
                  <a:pt x="9670322" y="754905"/>
                </a:cubicBezTo>
                <a:cubicBezTo>
                  <a:pt x="9669470" y="755614"/>
                  <a:pt x="9668619" y="756041"/>
                  <a:pt x="9667909" y="755189"/>
                </a:cubicBezTo>
                <a:cubicBezTo>
                  <a:pt x="9667057" y="754196"/>
                  <a:pt x="9667625" y="753345"/>
                  <a:pt x="9668335" y="752635"/>
                </a:cubicBezTo>
                <a:cubicBezTo>
                  <a:pt x="9668903" y="751926"/>
                  <a:pt x="9669754" y="751358"/>
                  <a:pt x="9670322" y="750791"/>
                </a:cubicBezTo>
                <a:cubicBezTo>
                  <a:pt x="9671601" y="749514"/>
                  <a:pt x="9672310" y="747811"/>
                  <a:pt x="9671033" y="746393"/>
                </a:cubicBezTo>
                <a:cubicBezTo>
                  <a:pt x="9669897" y="745258"/>
                  <a:pt x="9668335" y="746393"/>
                  <a:pt x="9667199" y="747244"/>
                </a:cubicBezTo>
                <a:cubicBezTo>
                  <a:pt x="9666206" y="747953"/>
                  <a:pt x="9665496" y="749231"/>
                  <a:pt x="9664218" y="749656"/>
                </a:cubicBezTo>
                <a:cubicBezTo>
                  <a:pt x="9662373" y="750365"/>
                  <a:pt x="9661237" y="750081"/>
                  <a:pt x="9661379" y="747811"/>
                </a:cubicBezTo>
                <a:cubicBezTo>
                  <a:pt x="9661521" y="744690"/>
                  <a:pt x="9662799" y="742137"/>
                  <a:pt x="9664503" y="739725"/>
                </a:cubicBezTo>
                <a:cubicBezTo>
                  <a:pt x="9666631" y="736603"/>
                  <a:pt x="9666773" y="734901"/>
                  <a:pt x="9664502" y="731922"/>
                </a:cubicBezTo>
                <a:cubicBezTo>
                  <a:pt x="9663793" y="730787"/>
                  <a:pt x="9662658" y="729794"/>
                  <a:pt x="9661663" y="728800"/>
                </a:cubicBezTo>
                <a:cubicBezTo>
                  <a:pt x="9661238" y="728375"/>
                  <a:pt x="9660529" y="727949"/>
                  <a:pt x="9660812" y="727240"/>
                </a:cubicBezTo>
                <a:cubicBezTo>
                  <a:pt x="9661096" y="726388"/>
                  <a:pt x="9661806" y="726247"/>
                  <a:pt x="9662374" y="726388"/>
                </a:cubicBezTo>
                <a:cubicBezTo>
                  <a:pt x="9664928" y="726956"/>
                  <a:pt x="9665496" y="725821"/>
                  <a:pt x="9665354" y="723552"/>
                </a:cubicBezTo>
                <a:cubicBezTo>
                  <a:pt x="9665212" y="720714"/>
                  <a:pt x="9667057" y="718728"/>
                  <a:pt x="9669045" y="717167"/>
                </a:cubicBezTo>
                <a:cubicBezTo>
                  <a:pt x="9670607" y="715890"/>
                  <a:pt x="9670748" y="714898"/>
                  <a:pt x="9669187" y="713762"/>
                </a:cubicBezTo>
                <a:cubicBezTo>
                  <a:pt x="9668335" y="713195"/>
                  <a:pt x="9667768" y="712627"/>
                  <a:pt x="9668052" y="711492"/>
                </a:cubicBezTo>
                <a:cubicBezTo>
                  <a:pt x="9668335" y="709931"/>
                  <a:pt x="9669470" y="710215"/>
                  <a:pt x="9670465" y="709931"/>
                </a:cubicBezTo>
                <a:cubicBezTo>
                  <a:pt x="9671032" y="709789"/>
                  <a:pt x="9671741" y="709790"/>
                  <a:pt x="9672451" y="709647"/>
                </a:cubicBezTo>
                <a:cubicBezTo>
                  <a:pt x="9676284" y="709223"/>
                  <a:pt x="9677135" y="707094"/>
                  <a:pt x="9674864" y="703831"/>
                </a:cubicBezTo>
                <a:cubicBezTo>
                  <a:pt x="9674580" y="703406"/>
                  <a:pt x="9674298" y="703122"/>
                  <a:pt x="9674156" y="702696"/>
                </a:cubicBezTo>
                <a:cubicBezTo>
                  <a:pt x="9673729" y="701845"/>
                  <a:pt x="9673445" y="700709"/>
                  <a:pt x="9674298" y="700143"/>
                </a:cubicBezTo>
                <a:cubicBezTo>
                  <a:pt x="9675007" y="699575"/>
                  <a:pt x="9676001" y="700142"/>
                  <a:pt x="9676568" y="700710"/>
                </a:cubicBezTo>
                <a:cubicBezTo>
                  <a:pt x="9677136" y="701277"/>
                  <a:pt x="9677562" y="701845"/>
                  <a:pt x="9677987" y="702554"/>
                </a:cubicBezTo>
                <a:cubicBezTo>
                  <a:pt x="9678839" y="703547"/>
                  <a:pt x="9679690" y="703831"/>
                  <a:pt x="9680826" y="702980"/>
                </a:cubicBezTo>
                <a:cubicBezTo>
                  <a:pt x="9683523" y="701136"/>
                  <a:pt x="9686504" y="700852"/>
                  <a:pt x="9689486" y="700710"/>
                </a:cubicBezTo>
                <a:cubicBezTo>
                  <a:pt x="9693034" y="700426"/>
                  <a:pt x="9696724" y="700852"/>
                  <a:pt x="9700273" y="700001"/>
                </a:cubicBezTo>
                <a:close/>
                <a:moveTo>
                  <a:pt x="4184019" y="684882"/>
                </a:moveTo>
                <a:cubicBezTo>
                  <a:pt x="4186554" y="683554"/>
                  <a:pt x="4189971" y="683909"/>
                  <a:pt x="4192273" y="685562"/>
                </a:cubicBezTo>
                <a:cubicBezTo>
                  <a:pt x="4194146" y="687082"/>
                  <a:pt x="4195576" y="687761"/>
                  <a:pt x="4197707" y="687717"/>
                </a:cubicBezTo>
                <a:cubicBezTo>
                  <a:pt x="4199468" y="691082"/>
                  <a:pt x="4201234" y="694448"/>
                  <a:pt x="4202996" y="697813"/>
                </a:cubicBezTo>
                <a:cubicBezTo>
                  <a:pt x="4200914" y="700692"/>
                  <a:pt x="4199835" y="704116"/>
                  <a:pt x="4200031" y="707230"/>
                </a:cubicBezTo>
                <a:cubicBezTo>
                  <a:pt x="4199794" y="710212"/>
                  <a:pt x="4199991" y="713326"/>
                  <a:pt x="4199905" y="716588"/>
                </a:cubicBezTo>
                <a:cubicBezTo>
                  <a:pt x="4199674" y="719569"/>
                  <a:pt x="4199588" y="722832"/>
                  <a:pt x="4200775" y="725784"/>
                </a:cubicBezTo>
                <a:cubicBezTo>
                  <a:pt x="4201533" y="728604"/>
                  <a:pt x="4200429" y="730610"/>
                  <a:pt x="4199194" y="733046"/>
                </a:cubicBezTo>
                <a:cubicBezTo>
                  <a:pt x="4197958" y="735482"/>
                  <a:pt x="4194991" y="736677"/>
                  <a:pt x="4194613" y="739378"/>
                </a:cubicBezTo>
                <a:cubicBezTo>
                  <a:pt x="4192645" y="740411"/>
                  <a:pt x="4190954" y="741296"/>
                  <a:pt x="4188983" y="742330"/>
                </a:cubicBezTo>
                <a:cubicBezTo>
                  <a:pt x="4188542" y="741488"/>
                  <a:pt x="4188114" y="741356"/>
                  <a:pt x="4187551" y="741651"/>
                </a:cubicBezTo>
                <a:cubicBezTo>
                  <a:pt x="4183324" y="743864"/>
                  <a:pt x="4179602" y="742241"/>
                  <a:pt x="4176428" y="739613"/>
                </a:cubicBezTo>
                <a:cubicBezTo>
                  <a:pt x="4173405" y="737266"/>
                  <a:pt x="4170245" y="735347"/>
                  <a:pt x="4168897" y="731407"/>
                </a:cubicBezTo>
                <a:cubicBezTo>
                  <a:pt x="4167686" y="727037"/>
                  <a:pt x="4165200" y="722978"/>
                  <a:pt x="4166964" y="718122"/>
                </a:cubicBezTo>
                <a:cubicBezTo>
                  <a:pt x="4167503" y="716410"/>
                  <a:pt x="4168189" y="714978"/>
                  <a:pt x="4169867" y="713385"/>
                </a:cubicBezTo>
                <a:cubicBezTo>
                  <a:pt x="4172244" y="711067"/>
                  <a:pt x="4174891" y="707894"/>
                  <a:pt x="4171693" y="703849"/>
                </a:cubicBezTo>
                <a:cubicBezTo>
                  <a:pt x="4170531" y="702313"/>
                  <a:pt x="4171927" y="700867"/>
                  <a:pt x="4171768" y="699878"/>
                </a:cubicBezTo>
                <a:cubicBezTo>
                  <a:pt x="4170825" y="694653"/>
                  <a:pt x="4173178" y="690919"/>
                  <a:pt x="4176107" y="687598"/>
                </a:cubicBezTo>
                <a:cubicBezTo>
                  <a:pt x="4178935" y="686831"/>
                  <a:pt x="4181483" y="686211"/>
                  <a:pt x="4184019" y="684882"/>
                </a:cubicBezTo>
                <a:close/>
                <a:moveTo>
                  <a:pt x="3592418" y="683513"/>
                </a:moveTo>
                <a:cubicBezTo>
                  <a:pt x="3593214" y="683349"/>
                  <a:pt x="3594194" y="683769"/>
                  <a:pt x="3595223" y="684517"/>
                </a:cubicBezTo>
                <a:cubicBezTo>
                  <a:pt x="3597279" y="686200"/>
                  <a:pt x="3599338" y="688256"/>
                  <a:pt x="3601395" y="689939"/>
                </a:cubicBezTo>
                <a:cubicBezTo>
                  <a:pt x="3603826" y="691995"/>
                  <a:pt x="3606632" y="693490"/>
                  <a:pt x="3609626" y="691808"/>
                </a:cubicBezTo>
                <a:cubicBezTo>
                  <a:pt x="3612056" y="690686"/>
                  <a:pt x="3613179" y="691621"/>
                  <a:pt x="3614487" y="693303"/>
                </a:cubicBezTo>
                <a:cubicBezTo>
                  <a:pt x="3617293" y="697043"/>
                  <a:pt x="3620658" y="699847"/>
                  <a:pt x="3625897" y="698725"/>
                </a:cubicBezTo>
                <a:cubicBezTo>
                  <a:pt x="3627205" y="698351"/>
                  <a:pt x="3627579" y="698912"/>
                  <a:pt x="3627768" y="700221"/>
                </a:cubicBezTo>
                <a:cubicBezTo>
                  <a:pt x="3628516" y="709381"/>
                  <a:pt x="3632443" y="717233"/>
                  <a:pt x="3637679" y="724336"/>
                </a:cubicBezTo>
                <a:cubicBezTo>
                  <a:pt x="3638989" y="726019"/>
                  <a:pt x="3638616" y="727141"/>
                  <a:pt x="3637866" y="728824"/>
                </a:cubicBezTo>
                <a:cubicBezTo>
                  <a:pt x="3635996" y="732188"/>
                  <a:pt x="3633940" y="735927"/>
                  <a:pt x="3635248" y="739666"/>
                </a:cubicBezTo>
                <a:cubicBezTo>
                  <a:pt x="3636557" y="743404"/>
                  <a:pt x="3635623" y="746023"/>
                  <a:pt x="3633750" y="749013"/>
                </a:cubicBezTo>
                <a:cubicBezTo>
                  <a:pt x="3633192" y="749948"/>
                  <a:pt x="3632816" y="750883"/>
                  <a:pt x="3632256" y="752005"/>
                </a:cubicBezTo>
                <a:cubicBezTo>
                  <a:pt x="3629826" y="757426"/>
                  <a:pt x="3627019" y="762473"/>
                  <a:pt x="3621221" y="765091"/>
                </a:cubicBezTo>
                <a:cubicBezTo>
                  <a:pt x="3620098" y="765465"/>
                  <a:pt x="3620099" y="766213"/>
                  <a:pt x="3620098" y="767147"/>
                </a:cubicBezTo>
                <a:cubicBezTo>
                  <a:pt x="3620287" y="769952"/>
                  <a:pt x="3625335" y="776681"/>
                  <a:pt x="3627955" y="777429"/>
                </a:cubicBezTo>
                <a:cubicBezTo>
                  <a:pt x="3632068" y="778364"/>
                  <a:pt x="3635623" y="780421"/>
                  <a:pt x="3638428" y="783599"/>
                </a:cubicBezTo>
                <a:cubicBezTo>
                  <a:pt x="3642357" y="787711"/>
                  <a:pt x="3645723" y="792010"/>
                  <a:pt x="3649463" y="796310"/>
                </a:cubicBezTo>
                <a:cubicBezTo>
                  <a:pt x="3650586" y="797432"/>
                  <a:pt x="3650022" y="798181"/>
                  <a:pt x="3649275" y="799115"/>
                </a:cubicBezTo>
                <a:cubicBezTo>
                  <a:pt x="3645909" y="803227"/>
                  <a:pt x="3645909" y="803227"/>
                  <a:pt x="3650022" y="806032"/>
                </a:cubicBezTo>
                <a:cubicBezTo>
                  <a:pt x="3653763" y="808836"/>
                  <a:pt x="3653952" y="810705"/>
                  <a:pt x="3650586" y="814258"/>
                </a:cubicBezTo>
                <a:cubicBezTo>
                  <a:pt x="3649089" y="815753"/>
                  <a:pt x="3647594" y="817436"/>
                  <a:pt x="3648153" y="820053"/>
                </a:cubicBezTo>
                <a:cubicBezTo>
                  <a:pt x="3649836" y="826597"/>
                  <a:pt x="3647404" y="832017"/>
                  <a:pt x="3643105" y="836879"/>
                </a:cubicBezTo>
                <a:cubicBezTo>
                  <a:pt x="3640298" y="840056"/>
                  <a:pt x="3636931" y="843048"/>
                  <a:pt x="3634874" y="846786"/>
                </a:cubicBezTo>
                <a:cubicBezTo>
                  <a:pt x="3634499" y="847534"/>
                  <a:pt x="3633940" y="848282"/>
                  <a:pt x="3633005" y="848095"/>
                </a:cubicBezTo>
                <a:cubicBezTo>
                  <a:pt x="3628329" y="846600"/>
                  <a:pt x="3625897" y="849591"/>
                  <a:pt x="3623278" y="852581"/>
                </a:cubicBezTo>
                <a:cubicBezTo>
                  <a:pt x="3622530" y="853516"/>
                  <a:pt x="3621595" y="854638"/>
                  <a:pt x="3619910" y="854264"/>
                </a:cubicBezTo>
                <a:cubicBezTo>
                  <a:pt x="3615237" y="853143"/>
                  <a:pt x="3610373" y="853704"/>
                  <a:pt x="3605697" y="853329"/>
                </a:cubicBezTo>
                <a:cubicBezTo>
                  <a:pt x="3601769" y="853142"/>
                  <a:pt x="3597842" y="852768"/>
                  <a:pt x="3594288" y="850339"/>
                </a:cubicBezTo>
                <a:cubicBezTo>
                  <a:pt x="3592791" y="849216"/>
                  <a:pt x="3591669" y="849591"/>
                  <a:pt x="3590547" y="850900"/>
                </a:cubicBezTo>
                <a:cubicBezTo>
                  <a:pt x="3589987" y="851834"/>
                  <a:pt x="3589424" y="852582"/>
                  <a:pt x="3588678" y="853329"/>
                </a:cubicBezTo>
                <a:cubicBezTo>
                  <a:pt x="3587931" y="854077"/>
                  <a:pt x="3586620" y="854825"/>
                  <a:pt x="3585684" y="854077"/>
                </a:cubicBezTo>
                <a:cubicBezTo>
                  <a:pt x="3584560" y="853329"/>
                  <a:pt x="3584938" y="851834"/>
                  <a:pt x="3585498" y="850713"/>
                </a:cubicBezTo>
                <a:cubicBezTo>
                  <a:pt x="3585684" y="850151"/>
                  <a:pt x="3586059" y="849777"/>
                  <a:pt x="3586433" y="849217"/>
                </a:cubicBezTo>
                <a:cubicBezTo>
                  <a:pt x="3589424" y="844917"/>
                  <a:pt x="3588304" y="842112"/>
                  <a:pt x="3583254" y="841552"/>
                </a:cubicBezTo>
                <a:cubicBezTo>
                  <a:pt x="3582317" y="841365"/>
                  <a:pt x="3581384" y="841365"/>
                  <a:pt x="3580635" y="841178"/>
                </a:cubicBezTo>
                <a:cubicBezTo>
                  <a:pt x="3579326" y="840805"/>
                  <a:pt x="3577831" y="841178"/>
                  <a:pt x="3577457" y="839121"/>
                </a:cubicBezTo>
                <a:cubicBezTo>
                  <a:pt x="3577080" y="837627"/>
                  <a:pt x="3577832" y="836879"/>
                  <a:pt x="3578952" y="836130"/>
                </a:cubicBezTo>
                <a:cubicBezTo>
                  <a:pt x="3581007" y="834635"/>
                  <a:pt x="3580823" y="833326"/>
                  <a:pt x="3578764" y="831644"/>
                </a:cubicBezTo>
                <a:cubicBezTo>
                  <a:pt x="3576145" y="829587"/>
                  <a:pt x="3573712" y="826970"/>
                  <a:pt x="3573902" y="823231"/>
                </a:cubicBezTo>
                <a:cubicBezTo>
                  <a:pt x="3574089" y="820240"/>
                  <a:pt x="3573340" y="818745"/>
                  <a:pt x="3569974" y="819493"/>
                </a:cubicBezTo>
                <a:cubicBezTo>
                  <a:pt x="3569225" y="819679"/>
                  <a:pt x="3568291" y="819492"/>
                  <a:pt x="3567918" y="818371"/>
                </a:cubicBezTo>
                <a:cubicBezTo>
                  <a:pt x="3567541" y="817436"/>
                  <a:pt x="3568476" y="816875"/>
                  <a:pt x="3569038" y="816314"/>
                </a:cubicBezTo>
                <a:cubicBezTo>
                  <a:pt x="3570348" y="815005"/>
                  <a:pt x="3571844" y="813697"/>
                  <a:pt x="3572777" y="812201"/>
                </a:cubicBezTo>
                <a:cubicBezTo>
                  <a:pt x="3575771" y="808275"/>
                  <a:pt x="3575585" y="806032"/>
                  <a:pt x="3572777" y="801920"/>
                </a:cubicBezTo>
                <a:cubicBezTo>
                  <a:pt x="3570534" y="798741"/>
                  <a:pt x="3568851" y="795376"/>
                  <a:pt x="3568663" y="791263"/>
                </a:cubicBezTo>
                <a:cubicBezTo>
                  <a:pt x="3568477" y="788272"/>
                  <a:pt x="3569973" y="787898"/>
                  <a:pt x="3572404" y="788833"/>
                </a:cubicBezTo>
                <a:cubicBezTo>
                  <a:pt x="3574090" y="789394"/>
                  <a:pt x="3575025" y="791077"/>
                  <a:pt x="3576332" y="792011"/>
                </a:cubicBezTo>
                <a:cubicBezTo>
                  <a:pt x="3577832" y="793133"/>
                  <a:pt x="3579885" y="794629"/>
                  <a:pt x="3581384" y="793133"/>
                </a:cubicBezTo>
                <a:cubicBezTo>
                  <a:pt x="3583067" y="791263"/>
                  <a:pt x="3582131" y="789020"/>
                  <a:pt x="3580448" y="787337"/>
                </a:cubicBezTo>
                <a:cubicBezTo>
                  <a:pt x="3579698" y="786590"/>
                  <a:pt x="3578577" y="785841"/>
                  <a:pt x="3577831" y="784907"/>
                </a:cubicBezTo>
                <a:cubicBezTo>
                  <a:pt x="3576895" y="783972"/>
                  <a:pt x="3576145" y="782851"/>
                  <a:pt x="3577267" y="781542"/>
                </a:cubicBezTo>
                <a:cubicBezTo>
                  <a:pt x="3578204" y="780420"/>
                  <a:pt x="3579326" y="780981"/>
                  <a:pt x="3580447" y="781916"/>
                </a:cubicBezTo>
                <a:cubicBezTo>
                  <a:pt x="3581570" y="782664"/>
                  <a:pt x="3582692" y="783599"/>
                  <a:pt x="3583814" y="784160"/>
                </a:cubicBezTo>
                <a:cubicBezTo>
                  <a:pt x="3585498" y="785281"/>
                  <a:pt x="3587368" y="784720"/>
                  <a:pt x="3588678" y="783598"/>
                </a:cubicBezTo>
                <a:cubicBezTo>
                  <a:pt x="3589987" y="782477"/>
                  <a:pt x="3589237" y="780794"/>
                  <a:pt x="3588678" y="779486"/>
                </a:cubicBezTo>
                <a:cubicBezTo>
                  <a:pt x="3585872" y="772942"/>
                  <a:pt x="3576521" y="770138"/>
                  <a:pt x="3570159" y="774064"/>
                </a:cubicBezTo>
                <a:cubicBezTo>
                  <a:pt x="3567168" y="775933"/>
                  <a:pt x="3566046" y="775373"/>
                  <a:pt x="3565672" y="772382"/>
                </a:cubicBezTo>
                <a:cubicBezTo>
                  <a:pt x="3565111" y="767522"/>
                  <a:pt x="3562867" y="764343"/>
                  <a:pt x="3558005" y="762660"/>
                </a:cubicBezTo>
                <a:cubicBezTo>
                  <a:pt x="3556695" y="762287"/>
                  <a:pt x="3554637" y="761352"/>
                  <a:pt x="3555199" y="759296"/>
                </a:cubicBezTo>
                <a:cubicBezTo>
                  <a:pt x="3556322" y="754622"/>
                  <a:pt x="3554454" y="750695"/>
                  <a:pt x="3552019" y="746957"/>
                </a:cubicBezTo>
                <a:cubicBezTo>
                  <a:pt x="3550150" y="744152"/>
                  <a:pt x="3549588" y="741535"/>
                  <a:pt x="3551646" y="738171"/>
                </a:cubicBezTo>
                <a:cubicBezTo>
                  <a:pt x="3553890" y="734619"/>
                  <a:pt x="3552581" y="732562"/>
                  <a:pt x="3548093" y="731814"/>
                </a:cubicBezTo>
                <a:cubicBezTo>
                  <a:pt x="3547904" y="731814"/>
                  <a:pt x="3547718" y="731814"/>
                  <a:pt x="3547529" y="731814"/>
                </a:cubicBezTo>
                <a:cubicBezTo>
                  <a:pt x="3545845" y="731628"/>
                  <a:pt x="3544164" y="731254"/>
                  <a:pt x="3543976" y="729571"/>
                </a:cubicBezTo>
                <a:cubicBezTo>
                  <a:pt x="3543603" y="727889"/>
                  <a:pt x="3545661" y="728076"/>
                  <a:pt x="3546596" y="727515"/>
                </a:cubicBezTo>
                <a:cubicBezTo>
                  <a:pt x="3552581" y="724523"/>
                  <a:pt x="3555013" y="719850"/>
                  <a:pt x="3553891" y="713120"/>
                </a:cubicBezTo>
                <a:cubicBezTo>
                  <a:pt x="3553516" y="710876"/>
                  <a:pt x="3554264" y="709567"/>
                  <a:pt x="3556133" y="708634"/>
                </a:cubicBezTo>
                <a:cubicBezTo>
                  <a:pt x="3557258" y="708073"/>
                  <a:pt x="3558378" y="707698"/>
                  <a:pt x="3559502" y="707137"/>
                </a:cubicBezTo>
                <a:cubicBezTo>
                  <a:pt x="3560997" y="706389"/>
                  <a:pt x="3561557" y="705268"/>
                  <a:pt x="3561183" y="703585"/>
                </a:cubicBezTo>
                <a:lnTo>
                  <a:pt x="3560347" y="702398"/>
                </a:lnTo>
                <a:lnTo>
                  <a:pt x="3574963" y="687859"/>
                </a:lnTo>
                <a:lnTo>
                  <a:pt x="3574649" y="690686"/>
                </a:lnTo>
                <a:cubicBezTo>
                  <a:pt x="3574275" y="692181"/>
                  <a:pt x="3574275" y="692930"/>
                  <a:pt x="3575959" y="693864"/>
                </a:cubicBezTo>
                <a:cubicBezTo>
                  <a:pt x="3577832" y="694612"/>
                  <a:pt x="3578577" y="693677"/>
                  <a:pt x="3579326" y="692555"/>
                </a:cubicBezTo>
                <a:cubicBezTo>
                  <a:pt x="3579885" y="691807"/>
                  <a:pt x="3580073" y="691060"/>
                  <a:pt x="3580447" y="690125"/>
                </a:cubicBezTo>
                <a:cubicBezTo>
                  <a:pt x="3582131" y="686200"/>
                  <a:pt x="3583254" y="686013"/>
                  <a:pt x="3586059" y="689191"/>
                </a:cubicBezTo>
                <a:cubicBezTo>
                  <a:pt x="3586619" y="689938"/>
                  <a:pt x="3587369" y="690873"/>
                  <a:pt x="3588490" y="690873"/>
                </a:cubicBezTo>
                <a:cubicBezTo>
                  <a:pt x="3589801" y="690686"/>
                  <a:pt x="3589801" y="689191"/>
                  <a:pt x="3590174" y="688256"/>
                </a:cubicBezTo>
                <a:cubicBezTo>
                  <a:pt x="3590546" y="687508"/>
                  <a:pt x="3590736" y="686760"/>
                  <a:pt x="3590735" y="686013"/>
                </a:cubicBezTo>
                <a:cubicBezTo>
                  <a:pt x="3591013" y="684423"/>
                  <a:pt x="3591624" y="683676"/>
                  <a:pt x="3592418" y="683513"/>
                </a:cubicBezTo>
                <a:close/>
                <a:moveTo>
                  <a:pt x="7716079" y="672480"/>
                </a:moveTo>
                <a:lnTo>
                  <a:pt x="7716275" y="672675"/>
                </a:lnTo>
                <a:lnTo>
                  <a:pt x="7715910" y="672762"/>
                </a:lnTo>
                <a:close/>
                <a:moveTo>
                  <a:pt x="668614" y="671171"/>
                </a:moveTo>
                <a:cubicBezTo>
                  <a:pt x="675720" y="676953"/>
                  <a:pt x="686113" y="669856"/>
                  <a:pt x="692305" y="678890"/>
                </a:cubicBezTo>
                <a:cubicBezTo>
                  <a:pt x="694111" y="681576"/>
                  <a:pt x="699955" y="681551"/>
                  <a:pt x="696617" y="687350"/>
                </a:cubicBezTo>
                <a:cubicBezTo>
                  <a:pt x="695538" y="688993"/>
                  <a:pt x="696709" y="691074"/>
                  <a:pt x="698322" y="690908"/>
                </a:cubicBezTo>
                <a:cubicBezTo>
                  <a:pt x="705037" y="690986"/>
                  <a:pt x="705868" y="694443"/>
                  <a:pt x="703774" y="700210"/>
                </a:cubicBezTo>
                <a:cubicBezTo>
                  <a:pt x="703199" y="702087"/>
                  <a:pt x="705344" y="703399"/>
                  <a:pt x="706618" y="704609"/>
                </a:cubicBezTo>
                <a:cubicBezTo>
                  <a:pt x="708897" y="706290"/>
                  <a:pt x="710068" y="708371"/>
                  <a:pt x="708517" y="711019"/>
                </a:cubicBezTo>
                <a:cubicBezTo>
                  <a:pt x="706966" y="713667"/>
                  <a:pt x="708136" y="715748"/>
                  <a:pt x="708198" y="718231"/>
                </a:cubicBezTo>
                <a:cubicBezTo>
                  <a:pt x="708351" y="724438"/>
                  <a:pt x="708669" y="732256"/>
                  <a:pt x="705537" y="736310"/>
                </a:cubicBezTo>
                <a:cubicBezTo>
                  <a:pt x="698667" y="745056"/>
                  <a:pt x="692298" y="754037"/>
                  <a:pt x="685294" y="762413"/>
                </a:cubicBezTo>
                <a:cubicBezTo>
                  <a:pt x="684555" y="762680"/>
                  <a:pt x="683076" y="763215"/>
                  <a:pt x="682439" y="762610"/>
                </a:cubicBezTo>
                <a:cubicBezTo>
                  <a:pt x="677541" y="760623"/>
                  <a:pt x="673147" y="758873"/>
                  <a:pt x="670076" y="765410"/>
                </a:cubicBezTo>
                <a:cubicBezTo>
                  <a:pt x="669264" y="767790"/>
                  <a:pt x="667488" y="766345"/>
                  <a:pt x="666584" y="765002"/>
                </a:cubicBezTo>
                <a:cubicBezTo>
                  <a:pt x="663206" y="759126"/>
                  <a:pt x="660249" y="760195"/>
                  <a:pt x="657147" y="765491"/>
                </a:cubicBezTo>
                <a:cubicBezTo>
                  <a:pt x="655124" y="769145"/>
                  <a:pt x="653378" y="768940"/>
                  <a:pt x="652043" y="765249"/>
                </a:cubicBezTo>
                <a:cubicBezTo>
                  <a:pt x="651243" y="763033"/>
                  <a:pt x="651048" y="760182"/>
                  <a:pt x="647587" y="761014"/>
                </a:cubicBezTo>
                <a:cubicBezTo>
                  <a:pt x="639659" y="762210"/>
                  <a:pt x="634833" y="758110"/>
                  <a:pt x="632800" y="751330"/>
                </a:cubicBezTo>
                <a:cubicBezTo>
                  <a:pt x="631435" y="746397"/>
                  <a:pt x="629154" y="744716"/>
                  <a:pt x="625160" y="744073"/>
                </a:cubicBezTo>
                <a:cubicBezTo>
                  <a:pt x="624627" y="742596"/>
                  <a:pt x="624093" y="741119"/>
                  <a:pt x="623559" y="739643"/>
                </a:cubicBezTo>
                <a:cubicBezTo>
                  <a:pt x="626454" y="736090"/>
                  <a:pt x="626095" y="731628"/>
                  <a:pt x="623652" y="728337"/>
                </a:cubicBezTo>
                <a:cubicBezTo>
                  <a:pt x="619401" y="722359"/>
                  <a:pt x="619751" y="716388"/>
                  <a:pt x="622955" y="710220"/>
                </a:cubicBezTo>
                <a:cubicBezTo>
                  <a:pt x="624137" y="707706"/>
                  <a:pt x="625452" y="705560"/>
                  <a:pt x="625256" y="702709"/>
                </a:cubicBezTo>
                <a:cubicBezTo>
                  <a:pt x="624527" y="698380"/>
                  <a:pt x="625944" y="695363"/>
                  <a:pt x="630145" y="694262"/>
                </a:cubicBezTo>
                <a:cubicBezTo>
                  <a:pt x="633103" y="693193"/>
                  <a:pt x="634654" y="690544"/>
                  <a:pt x="635229" y="688667"/>
                </a:cubicBezTo>
                <a:cubicBezTo>
                  <a:pt x="638310" y="677534"/>
                  <a:pt x="649287" y="678993"/>
                  <a:pt x="656651" y="675079"/>
                </a:cubicBezTo>
                <a:cubicBezTo>
                  <a:pt x="659845" y="673507"/>
                  <a:pt x="666201" y="669121"/>
                  <a:pt x="668614" y="671171"/>
                </a:cubicBezTo>
                <a:close/>
                <a:moveTo>
                  <a:pt x="2516971" y="670081"/>
                </a:moveTo>
                <a:cubicBezTo>
                  <a:pt x="2522864" y="673513"/>
                  <a:pt x="2528508" y="677436"/>
                  <a:pt x="2534400" y="681114"/>
                </a:cubicBezTo>
                <a:cubicBezTo>
                  <a:pt x="2537099" y="682829"/>
                  <a:pt x="2538575" y="687488"/>
                  <a:pt x="2539798" y="691165"/>
                </a:cubicBezTo>
                <a:cubicBezTo>
                  <a:pt x="2540290" y="692637"/>
                  <a:pt x="2540049" y="694107"/>
                  <a:pt x="2541519" y="695333"/>
                </a:cubicBezTo>
                <a:cubicBezTo>
                  <a:pt x="2542990" y="696559"/>
                  <a:pt x="2542748" y="698030"/>
                  <a:pt x="2541765" y="699501"/>
                </a:cubicBezTo>
                <a:cubicBezTo>
                  <a:pt x="2541274" y="700482"/>
                  <a:pt x="2540290" y="701708"/>
                  <a:pt x="2541030" y="702688"/>
                </a:cubicBezTo>
                <a:cubicBezTo>
                  <a:pt x="2543481" y="705630"/>
                  <a:pt x="2543731" y="707837"/>
                  <a:pt x="2539799" y="709308"/>
                </a:cubicBezTo>
                <a:cubicBezTo>
                  <a:pt x="2538817" y="709553"/>
                  <a:pt x="2538574" y="711024"/>
                  <a:pt x="2539557" y="711759"/>
                </a:cubicBezTo>
                <a:cubicBezTo>
                  <a:pt x="2542749" y="714456"/>
                  <a:pt x="2539307" y="715682"/>
                  <a:pt x="2538817" y="717643"/>
                </a:cubicBezTo>
                <a:cubicBezTo>
                  <a:pt x="2537099" y="724263"/>
                  <a:pt x="2529491" y="722301"/>
                  <a:pt x="2526545" y="727205"/>
                </a:cubicBezTo>
                <a:cubicBezTo>
                  <a:pt x="2525564" y="728921"/>
                  <a:pt x="2520899" y="727695"/>
                  <a:pt x="2518689" y="727450"/>
                </a:cubicBezTo>
                <a:cubicBezTo>
                  <a:pt x="2513534" y="726714"/>
                  <a:pt x="2507398" y="729901"/>
                  <a:pt x="2503225" y="724017"/>
                </a:cubicBezTo>
                <a:cubicBezTo>
                  <a:pt x="2502488" y="723037"/>
                  <a:pt x="2501014" y="721811"/>
                  <a:pt x="2499049" y="721811"/>
                </a:cubicBezTo>
                <a:cubicBezTo>
                  <a:pt x="2496349" y="722056"/>
                  <a:pt x="2494878" y="720585"/>
                  <a:pt x="2494388" y="717889"/>
                </a:cubicBezTo>
                <a:cubicBezTo>
                  <a:pt x="2493896" y="716172"/>
                  <a:pt x="2492668" y="715191"/>
                  <a:pt x="2491439" y="713966"/>
                </a:cubicBezTo>
                <a:cubicBezTo>
                  <a:pt x="2488248" y="711024"/>
                  <a:pt x="2486777" y="707591"/>
                  <a:pt x="2488004" y="703178"/>
                </a:cubicBezTo>
                <a:cubicBezTo>
                  <a:pt x="2488741" y="700726"/>
                  <a:pt x="2488005" y="698030"/>
                  <a:pt x="2485550" y="696559"/>
                </a:cubicBezTo>
                <a:cubicBezTo>
                  <a:pt x="2485550" y="695578"/>
                  <a:pt x="2485550" y="694598"/>
                  <a:pt x="2485550" y="693616"/>
                </a:cubicBezTo>
                <a:cubicBezTo>
                  <a:pt x="2487758" y="692391"/>
                  <a:pt x="2488741" y="690920"/>
                  <a:pt x="2488496" y="687733"/>
                </a:cubicBezTo>
                <a:cubicBezTo>
                  <a:pt x="2488249" y="683320"/>
                  <a:pt x="2490215" y="679888"/>
                  <a:pt x="2495123" y="678907"/>
                </a:cubicBezTo>
                <a:cubicBezTo>
                  <a:pt x="2497332" y="678662"/>
                  <a:pt x="2496840" y="676945"/>
                  <a:pt x="2496840" y="675475"/>
                </a:cubicBezTo>
                <a:cubicBezTo>
                  <a:pt x="2496840" y="673023"/>
                  <a:pt x="2497823" y="672532"/>
                  <a:pt x="2499786" y="674249"/>
                </a:cubicBezTo>
                <a:cubicBezTo>
                  <a:pt x="2502733" y="676701"/>
                  <a:pt x="2504696" y="676701"/>
                  <a:pt x="2505432" y="672533"/>
                </a:cubicBezTo>
                <a:cubicBezTo>
                  <a:pt x="2505680" y="671552"/>
                  <a:pt x="2506414" y="670326"/>
                  <a:pt x="2507397" y="671552"/>
                </a:cubicBezTo>
                <a:cubicBezTo>
                  <a:pt x="2510587" y="674739"/>
                  <a:pt x="2512799" y="672778"/>
                  <a:pt x="2515253" y="670571"/>
                </a:cubicBezTo>
                <a:cubicBezTo>
                  <a:pt x="2515499" y="670081"/>
                  <a:pt x="2516480" y="670081"/>
                  <a:pt x="2516971" y="670081"/>
                </a:cubicBezTo>
                <a:close/>
                <a:moveTo>
                  <a:pt x="9478155" y="666068"/>
                </a:moveTo>
                <a:cubicBezTo>
                  <a:pt x="9480738" y="666097"/>
                  <a:pt x="9483205" y="666743"/>
                  <a:pt x="9485201" y="669558"/>
                </a:cubicBezTo>
                <a:cubicBezTo>
                  <a:pt x="9485906" y="670496"/>
                  <a:pt x="9487315" y="671669"/>
                  <a:pt x="9489195" y="671669"/>
                </a:cubicBezTo>
                <a:cubicBezTo>
                  <a:pt x="9491778" y="671434"/>
                  <a:pt x="9493188" y="672842"/>
                  <a:pt x="9493657" y="675422"/>
                </a:cubicBezTo>
                <a:cubicBezTo>
                  <a:pt x="9494128" y="677065"/>
                  <a:pt x="9495301" y="678003"/>
                  <a:pt x="9496476" y="679175"/>
                </a:cubicBezTo>
                <a:cubicBezTo>
                  <a:pt x="9499530" y="681991"/>
                  <a:pt x="9500939" y="685275"/>
                  <a:pt x="9499765" y="689498"/>
                </a:cubicBezTo>
                <a:cubicBezTo>
                  <a:pt x="9499059" y="691844"/>
                  <a:pt x="9499765" y="694424"/>
                  <a:pt x="9502113" y="695831"/>
                </a:cubicBezTo>
                <a:cubicBezTo>
                  <a:pt x="9502114" y="696770"/>
                  <a:pt x="9502113" y="697709"/>
                  <a:pt x="9502113" y="698647"/>
                </a:cubicBezTo>
                <a:cubicBezTo>
                  <a:pt x="9499999" y="699819"/>
                  <a:pt x="9499059" y="701227"/>
                  <a:pt x="9499295" y="704277"/>
                </a:cubicBezTo>
                <a:cubicBezTo>
                  <a:pt x="9499529" y="708499"/>
                  <a:pt x="9497650" y="711784"/>
                  <a:pt x="9492952" y="712722"/>
                </a:cubicBezTo>
                <a:cubicBezTo>
                  <a:pt x="9490838" y="712957"/>
                  <a:pt x="9491308" y="714599"/>
                  <a:pt x="9491309" y="716006"/>
                </a:cubicBezTo>
                <a:cubicBezTo>
                  <a:pt x="9491308" y="718353"/>
                  <a:pt x="9490368" y="718821"/>
                  <a:pt x="9488490" y="717180"/>
                </a:cubicBezTo>
                <a:cubicBezTo>
                  <a:pt x="9485671" y="714834"/>
                  <a:pt x="9483792" y="714833"/>
                  <a:pt x="9483087" y="718821"/>
                </a:cubicBezTo>
                <a:cubicBezTo>
                  <a:pt x="9482852" y="719760"/>
                  <a:pt x="9482147" y="720933"/>
                  <a:pt x="9481208" y="719760"/>
                </a:cubicBezTo>
                <a:cubicBezTo>
                  <a:pt x="9478155" y="716710"/>
                  <a:pt x="9476040" y="718587"/>
                  <a:pt x="9473691" y="720698"/>
                </a:cubicBezTo>
                <a:cubicBezTo>
                  <a:pt x="9473456" y="721167"/>
                  <a:pt x="9472517" y="721168"/>
                  <a:pt x="9472047" y="721167"/>
                </a:cubicBezTo>
                <a:cubicBezTo>
                  <a:pt x="9466410" y="717883"/>
                  <a:pt x="9461007" y="714130"/>
                  <a:pt x="9455370" y="710611"/>
                </a:cubicBezTo>
                <a:cubicBezTo>
                  <a:pt x="9452786" y="708968"/>
                  <a:pt x="9451377" y="704512"/>
                  <a:pt x="9450202" y="700992"/>
                </a:cubicBezTo>
                <a:cubicBezTo>
                  <a:pt x="9449732" y="699585"/>
                  <a:pt x="9449967" y="698178"/>
                  <a:pt x="9448558" y="697005"/>
                </a:cubicBezTo>
                <a:cubicBezTo>
                  <a:pt x="9447149" y="695832"/>
                  <a:pt x="9447384" y="694425"/>
                  <a:pt x="9448323" y="693016"/>
                </a:cubicBezTo>
                <a:cubicBezTo>
                  <a:pt x="9448793" y="692078"/>
                  <a:pt x="9449732" y="690906"/>
                  <a:pt x="9449028" y="689967"/>
                </a:cubicBezTo>
                <a:cubicBezTo>
                  <a:pt x="9446680" y="687152"/>
                  <a:pt x="9446444" y="685041"/>
                  <a:pt x="9450202" y="683633"/>
                </a:cubicBezTo>
                <a:cubicBezTo>
                  <a:pt x="9451142" y="683398"/>
                  <a:pt x="9451377" y="681991"/>
                  <a:pt x="9450437" y="681287"/>
                </a:cubicBezTo>
                <a:cubicBezTo>
                  <a:pt x="9447385" y="678706"/>
                  <a:pt x="9450672" y="677533"/>
                  <a:pt x="9451142" y="675657"/>
                </a:cubicBezTo>
                <a:cubicBezTo>
                  <a:pt x="9452786" y="669323"/>
                  <a:pt x="9460068" y="671200"/>
                  <a:pt x="9462886" y="666508"/>
                </a:cubicBezTo>
                <a:cubicBezTo>
                  <a:pt x="9463826" y="664866"/>
                  <a:pt x="9468289" y="666039"/>
                  <a:pt x="9470403" y="666273"/>
                </a:cubicBezTo>
                <a:cubicBezTo>
                  <a:pt x="9472869" y="666625"/>
                  <a:pt x="9475571" y="666039"/>
                  <a:pt x="9478155" y="666068"/>
                </a:cubicBezTo>
                <a:close/>
                <a:moveTo>
                  <a:pt x="9127415" y="645450"/>
                </a:moveTo>
                <a:cubicBezTo>
                  <a:pt x="9130277" y="646083"/>
                  <a:pt x="9132822" y="646717"/>
                  <a:pt x="9135684" y="646716"/>
                </a:cubicBezTo>
                <a:cubicBezTo>
                  <a:pt x="9138546" y="646717"/>
                  <a:pt x="9141408" y="648616"/>
                  <a:pt x="9142681" y="651149"/>
                </a:cubicBezTo>
                <a:cubicBezTo>
                  <a:pt x="9143636" y="653366"/>
                  <a:pt x="9144589" y="654632"/>
                  <a:pt x="9146497" y="655582"/>
                </a:cubicBezTo>
                <a:cubicBezTo>
                  <a:pt x="9146498" y="659381"/>
                  <a:pt x="9146497" y="663181"/>
                  <a:pt x="9146497" y="666980"/>
                </a:cubicBezTo>
                <a:cubicBezTo>
                  <a:pt x="9143318" y="668562"/>
                  <a:pt x="9140773" y="671095"/>
                  <a:pt x="9139500" y="673945"/>
                </a:cubicBezTo>
                <a:cubicBezTo>
                  <a:pt x="9137911" y="676478"/>
                  <a:pt x="9136639" y="679328"/>
                  <a:pt x="9135049" y="682177"/>
                </a:cubicBezTo>
                <a:cubicBezTo>
                  <a:pt x="9133458" y="684709"/>
                  <a:pt x="9131867" y="687559"/>
                  <a:pt x="9131549" y="690726"/>
                </a:cubicBezTo>
                <a:cubicBezTo>
                  <a:pt x="9130913" y="693574"/>
                  <a:pt x="9129005" y="694841"/>
                  <a:pt x="9126779" y="696425"/>
                </a:cubicBezTo>
                <a:cubicBezTo>
                  <a:pt x="9124553" y="698007"/>
                  <a:pt x="9121372" y="697691"/>
                  <a:pt x="9119782" y="699907"/>
                </a:cubicBezTo>
                <a:cubicBezTo>
                  <a:pt x="9117557" y="699907"/>
                  <a:pt x="9115649" y="699907"/>
                  <a:pt x="9113421" y="699907"/>
                </a:cubicBezTo>
                <a:cubicBezTo>
                  <a:pt x="9113421" y="698957"/>
                  <a:pt x="9113104" y="698641"/>
                  <a:pt x="9112468" y="698640"/>
                </a:cubicBezTo>
                <a:cubicBezTo>
                  <a:pt x="9107697" y="698640"/>
                  <a:pt x="9105154" y="695474"/>
                  <a:pt x="9103562" y="691675"/>
                </a:cubicBezTo>
                <a:cubicBezTo>
                  <a:pt x="9101973" y="688193"/>
                  <a:pt x="9100064" y="685026"/>
                  <a:pt x="9100700" y="680910"/>
                </a:cubicBezTo>
                <a:cubicBezTo>
                  <a:pt x="9101654" y="676478"/>
                  <a:pt x="9101337" y="671729"/>
                  <a:pt x="9105153" y="668246"/>
                </a:cubicBezTo>
                <a:cubicBezTo>
                  <a:pt x="9106426" y="666979"/>
                  <a:pt x="9107698" y="666030"/>
                  <a:pt x="9109923" y="665396"/>
                </a:cubicBezTo>
                <a:cubicBezTo>
                  <a:pt x="9113103" y="664447"/>
                  <a:pt x="9116921" y="662864"/>
                  <a:pt x="9115966" y="657798"/>
                </a:cubicBezTo>
                <a:cubicBezTo>
                  <a:pt x="9115648" y="655898"/>
                  <a:pt x="9117557" y="655265"/>
                  <a:pt x="9117874" y="654315"/>
                </a:cubicBezTo>
                <a:cubicBezTo>
                  <a:pt x="9119464" y="649250"/>
                  <a:pt x="9123281" y="647033"/>
                  <a:pt x="9127415" y="645450"/>
                </a:cubicBezTo>
                <a:close/>
                <a:moveTo>
                  <a:pt x="8561999" y="633526"/>
                </a:moveTo>
                <a:cubicBezTo>
                  <a:pt x="8567891" y="636958"/>
                  <a:pt x="8573536" y="640880"/>
                  <a:pt x="8579428" y="644558"/>
                </a:cubicBezTo>
                <a:cubicBezTo>
                  <a:pt x="8582128" y="646274"/>
                  <a:pt x="8583602" y="650933"/>
                  <a:pt x="8584828" y="654610"/>
                </a:cubicBezTo>
                <a:cubicBezTo>
                  <a:pt x="8585319" y="656081"/>
                  <a:pt x="8585074" y="657552"/>
                  <a:pt x="8586547" y="658778"/>
                </a:cubicBezTo>
                <a:cubicBezTo>
                  <a:pt x="8588020" y="660004"/>
                  <a:pt x="8587775" y="661474"/>
                  <a:pt x="8586792" y="662945"/>
                </a:cubicBezTo>
                <a:cubicBezTo>
                  <a:pt x="8586301" y="663927"/>
                  <a:pt x="8585319" y="665152"/>
                  <a:pt x="8586056" y="666133"/>
                </a:cubicBezTo>
                <a:cubicBezTo>
                  <a:pt x="8588511" y="669075"/>
                  <a:pt x="8588757" y="671282"/>
                  <a:pt x="8584828" y="672753"/>
                </a:cubicBezTo>
                <a:cubicBezTo>
                  <a:pt x="8583846" y="672997"/>
                  <a:pt x="8583601" y="674469"/>
                  <a:pt x="8584583" y="675204"/>
                </a:cubicBezTo>
                <a:cubicBezTo>
                  <a:pt x="8587775" y="677901"/>
                  <a:pt x="8584337" y="679127"/>
                  <a:pt x="8583846" y="681088"/>
                </a:cubicBezTo>
                <a:cubicBezTo>
                  <a:pt x="8582129" y="687707"/>
                  <a:pt x="8574518" y="685747"/>
                  <a:pt x="8571573" y="690650"/>
                </a:cubicBezTo>
                <a:cubicBezTo>
                  <a:pt x="8570591" y="692365"/>
                  <a:pt x="8565927" y="691140"/>
                  <a:pt x="8563718" y="690894"/>
                </a:cubicBezTo>
                <a:cubicBezTo>
                  <a:pt x="8558562" y="690160"/>
                  <a:pt x="8552426" y="693346"/>
                  <a:pt x="8548252" y="687463"/>
                </a:cubicBezTo>
                <a:cubicBezTo>
                  <a:pt x="8547516" y="686482"/>
                  <a:pt x="8546042" y="685256"/>
                  <a:pt x="8544078" y="685256"/>
                </a:cubicBezTo>
                <a:cubicBezTo>
                  <a:pt x="8541378" y="685501"/>
                  <a:pt x="8539905" y="684029"/>
                  <a:pt x="8539414" y="681333"/>
                </a:cubicBezTo>
                <a:cubicBezTo>
                  <a:pt x="8538923" y="679617"/>
                  <a:pt x="8537697" y="678636"/>
                  <a:pt x="8536469" y="677411"/>
                </a:cubicBezTo>
                <a:cubicBezTo>
                  <a:pt x="8533278" y="674469"/>
                  <a:pt x="8531805" y="671036"/>
                  <a:pt x="8533032" y="666624"/>
                </a:cubicBezTo>
                <a:cubicBezTo>
                  <a:pt x="8533769" y="664172"/>
                  <a:pt x="8533033" y="661475"/>
                  <a:pt x="8530577" y="660003"/>
                </a:cubicBezTo>
                <a:cubicBezTo>
                  <a:pt x="8530577" y="659024"/>
                  <a:pt x="8530577" y="658042"/>
                  <a:pt x="8530577" y="657062"/>
                </a:cubicBezTo>
                <a:cubicBezTo>
                  <a:pt x="8532787" y="655836"/>
                  <a:pt x="8533768" y="654365"/>
                  <a:pt x="8533524" y="651178"/>
                </a:cubicBezTo>
                <a:cubicBezTo>
                  <a:pt x="8533277" y="646765"/>
                  <a:pt x="8535241" y="643333"/>
                  <a:pt x="8540151" y="642352"/>
                </a:cubicBezTo>
                <a:cubicBezTo>
                  <a:pt x="8542360" y="642107"/>
                  <a:pt x="8541869" y="640391"/>
                  <a:pt x="8541869" y="638920"/>
                </a:cubicBezTo>
                <a:cubicBezTo>
                  <a:pt x="8541869" y="636468"/>
                  <a:pt x="8542851" y="635978"/>
                  <a:pt x="8544815" y="637694"/>
                </a:cubicBezTo>
                <a:cubicBezTo>
                  <a:pt x="8547762" y="640145"/>
                  <a:pt x="8549725" y="640145"/>
                  <a:pt x="8550462" y="635977"/>
                </a:cubicBezTo>
                <a:cubicBezTo>
                  <a:pt x="8550706" y="634997"/>
                  <a:pt x="8551444" y="633772"/>
                  <a:pt x="8552425" y="634997"/>
                </a:cubicBezTo>
                <a:cubicBezTo>
                  <a:pt x="8555616" y="638184"/>
                  <a:pt x="8557825" y="636223"/>
                  <a:pt x="8560280" y="634016"/>
                </a:cubicBezTo>
                <a:cubicBezTo>
                  <a:pt x="8560526" y="633525"/>
                  <a:pt x="8561508" y="633526"/>
                  <a:pt x="8561999" y="633526"/>
                </a:cubicBezTo>
                <a:close/>
                <a:moveTo>
                  <a:pt x="3072335" y="626429"/>
                </a:moveTo>
                <a:cubicBezTo>
                  <a:pt x="3078666" y="630118"/>
                  <a:pt x="3084734" y="634333"/>
                  <a:pt x="3091065" y="638286"/>
                </a:cubicBezTo>
                <a:cubicBezTo>
                  <a:pt x="3093967" y="640130"/>
                  <a:pt x="3095549" y="645136"/>
                  <a:pt x="3096869" y="649087"/>
                </a:cubicBezTo>
                <a:cubicBezTo>
                  <a:pt x="3097397" y="650668"/>
                  <a:pt x="3097133" y="652249"/>
                  <a:pt x="3098716" y="653566"/>
                </a:cubicBezTo>
                <a:cubicBezTo>
                  <a:pt x="3100299" y="654883"/>
                  <a:pt x="3100034" y="656464"/>
                  <a:pt x="3098979" y="658045"/>
                </a:cubicBezTo>
                <a:cubicBezTo>
                  <a:pt x="3098450" y="659098"/>
                  <a:pt x="3097397" y="660416"/>
                  <a:pt x="3098188" y="661470"/>
                </a:cubicBezTo>
                <a:cubicBezTo>
                  <a:pt x="3100827" y="664631"/>
                  <a:pt x="3101089" y="667002"/>
                  <a:pt x="3096869" y="668583"/>
                </a:cubicBezTo>
                <a:cubicBezTo>
                  <a:pt x="3095814" y="668847"/>
                  <a:pt x="3095549" y="670427"/>
                  <a:pt x="3096605" y="671217"/>
                </a:cubicBezTo>
                <a:cubicBezTo>
                  <a:pt x="3100035" y="674116"/>
                  <a:pt x="3096342" y="675433"/>
                  <a:pt x="3095813" y="677540"/>
                </a:cubicBezTo>
                <a:cubicBezTo>
                  <a:pt x="3093967" y="684654"/>
                  <a:pt x="3085789" y="682546"/>
                  <a:pt x="3082623" y="687815"/>
                </a:cubicBezTo>
                <a:cubicBezTo>
                  <a:pt x="3081568" y="689659"/>
                  <a:pt x="3076556" y="688342"/>
                  <a:pt x="3074182" y="688079"/>
                </a:cubicBezTo>
                <a:cubicBezTo>
                  <a:pt x="3068642" y="687289"/>
                  <a:pt x="3062046" y="690713"/>
                  <a:pt x="3057563" y="684391"/>
                </a:cubicBezTo>
                <a:cubicBezTo>
                  <a:pt x="3056772" y="683336"/>
                  <a:pt x="3055188" y="682019"/>
                  <a:pt x="3053079" y="682020"/>
                </a:cubicBezTo>
                <a:cubicBezTo>
                  <a:pt x="3050177" y="682283"/>
                  <a:pt x="3048595" y="680702"/>
                  <a:pt x="3048066" y="677804"/>
                </a:cubicBezTo>
                <a:cubicBezTo>
                  <a:pt x="3047538" y="675960"/>
                  <a:pt x="3046219" y="674906"/>
                  <a:pt x="3044901" y="673589"/>
                </a:cubicBezTo>
                <a:cubicBezTo>
                  <a:pt x="3041471" y="670427"/>
                  <a:pt x="3039888" y="666739"/>
                  <a:pt x="3041209" y="661997"/>
                </a:cubicBezTo>
                <a:cubicBezTo>
                  <a:pt x="3041997" y="659362"/>
                  <a:pt x="3041209" y="656464"/>
                  <a:pt x="3038570" y="654883"/>
                </a:cubicBezTo>
                <a:cubicBezTo>
                  <a:pt x="3038570" y="653829"/>
                  <a:pt x="3038570" y="652776"/>
                  <a:pt x="3038570" y="651722"/>
                </a:cubicBezTo>
                <a:cubicBezTo>
                  <a:pt x="3040944" y="650405"/>
                  <a:pt x="3041998" y="648823"/>
                  <a:pt x="3041736" y="645399"/>
                </a:cubicBezTo>
                <a:cubicBezTo>
                  <a:pt x="3041471" y="640657"/>
                  <a:pt x="3043581" y="636968"/>
                  <a:pt x="3048856" y="635914"/>
                </a:cubicBezTo>
                <a:cubicBezTo>
                  <a:pt x="3051232" y="635651"/>
                  <a:pt x="3050703" y="633807"/>
                  <a:pt x="3050704" y="632225"/>
                </a:cubicBezTo>
                <a:cubicBezTo>
                  <a:pt x="3050703" y="629591"/>
                  <a:pt x="3051760" y="629065"/>
                  <a:pt x="3053870" y="630909"/>
                </a:cubicBezTo>
                <a:cubicBezTo>
                  <a:pt x="3057035" y="633544"/>
                  <a:pt x="3059146" y="633543"/>
                  <a:pt x="3059937" y="629065"/>
                </a:cubicBezTo>
                <a:cubicBezTo>
                  <a:pt x="3060200" y="628011"/>
                  <a:pt x="3060992" y="626694"/>
                  <a:pt x="3062047" y="628010"/>
                </a:cubicBezTo>
                <a:cubicBezTo>
                  <a:pt x="3065478" y="631435"/>
                  <a:pt x="3067850" y="629327"/>
                  <a:pt x="3070488" y="626957"/>
                </a:cubicBezTo>
                <a:cubicBezTo>
                  <a:pt x="3070752" y="626430"/>
                  <a:pt x="3071807" y="626429"/>
                  <a:pt x="3072335" y="626429"/>
                </a:cubicBezTo>
                <a:close/>
                <a:moveTo>
                  <a:pt x="2278833" y="624824"/>
                </a:moveTo>
                <a:cubicBezTo>
                  <a:pt x="2279538" y="624824"/>
                  <a:pt x="2280953" y="624824"/>
                  <a:pt x="2281306" y="625530"/>
                </a:cubicBezTo>
                <a:cubicBezTo>
                  <a:pt x="2284842" y="628707"/>
                  <a:pt x="2288023" y="631530"/>
                  <a:pt x="2292616" y="626942"/>
                </a:cubicBezTo>
                <a:cubicBezTo>
                  <a:pt x="2294032" y="625176"/>
                  <a:pt x="2295092" y="626941"/>
                  <a:pt x="2295446" y="628354"/>
                </a:cubicBezTo>
                <a:cubicBezTo>
                  <a:pt x="2296505" y="634354"/>
                  <a:pt x="2299331" y="634354"/>
                  <a:pt x="2303573" y="630824"/>
                </a:cubicBezTo>
                <a:cubicBezTo>
                  <a:pt x="2306399" y="628354"/>
                  <a:pt x="2307814" y="629060"/>
                  <a:pt x="2307815" y="632589"/>
                </a:cubicBezTo>
                <a:cubicBezTo>
                  <a:pt x="2307815" y="634707"/>
                  <a:pt x="2307108" y="637178"/>
                  <a:pt x="2310288" y="637530"/>
                </a:cubicBezTo>
                <a:cubicBezTo>
                  <a:pt x="2317356" y="638942"/>
                  <a:pt x="2320184" y="643884"/>
                  <a:pt x="2319831" y="650237"/>
                </a:cubicBezTo>
                <a:cubicBezTo>
                  <a:pt x="2319477" y="654825"/>
                  <a:pt x="2320892" y="656943"/>
                  <a:pt x="2324073" y="658709"/>
                </a:cubicBezTo>
                <a:cubicBezTo>
                  <a:pt x="2324073" y="660120"/>
                  <a:pt x="2324073" y="661532"/>
                  <a:pt x="2324073" y="662944"/>
                </a:cubicBezTo>
                <a:cubicBezTo>
                  <a:pt x="2320536" y="665062"/>
                  <a:pt x="2319477" y="668944"/>
                  <a:pt x="2320536" y="672474"/>
                </a:cubicBezTo>
                <a:cubicBezTo>
                  <a:pt x="2322305" y="678827"/>
                  <a:pt x="2320183" y="683769"/>
                  <a:pt x="2315589" y="688004"/>
                </a:cubicBezTo>
                <a:cubicBezTo>
                  <a:pt x="2313822" y="689770"/>
                  <a:pt x="2312056" y="691181"/>
                  <a:pt x="2311348" y="693653"/>
                </a:cubicBezTo>
                <a:cubicBezTo>
                  <a:pt x="2310642" y="697535"/>
                  <a:pt x="2308520" y="699652"/>
                  <a:pt x="2304632" y="699300"/>
                </a:cubicBezTo>
                <a:cubicBezTo>
                  <a:pt x="2301806" y="699299"/>
                  <a:pt x="2299686" y="701064"/>
                  <a:pt x="2298625" y="702476"/>
                </a:cubicBezTo>
                <a:cubicBezTo>
                  <a:pt x="2292615" y="710947"/>
                  <a:pt x="2283780" y="706359"/>
                  <a:pt x="2276360" y="707417"/>
                </a:cubicBezTo>
                <a:cubicBezTo>
                  <a:pt x="2273179" y="707770"/>
                  <a:pt x="2266461" y="709536"/>
                  <a:pt x="2265051" y="707065"/>
                </a:cubicBezTo>
                <a:cubicBezTo>
                  <a:pt x="2260810" y="700006"/>
                  <a:pt x="2249853" y="702829"/>
                  <a:pt x="2247380" y="693299"/>
                </a:cubicBezTo>
                <a:cubicBezTo>
                  <a:pt x="2246674" y="690476"/>
                  <a:pt x="2241723" y="688710"/>
                  <a:pt x="2246320" y="684828"/>
                </a:cubicBezTo>
                <a:cubicBezTo>
                  <a:pt x="2247732" y="683769"/>
                  <a:pt x="2247380" y="681651"/>
                  <a:pt x="2245966" y="681298"/>
                </a:cubicBezTo>
                <a:cubicBezTo>
                  <a:pt x="2240310" y="679180"/>
                  <a:pt x="2240666" y="676004"/>
                  <a:pt x="2244198" y="671768"/>
                </a:cubicBezTo>
                <a:cubicBezTo>
                  <a:pt x="2245259" y="670356"/>
                  <a:pt x="2243846" y="668592"/>
                  <a:pt x="2243137" y="667179"/>
                </a:cubicBezTo>
                <a:cubicBezTo>
                  <a:pt x="2241723" y="665062"/>
                  <a:pt x="2241370" y="662944"/>
                  <a:pt x="2243491" y="661179"/>
                </a:cubicBezTo>
                <a:cubicBezTo>
                  <a:pt x="2245611" y="659414"/>
                  <a:pt x="2245258" y="657296"/>
                  <a:pt x="2245966" y="655179"/>
                </a:cubicBezTo>
                <a:cubicBezTo>
                  <a:pt x="2247732" y="649884"/>
                  <a:pt x="2249852" y="643178"/>
                  <a:pt x="2253742" y="640708"/>
                </a:cubicBezTo>
                <a:cubicBezTo>
                  <a:pt x="2262222" y="635412"/>
                  <a:pt x="2270352" y="629766"/>
                  <a:pt x="2278833" y="624824"/>
                </a:cubicBezTo>
                <a:close/>
                <a:moveTo>
                  <a:pt x="7656768" y="624585"/>
                </a:moveTo>
                <a:cubicBezTo>
                  <a:pt x="7657445" y="624724"/>
                  <a:pt x="7657963" y="625361"/>
                  <a:pt x="7658203" y="626716"/>
                </a:cubicBezTo>
                <a:cubicBezTo>
                  <a:pt x="7658202" y="627353"/>
                  <a:pt x="7658362" y="627990"/>
                  <a:pt x="7658680" y="628628"/>
                </a:cubicBezTo>
                <a:cubicBezTo>
                  <a:pt x="7659000" y="629424"/>
                  <a:pt x="7658999" y="630699"/>
                  <a:pt x="7660116" y="630859"/>
                </a:cubicBezTo>
                <a:cubicBezTo>
                  <a:pt x="7661072" y="630859"/>
                  <a:pt x="7661709" y="630062"/>
                  <a:pt x="7662187" y="629425"/>
                </a:cubicBezTo>
                <a:cubicBezTo>
                  <a:pt x="7664579" y="626715"/>
                  <a:pt x="7665536" y="626875"/>
                  <a:pt x="7666970" y="630221"/>
                </a:cubicBezTo>
                <a:cubicBezTo>
                  <a:pt x="7667289" y="631017"/>
                  <a:pt x="7667449" y="631655"/>
                  <a:pt x="7667926" y="632292"/>
                </a:cubicBezTo>
                <a:cubicBezTo>
                  <a:pt x="7668564" y="633249"/>
                  <a:pt x="7669202" y="634045"/>
                  <a:pt x="7670796" y="633408"/>
                </a:cubicBezTo>
                <a:cubicBezTo>
                  <a:pt x="7672231" y="632611"/>
                  <a:pt x="7672231" y="631974"/>
                  <a:pt x="7671912" y="630699"/>
                </a:cubicBezTo>
                <a:lnTo>
                  <a:pt x="7671643" y="628289"/>
                </a:lnTo>
                <a:lnTo>
                  <a:pt x="7684103" y="640680"/>
                </a:lnTo>
                <a:lnTo>
                  <a:pt x="7683389" y="641692"/>
                </a:lnTo>
                <a:cubicBezTo>
                  <a:pt x="7683071" y="643127"/>
                  <a:pt x="7683549" y="644083"/>
                  <a:pt x="7684825" y="644720"/>
                </a:cubicBezTo>
                <a:cubicBezTo>
                  <a:pt x="7685781" y="645198"/>
                  <a:pt x="7686737" y="645517"/>
                  <a:pt x="7687694" y="645994"/>
                </a:cubicBezTo>
                <a:cubicBezTo>
                  <a:pt x="7689288" y="646792"/>
                  <a:pt x="7689925" y="647907"/>
                  <a:pt x="7689606" y="649819"/>
                </a:cubicBezTo>
                <a:cubicBezTo>
                  <a:pt x="7688650" y="655555"/>
                  <a:pt x="7690722" y="659537"/>
                  <a:pt x="7695824" y="662087"/>
                </a:cubicBezTo>
                <a:cubicBezTo>
                  <a:pt x="7696621" y="662565"/>
                  <a:pt x="7698374" y="662405"/>
                  <a:pt x="7698055" y="663840"/>
                </a:cubicBezTo>
                <a:cubicBezTo>
                  <a:pt x="7697896" y="665273"/>
                  <a:pt x="7696462" y="665592"/>
                  <a:pt x="7695027" y="665752"/>
                </a:cubicBezTo>
                <a:cubicBezTo>
                  <a:pt x="7694868" y="665752"/>
                  <a:pt x="7694709" y="665751"/>
                  <a:pt x="7694549" y="665752"/>
                </a:cubicBezTo>
                <a:cubicBezTo>
                  <a:pt x="7690722" y="666389"/>
                  <a:pt x="7689607" y="668141"/>
                  <a:pt x="7691519" y="671169"/>
                </a:cubicBezTo>
                <a:cubicBezTo>
                  <a:pt x="7693273" y="674036"/>
                  <a:pt x="7692795" y="676267"/>
                  <a:pt x="7691201" y="678657"/>
                </a:cubicBezTo>
                <a:cubicBezTo>
                  <a:pt x="7689129" y="681844"/>
                  <a:pt x="7687534" y="685189"/>
                  <a:pt x="7688491" y="689173"/>
                </a:cubicBezTo>
                <a:cubicBezTo>
                  <a:pt x="7688969" y="690925"/>
                  <a:pt x="7687216" y="691723"/>
                  <a:pt x="7686099" y="692041"/>
                </a:cubicBezTo>
                <a:cubicBezTo>
                  <a:pt x="7681955" y="693475"/>
                  <a:pt x="7680042" y="696184"/>
                  <a:pt x="7679563" y="700326"/>
                </a:cubicBezTo>
                <a:cubicBezTo>
                  <a:pt x="7679245" y="702875"/>
                  <a:pt x="7678289" y="703354"/>
                  <a:pt x="7675738" y="701760"/>
                </a:cubicBezTo>
                <a:cubicBezTo>
                  <a:pt x="7670318" y="698415"/>
                  <a:pt x="7662347" y="700804"/>
                  <a:pt x="7659956" y="706381"/>
                </a:cubicBezTo>
                <a:cubicBezTo>
                  <a:pt x="7659477" y="707496"/>
                  <a:pt x="7658840" y="708929"/>
                  <a:pt x="7659956" y="709886"/>
                </a:cubicBezTo>
                <a:cubicBezTo>
                  <a:pt x="7661072" y="710842"/>
                  <a:pt x="7662666" y="711320"/>
                  <a:pt x="7664101" y="710365"/>
                </a:cubicBezTo>
                <a:cubicBezTo>
                  <a:pt x="7665057" y="709886"/>
                  <a:pt x="7666014" y="709089"/>
                  <a:pt x="7666970" y="708452"/>
                </a:cubicBezTo>
                <a:cubicBezTo>
                  <a:pt x="7667927" y="707655"/>
                  <a:pt x="7668883" y="707177"/>
                  <a:pt x="7669680" y="708133"/>
                </a:cubicBezTo>
                <a:cubicBezTo>
                  <a:pt x="7670637" y="709248"/>
                  <a:pt x="7669999" y="710205"/>
                  <a:pt x="7669202" y="711001"/>
                </a:cubicBezTo>
                <a:cubicBezTo>
                  <a:pt x="7668564" y="711798"/>
                  <a:pt x="7667608" y="712435"/>
                  <a:pt x="7666970" y="713073"/>
                </a:cubicBezTo>
                <a:cubicBezTo>
                  <a:pt x="7665535" y="714507"/>
                  <a:pt x="7664738" y="716419"/>
                  <a:pt x="7666173" y="718012"/>
                </a:cubicBezTo>
                <a:cubicBezTo>
                  <a:pt x="7667449" y="719287"/>
                  <a:pt x="7669202" y="718012"/>
                  <a:pt x="7670477" y="717056"/>
                </a:cubicBezTo>
                <a:cubicBezTo>
                  <a:pt x="7671593" y="716259"/>
                  <a:pt x="7672391" y="714826"/>
                  <a:pt x="7673826" y="714347"/>
                </a:cubicBezTo>
                <a:cubicBezTo>
                  <a:pt x="7675897" y="713550"/>
                  <a:pt x="7677172" y="713869"/>
                  <a:pt x="7677013" y="716419"/>
                </a:cubicBezTo>
                <a:cubicBezTo>
                  <a:pt x="7676854" y="719924"/>
                  <a:pt x="7675419" y="722792"/>
                  <a:pt x="7673507" y="725500"/>
                </a:cubicBezTo>
                <a:cubicBezTo>
                  <a:pt x="7671115" y="729006"/>
                  <a:pt x="7670955" y="730918"/>
                  <a:pt x="7673507" y="734264"/>
                </a:cubicBezTo>
                <a:cubicBezTo>
                  <a:pt x="7674303" y="735538"/>
                  <a:pt x="7675579" y="736654"/>
                  <a:pt x="7676695" y="737769"/>
                </a:cubicBezTo>
                <a:cubicBezTo>
                  <a:pt x="7677172" y="738247"/>
                  <a:pt x="7677970" y="738725"/>
                  <a:pt x="7677651" y="739521"/>
                </a:cubicBezTo>
                <a:cubicBezTo>
                  <a:pt x="7677332" y="740478"/>
                  <a:pt x="7676535" y="740637"/>
                  <a:pt x="7675897" y="740478"/>
                </a:cubicBezTo>
                <a:cubicBezTo>
                  <a:pt x="7673028" y="739841"/>
                  <a:pt x="7672391" y="741115"/>
                  <a:pt x="7672550" y="743664"/>
                </a:cubicBezTo>
                <a:cubicBezTo>
                  <a:pt x="7672709" y="746850"/>
                  <a:pt x="7670637" y="749081"/>
                  <a:pt x="7668405" y="750834"/>
                </a:cubicBezTo>
                <a:cubicBezTo>
                  <a:pt x="7666652" y="752268"/>
                  <a:pt x="7666492" y="753383"/>
                  <a:pt x="7668245" y="754658"/>
                </a:cubicBezTo>
                <a:cubicBezTo>
                  <a:pt x="7669202" y="755295"/>
                  <a:pt x="7669839" y="755932"/>
                  <a:pt x="7669520" y="757207"/>
                </a:cubicBezTo>
                <a:cubicBezTo>
                  <a:pt x="7669202" y="758961"/>
                  <a:pt x="7667927" y="758642"/>
                  <a:pt x="7666810" y="758960"/>
                </a:cubicBezTo>
                <a:cubicBezTo>
                  <a:pt x="7666173" y="759119"/>
                  <a:pt x="7665376" y="759119"/>
                  <a:pt x="7664579" y="759279"/>
                </a:cubicBezTo>
                <a:cubicBezTo>
                  <a:pt x="7660275" y="759757"/>
                  <a:pt x="7659319" y="762147"/>
                  <a:pt x="7661869" y="765811"/>
                </a:cubicBezTo>
                <a:cubicBezTo>
                  <a:pt x="7662187" y="766288"/>
                  <a:pt x="7662507" y="766607"/>
                  <a:pt x="7662666" y="767086"/>
                </a:cubicBezTo>
                <a:cubicBezTo>
                  <a:pt x="7663144" y="768042"/>
                  <a:pt x="7663463" y="769316"/>
                  <a:pt x="7662507" y="769954"/>
                </a:cubicBezTo>
                <a:cubicBezTo>
                  <a:pt x="7661710" y="770592"/>
                  <a:pt x="7660594" y="769954"/>
                  <a:pt x="7659956" y="769316"/>
                </a:cubicBezTo>
                <a:cubicBezTo>
                  <a:pt x="7659318" y="768679"/>
                  <a:pt x="7658840" y="768042"/>
                  <a:pt x="7658362" y="767245"/>
                </a:cubicBezTo>
                <a:cubicBezTo>
                  <a:pt x="7657406" y="766130"/>
                  <a:pt x="7656449" y="765811"/>
                  <a:pt x="7655174" y="766767"/>
                </a:cubicBezTo>
                <a:cubicBezTo>
                  <a:pt x="7652145" y="768838"/>
                  <a:pt x="7648797" y="769156"/>
                  <a:pt x="7645449" y="769316"/>
                </a:cubicBezTo>
                <a:cubicBezTo>
                  <a:pt x="7641464" y="769635"/>
                  <a:pt x="7637319" y="769157"/>
                  <a:pt x="7633334" y="770113"/>
                </a:cubicBezTo>
                <a:cubicBezTo>
                  <a:pt x="7631899" y="770432"/>
                  <a:pt x="7631103" y="769476"/>
                  <a:pt x="7630465" y="768680"/>
                </a:cubicBezTo>
                <a:cubicBezTo>
                  <a:pt x="7628233" y="766130"/>
                  <a:pt x="7626160" y="763581"/>
                  <a:pt x="7622175" y="764856"/>
                </a:cubicBezTo>
                <a:cubicBezTo>
                  <a:pt x="7621378" y="765014"/>
                  <a:pt x="7620900" y="764377"/>
                  <a:pt x="7620582" y="763741"/>
                </a:cubicBezTo>
                <a:cubicBezTo>
                  <a:pt x="7618828" y="760554"/>
                  <a:pt x="7615958" y="758004"/>
                  <a:pt x="7613567" y="755295"/>
                </a:cubicBezTo>
                <a:cubicBezTo>
                  <a:pt x="7609901" y="751153"/>
                  <a:pt x="7607828" y="746532"/>
                  <a:pt x="7609263" y="740956"/>
                </a:cubicBezTo>
                <a:cubicBezTo>
                  <a:pt x="7609741" y="738725"/>
                  <a:pt x="7608465" y="737291"/>
                  <a:pt x="7607191" y="736016"/>
                </a:cubicBezTo>
                <a:cubicBezTo>
                  <a:pt x="7604321" y="732988"/>
                  <a:pt x="7604481" y="731395"/>
                  <a:pt x="7607669" y="729006"/>
                </a:cubicBezTo>
                <a:cubicBezTo>
                  <a:pt x="7611176" y="726616"/>
                  <a:pt x="7611176" y="726616"/>
                  <a:pt x="7608306" y="723110"/>
                </a:cubicBezTo>
                <a:cubicBezTo>
                  <a:pt x="7607668" y="722314"/>
                  <a:pt x="7607191" y="721677"/>
                  <a:pt x="7608147" y="720721"/>
                </a:cubicBezTo>
                <a:cubicBezTo>
                  <a:pt x="7611335" y="717055"/>
                  <a:pt x="7614205" y="713392"/>
                  <a:pt x="7617552" y="709886"/>
                </a:cubicBezTo>
                <a:cubicBezTo>
                  <a:pt x="7619943" y="707178"/>
                  <a:pt x="7622972" y="705425"/>
                  <a:pt x="7626480" y="704629"/>
                </a:cubicBezTo>
                <a:cubicBezTo>
                  <a:pt x="7628711" y="703991"/>
                  <a:pt x="7633016" y="698255"/>
                  <a:pt x="7633175" y="695865"/>
                </a:cubicBezTo>
                <a:cubicBezTo>
                  <a:pt x="7633175" y="695068"/>
                  <a:pt x="7633175" y="694431"/>
                  <a:pt x="7632218" y="694113"/>
                </a:cubicBezTo>
                <a:cubicBezTo>
                  <a:pt x="7627277" y="691882"/>
                  <a:pt x="7624885" y="687580"/>
                  <a:pt x="7622813" y="682959"/>
                </a:cubicBezTo>
                <a:cubicBezTo>
                  <a:pt x="7622334" y="682004"/>
                  <a:pt x="7622016" y="681206"/>
                  <a:pt x="7621538" y="680410"/>
                </a:cubicBezTo>
                <a:cubicBezTo>
                  <a:pt x="7619944" y="677861"/>
                  <a:pt x="7619146" y="675630"/>
                  <a:pt x="7620262" y="672444"/>
                </a:cubicBezTo>
                <a:cubicBezTo>
                  <a:pt x="7621378" y="669257"/>
                  <a:pt x="7619625" y="666070"/>
                  <a:pt x="7618031" y="663203"/>
                </a:cubicBezTo>
                <a:cubicBezTo>
                  <a:pt x="7617393" y="661768"/>
                  <a:pt x="7617075" y="660812"/>
                  <a:pt x="7618190" y="659379"/>
                </a:cubicBezTo>
                <a:cubicBezTo>
                  <a:pt x="7622654" y="653324"/>
                  <a:pt x="7626001" y="646632"/>
                  <a:pt x="7626638" y="638824"/>
                </a:cubicBezTo>
                <a:cubicBezTo>
                  <a:pt x="7626798" y="637710"/>
                  <a:pt x="7627117" y="637232"/>
                  <a:pt x="7628233" y="637550"/>
                </a:cubicBezTo>
                <a:cubicBezTo>
                  <a:pt x="7632696" y="638506"/>
                  <a:pt x="7635566" y="636117"/>
                  <a:pt x="7637957" y="632929"/>
                </a:cubicBezTo>
                <a:cubicBezTo>
                  <a:pt x="7639073" y="631496"/>
                  <a:pt x="7640030" y="630699"/>
                  <a:pt x="7642101" y="631655"/>
                </a:cubicBezTo>
                <a:cubicBezTo>
                  <a:pt x="7644652" y="633089"/>
                  <a:pt x="7647043" y="631814"/>
                  <a:pt x="7649116" y="630062"/>
                </a:cubicBezTo>
                <a:cubicBezTo>
                  <a:pt x="7650869" y="628627"/>
                  <a:pt x="7652623" y="626875"/>
                  <a:pt x="7654377" y="625441"/>
                </a:cubicBezTo>
                <a:cubicBezTo>
                  <a:pt x="7655253" y="624804"/>
                  <a:pt x="7656090" y="624445"/>
                  <a:pt x="7656768" y="624585"/>
                </a:cubicBezTo>
                <a:close/>
                <a:moveTo>
                  <a:pt x="1444458" y="624438"/>
                </a:moveTo>
                <a:cubicBezTo>
                  <a:pt x="1447506" y="623375"/>
                  <a:pt x="1450677" y="623086"/>
                  <a:pt x="1454218" y="625545"/>
                </a:cubicBezTo>
                <a:cubicBezTo>
                  <a:pt x="1455445" y="626348"/>
                  <a:pt x="1457598" y="627127"/>
                  <a:pt x="1459806" y="626330"/>
                </a:cubicBezTo>
                <a:cubicBezTo>
                  <a:pt x="1462742" y="624957"/>
                  <a:pt x="1464995" y="626012"/>
                  <a:pt x="1466643" y="628844"/>
                </a:cubicBezTo>
                <a:cubicBezTo>
                  <a:pt x="1467892" y="630573"/>
                  <a:pt x="1469670" y="631177"/>
                  <a:pt x="1471548" y="632056"/>
                </a:cubicBezTo>
                <a:cubicBezTo>
                  <a:pt x="1476330" y="634067"/>
                  <a:pt x="1479381" y="637327"/>
                  <a:pt x="1479794" y="642786"/>
                </a:cubicBezTo>
                <a:cubicBezTo>
                  <a:pt x="1479963" y="645841"/>
                  <a:pt x="1481887" y="648574"/>
                  <a:pt x="1485244" y="649230"/>
                </a:cubicBezTo>
                <a:cubicBezTo>
                  <a:pt x="1485643" y="650332"/>
                  <a:pt x="1486041" y="651434"/>
                  <a:pt x="1486440" y="652537"/>
                </a:cubicBezTo>
                <a:cubicBezTo>
                  <a:pt x="1484454" y="654812"/>
                  <a:pt x="1483948" y="656865"/>
                  <a:pt x="1485518" y="660348"/>
                </a:cubicBezTo>
                <a:cubicBezTo>
                  <a:pt x="1487588" y="665209"/>
                  <a:pt x="1486775" y="669865"/>
                  <a:pt x="1481655" y="672963"/>
                </a:cubicBezTo>
                <a:cubicBezTo>
                  <a:pt x="1479271" y="674136"/>
                  <a:pt x="1480520" y="675866"/>
                  <a:pt x="1481118" y="677519"/>
                </a:cubicBezTo>
                <a:cubicBezTo>
                  <a:pt x="1482114" y="680275"/>
                  <a:pt x="1481209" y="681225"/>
                  <a:pt x="1478304" y="680095"/>
                </a:cubicBezTo>
                <a:cubicBezTo>
                  <a:pt x="1473997" y="678535"/>
                  <a:pt x="1471789" y="679333"/>
                  <a:pt x="1472655" y="684318"/>
                </a:cubicBezTo>
                <a:cubicBezTo>
                  <a:pt x="1472778" y="685519"/>
                  <a:pt x="1472448" y="687197"/>
                  <a:pt x="1470846" y="686218"/>
                </a:cubicBezTo>
                <a:cubicBezTo>
                  <a:pt x="1465964" y="683932"/>
                  <a:pt x="1464277" y="687035"/>
                  <a:pt x="1462414" y="690512"/>
                </a:cubicBezTo>
                <a:cubicBezTo>
                  <a:pt x="1462338" y="691163"/>
                  <a:pt x="1461234" y="691562"/>
                  <a:pt x="1460682" y="691761"/>
                </a:cubicBezTo>
                <a:cubicBezTo>
                  <a:pt x="1452664" y="690298"/>
                  <a:pt x="1444724" y="688182"/>
                  <a:pt x="1436607" y="686442"/>
                </a:cubicBezTo>
                <a:cubicBezTo>
                  <a:pt x="1432874" y="685610"/>
                  <a:pt x="1429325" y="680972"/>
                  <a:pt x="1426451" y="677337"/>
                </a:cubicBezTo>
                <a:cubicBezTo>
                  <a:pt x="1425302" y="675883"/>
                  <a:pt x="1424981" y="674129"/>
                  <a:pt x="1422826" y="673350"/>
                </a:cubicBezTo>
                <a:cubicBezTo>
                  <a:pt x="1420673" y="672571"/>
                  <a:pt x="1420350" y="670817"/>
                  <a:pt x="1420857" y="668765"/>
                </a:cubicBezTo>
                <a:cubicBezTo>
                  <a:pt x="1421010" y="667463"/>
                  <a:pt x="1421616" y="665686"/>
                  <a:pt x="1420390" y="664883"/>
                </a:cubicBezTo>
                <a:cubicBezTo>
                  <a:pt x="1416435" y="662573"/>
                  <a:pt x="1415262" y="660193"/>
                  <a:pt x="1419079" y="656943"/>
                </a:cubicBezTo>
                <a:cubicBezTo>
                  <a:pt x="1420083" y="656268"/>
                  <a:pt x="1419762" y="654515"/>
                  <a:pt x="1418360" y="654087"/>
                </a:cubicBezTo>
                <a:cubicBezTo>
                  <a:pt x="1413675" y="652353"/>
                  <a:pt x="1417041" y="649578"/>
                  <a:pt x="1416796" y="647174"/>
                </a:cubicBezTo>
                <a:cubicBezTo>
                  <a:pt x="1416039" y="639034"/>
                  <a:pt x="1425389" y="638147"/>
                  <a:pt x="1426708" y="631438"/>
                </a:cubicBezTo>
                <a:cubicBezTo>
                  <a:pt x="1427115" y="629110"/>
                  <a:pt x="1432856" y="628593"/>
                  <a:pt x="1435439" y="627970"/>
                </a:cubicBezTo>
                <a:cubicBezTo>
                  <a:pt x="1438486" y="627337"/>
                  <a:pt x="1441410" y="625501"/>
                  <a:pt x="1444458" y="624438"/>
                </a:cubicBezTo>
                <a:close/>
                <a:moveTo>
                  <a:pt x="9288619" y="607397"/>
                </a:moveTo>
                <a:cubicBezTo>
                  <a:pt x="9291203" y="607426"/>
                  <a:pt x="9293668" y="608071"/>
                  <a:pt x="9295666" y="610886"/>
                </a:cubicBezTo>
                <a:cubicBezTo>
                  <a:pt x="9296371" y="611825"/>
                  <a:pt x="9297780" y="612998"/>
                  <a:pt x="9299658" y="612998"/>
                </a:cubicBezTo>
                <a:cubicBezTo>
                  <a:pt x="9302243" y="612763"/>
                  <a:pt x="9303651" y="614171"/>
                  <a:pt x="9304122" y="616751"/>
                </a:cubicBezTo>
                <a:cubicBezTo>
                  <a:pt x="9304591" y="618393"/>
                  <a:pt x="9305766" y="619332"/>
                  <a:pt x="9306941" y="620505"/>
                </a:cubicBezTo>
                <a:cubicBezTo>
                  <a:pt x="9309993" y="623319"/>
                  <a:pt x="9311403" y="626604"/>
                  <a:pt x="9310228" y="630826"/>
                </a:cubicBezTo>
                <a:cubicBezTo>
                  <a:pt x="9309523" y="633173"/>
                  <a:pt x="9310229" y="635754"/>
                  <a:pt x="9312577" y="637161"/>
                </a:cubicBezTo>
                <a:cubicBezTo>
                  <a:pt x="9312578" y="638099"/>
                  <a:pt x="9312577" y="639038"/>
                  <a:pt x="9312578" y="639976"/>
                </a:cubicBezTo>
                <a:cubicBezTo>
                  <a:pt x="9310463" y="641148"/>
                  <a:pt x="9309523" y="642556"/>
                  <a:pt x="9309758" y="645606"/>
                </a:cubicBezTo>
                <a:cubicBezTo>
                  <a:pt x="9309994" y="649828"/>
                  <a:pt x="9308114" y="653113"/>
                  <a:pt x="9303416" y="654051"/>
                </a:cubicBezTo>
                <a:cubicBezTo>
                  <a:pt x="9301302" y="654286"/>
                  <a:pt x="9301773" y="655928"/>
                  <a:pt x="9301772" y="657335"/>
                </a:cubicBezTo>
                <a:cubicBezTo>
                  <a:pt x="9301773" y="659681"/>
                  <a:pt x="9300832" y="660150"/>
                  <a:pt x="9298953" y="658508"/>
                </a:cubicBezTo>
                <a:cubicBezTo>
                  <a:pt x="9296135" y="656162"/>
                  <a:pt x="9294257" y="656162"/>
                  <a:pt x="9293552" y="660150"/>
                </a:cubicBezTo>
                <a:cubicBezTo>
                  <a:pt x="9293316" y="661089"/>
                  <a:pt x="9292612" y="662262"/>
                  <a:pt x="9291673" y="661088"/>
                </a:cubicBezTo>
                <a:cubicBezTo>
                  <a:pt x="9288618" y="658039"/>
                  <a:pt x="9286505" y="659916"/>
                  <a:pt x="9284156" y="662027"/>
                </a:cubicBezTo>
                <a:cubicBezTo>
                  <a:pt x="9283921" y="662497"/>
                  <a:pt x="9282981" y="662496"/>
                  <a:pt x="9282512" y="662496"/>
                </a:cubicBezTo>
                <a:cubicBezTo>
                  <a:pt x="9276875" y="659212"/>
                  <a:pt x="9271472" y="655459"/>
                  <a:pt x="9265834" y="651940"/>
                </a:cubicBezTo>
                <a:cubicBezTo>
                  <a:pt x="9263251" y="650297"/>
                  <a:pt x="9261841" y="645841"/>
                  <a:pt x="9260667" y="642322"/>
                </a:cubicBezTo>
                <a:cubicBezTo>
                  <a:pt x="9260197" y="640914"/>
                  <a:pt x="9260431" y="639507"/>
                  <a:pt x="9259023" y="638334"/>
                </a:cubicBezTo>
                <a:cubicBezTo>
                  <a:pt x="9257614" y="637161"/>
                  <a:pt x="9257848" y="635753"/>
                  <a:pt x="9258787" y="634346"/>
                </a:cubicBezTo>
                <a:cubicBezTo>
                  <a:pt x="9259257" y="633407"/>
                  <a:pt x="9260197" y="632235"/>
                  <a:pt x="9259493" y="631296"/>
                </a:cubicBezTo>
                <a:cubicBezTo>
                  <a:pt x="9257143" y="628481"/>
                  <a:pt x="9256909" y="626370"/>
                  <a:pt x="9260667" y="624962"/>
                </a:cubicBezTo>
                <a:cubicBezTo>
                  <a:pt x="9261607" y="624727"/>
                  <a:pt x="9261841" y="623320"/>
                  <a:pt x="9260902" y="622616"/>
                </a:cubicBezTo>
                <a:cubicBezTo>
                  <a:pt x="9257848" y="620035"/>
                  <a:pt x="9261137" y="618862"/>
                  <a:pt x="9261606" y="616986"/>
                </a:cubicBezTo>
                <a:cubicBezTo>
                  <a:pt x="9263251" y="610652"/>
                  <a:pt x="9270532" y="612529"/>
                  <a:pt x="9273351" y="607837"/>
                </a:cubicBezTo>
                <a:cubicBezTo>
                  <a:pt x="9274290" y="606195"/>
                  <a:pt x="9278754" y="607367"/>
                  <a:pt x="9280868" y="607602"/>
                </a:cubicBezTo>
                <a:cubicBezTo>
                  <a:pt x="9283334" y="607955"/>
                  <a:pt x="9286035" y="607367"/>
                  <a:pt x="9288619" y="607397"/>
                </a:cubicBezTo>
                <a:close/>
                <a:moveTo>
                  <a:pt x="10851878" y="605816"/>
                </a:moveTo>
                <a:lnTo>
                  <a:pt x="10851981" y="606158"/>
                </a:lnTo>
                <a:lnTo>
                  <a:pt x="10851514" y="606032"/>
                </a:lnTo>
                <a:close/>
                <a:moveTo>
                  <a:pt x="9980887" y="590110"/>
                </a:moveTo>
                <a:cubicBezTo>
                  <a:pt x="9984348" y="590070"/>
                  <a:pt x="9987967" y="590856"/>
                  <a:pt x="9991271" y="590384"/>
                </a:cubicBezTo>
                <a:cubicBezTo>
                  <a:pt x="9994104" y="590070"/>
                  <a:pt x="10000083" y="588499"/>
                  <a:pt x="10001342" y="590699"/>
                </a:cubicBezTo>
                <a:cubicBezTo>
                  <a:pt x="10005119" y="596984"/>
                  <a:pt x="10014873" y="594471"/>
                  <a:pt x="10017076" y="602957"/>
                </a:cubicBezTo>
                <a:cubicBezTo>
                  <a:pt x="10017706" y="605470"/>
                  <a:pt x="10022111" y="607042"/>
                  <a:pt x="10018021" y="610499"/>
                </a:cubicBezTo>
                <a:cubicBezTo>
                  <a:pt x="10016761" y="611442"/>
                  <a:pt x="10017077" y="613328"/>
                  <a:pt x="10018336" y="613642"/>
                </a:cubicBezTo>
                <a:cubicBezTo>
                  <a:pt x="10023371" y="615528"/>
                  <a:pt x="10023055" y="618357"/>
                  <a:pt x="10019908" y="622128"/>
                </a:cubicBezTo>
                <a:cubicBezTo>
                  <a:pt x="10018964" y="623385"/>
                  <a:pt x="10020223" y="624957"/>
                  <a:pt x="10020852" y="626214"/>
                </a:cubicBezTo>
                <a:cubicBezTo>
                  <a:pt x="10022112" y="628099"/>
                  <a:pt x="10022426" y="629985"/>
                  <a:pt x="10020538" y="631556"/>
                </a:cubicBezTo>
                <a:cubicBezTo>
                  <a:pt x="10018650" y="633128"/>
                  <a:pt x="10018964" y="635014"/>
                  <a:pt x="10018335" y="636900"/>
                </a:cubicBezTo>
                <a:cubicBezTo>
                  <a:pt x="10016762" y="641614"/>
                  <a:pt x="10014873" y="647586"/>
                  <a:pt x="10011412" y="649785"/>
                </a:cubicBezTo>
                <a:cubicBezTo>
                  <a:pt x="10003859" y="654500"/>
                  <a:pt x="9996622" y="659528"/>
                  <a:pt x="9989069" y="663929"/>
                </a:cubicBezTo>
                <a:cubicBezTo>
                  <a:pt x="9988440" y="663929"/>
                  <a:pt x="9987180" y="663929"/>
                  <a:pt x="9986867" y="663300"/>
                </a:cubicBezTo>
                <a:cubicBezTo>
                  <a:pt x="9983719" y="660471"/>
                  <a:pt x="9980888" y="657957"/>
                  <a:pt x="9976797" y="662042"/>
                </a:cubicBezTo>
                <a:cubicBezTo>
                  <a:pt x="9975538" y="663615"/>
                  <a:pt x="9974593" y="662043"/>
                  <a:pt x="9974278" y="660785"/>
                </a:cubicBezTo>
                <a:cubicBezTo>
                  <a:pt x="9973335" y="655443"/>
                  <a:pt x="9970817" y="655442"/>
                  <a:pt x="9967041" y="658585"/>
                </a:cubicBezTo>
                <a:cubicBezTo>
                  <a:pt x="9964523" y="660785"/>
                  <a:pt x="9963264" y="660157"/>
                  <a:pt x="9963264" y="657014"/>
                </a:cubicBezTo>
                <a:cubicBezTo>
                  <a:pt x="9963265" y="655128"/>
                  <a:pt x="9963893" y="652928"/>
                  <a:pt x="9961061" y="652614"/>
                </a:cubicBezTo>
                <a:cubicBezTo>
                  <a:pt x="9954767" y="651357"/>
                  <a:pt x="9952251" y="646956"/>
                  <a:pt x="9952565" y="641300"/>
                </a:cubicBezTo>
                <a:cubicBezTo>
                  <a:pt x="9952880" y="637214"/>
                  <a:pt x="9951620" y="635328"/>
                  <a:pt x="9948789" y="633757"/>
                </a:cubicBezTo>
                <a:cubicBezTo>
                  <a:pt x="9948789" y="632499"/>
                  <a:pt x="9948789" y="631242"/>
                  <a:pt x="9948788" y="629985"/>
                </a:cubicBezTo>
                <a:cubicBezTo>
                  <a:pt x="9951936" y="628099"/>
                  <a:pt x="9952879" y="624642"/>
                  <a:pt x="9951936" y="621499"/>
                </a:cubicBezTo>
                <a:cubicBezTo>
                  <a:pt x="9950361" y="615842"/>
                  <a:pt x="9952250" y="611442"/>
                  <a:pt x="9956341" y="607671"/>
                </a:cubicBezTo>
                <a:cubicBezTo>
                  <a:pt x="9957914" y="606099"/>
                  <a:pt x="9959489" y="604842"/>
                  <a:pt x="9960118" y="602642"/>
                </a:cubicBezTo>
                <a:cubicBezTo>
                  <a:pt x="9960746" y="599185"/>
                  <a:pt x="9962635" y="597299"/>
                  <a:pt x="9966096" y="597613"/>
                </a:cubicBezTo>
                <a:cubicBezTo>
                  <a:pt x="9968614" y="597613"/>
                  <a:pt x="9970502" y="596042"/>
                  <a:pt x="9971447" y="594784"/>
                </a:cubicBezTo>
                <a:cubicBezTo>
                  <a:pt x="9974122" y="591013"/>
                  <a:pt x="9977425" y="590149"/>
                  <a:pt x="9980887" y="590110"/>
                </a:cubicBezTo>
                <a:close/>
                <a:moveTo>
                  <a:pt x="3255092" y="584418"/>
                </a:moveTo>
                <a:cubicBezTo>
                  <a:pt x="3257592" y="584418"/>
                  <a:pt x="3259736" y="584418"/>
                  <a:pt x="3262236" y="584418"/>
                </a:cubicBezTo>
                <a:cubicBezTo>
                  <a:pt x="3262236" y="585484"/>
                  <a:pt x="3262593" y="585840"/>
                  <a:pt x="3263307" y="585840"/>
                </a:cubicBezTo>
                <a:cubicBezTo>
                  <a:pt x="3268665" y="585840"/>
                  <a:pt x="3271523" y="589396"/>
                  <a:pt x="3273308" y="593663"/>
                </a:cubicBezTo>
                <a:cubicBezTo>
                  <a:pt x="3275094" y="597574"/>
                  <a:pt x="3277238" y="601130"/>
                  <a:pt x="3276523" y="605752"/>
                </a:cubicBezTo>
                <a:cubicBezTo>
                  <a:pt x="3275452" y="610730"/>
                  <a:pt x="3275809" y="616063"/>
                  <a:pt x="3271522" y="619975"/>
                </a:cubicBezTo>
                <a:cubicBezTo>
                  <a:pt x="3270095" y="621396"/>
                  <a:pt x="3268666" y="622464"/>
                  <a:pt x="3266166" y="623175"/>
                </a:cubicBezTo>
                <a:cubicBezTo>
                  <a:pt x="3262593" y="624241"/>
                  <a:pt x="3258306" y="626018"/>
                  <a:pt x="3259378" y="631708"/>
                </a:cubicBezTo>
                <a:cubicBezTo>
                  <a:pt x="3259736" y="633841"/>
                  <a:pt x="3257592" y="634553"/>
                  <a:pt x="3257235" y="635619"/>
                </a:cubicBezTo>
                <a:cubicBezTo>
                  <a:pt x="3255450" y="641308"/>
                  <a:pt x="3251163" y="643797"/>
                  <a:pt x="3246520" y="645575"/>
                </a:cubicBezTo>
                <a:cubicBezTo>
                  <a:pt x="3243306" y="644864"/>
                  <a:pt x="3240448" y="644153"/>
                  <a:pt x="3237233" y="644153"/>
                </a:cubicBezTo>
                <a:cubicBezTo>
                  <a:pt x="3234018" y="644152"/>
                  <a:pt x="3230806" y="642019"/>
                  <a:pt x="3229377" y="639175"/>
                </a:cubicBezTo>
                <a:cubicBezTo>
                  <a:pt x="3228305" y="636686"/>
                  <a:pt x="3227233" y="635264"/>
                  <a:pt x="3225091" y="634197"/>
                </a:cubicBezTo>
                <a:cubicBezTo>
                  <a:pt x="3225091" y="629930"/>
                  <a:pt x="3225091" y="625664"/>
                  <a:pt x="3225091" y="621397"/>
                </a:cubicBezTo>
                <a:cubicBezTo>
                  <a:pt x="3228661" y="619618"/>
                  <a:pt x="3231520" y="616774"/>
                  <a:pt x="3232947" y="613574"/>
                </a:cubicBezTo>
                <a:cubicBezTo>
                  <a:pt x="3234733" y="610730"/>
                  <a:pt x="3236163" y="607530"/>
                  <a:pt x="3237948" y="604330"/>
                </a:cubicBezTo>
                <a:cubicBezTo>
                  <a:pt x="3239733" y="601485"/>
                  <a:pt x="3241519" y="598285"/>
                  <a:pt x="3241877" y="594729"/>
                </a:cubicBezTo>
                <a:cubicBezTo>
                  <a:pt x="3242591" y="591529"/>
                  <a:pt x="3244734" y="590106"/>
                  <a:pt x="3247234" y="588328"/>
                </a:cubicBezTo>
                <a:cubicBezTo>
                  <a:pt x="3249734" y="586551"/>
                  <a:pt x="3253306" y="586907"/>
                  <a:pt x="3255092" y="584418"/>
                </a:cubicBezTo>
                <a:close/>
                <a:moveTo>
                  <a:pt x="4683962" y="580975"/>
                </a:moveTo>
                <a:lnTo>
                  <a:pt x="4683946" y="581267"/>
                </a:lnTo>
                <a:lnTo>
                  <a:pt x="4683707" y="581194"/>
                </a:lnTo>
                <a:close/>
                <a:moveTo>
                  <a:pt x="4309100" y="578900"/>
                </a:moveTo>
                <a:cubicBezTo>
                  <a:pt x="4310157" y="579405"/>
                  <a:pt x="4311949" y="579790"/>
                  <a:pt x="4313615" y="578917"/>
                </a:cubicBezTo>
                <a:cubicBezTo>
                  <a:pt x="4315793" y="577510"/>
                  <a:pt x="4317694" y="578103"/>
                  <a:pt x="4319308" y="580172"/>
                </a:cubicBezTo>
                <a:cubicBezTo>
                  <a:pt x="4320490" y="581408"/>
                  <a:pt x="4321960" y="581694"/>
                  <a:pt x="4323547" y="582187"/>
                </a:cubicBezTo>
                <a:cubicBezTo>
                  <a:pt x="4327557" y="583265"/>
                  <a:pt x="4330333" y="585520"/>
                  <a:pt x="4331250" y="589805"/>
                </a:cubicBezTo>
                <a:cubicBezTo>
                  <a:pt x="4331714" y="592210"/>
                  <a:pt x="4333536" y="594169"/>
                  <a:pt x="4336271" y="594325"/>
                </a:cubicBezTo>
                <a:cubicBezTo>
                  <a:pt x="4336708" y="595157"/>
                  <a:pt x="4337138" y="595988"/>
                  <a:pt x="4337578" y="596819"/>
                </a:cubicBezTo>
                <a:cubicBezTo>
                  <a:pt x="4336246" y="598839"/>
                  <a:pt x="4336071" y="600522"/>
                  <a:pt x="4337693" y="603114"/>
                </a:cubicBezTo>
                <a:cubicBezTo>
                  <a:pt x="4339859" y="606746"/>
                  <a:pt x="4339721" y="610526"/>
                  <a:pt x="4335993" y="613538"/>
                </a:cubicBezTo>
                <a:cubicBezTo>
                  <a:pt x="4334229" y="614727"/>
                  <a:pt x="4335414" y="615963"/>
                  <a:pt x="4336065" y="617210"/>
                </a:cubicBezTo>
                <a:cubicBezTo>
                  <a:pt x="4337154" y="619289"/>
                  <a:pt x="4336534" y="620140"/>
                  <a:pt x="4334110" y="619558"/>
                </a:cubicBezTo>
                <a:cubicBezTo>
                  <a:pt x="4330521" y="618788"/>
                  <a:pt x="4328862" y="619660"/>
                  <a:pt x="4330086" y="623519"/>
                </a:cubicBezTo>
                <a:cubicBezTo>
                  <a:pt x="4330316" y="624460"/>
                  <a:pt x="4330236" y="625826"/>
                  <a:pt x="4328859" y="625223"/>
                </a:cubicBezTo>
                <a:cubicBezTo>
                  <a:pt x="4324734" y="623938"/>
                  <a:pt x="4323734" y="626582"/>
                  <a:pt x="4322634" y="629542"/>
                </a:cubicBezTo>
                <a:cubicBezTo>
                  <a:pt x="4322643" y="630067"/>
                  <a:pt x="4321812" y="630503"/>
                  <a:pt x="4321399" y="630721"/>
                </a:cubicBezTo>
                <a:cubicBezTo>
                  <a:pt x="4314883" y="630428"/>
                  <a:pt x="4308353" y="629610"/>
                  <a:pt x="4301723" y="629109"/>
                </a:cubicBezTo>
                <a:cubicBezTo>
                  <a:pt x="4298676" y="628854"/>
                  <a:pt x="4295358" y="625559"/>
                  <a:pt x="4292684" y="622988"/>
                </a:cubicBezTo>
                <a:cubicBezTo>
                  <a:pt x="4291617" y="621959"/>
                  <a:pt x="4291170" y="620603"/>
                  <a:pt x="4289378" y="620219"/>
                </a:cubicBezTo>
                <a:cubicBezTo>
                  <a:pt x="4287585" y="619833"/>
                  <a:pt x="4287139" y="618477"/>
                  <a:pt x="4287319" y="616794"/>
                </a:cubicBezTo>
                <a:cubicBezTo>
                  <a:pt x="4287298" y="615745"/>
                  <a:pt x="4287586" y="614271"/>
                  <a:pt x="4286526" y="613766"/>
                </a:cubicBezTo>
                <a:cubicBezTo>
                  <a:pt x="4283138" y="612362"/>
                  <a:pt x="4281951" y="610602"/>
                  <a:pt x="4284627" y="607611"/>
                </a:cubicBezTo>
                <a:cubicBezTo>
                  <a:pt x="4285350" y="606966"/>
                  <a:pt x="4284910" y="605611"/>
                  <a:pt x="4283746" y="605424"/>
                </a:cubicBezTo>
                <a:cubicBezTo>
                  <a:pt x="4279845" y="604554"/>
                  <a:pt x="4282212" y="601989"/>
                  <a:pt x="4281756" y="600110"/>
                </a:cubicBezTo>
                <a:cubicBezTo>
                  <a:pt x="4280278" y="593736"/>
                  <a:pt x="4287598" y="592019"/>
                  <a:pt x="4287917" y="586555"/>
                </a:cubicBezTo>
                <a:cubicBezTo>
                  <a:pt x="4287985" y="584664"/>
                  <a:pt x="4292487" y="583632"/>
                  <a:pt x="4294465" y="582859"/>
                </a:cubicBezTo>
                <a:cubicBezTo>
                  <a:pt x="4299161" y="581193"/>
                  <a:pt x="4302947" y="575767"/>
                  <a:pt x="4309100" y="578900"/>
                </a:cubicBezTo>
                <a:close/>
                <a:moveTo>
                  <a:pt x="11814451" y="578358"/>
                </a:moveTo>
                <a:cubicBezTo>
                  <a:pt x="11815256" y="578792"/>
                  <a:pt x="11816863" y="579657"/>
                  <a:pt x="11816833" y="580676"/>
                </a:cubicBezTo>
                <a:cubicBezTo>
                  <a:pt x="11818906" y="586454"/>
                  <a:pt x="11820794" y="591614"/>
                  <a:pt x="11828829" y="589211"/>
                </a:cubicBezTo>
                <a:cubicBezTo>
                  <a:pt x="11831519" y="588070"/>
                  <a:pt x="11831642" y="590726"/>
                  <a:pt x="11831179" y="592548"/>
                </a:cubicBezTo>
                <a:cubicBezTo>
                  <a:pt x="11828709" y="600022"/>
                  <a:pt x="11831924" y="601755"/>
                  <a:pt x="11838910" y="600338"/>
                </a:cubicBezTo>
                <a:cubicBezTo>
                  <a:pt x="11843639" y="599261"/>
                  <a:pt x="11844815" y="600929"/>
                  <a:pt x="11842652" y="604943"/>
                </a:cubicBezTo>
                <a:cubicBezTo>
                  <a:pt x="11841354" y="607352"/>
                  <a:pt x="11839037" y="609728"/>
                  <a:pt x="11842439" y="612079"/>
                </a:cubicBezTo>
                <a:cubicBezTo>
                  <a:pt x="11849611" y="618014"/>
                  <a:pt x="11849799" y="625366"/>
                  <a:pt x="11845506" y="632375"/>
                </a:cubicBezTo>
                <a:cubicBezTo>
                  <a:pt x="11842292" y="637377"/>
                  <a:pt x="11842602" y="640651"/>
                  <a:pt x="11845138" y="644607"/>
                </a:cubicBezTo>
                <a:cubicBezTo>
                  <a:pt x="11844273" y="646212"/>
                  <a:pt x="11843409" y="647819"/>
                  <a:pt x="11842543" y="649424"/>
                </a:cubicBezTo>
                <a:cubicBezTo>
                  <a:pt x="11837227" y="649667"/>
                  <a:pt x="11833642" y="653433"/>
                  <a:pt x="11832686" y="658097"/>
                </a:cubicBezTo>
                <a:cubicBezTo>
                  <a:pt x="11830803" y="666404"/>
                  <a:pt x="11825364" y="670726"/>
                  <a:pt x="11817545" y="672727"/>
                </a:cubicBezTo>
                <a:cubicBezTo>
                  <a:pt x="11814453" y="673652"/>
                  <a:pt x="11811580" y="674175"/>
                  <a:pt x="11809262" y="676552"/>
                </a:cubicBezTo>
                <a:cubicBezTo>
                  <a:pt x="11806079" y="680534"/>
                  <a:pt x="11802371" y="681643"/>
                  <a:pt x="11798166" y="678861"/>
                </a:cubicBezTo>
                <a:cubicBezTo>
                  <a:pt x="11794950" y="677128"/>
                  <a:pt x="11791458" y="677836"/>
                  <a:pt x="11789387" y="678792"/>
                </a:cubicBezTo>
                <a:cubicBezTo>
                  <a:pt x="11777365" y="684746"/>
                  <a:pt x="11770127" y="674114"/>
                  <a:pt x="11761038" y="670772"/>
                </a:cubicBezTo>
                <a:cubicBezTo>
                  <a:pt x="11757205" y="669224"/>
                  <a:pt x="11748488" y="667118"/>
                  <a:pt x="11748393" y="663442"/>
                </a:cubicBezTo>
                <a:cubicBezTo>
                  <a:pt x="11747895" y="652816"/>
                  <a:pt x="11733705" y="649315"/>
                  <a:pt x="11736730" y="636961"/>
                </a:cubicBezTo>
                <a:cubicBezTo>
                  <a:pt x="11737656" y="633317"/>
                  <a:pt x="11733112" y="628278"/>
                  <a:pt x="11740714" y="626678"/>
                </a:cubicBezTo>
                <a:cubicBezTo>
                  <a:pt x="11742971" y="626340"/>
                  <a:pt x="11743866" y="623715"/>
                  <a:pt x="11742475" y="622447"/>
                </a:cubicBezTo>
                <a:cubicBezTo>
                  <a:pt x="11737341" y="616575"/>
                  <a:pt x="11739691" y="613179"/>
                  <a:pt x="11746305" y="610527"/>
                </a:cubicBezTo>
                <a:cubicBezTo>
                  <a:pt x="11748374" y="609570"/>
                  <a:pt x="11747848" y="606697"/>
                  <a:pt x="11747909" y="604659"/>
                </a:cubicBezTo>
                <a:cubicBezTo>
                  <a:pt x="11747599" y="601385"/>
                  <a:pt x="11748495" y="598760"/>
                  <a:pt x="11751987" y="598051"/>
                </a:cubicBezTo>
                <a:cubicBezTo>
                  <a:pt x="11755481" y="597344"/>
                  <a:pt x="11756375" y="594719"/>
                  <a:pt x="11758477" y="592743"/>
                </a:cubicBezTo>
                <a:cubicBezTo>
                  <a:pt x="11763730" y="587805"/>
                  <a:pt x="11770250" y="581477"/>
                  <a:pt x="11776184" y="581049"/>
                </a:cubicBezTo>
                <a:cubicBezTo>
                  <a:pt x="11789074" y="580224"/>
                  <a:pt x="11801778" y="578781"/>
                  <a:pt x="11814451" y="578358"/>
                </a:cubicBezTo>
                <a:close/>
                <a:moveTo>
                  <a:pt x="8129373" y="576794"/>
                </a:moveTo>
                <a:cubicBezTo>
                  <a:pt x="8131158" y="579283"/>
                  <a:pt x="8134730" y="578928"/>
                  <a:pt x="8137230" y="580705"/>
                </a:cubicBezTo>
                <a:cubicBezTo>
                  <a:pt x="8139730" y="582483"/>
                  <a:pt x="8141874" y="583905"/>
                  <a:pt x="8142587" y="587105"/>
                </a:cubicBezTo>
                <a:cubicBezTo>
                  <a:pt x="8142944" y="590661"/>
                  <a:pt x="8144731" y="593861"/>
                  <a:pt x="8146516" y="596706"/>
                </a:cubicBezTo>
                <a:cubicBezTo>
                  <a:pt x="8148302" y="599906"/>
                  <a:pt x="8149731" y="603106"/>
                  <a:pt x="8151516" y="605950"/>
                </a:cubicBezTo>
                <a:cubicBezTo>
                  <a:pt x="8152946" y="609150"/>
                  <a:pt x="8155803" y="611995"/>
                  <a:pt x="8159375" y="613773"/>
                </a:cubicBezTo>
                <a:cubicBezTo>
                  <a:pt x="8159375" y="618040"/>
                  <a:pt x="8159375" y="622306"/>
                  <a:pt x="8159375" y="626573"/>
                </a:cubicBezTo>
                <a:cubicBezTo>
                  <a:pt x="8157231" y="627640"/>
                  <a:pt x="8156160" y="629062"/>
                  <a:pt x="8155089" y="631551"/>
                </a:cubicBezTo>
                <a:cubicBezTo>
                  <a:pt x="8153661" y="634396"/>
                  <a:pt x="8150445" y="636529"/>
                  <a:pt x="8147231" y="636529"/>
                </a:cubicBezTo>
                <a:cubicBezTo>
                  <a:pt x="8144016" y="636529"/>
                  <a:pt x="8141159" y="637241"/>
                  <a:pt x="8137944" y="637951"/>
                </a:cubicBezTo>
                <a:cubicBezTo>
                  <a:pt x="8133302" y="636174"/>
                  <a:pt x="8129015" y="633684"/>
                  <a:pt x="8127229" y="627995"/>
                </a:cubicBezTo>
                <a:cubicBezTo>
                  <a:pt x="8126872" y="626928"/>
                  <a:pt x="8124729" y="626218"/>
                  <a:pt x="8125086" y="624084"/>
                </a:cubicBezTo>
                <a:cubicBezTo>
                  <a:pt x="8126158" y="618396"/>
                  <a:pt x="8121871" y="616617"/>
                  <a:pt x="8118300" y="615551"/>
                </a:cubicBezTo>
                <a:cubicBezTo>
                  <a:pt x="8115800" y="614840"/>
                  <a:pt x="8114371" y="613773"/>
                  <a:pt x="8112942" y="612350"/>
                </a:cubicBezTo>
                <a:cubicBezTo>
                  <a:pt x="8108656" y="608439"/>
                  <a:pt x="8109013" y="603106"/>
                  <a:pt x="8107942" y="598128"/>
                </a:cubicBezTo>
                <a:cubicBezTo>
                  <a:pt x="8107227" y="593505"/>
                  <a:pt x="8109371" y="589950"/>
                  <a:pt x="8111156" y="586039"/>
                </a:cubicBezTo>
                <a:cubicBezTo>
                  <a:pt x="8112943" y="581772"/>
                  <a:pt x="8115800" y="578216"/>
                  <a:pt x="8121157" y="578216"/>
                </a:cubicBezTo>
                <a:cubicBezTo>
                  <a:pt x="8121871" y="578215"/>
                  <a:pt x="8122228" y="577860"/>
                  <a:pt x="8122228" y="576794"/>
                </a:cubicBezTo>
                <a:cubicBezTo>
                  <a:pt x="8124729" y="576794"/>
                  <a:pt x="8126872" y="576794"/>
                  <a:pt x="8129373" y="576794"/>
                </a:cubicBezTo>
                <a:close/>
                <a:moveTo>
                  <a:pt x="9782710" y="572357"/>
                </a:moveTo>
                <a:cubicBezTo>
                  <a:pt x="9785114" y="572384"/>
                  <a:pt x="9787409" y="572985"/>
                  <a:pt x="9789268" y="575605"/>
                </a:cubicBezTo>
                <a:cubicBezTo>
                  <a:pt x="9789923" y="576478"/>
                  <a:pt x="9791234" y="577569"/>
                  <a:pt x="9792983" y="577569"/>
                </a:cubicBezTo>
                <a:cubicBezTo>
                  <a:pt x="9795387" y="577351"/>
                  <a:pt x="9796699" y="578661"/>
                  <a:pt x="9797137" y="581062"/>
                </a:cubicBezTo>
                <a:cubicBezTo>
                  <a:pt x="9797573" y="582590"/>
                  <a:pt x="9798666" y="583464"/>
                  <a:pt x="9799760" y="584555"/>
                </a:cubicBezTo>
                <a:cubicBezTo>
                  <a:pt x="9802602" y="587175"/>
                  <a:pt x="9803913" y="590231"/>
                  <a:pt x="9802819" y="594160"/>
                </a:cubicBezTo>
                <a:cubicBezTo>
                  <a:pt x="9802163" y="596343"/>
                  <a:pt x="9802820" y="598744"/>
                  <a:pt x="9805006" y="600055"/>
                </a:cubicBezTo>
                <a:cubicBezTo>
                  <a:pt x="9805006" y="600928"/>
                  <a:pt x="9805006" y="601801"/>
                  <a:pt x="9805006" y="602674"/>
                </a:cubicBezTo>
                <a:cubicBezTo>
                  <a:pt x="9803038" y="603765"/>
                  <a:pt x="9802164" y="605076"/>
                  <a:pt x="9802382" y="607913"/>
                </a:cubicBezTo>
                <a:cubicBezTo>
                  <a:pt x="9802601" y="611843"/>
                  <a:pt x="9800852" y="614899"/>
                  <a:pt x="9796480" y="615772"/>
                </a:cubicBezTo>
                <a:cubicBezTo>
                  <a:pt x="9794513" y="615990"/>
                  <a:pt x="9794951" y="617519"/>
                  <a:pt x="9794950" y="618829"/>
                </a:cubicBezTo>
                <a:cubicBezTo>
                  <a:pt x="9794950" y="621011"/>
                  <a:pt x="9794076" y="621448"/>
                  <a:pt x="9792328" y="619920"/>
                </a:cubicBezTo>
                <a:cubicBezTo>
                  <a:pt x="9789704" y="617737"/>
                  <a:pt x="9787956" y="617737"/>
                  <a:pt x="9787300" y="621448"/>
                </a:cubicBezTo>
                <a:cubicBezTo>
                  <a:pt x="9787081" y="622322"/>
                  <a:pt x="9786427" y="623413"/>
                  <a:pt x="9785551" y="622322"/>
                </a:cubicBezTo>
                <a:cubicBezTo>
                  <a:pt x="9782710" y="619483"/>
                  <a:pt x="9780742" y="621230"/>
                  <a:pt x="9778557" y="623195"/>
                </a:cubicBezTo>
                <a:cubicBezTo>
                  <a:pt x="9778338" y="623631"/>
                  <a:pt x="9777464" y="623631"/>
                  <a:pt x="9777027" y="623631"/>
                </a:cubicBezTo>
                <a:cubicBezTo>
                  <a:pt x="9771781" y="620575"/>
                  <a:pt x="9766753" y="617082"/>
                  <a:pt x="9761507" y="613808"/>
                </a:cubicBezTo>
                <a:cubicBezTo>
                  <a:pt x="9759103" y="612279"/>
                  <a:pt x="9757792" y="608132"/>
                  <a:pt x="9756699" y="604857"/>
                </a:cubicBezTo>
                <a:cubicBezTo>
                  <a:pt x="9756262" y="603547"/>
                  <a:pt x="9756480" y="602238"/>
                  <a:pt x="9755169" y="601146"/>
                </a:cubicBezTo>
                <a:cubicBezTo>
                  <a:pt x="9753857" y="600055"/>
                  <a:pt x="9754076" y="598744"/>
                  <a:pt x="9754950" y="597435"/>
                </a:cubicBezTo>
                <a:cubicBezTo>
                  <a:pt x="9755387" y="596561"/>
                  <a:pt x="9756261" y="595470"/>
                  <a:pt x="9755605" y="594597"/>
                </a:cubicBezTo>
                <a:cubicBezTo>
                  <a:pt x="9753421" y="591977"/>
                  <a:pt x="9753201" y="590013"/>
                  <a:pt x="9756698" y="588702"/>
                </a:cubicBezTo>
                <a:cubicBezTo>
                  <a:pt x="9757573" y="588484"/>
                  <a:pt x="9757792" y="587175"/>
                  <a:pt x="9756917" y="586519"/>
                </a:cubicBezTo>
                <a:cubicBezTo>
                  <a:pt x="9754075" y="584118"/>
                  <a:pt x="9757135" y="583027"/>
                  <a:pt x="9757574" y="581281"/>
                </a:cubicBezTo>
                <a:cubicBezTo>
                  <a:pt x="9759103" y="575386"/>
                  <a:pt x="9765880" y="577133"/>
                  <a:pt x="9768502" y="572767"/>
                </a:cubicBezTo>
                <a:cubicBezTo>
                  <a:pt x="9769376" y="571239"/>
                  <a:pt x="9773529" y="572330"/>
                  <a:pt x="9775496" y="572548"/>
                </a:cubicBezTo>
                <a:cubicBezTo>
                  <a:pt x="9777792" y="572875"/>
                  <a:pt x="9780305" y="572330"/>
                  <a:pt x="9782710" y="572357"/>
                </a:cubicBezTo>
                <a:close/>
                <a:moveTo>
                  <a:pt x="8349139" y="567635"/>
                </a:moveTo>
                <a:cubicBezTo>
                  <a:pt x="8355030" y="571068"/>
                  <a:pt x="8360677" y="574991"/>
                  <a:pt x="8366568" y="578668"/>
                </a:cubicBezTo>
                <a:cubicBezTo>
                  <a:pt x="8369269" y="580384"/>
                  <a:pt x="8370741" y="585042"/>
                  <a:pt x="8371969" y="588720"/>
                </a:cubicBezTo>
                <a:cubicBezTo>
                  <a:pt x="8372460" y="590191"/>
                  <a:pt x="8372215" y="591661"/>
                  <a:pt x="8373688" y="592888"/>
                </a:cubicBezTo>
                <a:cubicBezTo>
                  <a:pt x="8375160" y="594113"/>
                  <a:pt x="8374914" y="595584"/>
                  <a:pt x="8373933" y="597055"/>
                </a:cubicBezTo>
                <a:cubicBezTo>
                  <a:pt x="8373442" y="598036"/>
                  <a:pt x="8372460" y="599262"/>
                  <a:pt x="8373196" y="600243"/>
                </a:cubicBezTo>
                <a:cubicBezTo>
                  <a:pt x="8375651" y="603184"/>
                  <a:pt x="8375896" y="605391"/>
                  <a:pt x="8371969" y="606862"/>
                </a:cubicBezTo>
                <a:cubicBezTo>
                  <a:pt x="8370987" y="607107"/>
                  <a:pt x="8370742" y="608578"/>
                  <a:pt x="8371724" y="609313"/>
                </a:cubicBezTo>
                <a:cubicBezTo>
                  <a:pt x="8374914" y="612010"/>
                  <a:pt x="8371478" y="613236"/>
                  <a:pt x="8370987" y="615197"/>
                </a:cubicBezTo>
                <a:cubicBezTo>
                  <a:pt x="8369268" y="621818"/>
                  <a:pt x="8361659" y="619856"/>
                  <a:pt x="8358713" y="624759"/>
                </a:cubicBezTo>
                <a:cubicBezTo>
                  <a:pt x="8357731" y="626475"/>
                  <a:pt x="8353067" y="625249"/>
                  <a:pt x="8350857" y="625005"/>
                </a:cubicBezTo>
                <a:cubicBezTo>
                  <a:pt x="8345703" y="624269"/>
                  <a:pt x="8339566" y="627456"/>
                  <a:pt x="8335392" y="621572"/>
                </a:cubicBezTo>
                <a:cubicBezTo>
                  <a:pt x="8334656" y="620591"/>
                  <a:pt x="8333183" y="619366"/>
                  <a:pt x="8331219" y="619365"/>
                </a:cubicBezTo>
                <a:cubicBezTo>
                  <a:pt x="8328519" y="619610"/>
                  <a:pt x="8327046" y="618140"/>
                  <a:pt x="8326555" y="615442"/>
                </a:cubicBezTo>
                <a:cubicBezTo>
                  <a:pt x="8326065" y="613726"/>
                  <a:pt x="8324836" y="612745"/>
                  <a:pt x="8323610" y="611520"/>
                </a:cubicBezTo>
                <a:cubicBezTo>
                  <a:pt x="8320418" y="608578"/>
                  <a:pt x="8318945" y="605146"/>
                  <a:pt x="8320173" y="600733"/>
                </a:cubicBezTo>
                <a:cubicBezTo>
                  <a:pt x="8320909" y="598281"/>
                  <a:pt x="8320172" y="595584"/>
                  <a:pt x="8317718" y="594114"/>
                </a:cubicBezTo>
                <a:cubicBezTo>
                  <a:pt x="8317718" y="593133"/>
                  <a:pt x="8317718" y="592152"/>
                  <a:pt x="8317718" y="591171"/>
                </a:cubicBezTo>
                <a:cubicBezTo>
                  <a:pt x="8319927" y="589946"/>
                  <a:pt x="8320909" y="588475"/>
                  <a:pt x="8320663" y="585287"/>
                </a:cubicBezTo>
                <a:cubicBezTo>
                  <a:pt x="8320418" y="580874"/>
                  <a:pt x="8322382" y="577442"/>
                  <a:pt x="8327292" y="576462"/>
                </a:cubicBezTo>
                <a:cubicBezTo>
                  <a:pt x="8329500" y="576216"/>
                  <a:pt x="8329010" y="574500"/>
                  <a:pt x="8329010" y="573029"/>
                </a:cubicBezTo>
                <a:cubicBezTo>
                  <a:pt x="8329009" y="570578"/>
                  <a:pt x="8329992" y="570087"/>
                  <a:pt x="8331956" y="571803"/>
                </a:cubicBezTo>
                <a:cubicBezTo>
                  <a:pt x="8334901" y="574255"/>
                  <a:pt x="8336865" y="574255"/>
                  <a:pt x="8337601" y="570088"/>
                </a:cubicBezTo>
                <a:cubicBezTo>
                  <a:pt x="8337847" y="569107"/>
                  <a:pt x="8338583" y="567881"/>
                  <a:pt x="8339565" y="569106"/>
                </a:cubicBezTo>
                <a:cubicBezTo>
                  <a:pt x="8342757" y="572294"/>
                  <a:pt x="8344967" y="570333"/>
                  <a:pt x="8347421" y="568125"/>
                </a:cubicBezTo>
                <a:cubicBezTo>
                  <a:pt x="8347667" y="567635"/>
                  <a:pt x="8348648" y="567635"/>
                  <a:pt x="8349139" y="567635"/>
                </a:cubicBezTo>
                <a:close/>
                <a:moveTo>
                  <a:pt x="8881204" y="561337"/>
                </a:moveTo>
                <a:lnTo>
                  <a:pt x="8881585" y="561427"/>
                </a:lnTo>
                <a:lnTo>
                  <a:pt x="8881379" y="561631"/>
                </a:lnTo>
                <a:close/>
                <a:moveTo>
                  <a:pt x="2859478" y="560539"/>
                </a:moveTo>
                <a:cubicBezTo>
                  <a:pt x="2865809" y="564228"/>
                  <a:pt x="2871877" y="568443"/>
                  <a:pt x="2878206" y="572395"/>
                </a:cubicBezTo>
                <a:cubicBezTo>
                  <a:pt x="2881109" y="574240"/>
                  <a:pt x="2882693" y="579244"/>
                  <a:pt x="2884011" y="583197"/>
                </a:cubicBezTo>
                <a:cubicBezTo>
                  <a:pt x="2884539" y="584777"/>
                  <a:pt x="2884274" y="586359"/>
                  <a:pt x="2885858" y="587676"/>
                </a:cubicBezTo>
                <a:cubicBezTo>
                  <a:pt x="2887441" y="588993"/>
                  <a:pt x="2887179" y="590573"/>
                  <a:pt x="2886122" y="592155"/>
                </a:cubicBezTo>
                <a:cubicBezTo>
                  <a:pt x="2885593" y="593208"/>
                  <a:pt x="2884539" y="594526"/>
                  <a:pt x="2885330" y="595579"/>
                </a:cubicBezTo>
                <a:cubicBezTo>
                  <a:pt x="2887969" y="598740"/>
                  <a:pt x="2888232" y="601111"/>
                  <a:pt x="2884011" y="602693"/>
                </a:cubicBezTo>
                <a:cubicBezTo>
                  <a:pt x="2882955" y="602955"/>
                  <a:pt x="2882692" y="604537"/>
                  <a:pt x="2883748" y="605327"/>
                </a:cubicBezTo>
                <a:cubicBezTo>
                  <a:pt x="2887179" y="608225"/>
                  <a:pt x="2883484" y="609542"/>
                  <a:pt x="2882955" y="611650"/>
                </a:cubicBezTo>
                <a:cubicBezTo>
                  <a:pt x="2881109" y="618764"/>
                  <a:pt x="2872931" y="616655"/>
                  <a:pt x="2869766" y="621925"/>
                </a:cubicBezTo>
                <a:cubicBezTo>
                  <a:pt x="2868709" y="623769"/>
                  <a:pt x="2863698" y="622452"/>
                  <a:pt x="2861325" y="622189"/>
                </a:cubicBezTo>
                <a:cubicBezTo>
                  <a:pt x="2855784" y="621398"/>
                  <a:pt x="2849189" y="624823"/>
                  <a:pt x="2844705" y="618500"/>
                </a:cubicBezTo>
                <a:cubicBezTo>
                  <a:pt x="2843913" y="617446"/>
                  <a:pt x="2842332" y="616129"/>
                  <a:pt x="2840221" y="616129"/>
                </a:cubicBezTo>
                <a:cubicBezTo>
                  <a:pt x="2837318" y="616392"/>
                  <a:pt x="2835736" y="614811"/>
                  <a:pt x="2835209" y="611913"/>
                </a:cubicBezTo>
                <a:cubicBezTo>
                  <a:pt x="2834680" y="610070"/>
                  <a:pt x="2833361" y="609016"/>
                  <a:pt x="2832044" y="607699"/>
                </a:cubicBezTo>
                <a:cubicBezTo>
                  <a:pt x="2828614" y="604537"/>
                  <a:pt x="2827031" y="600848"/>
                  <a:pt x="2828351" y="596106"/>
                </a:cubicBezTo>
                <a:cubicBezTo>
                  <a:pt x="2829140" y="593471"/>
                  <a:pt x="2828350" y="590574"/>
                  <a:pt x="2825711" y="588993"/>
                </a:cubicBezTo>
                <a:cubicBezTo>
                  <a:pt x="2825711" y="587939"/>
                  <a:pt x="2825711" y="586885"/>
                  <a:pt x="2825711" y="585831"/>
                </a:cubicBezTo>
                <a:cubicBezTo>
                  <a:pt x="2828087" y="584514"/>
                  <a:pt x="2829140" y="582933"/>
                  <a:pt x="2828878" y="579508"/>
                </a:cubicBezTo>
                <a:cubicBezTo>
                  <a:pt x="2828615" y="574767"/>
                  <a:pt x="2830724" y="571077"/>
                  <a:pt x="2836000" y="570024"/>
                </a:cubicBezTo>
                <a:cubicBezTo>
                  <a:pt x="2838373" y="569760"/>
                  <a:pt x="2837847" y="567916"/>
                  <a:pt x="2837847" y="566335"/>
                </a:cubicBezTo>
                <a:cubicBezTo>
                  <a:pt x="2837846" y="563701"/>
                  <a:pt x="2838901" y="563174"/>
                  <a:pt x="2841013" y="565018"/>
                </a:cubicBezTo>
                <a:cubicBezTo>
                  <a:pt x="2844179" y="567652"/>
                  <a:pt x="2846289" y="567653"/>
                  <a:pt x="2847079" y="563174"/>
                </a:cubicBezTo>
                <a:cubicBezTo>
                  <a:pt x="2847343" y="562120"/>
                  <a:pt x="2848134" y="560802"/>
                  <a:pt x="2849189" y="562120"/>
                </a:cubicBezTo>
                <a:cubicBezTo>
                  <a:pt x="2852619" y="565545"/>
                  <a:pt x="2854993" y="563437"/>
                  <a:pt x="2857632" y="561067"/>
                </a:cubicBezTo>
                <a:cubicBezTo>
                  <a:pt x="2857896" y="560539"/>
                  <a:pt x="2858952" y="560539"/>
                  <a:pt x="2859478" y="560539"/>
                </a:cubicBezTo>
                <a:close/>
                <a:moveTo>
                  <a:pt x="4504221" y="542912"/>
                </a:moveTo>
                <a:cubicBezTo>
                  <a:pt x="4505278" y="543416"/>
                  <a:pt x="4507069" y="543801"/>
                  <a:pt x="4508734" y="542929"/>
                </a:cubicBezTo>
                <a:cubicBezTo>
                  <a:pt x="4510915" y="541522"/>
                  <a:pt x="4512816" y="542115"/>
                  <a:pt x="4514429" y="544182"/>
                </a:cubicBezTo>
                <a:cubicBezTo>
                  <a:pt x="4515607" y="545419"/>
                  <a:pt x="4517085" y="545705"/>
                  <a:pt x="4518669" y="546199"/>
                </a:cubicBezTo>
                <a:cubicBezTo>
                  <a:pt x="4522680" y="547275"/>
                  <a:pt x="4525455" y="549530"/>
                  <a:pt x="4526371" y="553816"/>
                </a:cubicBezTo>
                <a:cubicBezTo>
                  <a:pt x="4526837" y="556221"/>
                  <a:pt x="4528656" y="558180"/>
                  <a:pt x="4531396" y="558336"/>
                </a:cubicBezTo>
                <a:cubicBezTo>
                  <a:pt x="4531828" y="559168"/>
                  <a:pt x="4532261" y="559999"/>
                  <a:pt x="4532701" y="560830"/>
                </a:cubicBezTo>
                <a:cubicBezTo>
                  <a:pt x="4531372" y="562850"/>
                  <a:pt x="4531192" y="564533"/>
                  <a:pt x="4532815" y="567126"/>
                </a:cubicBezTo>
                <a:cubicBezTo>
                  <a:pt x="4534983" y="570757"/>
                  <a:pt x="4534842" y="574538"/>
                  <a:pt x="4531119" y="577549"/>
                </a:cubicBezTo>
                <a:cubicBezTo>
                  <a:pt x="4529355" y="578738"/>
                  <a:pt x="4530530" y="579975"/>
                  <a:pt x="4531184" y="581222"/>
                </a:cubicBezTo>
                <a:cubicBezTo>
                  <a:pt x="4532275" y="583300"/>
                  <a:pt x="4531659" y="584152"/>
                  <a:pt x="4529231" y="583569"/>
                </a:cubicBezTo>
                <a:cubicBezTo>
                  <a:pt x="4525645" y="582799"/>
                  <a:pt x="4523980" y="583671"/>
                  <a:pt x="4525207" y="587531"/>
                </a:cubicBezTo>
                <a:cubicBezTo>
                  <a:pt x="4525436" y="588470"/>
                  <a:pt x="4525355" y="589836"/>
                  <a:pt x="4523979" y="589234"/>
                </a:cubicBezTo>
                <a:cubicBezTo>
                  <a:pt x="4519857" y="587950"/>
                  <a:pt x="4518858" y="590593"/>
                  <a:pt x="4517757" y="593553"/>
                </a:cubicBezTo>
                <a:cubicBezTo>
                  <a:pt x="4517764" y="594078"/>
                  <a:pt x="4516932" y="594514"/>
                  <a:pt x="4516519" y="594732"/>
                </a:cubicBezTo>
                <a:cubicBezTo>
                  <a:pt x="4510001" y="594439"/>
                  <a:pt x="4503469" y="593621"/>
                  <a:pt x="4496845" y="593120"/>
                </a:cubicBezTo>
                <a:cubicBezTo>
                  <a:pt x="4493791" y="592865"/>
                  <a:pt x="4490473" y="589571"/>
                  <a:pt x="4487805" y="586998"/>
                </a:cubicBezTo>
                <a:cubicBezTo>
                  <a:pt x="4486732" y="585970"/>
                  <a:pt x="4486291" y="584615"/>
                  <a:pt x="4484494" y="584229"/>
                </a:cubicBezTo>
                <a:cubicBezTo>
                  <a:pt x="4482699" y="583844"/>
                  <a:pt x="4482254" y="582488"/>
                  <a:pt x="4482437" y="580806"/>
                </a:cubicBezTo>
                <a:cubicBezTo>
                  <a:pt x="4482421" y="579757"/>
                  <a:pt x="4482706" y="578281"/>
                  <a:pt x="4481645" y="577778"/>
                </a:cubicBezTo>
                <a:cubicBezTo>
                  <a:pt x="4478264" y="576374"/>
                  <a:pt x="4477072" y="574612"/>
                  <a:pt x="4479743" y="571622"/>
                </a:cubicBezTo>
                <a:cubicBezTo>
                  <a:pt x="4480469" y="570978"/>
                  <a:pt x="4480022" y="569623"/>
                  <a:pt x="4478869" y="569435"/>
                </a:cubicBezTo>
                <a:cubicBezTo>
                  <a:pt x="4474964" y="568566"/>
                  <a:pt x="4477331" y="566001"/>
                  <a:pt x="4476878" y="564120"/>
                </a:cubicBezTo>
                <a:cubicBezTo>
                  <a:pt x="4475396" y="557747"/>
                  <a:pt x="4482712" y="556030"/>
                  <a:pt x="4483033" y="550566"/>
                </a:cubicBezTo>
                <a:cubicBezTo>
                  <a:pt x="4483106" y="548675"/>
                  <a:pt x="4487604" y="547644"/>
                  <a:pt x="4489584" y="546871"/>
                </a:cubicBezTo>
                <a:cubicBezTo>
                  <a:pt x="4494278" y="545204"/>
                  <a:pt x="4498065" y="539778"/>
                  <a:pt x="4504221" y="542912"/>
                </a:cubicBezTo>
                <a:close/>
                <a:moveTo>
                  <a:pt x="6288145" y="535747"/>
                </a:moveTo>
                <a:lnTo>
                  <a:pt x="6292938" y="544469"/>
                </a:lnTo>
                <a:cubicBezTo>
                  <a:pt x="6295369" y="551244"/>
                  <a:pt x="6298446" y="557475"/>
                  <a:pt x="6296607" y="565087"/>
                </a:cubicBezTo>
                <a:cubicBezTo>
                  <a:pt x="6294123" y="573241"/>
                  <a:pt x="6293972" y="582189"/>
                  <a:pt x="6286274" y="588114"/>
                </a:cubicBezTo>
                <a:lnTo>
                  <a:pt x="6282169" y="590120"/>
                </a:lnTo>
                <a:lnTo>
                  <a:pt x="6370681" y="596347"/>
                </a:lnTo>
                <a:cubicBezTo>
                  <a:pt x="6662270" y="628593"/>
                  <a:pt x="6945972" y="706899"/>
                  <a:pt x="7211608" y="826684"/>
                </a:cubicBezTo>
                <a:lnTo>
                  <a:pt x="7274309" y="857334"/>
                </a:lnTo>
                <a:lnTo>
                  <a:pt x="7273303" y="852977"/>
                </a:lnTo>
                <a:cubicBezTo>
                  <a:pt x="7271890" y="850860"/>
                  <a:pt x="7271536" y="848742"/>
                  <a:pt x="7273657" y="846977"/>
                </a:cubicBezTo>
                <a:cubicBezTo>
                  <a:pt x="7275778" y="845212"/>
                  <a:pt x="7275423" y="843095"/>
                  <a:pt x="7276130" y="840977"/>
                </a:cubicBezTo>
                <a:cubicBezTo>
                  <a:pt x="7277898" y="835682"/>
                  <a:pt x="7280018" y="828976"/>
                  <a:pt x="7283906" y="826505"/>
                </a:cubicBezTo>
                <a:cubicBezTo>
                  <a:pt x="7292387" y="821210"/>
                  <a:pt x="7300516" y="815563"/>
                  <a:pt x="7308998" y="810622"/>
                </a:cubicBezTo>
                <a:cubicBezTo>
                  <a:pt x="7309705" y="810622"/>
                  <a:pt x="7311119" y="810622"/>
                  <a:pt x="7311472" y="811327"/>
                </a:cubicBezTo>
                <a:cubicBezTo>
                  <a:pt x="7315007" y="814504"/>
                  <a:pt x="7318188" y="817328"/>
                  <a:pt x="7322781" y="812740"/>
                </a:cubicBezTo>
                <a:cubicBezTo>
                  <a:pt x="7324195" y="810975"/>
                  <a:pt x="7325255" y="812740"/>
                  <a:pt x="7325608" y="814151"/>
                </a:cubicBezTo>
                <a:cubicBezTo>
                  <a:pt x="7326669" y="820152"/>
                  <a:pt x="7329497" y="820152"/>
                  <a:pt x="7333738" y="816622"/>
                </a:cubicBezTo>
                <a:cubicBezTo>
                  <a:pt x="7336565" y="814152"/>
                  <a:pt x="7337979" y="814857"/>
                  <a:pt x="7337978" y="818387"/>
                </a:cubicBezTo>
                <a:cubicBezTo>
                  <a:pt x="7337978" y="820504"/>
                  <a:pt x="7337272" y="822976"/>
                  <a:pt x="7340452" y="823328"/>
                </a:cubicBezTo>
                <a:cubicBezTo>
                  <a:pt x="7347520" y="824740"/>
                  <a:pt x="7350348" y="829682"/>
                  <a:pt x="7349994" y="836035"/>
                </a:cubicBezTo>
                <a:cubicBezTo>
                  <a:pt x="7349641" y="840624"/>
                  <a:pt x="7351055" y="842741"/>
                  <a:pt x="7354236" y="844506"/>
                </a:cubicBezTo>
                <a:cubicBezTo>
                  <a:pt x="7354235" y="845918"/>
                  <a:pt x="7354235" y="847330"/>
                  <a:pt x="7354235" y="848742"/>
                </a:cubicBezTo>
                <a:cubicBezTo>
                  <a:pt x="7350702" y="850860"/>
                  <a:pt x="7349641" y="854742"/>
                  <a:pt x="7350702" y="858272"/>
                </a:cubicBezTo>
                <a:cubicBezTo>
                  <a:pt x="7352469" y="864625"/>
                  <a:pt x="7350348" y="869567"/>
                  <a:pt x="7345753" y="873802"/>
                </a:cubicBezTo>
                <a:cubicBezTo>
                  <a:pt x="7343986" y="875568"/>
                  <a:pt x="7342219" y="876979"/>
                  <a:pt x="7341512" y="879449"/>
                </a:cubicBezTo>
                <a:cubicBezTo>
                  <a:pt x="7340806" y="883333"/>
                  <a:pt x="7338685" y="885450"/>
                  <a:pt x="7334797" y="885097"/>
                </a:cubicBezTo>
                <a:lnTo>
                  <a:pt x="7333024" y="886035"/>
                </a:lnTo>
                <a:lnTo>
                  <a:pt x="7368740" y="903495"/>
                </a:lnTo>
                <a:cubicBezTo>
                  <a:pt x="7626741" y="1039688"/>
                  <a:pt x="7864637" y="1216454"/>
                  <a:pt x="8072250" y="1429192"/>
                </a:cubicBezTo>
                <a:cubicBezTo>
                  <a:pt x="8072250" y="1429192"/>
                  <a:pt x="8072250" y="1429192"/>
                  <a:pt x="8074054" y="1433579"/>
                </a:cubicBezTo>
                <a:cubicBezTo>
                  <a:pt x="8074054" y="1433579"/>
                  <a:pt x="8075858" y="1437968"/>
                  <a:pt x="8075858" y="1437968"/>
                </a:cubicBezTo>
                <a:cubicBezTo>
                  <a:pt x="8067865" y="1430996"/>
                  <a:pt x="8065281" y="1437185"/>
                  <a:pt x="8073274" y="1444155"/>
                </a:cubicBezTo>
                <a:cubicBezTo>
                  <a:pt x="8065281" y="1437185"/>
                  <a:pt x="8065281" y="1437185"/>
                  <a:pt x="8065281" y="1437185"/>
                </a:cubicBezTo>
                <a:cubicBezTo>
                  <a:pt x="8059091" y="1434599"/>
                  <a:pt x="8059091" y="1434599"/>
                  <a:pt x="8056506" y="1440791"/>
                </a:cubicBezTo>
                <a:cubicBezTo>
                  <a:pt x="8056506" y="1440791"/>
                  <a:pt x="8058309" y="1445178"/>
                  <a:pt x="8064499" y="1447761"/>
                </a:cubicBezTo>
                <a:cubicBezTo>
                  <a:pt x="8070689" y="1450345"/>
                  <a:pt x="8070689" y="1450345"/>
                  <a:pt x="8070689" y="1450345"/>
                </a:cubicBezTo>
                <a:cubicBezTo>
                  <a:pt x="8072492" y="1454733"/>
                  <a:pt x="8072492" y="1454733"/>
                  <a:pt x="8072492" y="1454733"/>
                </a:cubicBezTo>
                <a:cubicBezTo>
                  <a:pt x="8068105" y="1456535"/>
                  <a:pt x="8066362" y="1458534"/>
                  <a:pt x="8066716" y="1460953"/>
                </a:cubicBezTo>
                <a:lnTo>
                  <a:pt x="8067317" y="1461727"/>
                </a:lnTo>
                <a:lnTo>
                  <a:pt x="8082644" y="1452725"/>
                </a:lnTo>
                <a:lnTo>
                  <a:pt x="8081266" y="1451127"/>
                </a:lnTo>
                <a:cubicBezTo>
                  <a:pt x="8075076" y="1448542"/>
                  <a:pt x="8075076" y="1448542"/>
                  <a:pt x="8075076" y="1448542"/>
                </a:cubicBezTo>
                <a:cubicBezTo>
                  <a:pt x="8079461" y="1446740"/>
                  <a:pt x="8081266" y="1451127"/>
                  <a:pt x="8085653" y="1449324"/>
                </a:cubicBezTo>
                <a:lnTo>
                  <a:pt x="8086194" y="1450639"/>
                </a:lnTo>
                <a:lnTo>
                  <a:pt x="8089783" y="1448530"/>
                </a:lnTo>
                <a:cubicBezTo>
                  <a:pt x="8103178" y="1437386"/>
                  <a:pt x="8114813" y="1423947"/>
                  <a:pt x="8124382" y="1408243"/>
                </a:cubicBezTo>
                <a:lnTo>
                  <a:pt x="8131508" y="1400879"/>
                </a:lnTo>
                <a:lnTo>
                  <a:pt x="7957229" y="1229439"/>
                </a:lnTo>
                <a:lnTo>
                  <a:pt x="7932499" y="1209829"/>
                </a:lnTo>
                <a:lnTo>
                  <a:pt x="7923459" y="1218228"/>
                </a:lnTo>
                <a:cubicBezTo>
                  <a:pt x="7918932" y="1217227"/>
                  <a:pt x="7914909" y="1216226"/>
                  <a:pt x="7910382" y="1216226"/>
                </a:cubicBezTo>
                <a:cubicBezTo>
                  <a:pt x="7905855" y="1216226"/>
                  <a:pt x="7901328" y="1213220"/>
                  <a:pt x="7899317" y="1209215"/>
                </a:cubicBezTo>
                <a:cubicBezTo>
                  <a:pt x="7897808" y="1205711"/>
                  <a:pt x="7896299" y="1203707"/>
                  <a:pt x="7893281" y="1202205"/>
                </a:cubicBezTo>
                <a:cubicBezTo>
                  <a:pt x="7893281" y="1196197"/>
                  <a:pt x="7893280" y="1190189"/>
                  <a:pt x="7893281" y="1184180"/>
                </a:cubicBezTo>
                <a:lnTo>
                  <a:pt x="7896328" y="1181145"/>
                </a:lnTo>
                <a:lnTo>
                  <a:pt x="7732225" y="1051010"/>
                </a:lnTo>
                <a:cubicBezTo>
                  <a:pt x="7309218" y="749794"/>
                  <a:pt x="6810878" y="572326"/>
                  <a:pt x="6297971" y="536052"/>
                </a:cubicBezTo>
                <a:close/>
                <a:moveTo>
                  <a:pt x="6077440" y="529202"/>
                </a:moveTo>
                <a:cubicBezTo>
                  <a:pt x="5809481" y="531501"/>
                  <a:pt x="5539964" y="572574"/>
                  <a:pt x="5277342" y="654869"/>
                </a:cubicBezTo>
                <a:cubicBezTo>
                  <a:pt x="5218498" y="673921"/>
                  <a:pt x="5164064" y="691168"/>
                  <a:pt x="5107025" y="714606"/>
                </a:cubicBezTo>
                <a:cubicBezTo>
                  <a:pt x="5107025" y="714606"/>
                  <a:pt x="5105224" y="710219"/>
                  <a:pt x="5100837" y="712021"/>
                </a:cubicBezTo>
                <a:cubicBezTo>
                  <a:pt x="5087671" y="717431"/>
                  <a:pt x="5087671" y="717431"/>
                  <a:pt x="5087671" y="717431"/>
                </a:cubicBezTo>
                <a:cubicBezTo>
                  <a:pt x="5087671" y="717431"/>
                  <a:pt x="5083288" y="719233"/>
                  <a:pt x="5085094" y="723620"/>
                </a:cubicBezTo>
                <a:lnTo>
                  <a:pt x="4962265" y="774102"/>
                </a:lnTo>
                <a:cubicBezTo>
                  <a:pt x="4867524" y="818152"/>
                  <a:pt x="4779025" y="864786"/>
                  <a:pt x="4687914" y="917611"/>
                </a:cubicBezTo>
                <a:cubicBezTo>
                  <a:pt x="4614545" y="960580"/>
                  <a:pt x="4543638" y="1006388"/>
                  <a:pt x="4475346" y="1054892"/>
                </a:cubicBezTo>
                <a:lnTo>
                  <a:pt x="4420523" y="1097615"/>
                </a:lnTo>
                <a:lnTo>
                  <a:pt x="4435473" y="1101506"/>
                </a:lnTo>
                <a:lnTo>
                  <a:pt x="4438550" y="1102501"/>
                </a:lnTo>
                <a:lnTo>
                  <a:pt x="4659977" y="956656"/>
                </a:lnTo>
                <a:cubicBezTo>
                  <a:pt x="4752954" y="902740"/>
                  <a:pt x="4850034" y="853548"/>
                  <a:pt x="4951149" y="809437"/>
                </a:cubicBezTo>
                <a:cubicBezTo>
                  <a:pt x="4952947" y="813825"/>
                  <a:pt x="4952947" y="813825"/>
                  <a:pt x="4954747" y="818211"/>
                </a:cubicBezTo>
                <a:cubicBezTo>
                  <a:pt x="4895125" y="847838"/>
                  <a:pt x="4879612" y="884978"/>
                  <a:pt x="4847345" y="918751"/>
                </a:cubicBezTo>
                <a:cubicBezTo>
                  <a:pt x="4847345" y="918751"/>
                  <a:pt x="4857915" y="919532"/>
                  <a:pt x="4866690" y="915927"/>
                </a:cubicBezTo>
                <a:cubicBezTo>
                  <a:pt x="4852752" y="931913"/>
                  <a:pt x="4815857" y="941948"/>
                  <a:pt x="4791342" y="957153"/>
                </a:cubicBezTo>
                <a:cubicBezTo>
                  <a:pt x="4773015" y="974941"/>
                  <a:pt x="4743326" y="1002526"/>
                  <a:pt x="4743326" y="1002526"/>
                </a:cubicBezTo>
                <a:cubicBezTo>
                  <a:pt x="4751318" y="1009497"/>
                  <a:pt x="4768866" y="1002285"/>
                  <a:pt x="4790806" y="993271"/>
                </a:cubicBezTo>
                <a:cubicBezTo>
                  <a:pt x="4792605" y="997658"/>
                  <a:pt x="4788219" y="999460"/>
                  <a:pt x="4788219" y="999460"/>
                </a:cubicBezTo>
                <a:cubicBezTo>
                  <a:pt x="4783831" y="1001263"/>
                  <a:pt x="4783831" y="1001263"/>
                  <a:pt x="4783831" y="1001263"/>
                </a:cubicBezTo>
                <a:cubicBezTo>
                  <a:pt x="4783831" y="1001263"/>
                  <a:pt x="4779447" y="1003067"/>
                  <a:pt x="4779447" y="1003067"/>
                </a:cubicBezTo>
                <a:cubicBezTo>
                  <a:pt x="4779447" y="1003067"/>
                  <a:pt x="4775060" y="1004869"/>
                  <a:pt x="4770668" y="1006672"/>
                </a:cubicBezTo>
                <a:cubicBezTo>
                  <a:pt x="4772474" y="1011060"/>
                  <a:pt x="4772474" y="1011060"/>
                  <a:pt x="4776864" y="1009255"/>
                </a:cubicBezTo>
                <a:cubicBezTo>
                  <a:pt x="4776864" y="1009255"/>
                  <a:pt x="4781250" y="1007452"/>
                  <a:pt x="4781250" y="1007452"/>
                </a:cubicBezTo>
                <a:cubicBezTo>
                  <a:pt x="4785640" y="1005650"/>
                  <a:pt x="4785640" y="1005650"/>
                  <a:pt x="4785640" y="1005650"/>
                </a:cubicBezTo>
                <a:cubicBezTo>
                  <a:pt x="4762916" y="1025241"/>
                  <a:pt x="4798017" y="1010817"/>
                  <a:pt x="4800602" y="1004628"/>
                </a:cubicBezTo>
                <a:cubicBezTo>
                  <a:pt x="4804980" y="1002826"/>
                  <a:pt x="4803185" y="998438"/>
                  <a:pt x="4803185" y="998438"/>
                </a:cubicBezTo>
                <a:cubicBezTo>
                  <a:pt x="4803185" y="998438"/>
                  <a:pt x="4798798" y="1000242"/>
                  <a:pt x="4798798" y="1000242"/>
                </a:cubicBezTo>
                <a:cubicBezTo>
                  <a:pt x="4792605" y="997658"/>
                  <a:pt x="4792605" y="997658"/>
                  <a:pt x="4792605" y="997658"/>
                </a:cubicBezTo>
                <a:cubicBezTo>
                  <a:pt x="4792605" y="997658"/>
                  <a:pt x="4801384" y="994052"/>
                  <a:pt x="4805764" y="992249"/>
                </a:cubicBezTo>
                <a:cubicBezTo>
                  <a:pt x="4810147" y="990446"/>
                  <a:pt x="4810147" y="990446"/>
                  <a:pt x="4810147" y="990446"/>
                </a:cubicBezTo>
                <a:cubicBezTo>
                  <a:pt x="4840847" y="977826"/>
                  <a:pt x="4866387" y="977585"/>
                  <a:pt x="4854252" y="997958"/>
                </a:cubicBezTo>
                <a:cubicBezTo>
                  <a:pt x="4832325" y="1006971"/>
                  <a:pt x="4834125" y="1011359"/>
                  <a:pt x="4803424" y="1023979"/>
                </a:cubicBezTo>
                <a:cubicBezTo>
                  <a:pt x="4802645" y="1034556"/>
                  <a:pt x="4820188" y="1027345"/>
                  <a:pt x="4828183" y="1034315"/>
                </a:cubicBezTo>
                <a:cubicBezTo>
                  <a:pt x="4794113" y="1063710"/>
                  <a:pt x="4731901" y="1099527"/>
                  <a:pt x="4740925" y="1121464"/>
                </a:cubicBezTo>
                <a:cubicBezTo>
                  <a:pt x="4740925" y="1121464"/>
                  <a:pt x="4736530" y="1123267"/>
                  <a:pt x="4736530" y="1123267"/>
                </a:cubicBezTo>
                <a:cubicBezTo>
                  <a:pt x="4736530" y="1123267"/>
                  <a:pt x="4727761" y="1126872"/>
                  <a:pt x="4727761" y="1126872"/>
                </a:cubicBezTo>
                <a:cubicBezTo>
                  <a:pt x="4725173" y="1133063"/>
                  <a:pt x="4720794" y="1134866"/>
                  <a:pt x="4725173" y="1133063"/>
                </a:cubicBezTo>
                <a:cubicBezTo>
                  <a:pt x="4718205" y="1141056"/>
                  <a:pt x="4705048" y="1146463"/>
                  <a:pt x="4682330" y="1166056"/>
                </a:cubicBezTo>
                <a:cubicBezTo>
                  <a:pt x="4675352" y="1174049"/>
                  <a:pt x="4670965" y="1175852"/>
                  <a:pt x="4666584" y="1177654"/>
                </a:cubicBezTo>
                <a:cubicBezTo>
                  <a:pt x="4666584" y="1177654"/>
                  <a:pt x="4665937" y="1179203"/>
                  <a:pt x="4665298" y="1180749"/>
                </a:cubicBezTo>
                <a:lnTo>
                  <a:pt x="4664805" y="1181922"/>
                </a:lnTo>
                <a:lnTo>
                  <a:pt x="4739093" y="1210984"/>
                </a:lnTo>
                <a:lnTo>
                  <a:pt x="4746186" y="1206372"/>
                </a:lnTo>
                <a:cubicBezTo>
                  <a:pt x="4779777" y="1185174"/>
                  <a:pt x="4814177" y="1165641"/>
                  <a:pt x="4851795" y="1150918"/>
                </a:cubicBezTo>
                <a:cubicBezTo>
                  <a:pt x="4859079" y="1148227"/>
                  <a:pt x="4865025" y="1141892"/>
                  <a:pt x="4873818" y="1147758"/>
                </a:cubicBezTo>
                <a:cubicBezTo>
                  <a:pt x="4878965" y="1154967"/>
                  <a:pt x="4872940" y="1158847"/>
                  <a:pt x="4869299" y="1160192"/>
                </a:cubicBezTo>
                <a:lnTo>
                  <a:pt x="4766089" y="1221545"/>
                </a:lnTo>
                <a:lnTo>
                  <a:pt x="4786333" y="1229463"/>
                </a:lnTo>
                <a:lnTo>
                  <a:pt x="4788579" y="1224948"/>
                </a:lnTo>
                <a:cubicBezTo>
                  <a:pt x="4788579" y="1224948"/>
                  <a:pt x="4788579" y="1224948"/>
                  <a:pt x="4786780" y="1220561"/>
                </a:cubicBezTo>
                <a:cubicBezTo>
                  <a:pt x="4808713" y="1211546"/>
                  <a:pt x="4808713" y="1211546"/>
                  <a:pt x="4808713" y="1211546"/>
                </a:cubicBezTo>
                <a:cubicBezTo>
                  <a:pt x="4808713" y="1211546"/>
                  <a:pt x="4811297" y="1205358"/>
                  <a:pt x="4811297" y="1205358"/>
                </a:cubicBezTo>
                <a:cubicBezTo>
                  <a:pt x="4811297" y="1205358"/>
                  <a:pt x="4806904" y="1207160"/>
                  <a:pt x="4806904" y="1207160"/>
                </a:cubicBezTo>
                <a:cubicBezTo>
                  <a:pt x="4786780" y="1220561"/>
                  <a:pt x="4786780" y="1220561"/>
                  <a:pt x="4786780" y="1220561"/>
                </a:cubicBezTo>
                <a:cubicBezTo>
                  <a:pt x="4786780" y="1220561"/>
                  <a:pt x="4784978" y="1216175"/>
                  <a:pt x="4784978" y="1216175"/>
                </a:cubicBezTo>
                <a:cubicBezTo>
                  <a:pt x="4789366" y="1214371"/>
                  <a:pt x="4793751" y="1212569"/>
                  <a:pt x="4793751" y="1212569"/>
                </a:cubicBezTo>
                <a:cubicBezTo>
                  <a:pt x="4798140" y="1210765"/>
                  <a:pt x="4798140" y="1210765"/>
                  <a:pt x="4798140" y="1210765"/>
                </a:cubicBezTo>
                <a:cubicBezTo>
                  <a:pt x="4802525" y="1208964"/>
                  <a:pt x="4805107" y="1202774"/>
                  <a:pt x="4809492" y="1200970"/>
                </a:cubicBezTo>
                <a:cubicBezTo>
                  <a:pt x="4813880" y="1199168"/>
                  <a:pt x="4818266" y="1197365"/>
                  <a:pt x="4827038" y="1193758"/>
                </a:cubicBezTo>
                <a:cubicBezTo>
                  <a:pt x="4822654" y="1195562"/>
                  <a:pt x="4824453" y="1199949"/>
                  <a:pt x="4824453" y="1199949"/>
                </a:cubicBezTo>
                <a:cubicBezTo>
                  <a:pt x="4824453" y="1199949"/>
                  <a:pt x="4828844" y="1198146"/>
                  <a:pt x="4833231" y="1196344"/>
                </a:cubicBezTo>
                <a:cubicBezTo>
                  <a:pt x="4833231" y="1196344"/>
                  <a:pt x="4837615" y="1194541"/>
                  <a:pt x="4842000" y="1192737"/>
                </a:cubicBezTo>
                <a:cubicBezTo>
                  <a:pt x="4844587" y="1186547"/>
                  <a:pt x="4848967" y="1184744"/>
                  <a:pt x="4853355" y="1182941"/>
                </a:cubicBezTo>
                <a:cubicBezTo>
                  <a:pt x="4857734" y="1181140"/>
                  <a:pt x="4857734" y="1181140"/>
                  <a:pt x="4862125" y="1179336"/>
                </a:cubicBezTo>
                <a:cubicBezTo>
                  <a:pt x="4864702" y="1173146"/>
                  <a:pt x="4864702" y="1173146"/>
                  <a:pt x="4864702" y="1173146"/>
                </a:cubicBezTo>
                <a:cubicBezTo>
                  <a:pt x="4869094" y="1171343"/>
                  <a:pt x="4871679" y="1165153"/>
                  <a:pt x="4876071" y="1163350"/>
                </a:cubicBezTo>
                <a:cubicBezTo>
                  <a:pt x="4880451" y="1161547"/>
                  <a:pt x="4884843" y="1159743"/>
                  <a:pt x="4884843" y="1159743"/>
                </a:cubicBezTo>
                <a:cubicBezTo>
                  <a:pt x="4886651" y="1164131"/>
                  <a:pt x="4886651" y="1164131"/>
                  <a:pt x="4891040" y="1162327"/>
                </a:cubicBezTo>
                <a:cubicBezTo>
                  <a:pt x="4891040" y="1162327"/>
                  <a:pt x="4895432" y="1160524"/>
                  <a:pt x="4893619" y="1156139"/>
                </a:cubicBezTo>
                <a:cubicBezTo>
                  <a:pt x="4893619" y="1156139"/>
                  <a:pt x="4898007" y="1154337"/>
                  <a:pt x="4904198" y="1156921"/>
                </a:cubicBezTo>
                <a:cubicBezTo>
                  <a:pt x="4911175" y="1148926"/>
                  <a:pt x="4911175" y="1148926"/>
                  <a:pt x="4911175" y="1148926"/>
                </a:cubicBezTo>
                <a:cubicBezTo>
                  <a:pt x="4911175" y="1148926"/>
                  <a:pt x="4906790" y="1150730"/>
                  <a:pt x="4904989" y="1146344"/>
                </a:cubicBezTo>
                <a:cubicBezTo>
                  <a:pt x="4909364" y="1144540"/>
                  <a:pt x="4913761" y="1142737"/>
                  <a:pt x="4918150" y="1140935"/>
                </a:cubicBezTo>
                <a:cubicBezTo>
                  <a:pt x="4922536" y="1139132"/>
                  <a:pt x="4922536" y="1139132"/>
                  <a:pt x="4922536" y="1139132"/>
                </a:cubicBezTo>
                <a:cubicBezTo>
                  <a:pt x="4929504" y="1131137"/>
                  <a:pt x="4933889" y="1129336"/>
                  <a:pt x="4938284" y="1127532"/>
                </a:cubicBezTo>
                <a:cubicBezTo>
                  <a:pt x="4947064" y="1123927"/>
                  <a:pt x="4951451" y="1122123"/>
                  <a:pt x="4955838" y="1120320"/>
                </a:cubicBezTo>
                <a:cubicBezTo>
                  <a:pt x="4960223" y="1118517"/>
                  <a:pt x="4960223" y="1118517"/>
                  <a:pt x="4969000" y="1114911"/>
                </a:cubicBezTo>
                <a:cubicBezTo>
                  <a:pt x="4975194" y="1117496"/>
                  <a:pt x="4986548" y="1107698"/>
                  <a:pt x="4995316" y="1104093"/>
                </a:cubicBezTo>
                <a:cubicBezTo>
                  <a:pt x="4999702" y="1102289"/>
                  <a:pt x="5005887" y="1104873"/>
                  <a:pt x="5010279" y="1103071"/>
                </a:cubicBezTo>
                <a:cubicBezTo>
                  <a:pt x="5010279" y="1103071"/>
                  <a:pt x="5007691" y="1109261"/>
                  <a:pt x="5007691" y="1109261"/>
                </a:cubicBezTo>
                <a:cubicBezTo>
                  <a:pt x="5003309" y="1111064"/>
                  <a:pt x="5005110" y="1115452"/>
                  <a:pt x="5005110" y="1115452"/>
                </a:cubicBezTo>
                <a:cubicBezTo>
                  <a:pt x="5005110" y="1115452"/>
                  <a:pt x="5005110" y="1115452"/>
                  <a:pt x="5009496" y="1113649"/>
                </a:cubicBezTo>
                <a:cubicBezTo>
                  <a:pt x="5013881" y="1111847"/>
                  <a:pt x="5013881" y="1111847"/>
                  <a:pt x="5013881" y="1111847"/>
                </a:cubicBezTo>
                <a:cubicBezTo>
                  <a:pt x="5018271" y="1110042"/>
                  <a:pt x="5018271" y="1110042"/>
                  <a:pt x="5016467" y="1105654"/>
                </a:cubicBezTo>
                <a:cubicBezTo>
                  <a:pt x="5016467" y="1105654"/>
                  <a:pt x="5019051" y="1099464"/>
                  <a:pt x="5019051" y="1099464"/>
                </a:cubicBezTo>
                <a:cubicBezTo>
                  <a:pt x="5017250" y="1095076"/>
                  <a:pt x="5017250" y="1095076"/>
                  <a:pt x="5017250" y="1095076"/>
                </a:cubicBezTo>
                <a:cubicBezTo>
                  <a:pt x="5012860" y="1096880"/>
                  <a:pt x="5002286" y="1096097"/>
                  <a:pt x="4993513" y="1099705"/>
                </a:cubicBezTo>
                <a:cubicBezTo>
                  <a:pt x="4989135" y="1101508"/>
                  <a:pt x="4989135" y="1101508"/>
                  <a:pt x="4989135" y="1101508"/>
                </a:cubicBezTo>
                <a:cubicBezTo>
                  <a:pt x="4984746" y="1103310"/>
                  <a:pt x="4977779" y="1111306"/>
                  <a:pt x="4971591" y="1108721"/>
                </a:cubicBezTo>
                <a:cubicBezTo>
                  <a:pt x="4967199" y="1110525"/>
                  <a:pt x="4967199" y="1110525"/>
                  <a:pt x="4962811" y="1112326"/>
                </a:cubicBezTo>
                <a:cubicBezTo>
                  <a:pt x="4965394" y="1106137"/>
                  <a:pt x="4974170" y="1102530"/>
                  <a:pt x="4982943" y="1098924"/>
                </a:cubicBezTo>
                <a:cubicBezTo>
                  <a:pt x="4991707" y="1095316"/>
                  <a:pt x="5000477" y="1091711"/>
                  <a:pt x="5007455" y="1083719"/>
                </a:cubicBezTo>
                <a:cubicBezTo>
                  <a:pt x="5011839" y="1081917"/>
                  <a:pt x="5013643" y="1086303"/>
                  <a:pt x="5018026" y="1084500"/>
                </a:cubicBezTo>
                <a:cubicBezTo>
                  <a:pt x="5026809" y="1080895"/>
                  <a:pt x="5026809" y="1080895"/>
                  <a:pt x="5026809" y="1080895"/>
                </a:cubicBezTo>
                <a:cubicBezTo>
                  <a:pt x="5035576" y="1077291"/>
                  <a:pt x="5039965" y="1075488"/>
                  <a:pt x="5048742" y="1071882"/>
                </a:cubicBezTo>
                <a:cubicBezTo>
                  <a:pt x="5046155" y="1078070"/>
                  <a:pt x="5046155" y="1078070"/>
                  <a:pt x="5046155" y="1078070"/>
                </a:cubicBezTo>
                <a:cubicBezTo>
                  <a:pt x="5041769" y="1079873"/>
                  <a:pt x="5041769" y="1079873"/>
                  <a:pt x="5047958" y="1082457"/>
                </a:cubicBezTo>
                <a:cubicBezTo>
                  <a:pt x="5047958" y="1082457"/>
                  <a:pt x="5047958" y="1082457"/>
                  <a:pt x="5052347" y="1080654"/>
                </a:cubicBezTo>
                <a:cubicBezTo>
                  <a:pt x="5052347" y="1080654"/>
                  <a:pt x="5056732" y="1078852"/>
                  <a:pt x="5056732" y="1078852"/>
                </a:cubicBezTo>
                <a:cubicBezTo>
                  <a:pt x="5059313" y="1072662"/>
                  <a:pt x="5059313" y="1072662"/>
                  <a:pt x="5059313" y="1072662"/>
                </a:cubicBezTo>
                <a:cubicBezTo>
                  <a:pt x="5059313" y="1072662"/>
                  <a:pt x="5063706" y="1070859"/>
                  <a:pt x="5063706" y="1070859"/>
                </a:cubicBezTo>
                <a:cubicBezTo>
                  <a:pt x="5063706" y="1070859"/>
                  <a:pt x="5063706" y="1070859"/>
                  <a:pt x="5068089" y="1069055"/>
                </a:cubicBezTo>
                <a:cubicBezTo>
                  <a:pt x="5072479" y="1067254"/>
                  <a:pt x="5079447" y="1059261"/>
                  <a:pt x="5083833" y="1057459"/>
                </a:cubicBezTo>
                <a:cubicBezTo>
                  <a:pt x="5096990" y="1052050"/>
                  <a:pt x="5099579" y="1045852"/>
                  <a:pt x="5105774" y="1048435"/>
                </a:cubicBezTo>
                <a:cubicBezTo>
                  <a:pt x="5107571" y="1052831"/>
                  <a:pt x="5111957" y="1051028"/>
                  <a:pt x="5111957" y="1051028"/>
                </a:cubicBezTo>
                <a:cubicBezTo>
                  <a:pt x="5111957" y="1051028"/>
                  <a:pt x="5113755" y="1055415"/>
                  <a:pt x="5109372" y="1057218"/>
                </a:cubicBezTo>
                <a:cubicBezTo>
                  <a:pt x="5091822" y="1064429"/>
                  <a:pt x="5074275" y="1071640"/>
                  <a:pt x="5058533" y="1083238"/>
                </a:cubicBezTo>
                <a:cubicBezTo>
                  <a:pt x="5054145" y="1085042"/>
                  <a:pt x="5054145" y="1085042"/>
                  <a:pt x="5054145" y="1085042"/>
                </a:cubicBezTo>
                <a:cubicBezTo>
                  <a:pt x="5055951" y="1089427"/>
                  <a:pt x="5060334" y="1087624"/>
                  <a:pt x="5060334" y="1087624"/>
                </a:cubicBezTo>
                <a:cubicBezTo>
                  <a:pt x="5076080" y="1076027"/>
                  <a:pt x="5093623" y="1068815"/>
                  <a:pt x="5111177" y="1061604"/>
                </a:cubicBezTo>
                <a:cubicBezTo>
                  <a:pt x="5112982" y="1065991"/>
                  <a:pt x="5114783" y="1070378"/>
                  <a:pt x="5125357" y="1071160"/>
                </a:cubicBezTo>
                <a:cubicBezTo>
                  <a:pt x="5147291" y="1062145"/>
                  <a:pt x="5155294" y="1069116"/>
                  <a:pt x="5177227" y="1060101"/>
                </a:cubicBezTo>
                <a:cubicBezTo>
                  <a:pt x="5243279" y="1058598"/>
                  <a:pt x="5317075" y="1038518"/>
                  <a:pt x="5367125" y="1023073"/>
                </a:cubicBezTo>
                <a:cubicBezTo>
                  <a:pt x="5371516" y="1021270"/>
                  <a:pt x="5371516" y="1021270"/>
                  <a:pt x="5371516" y="1021270"/>
                </a:cubicBezTo>
                <a:cubicBezTo>
                  <a:pt x="5371516" y="1021270"/>
                  <a:pt x="5375902" y="1019468"/>
                  <a:pt x="5375902" y="1019468"/>
                </a:cubicBezTo>
                <a:cubicBezTo>
                  <a:pt x="5374093" y="1015080"/>
                  <a:pt x="5374093" y="1015080"/>
                  <a:pt x="5369707" y="1016883"/>
                </a:cubicBezTo>
                <a:cubicBezTo>
                  <a:pt x="5319650" y="1032329"/>
                  <a:pt x="5250242" y="1050607"/>
                  <a:pt x="5184191" y="1052109"/>
                </a:cubicBezTo>
                <a:cubicBezTo>
                  <a:pt x="5188587" y="1050307"/>
                  <a:pt x="5188587" y="1050307"/>
                  <a:pt x="5188587" y="1050307"/>
                </a:cubicBezTo>
                <a:cubicBezTo>
                  <a:pt x="5186782" y="1045911"/>
                  <a:pt x="5182406" y="1047714"/>
                  <a:pt x="5176214" y="1045130"/>
                </a:cubicBezTo>
                <a:cubicBezTo>
                  <a:pt x="5180598" y="1043326"/>
                  <a:pt x="5184981" y="1041523"/>
                  <a:pt x="5189366" y="1039721"/>
                </a:cubicBezTo>
                <a:cubicBezTo>
                  <a:pt x="5189366" y="1039721"/>
                  <a:pt x="5189366" y="1039721"/>
                  <a:pt x="5191164" y="1044108"/>
                </a:cubicBezTo>
                <a:cubicBezTo>
                  <a:pt x="5195547" y="1042305"/>
                  <a:pt x="5195547" y="1042305"/>
                  <a:pt x="5195547" y="1042305"/>
                </a:cubicBezTo>
                <a:cubicBezTo>
                  <a:pt x="5195547" y="1042305"/>
                  <a:pt x="5195547" y="1042305"/>
                  <a:pt x="5199930" y="1040502"/>
                </a:cubicBezTo>
                <a:cubicBezTo>
                  <a:pt x="5199930" y="1040502"/>
                  <a:pt x="5198134" y="1036115"/>
                  <a:pt x="5198134" y="1036115"/>
                </a:cubicBezTo>
                <a:cubicBezTo>
                  <a:pt x="5208704" y="1036897"/>
                  <a:pt x="5217469" y="1033291"/>
                  <a:pt x="5221866" y="1031488"/>
                </a:cubicBezTo>
                <a:cubicBezTo>
                  <a:pt x="5226252" y="1029685"/>
                  <a:pt x="5226252" y="1029685"/>
                  <a:pt x="5230649" y="1027882"/>
                </a:cubicBezTo>
                <a:cubicBezTo>
                  <a:pt x="5235035" y="1026080"/>
                  <a:pt x="5239429" y="1024277"/>
                  <a:pt x="5243817" y="1022473"/>
                </a:cubicBezTo>
                <a:lnTo>
                  <a:pt x="5248204" y="1020671"/>
                </a:lnTo>
                <a:cubicBezTo>
                  <a:pt x="5250007" y="1025059"/>
                  <a:pt x="5250007" y="1025059"/>
                  <a:pt x="5254397" y="1023255"/>
                </a:cubicBezTo>
                <a:cubicBezTo>
                  <a:pt x="5258772" y="1021452"/>
                  <a:pt x="5258772" y="1021452"/>
                  <a:pt x="5263164" y="1019649"/>
                </a:cubicBezTo>
                <a:cubicBezTo>
                  <a:pt x="5263164" y="1019649"/>
                  <a:pt x="5265748" y="1013459"/>
                  <a:pt x="5265748" y="1013459"/>
                </a:cubicBezTo>
                <a:cubicBezTo>
                  <a:pt x="5299035" y="994649"/>
                  <a:pt x="5334129" y="980226"/>
                  <a:pt x="5371033" y="970190"/>
                </a:cubicBezTo>
                <a:cubicBezTo>
                  <a:pt x="5390381" y="967365"/>
                  <a:pt x="5403544" y="961956"/>
                  <a:pt x="5422891" y="959131"/>
                </a:cubicBezTo>
                <a:cubicBezTo>
                  <a:pt x="5422891" y="959131"/>
                  <a:pt x="5421086" y="954744"/>
                  <a:pt x="5416703" y="956548"/>
                </a:cubicBezTo>
                <a:cubicBezTo>
                  <a:pt x="5449210" y="948314"/>
                  <a:pt x="5475530" y="937496"/>
                  <a:pt x="5508036" y="929263"/>
                </a:cubicBezTo>
                <a:cubicBezTo>
                  <a:pt x="5512426" y="927461"/>
                  <a:pt x="5512426" y="927461"/>
                  <a:pt x="5510626" y="923074"/>
                </a:cubicBezTo>
                <a:cubicBezTo>
                  <a:pt x="5519397" y="919468"/>
                  <a:pt x="5525586" y="922051"/>
                  <a:pt x="5534361" y="918446"/>
                </a:cubicBezTo>
                <a:cubicBezTo>
                  <a:pt x="5529972" y="920248"/>
                  <a:pt x="5536160" y="922833"/>
                  <a:pt x="5540549" y="921030"/>
                </a:cubicBezTo>
                <a:cubicBezTo>
                  <a:pt x="5538745" y="916643"/>
                  <a:pt x="5543133" y="914840"/>
                  <a:pt x="5547522" y="913037"/>
                </a:cubicBezTo>
                <a:cubicBezTo>
                  <a:pt x="5556294" y="909432"/>
                  <a:pt x="5566867" y="910214"/>
                  <a:pt x="5575640" y="906607"/>
                </a:cubicBezTo>
                <a:cubicBezTo>
                  <a:pt x="5575640" y="906607"/>
                  <a:pt x="5580029" y="904805"/>
                  <a:pt x="5580029" y="904805"/>
                </a:cubicBezTo>
                <a:cubicBezTo>
                  <a:pt x="5584415" y="903001"/>
                  <a:pt x="5590603" y="905584"/>
                  <a:pt x="5594991" y="903782"/>
                </a:cubicBezTo>
                <a:cubicBezTo>
                  <a:pt x="5599375" y="901979"/>
                  <a:pt x="5599375" y="901979"/>
                  <a:pt x="5599375" y="901979"/>
                </a:cubicBezTo>
                <a:cubicBezTo>
                  <a:pt x="5599375" y="901979"/>
                  <a:pt x="5603761" y="900176"/>
                  <a:pt x="5603761" y="900176"/>
                </a:cubicBezTo>
                <a:cubicBezTo>
                  <a:pt x="5631887" y="893746"/>
                  <a:pt x="5661789" y="891703"/>
                  <a:pt x="5685524" y="887075"/>
                </a:cubicBezTo>
                <a:cubicBezTo>
                  <a:pt x="5685524" y="887075"/>
                  <a:pt x="5692493" y="879083"/>
                  <a:pt x="5698685" y="881666"/>
                </a:cubicBezTo>
                <a:cubicBezTo>
                  <a:pt x="5698685" y="881666"/>
                  <a:pt x="5703074" y="879862"/>
                  <a:pt x="5703074" y="879862"/>
                </a:cubicBezTo>
                <a:cubicBezTo>
                  <a:pt x="5698685" y="881666"/>
                  <a:pt x="5711842" y="876257"/>
                  <a:pt x="5720619" y="872651"/>
                </a:cubicBezTo>
                <a:cubicBezTo>
                  <a:pt x="5739967" y="869827"/>
                  <a:pt x="5761119" y="871389"/>
                  <a:pt x="5776086" y="870367"/>
                </a:cubicBezTo>
                <a:cubicBezTo>
                  <a:pt x="5859672" y="861653"/>
                  <a:pt x="5923912" y="855764"/>
                  <a:pt x="5983764" y="851677"/>
                </a:cubicBezTo>
                <a:cubicBezTo>
                  <a:pt x="5988149" y="849873"/>
                  <a:pt x="5988149" y="849873"/>
                  <a:pt x="5988149" y="849873"/>
                </a:cubicBezTo>
                <a:cubicBezTo>
                  <a:pt x="5994338" y="852458"/>
                  <a:pt x="5994338" y="852458"/>
                  <a:pt x="5994338" y="852458"/>
                </a:cubicBezTo>
                <a:cubicBezTo>
                  <a:pt x="6018585" y="855312"/>
                  <a:pt x="6041740" y="858617"/>
                  <a:pt x="6065982" y="861472"/>
                </a:cubicBezTo>
                <a:lnTo>
                  <a:pt x="6135789" y="867103"/>
                </a:lnTo>
                <a:lnTo>
                  <a:pt x="6134312" y="867116"/>
                </a:lnTo>
                <a:cubicBezTo>
                  <a:pt x="6128012" y="867383"/>
                  <a:pt x="6122400" y="867766"/>
                  <a:pt x="6118659" y="868022"/>
                </a:cubicBezTo>
                <a:cubicBezTo>
                  <a:pt x="6114275" y="869825"/>
                  <a:pt x="6108085" y="867240"/>
                  <a:pt x="6108085" y="867240"/>
                </a:cubicBezTo>
                <a:cubicBezTo>
                  <a:pt x="6086936" y="865679"/>
                  <a:pt x="6074565" y="860510"/>
                  <a:pt x="6071978" y="866699"/>
                </a:cubicBezTo>
                <a:cubicBezTo>
                  <a:pt x="6063989" y="859728"/>
                  <a:pt x="6034061" y="861772"/>
                  <a:pt x="6010324" y="866399"/>
                </a:cubicBezTo>
                <a:cubicBezTo>
                  <a:pt x="6005938" y="868202"/>
                  <a:pt x="6001552" y="870006"/>
                  <a:pt x="5999748" y="865620"/>
                </a:cubicBezTo>
                <a:cubicBezTo>
                  <a:pt x="5999748" y="865620"/>
                  <a:pt x="5993559" y="863035"/>
                  <a:pt x="5989173" y="864837"/>
                </a:cubicBezTo>
                <a:cubicBezTo>
                  <a:pt x="5984784" y="866641"/>
                  <a:pt x="5980398" y="868444"/>
                  <a:pt x="5986587" y="871028"/>
                </a:cubicBezTo>
                <a:cubicBezTo>
                  <a:pt x="5988390" y="875413"/>
                  <a:pt x="5998969" y="876196"/>
                  <a:pt x="6009542" y="876977"/>
                </a:cubicBezTo>
                <a:cubicBezTo>
                  <a:pt x="6013929" y="875173"/>
                  <a:pt x="6013929" y="875173"/>
                  <a:pt x="6013929" y="875173"/>
                </a:cubicBezTo>
                <a:cubicBezTo>
                  <a:pt x="6056235" y="878299"/>
                  <a:pt x="6072999" y="881664"/>
                  <a:pt x="6107302" y="877819"/>
                </a:cubicBezTo>
                <a:cubicBezTo>
                  <a:pt x="6107302" y="877819"/>
                  <a:pt x="6111691" y="876015"/>
                  <a:pt x="6111691" y="876015"/>
                </a:cubicBezTo>
                <a:cubicBezTo>
                  <a:pt x="6117878" y="878597"/>
                  <a:pt x="6134646" y="881964"/>
                  <a:pt x="6140834" y="884548"/>
                </a:cubicBezTo>
                <a:cubicBezTo>
                  <a:pt x="6147806" y="876554"/>
                  <a:pt x="6151412" y="885329"/>
                  <a:pt x="6172566" y="886891"/>
                </a:cubicBezTo>
                <a:cubicBezTo>
                  <a:pt x="6190625" y="887162"/>
                  <a:pt x="6212423" y="887176"/>
                  <a:pt x="6234899" y="888836"/>
                </a:cubicBezTo>
                <a:lnTo>
                  <a:pt x="6290539" y="898739"/>
                </a:lnTo>
                <a:lnTo>
                  <a:pt x="6286326" y="901674"/>
                </a:lnTo>
                <a:cubicBezTo>
                  <a:pt x="6370940" y="907923"/>
                  <a:pt x="6448583" y="922165"/>
                  <a:pt x="6538608" y="941577"/>
                </a:cubicBezTo>
                <a:cubicBezTo>
                  <a:pt x="6538608" y="941577"/>
                  <a:pt x="6540410" y="945962"/>
                  <a:pt x="6540410" y="945962"/>
                </a:cubicBezTo>
                <a:cubicBezTo>
                  <a:pt x="6544799" y="944159"/>
                  <a:pt x="6544799" y="944159"/>
                  <a:pt x="6544799" y="944159"/>
                </a:cubicBezTo>
                <a:cubicBezTo>
                  <a:pt x="6544799" y="944159"/>
                  <a:pt x="6544799" y="944159"/>
                  <a:pt x="6549184" y="942357"/>
                </a:cubicBezTo>
                <a:cubicBezTo>
                  <a:pt x="6555374" y="944941"/>
                  <a:pt x="6563367" y="951912"/>
                  <a:pt x="6569557" y="954495"/>
                </a:cubicBezTo>
                <a:cubicBezTo>
                  <a:pt x="6579113" y="940313"/>
                  <a:pt x="6618054" y="960205"/>
                  <a:pt x="6645396" y="964352"/>
                </a:cubicBezTo>
                <a:cubicBezTo>
                  <a:pt x="6642812" y="970541"/>
                  <a:pt x="6630433" y="965373"/>
                  <a:pt x="6632237" y="969759"/>
                </a:cubicBezTo>
                <a:cubicBezTo>
                  <a:pt x="6663186" y="982680"/>
                  <a:pt x="6633017" y="959181"/>
                  <a:pt x="6668354" y="970301"/>
                </a:cubicBezTo>
                <a:cubicBezTo>
                  <a:pt x="6670157" y="974687"/>
                  <a:pt x="6663967" y="972103"/>
                  <a:pt x="6665770" y="976490"/>
                </a:cubicBezTo>
                <a:cubicBezTo>
                  <a:pt x="6703691" y="981418"/>
                  <a:pt x="6736443" y="998725"/>
                  <a:pt x="6761984" y="998485"/>
                </a:cubicBezTo>
                <a:cubicBezTo>
                  <a:pt x="6761984" y="998485"/>
                  <a:pt x="6751407" y="997704"/>
                  <a:pt x="6763786" y="1002871"/>
                </a:cubicBezTo>
                <a:cubicBezTo>
                  <a:pt x="6787524" y="998244"/>
                  <a:pt x="6811502" y="1019156"/>
                  <a:pt x="6836260" y="1029494"/>
                </a:cubicBezTo>
                <a:cubicBezTo>
                  <a:pt x="6867992" y="1031836"/>
                  <a:pt x="6898941" y="1044757"/>
                  <a:pt x="6925504" y="1059488"/>
                </a:cubicBezTo>
                <a:cubicBezTo>
                  <a:pt x="6938786" y="1066850"/>
                  <a:pt x="6952067" y="1074211"/>
                  <a:pt x="6967218" y="1081444"/>
                </a:cubicBezTo>
                <a:lnTo>
                  <a:pt x="7013833" y="1100105"/>
                </a:lnTo>
                <a:lnTo>
                  <a:pt x="7009579" y="1101853"/>
                </a:lnTo>
                <a:cubicBezTo>
                  <a:pt x="7011380" y="1106241"/>
                  <a:pt x="7011380" y="1106241"/>
                  <a:pt x="7015769" y="1104438"/>
                </a:cubicBezTo>
                <a:cubicBezTo>
                  <a:pt x="7026345" y="1105220"/>
                  <a:pt x="7026345" y="1105220"/>
                  <a:pt x="7026345" y="1105220"/>
                </a:cubicBezTo>
                <a:cubicBezTo>
                  <a:pt x="7021957" y="1107024"/>
                  <a:pt x="7021957" y="1107024"/>
                  <a:pt x="7021957" y="1107024"/>
                </a:cubicBezTo>
                <a:cubicBezTo>
                  <a:pt x="7029951" y="1113994"/>
                  <a:pt x="7042331" y="1119165"/>
                  <a:pt x="7059096" y="1122529"/>
                </a:cubicBezTo>
                <a:cubicBezTo>
                  <a:pt x="7059096" y="1122529"/>
                  <a:pt x="7063484" y="1120725"/>
                  <a:pt x="7063484" y="1120725"/>
                </a:cubicBezTo>
                <a:cubicBezTo>
                  <a:pt x="7067871" y="1118921"/>
                  <a:pt x="7069675" y="1123309"/>
                  <a:pt x="7074061" y="1121508"/>
                </a:cubicBezTo>
                <a:cubicBezTo>
                  <a:pt x="7069675" y="1123309"/>
                  <a:pt x="7063484" y="1120725"/>
                  <a:pt x="7065287" y="1125112"/>
                </a:cubicBezTo>
                <a:cubicBezTo>
                  <a:pt x="7071477" y="1127697"/>
                  <a:pt x="7077666" y="1130282"/>
                  <a:pt x="7083856" y="1132866"/>
                </a:cubicBezTo>
                <a:cubicBezTo>
                  <a:pt x="7079468" y="1134669"/>
                  <a:pt x="7079468" y="1134669"/>
                  <a:pt x="7079468" y="1134669"/>
                </a:cubicBezTo>
                <a:cubicBezTo>
                  <a:pt x="7079468" y="1134669"/>
                  <a:pt x="7079468" y="1134669"/>
                  <a:pt x="7075083" y="1136472"/>
                </a:cubicBezTo>
                <a:cubicBezTo>
                  <a:pt x="7075083" y="1136472"/>
                  <a:pt x="7075083" y="1136472"/>
                  <a:pt x="7076886" y="1140859"/>
                </a:cubicBezTo>
                <a:cubicBezTo>
                  <a:pt x="7081272" y="1139056"/>
                  <a:pt x="7085660" y="1137253"/>
                  <a:pt x="7085660" y="1137253"/>
                </a:cubicBezTo>
                <a:cubicBezTo>
                  <a:pt x="7085660" y="1137253"/>
                  <a:pt x="7085660" y="1137253"/>
                  <a:pt x="7090046" y="1135449"/>
                </a:cubicBezTo>
                <a:cubicBezTo>
                  <a:pt x="7090046" y="1135449"/>
                  <a:pt x="7096237" y="1138034"/>
                  <a:pt x="7096237" y="1138034"/>
                </a:cubicBezTo>
                <a:cubicBezTo>
                  <a:pt x="7096237" y="1138034"/>
                  <a:pt x="7098040" y="1142421"/>
                  <a:pt x="7098040" y="1142421"/>
                </a:cubicBezTo>
                <a:cubicBezTo>
                  <a:pt x="7098040" y="1142421"/>
                  <a:pt x="7099843" y="1146809"/>
                  <a:pt x="7099843" y="1146809"/>
                </a:cubicBezTo>
                <a:cubicBezTo>
                  <a:pt x="7104229" y="1145006"/>
                  <a:pt x="7104229" y="1145006"/>
                  <a:pt x="7104229" y="1145006"/>
                </a:cubicBezTo>
                <a:cubicBezTo>
                  <a:pt x="7108617" y="1143202"/>
                  <a:pt x="7108617" y="1143202"/>
                  <a:pt x="7108617" y="1143202"/>
                </a:cubicBezTo>
                <a:lnTo>
                  <a:pt x="7110529" y="1144490"/>
                </a:lnTo>
                <a:lnTo>
                  <a:pt x="7110249" y="1142742"/>
                </a:lnTo>
                <a:lnTo>
                  <a:pt x="7107699" y="1132185"/>
                </a:lnTo>
                <a:lnTo>
                  <a:pt x="7100788" y="1130395"/>
                </a:lnTo>
                <a:cubicBezTo>
                  <a:pt x="7097468" y="1128553"/>
                  <a:pt x="7093922" y="1126164"/>
                  <a:pt x="7090828" y="1124872"/>
                </a:cubicBezTo>
                <a:cubicBezTo>
                  <a:pt x="7095215" y="1123069"/>
                  <a:pt x="7076645" y="1115318"/>
                  <a:pt x="7076645" y="1115318"/>
                </a:cubicBezTo>
                <a:cubicBezTo>
                  <a:pt x="7070455" y="1112733"/>
                  <a:pt x="7064265" y="1110148"/>
                  <a:pt x="7059879" y="1111952"/>
                </a:cubicBezTo>
                <a:cubicBezTo>
                  <a:pt x="7058075" y="1107564"/>
                  <a:pt x="7058075" y="1107564"/>
                  <a:pt x="7058075" y="1107564"/>
                </a:cubicBezTo>
                <a:cubicBezTo>
                  <a:pt x="7009336" y="1076315"/>
                  <a:pt x="6939447" y="1043494"/>
                  <a:pt x="6889927" y="1022822"/>
                </a:cubicBezTo>
                <a:cubicBezTo>
                  <a:pt x="6888124" y="1018435"/>
                  <a:pt x="6888124" y="1018435"/>
                  <a:pt x="6888124" y="1018435"/>
                </a:cubicBezTo>
                <a:cubicBezTo>
                  <a:pt x="6888124" y="1018435"/>
                  <a:pt x="6888124" y="1018435"/>
                  <a:pt x="6886322" y="1014048"/>
                </a:cubicBezTo>
                <a:cubicBezTo>
                  <a:pt x="6892511" y="1016632"/>
                  <a:pt x="6892511" y="1016632"/>
                  <a:pt x="6898701" y="1019216"/>
                </a:cubicBezTo>
                <a:cubicBezTo>
                  <a:pt x="6898701" y="1019216"/>
                  <a:pt x="6904890" y="1021800"/>
                  <a:pt x="6911082" y="1024384"/>
                </a:cubicBezTo>
                <a:cubicBezTo>
                  <a:pt x="6917271" y="1026969"/>
                  <a:pt x="6917271" y="1026969"/>
                  <a:pt x="6923460" y="1029553"/>
                </a:cubicBezTo>
                <a:cubicBezTo>
                  <a:pt x="6923460" y="1029553"/>
                  <a:pt x="6923460" y="1029553"/>
                  <a:pt x="6927848" y="1027749"/>
                </a:cubicBezTo>
                <a:cubicBezTo>
                  <a:pt x="6935841" y="1034720"/>
                  <a:pt x="6946417" y="1035502"/>
                  <a:pt x="6958797" y="1040670"/>
                </a:cubicBezTo>
                <a:cubicBezTo>
                  <a:pt x="6958797" y="1040670"/>
                  <a:pt x="6964987" y="1043254"/>
                  <a:pt x="6963183" y="1038868"/>
                </a:cubicBezTo>
                <a:cubicBezTo>
                  <a:pt x="6967571" y="1037065"/>
                  <a:pt x="6961381" y="1034479"/>
                  <a:pt x="6961381" y="1034479"/>
                </a:cubicBezTo>
                <a:cubicBezTo>
                  <a:pt x="6955190" y="1031895"/>
                  <a:pt x="6955190" y="1031895"/>
                  <a:pt x="6955190" y="1031895"/>
                </a:cubicBezTo>
                <a:lnTo>
                  <a:pt x="6954911" y="1031515"/>
                </a:lnTo>
                <a:lnTo>
                  <a:pt x="6967496" y="1037001"/>
                </a:lnTo>
                <a:lnTo>
                  <a:pt x="6967571" y="1037065"/>
                </a:lnTo>
                <a:lnTo>
                  <a:pt x="6967623" y="1037059"/>
                </a:lnTo>
                <a:lnTo>
                  <a:pt x="6969119" y="1037709"/>
                </a:lnTo>
                <a:cubicBezTo>
                  <a:pt x="6978854" y="1042682"/>
                  <a:pt x="6981753" y="1046619"/>
                  <a:pt x="6966790" y="1047640"/>
                </a:cubicBezTo>
                <a:cubicBezTo>
                  <a:pt x="7000323" y="1054380"/>
                  <a:pt x="7008316" y="1061351"/>
                  <a:pt x="7033076" y="1071687"/>
                </a:cubicBezTo>
                <a:cubicBezTo>
                  <a:pt x="7031272" y="1067300"/>
                  <a:pt x="7031272" y="1067300"/>
                  <a:pt x="7031272" y="1067300"/>
                </a:cubicBezTo>
                <a:cubicBezTo>
                  <a:pt x="7049843" y="1075051"/>
                  <a:pt x="7049843" y="1075051"/>
                  <a:pt x="7049843" y="1075051"/>
                </a:cubicBezTo>
                <a:cubicBezTo>
                  <a:pt x="7051645" y="1079438"/>
                  <a:pt x="7051645" y="1079438"/>
                  <a:pt x="7051645" y="1079438"/>
                </a:cubicBezTo>
                <a:cubicBezTo>
                  <a:pt x="7056031" y="1077636"/>
                  <a:pt x="7056031" y="1077636"/>
                  <a:pt x="7056031" y="1077636"/>
                </a:cubicBezTo>
                <a:cubicBezTo>
                  <a:pt x="7057834" y="1082021"/>
                  <a:pt x="7057834" y="1082021"/>
                  <a:pt x="7057834" y="1082021"/>
                </a:cubicBezTo>
                <a:cubicBezTo>
                  <a:pt x="7064025" y="1084605"/>
                  <a:pt x="7068412" y="1082803"/>
                  <a:pt x="7070214" y="1087190"/>
                </a:cubicBezTo>
                <a:cubicBezTo>
                  <a:pt x="7074602" y="1085387"/>
                  <a:pt x="7076405" y="1089774"/>
                  <a:pt x="7080791" y="1087970"/>
                </a:cubicBezTo>
                <a:cubicBezTo>
                  <a:pt x="7082593" y="1092356"/>
                  <a:pt x="7086981" y="1090554"/>
                  <a:pt x="7086981" y="1090554"/>
                </a:cubicBezTo>
                <a:cubicBezTo>
                  <a:pt x="7093172" y="1093139"/>
                  <a:pt x="7099360" y="1095723"/>
                  <a:pt x="7105551" y="1098307"/>
                </a:cubicBezTo>
                <a:cubicBezTo>
                  <a:pt x="7109938" y="1096503"/>
                  <a:pt x="7109938" y="1096503"/>
                  <a:pt x="7109938" y="1096503"/>
                </a:cubicBezTo>
                <a:cubicBezTo>
                  <a:pt x="7109938" y="1096503"/>
                  <a:pt x="7111741" y="1100891"/>
                  <a:pt x="7116127" y="1099088"/>
                </a:cubicBezTo>
                <a:lnTo>
                  <a:pt x="7117783" y="1099896"/>
                </a:lnTo>
                <a:lnTo>
                  <a:pt x="7118883" y="1097222"/>
                </a:lnTo>
                <a:cubicBezTo>
                  <a:pt x="7119098" y="1095711"/>
                  <a:pt x="7119529" y="1095064"/>
                  <a:pt x="7121040" y="1095496"/>
                </a:cubicBezTo>
                <a:lnTo>
                  <a:pt x="7132091" y="1090245"/>
                </a:lnTo>
                <a:lnTo>
                  <a:pt x="7127584" y="1087971"/>
                </a:lnTo>
                <a:cubicBezTo>
                  <a:pt x="7109112" y="1078897"/>
                  <a:pt x="7091639" y="1070695"/>
                  <a:pt x="7076164" y="1064234"/>
                </a:cubicBezTo>
                <a:cubicBezTo>
                  <a:pt x="7074361" y="1059848"/>
                  <a:pt x="7072558" y="1055462"/>
                  <a:pt x="7068171" y="1057264"/>
                </a:cubicBezTo>
                <a:cubicBezTo>
                  <a:pt x="7066368" y="1052877"/>
                  <a:pt x="7066368" y="1052877"/>
                  <a:pt x="7066368" y="1052877"/>
                </a:cubicBezTo>
                <a:cubicBezTo>
                  <a:pt x="7066368" y="1052877"/>
                  <a:pt x="7064565" y="1048481"/>
                  <a:pt x="7060178" y="1050293"/>
                </a:cubicBezTo>
                <a:cubicBezTo>
                  <a:pt x="7055791" y="1052096"/>
                  <a:pt x="7055791" y="1052096"/>
                  <a:pt x="7055791" y="1052096"/>
                </a:cubicBezTo>
                <a:cubicBezTo>
                  <a:pt x="7037222" y="1044334"/>
                  <a:pt x="6998279" y="1024443"/>
                  <a:pt x="7008075" y="1035801"/>
                </a:cubicBezTo>
                <a:cubicBezTo>
                  <a:pt x="7008075" y="1035801"/>
                  <a:pt x="7008075" y="1035801"/>
                  <a:pt x="7001885" y="1033217"/>
                </a:cubicBezTo>
                <a:cubicBezTo>
                  <a:pt x="7000082" y="1028831"/>
                  <a:pt x="6991308" y="1032436"/>
                  <a:pt x="6991308" y="1032436"/>
                </a:cubicBezTo>
                <a:lnTo>
                  <a:pt x="6994838" y="1041027"/>
                </a:lnTo>
                <a:lnTo>
                  <a:pt x="6982310" y="1035494"/>
                </a:lnTo>
                <a:lnTo>
                  <a:pt x="6967623" y="1037059"/>
                </a:lnTo>
                <a:lnTo>
                  <a:pt x="6967496" y="1037001"/>
                </a:lnTo>
                <a:lnTo>
                  <a:pt x="6953035" y="1025090"/>
                </a:lnTo>
                <a:cubicBezTo>
                  <a:pt x="6946296" y="1022732"/>
                  <a:pt x="6937913" y="1021049"/>
                  <a:pt x="6928630" y="1017172"/>
                </a:cubicBezTo>
                <a:cubicBezTo>
                  <a:pt x="6928630" y="1017172"/>
                  <a:pt x="6926826" y="1012785"/>
                  <a:pt x="6926826" y="1012785"/>
                </a:cubicBezTo>
                <a:cubicBezTo>
                  <a:pt x="6922439" y="1014588"/>
                  <a:pt x="6920636" y="1010201"/>
                  <a:pt x="6922439" y="1014588"/>
                </a:cubicBezTo>
                <a:cubicBezTo>
                  <a:pt x="6922439" y="1014588"/>
                  <a:pt x="6922439" y="1014588"/>
                  <a:pt x="6918052" y="1016391"/>
                </a:cubicBezTo>
                <a:cubicBezTo>
                  <a:pt x="6911862" y="1013807"/>
                  <a:pt x="6910060" y="1009421"/>
                  <a:pt x="6908255" y="1005034"/>
                </a:cubicBezTo>
                <a:cubicBezTo>
                  <a:pt x="6914446" y="1007618"/>
                  <a:pt x="6914446" y="1007618"/>
                  <a:pt x="6914446" y="1007618"/>
                </a:cubicBezTo>
                <a:cubicBezTo>
                  <a:pt x="6920636" y="1010201"/>
                  <a:pt x="6925023" y="1008398"/>
                  <a:pt x="6925023" y="1008398"/>
                </a:cubicBezTo>
                <a:cubicBezTo>
                  <a:pt x="6923220" y="1004011"/>
                  <a:pt x="6921417" y="999625"/>
                  <a:pt x="6917030" y="1001427"/>
                </a:cubicBezTo>
                <a:cubicBezTo>
                  <a:pt x="6915227" y="997041"/>
                  <a:pt x="6915227" y="997041"/>
                  <a:pt x="6915227" y="997041"/>
                </a:cubicBezTo>
                <a:cubicBezTo>
                  <a:pt x="6919615" y="995238"/>
                  <a:pt x="6941790" y="1011764"/>
                  <a:pt x="6944373" y="1005574"/>
                </a:cubicBezTo>
                <a:cubicBezTo>
                  <a:pt x="6884278" y="984121"/>
                  <a:pt x="6814386" y="951309"/>
                  <a:pt x="6748100" y="927272"/>
                </a:cubicBezTo>
                <a:cubicBezTo>
                  <a:pt x="6741910" y="924687"/>
                  <a:pt x="6731333" y="923906"/>
                  <a:pt x="6725143" y="921322"/>
                </a:cubicBezTo>
                <a:cubicBezTo>
                  <a:pt x="6720757" y="923125"/>
                  <a:pt x="6725143" y="921322"/>
                  <a:pt x="6718954" y="918737"/>
                </a:cubicBezTo>
                <a:cubicBezTo>
                  <a:pt x="6665048" y="899868"/>
                  <a:pt x="6596178" y="882020"/>
                  <a:pt x="6524725" y="870363"/>
                </a:cubicBezTo>
                <a:cubicBezTo>
                  <a:pt x="6518533" y="867780"/>
                  <a:pt x="6516732" y="863392"/>
                  <a:pt x="6512346" y="865194"/>
                </a:cubicBezTo>
                <a:cubicBezTo>
                  <a:pt x="6516732" y="863392"/>
                  <a:pt x="6521117" y="861588"/>
                  <a:pt x="6529111" y="868560"/>
                </a:cubicBezTo>
                <a:cubicBezTo>
                  <a:pt x="6527309" y="864173"/>
                  <a:pt x="6531695" y="862371"/>
                  <a:pt x="6537886" y="864954"/>
                </a:cubicBezTo>
                <a:cubicBezTo>
                  <a:pt x="6535301" y="871144"/>
                  <a:pt x="6554652" y="868319"/>
                  <a:pt x="6559040" y="866516"/>
                </a:cubicBezTo>
                <a:cubicBezTo>
                  <a:pt x="6559040" y="866516"/>
                  <a:pt x="6560841" y="870904"/>
                  <a:pt x="6565229" y="869100"/>
                </a:cubicBezTo>
                <a:cubicBezTo>
                  <a:pt x="6565229" y="869100"/>
                  <a:pt x="6569617" y="867298"/>
                  <a:pt x="6569617" y="867298"/>
                </a:cubicBezTo>
                <a:cubicBezTo>
                  <a:pt x="6584579" y="866276"/>
                  <a:pt x="6622500" y="871203"/>
                  <a:pt x="6616310" y="868619"/>
                </a:cubicBezTo>
                <a:cubicBezTo>
                  <a:pt x="6611923" y="870423"/>
                  <a:pt x="6610120" y="866033"/>
                  <a:pt x="6605733" y="867839"/>
                </a:cubicBezTo>
                <a:cubicBezTo>
                  <a:pt x="6610120" y="866033"/>
                  <a:pt x="6614507" y="864232"/>
                  <a:pt x="6614507" y="864232"/>
                </a:cubicBezTo>
                <a:cubicBezTo>
                  <a:pt x="6614507" y="864232"/>
                  <a:pt x="6612705" y="859845"/>
                  <a:pt x="6606514" y="857261"/>
                </a:cubicBezTo>
                <a:cubicBezTo>
                  <a:pt x="6606514" y="857261"/>
                  <a:pt x="6606514" y="857261"/>
                  <a:pt x="6610902" y="855458"/>
                </a:cubicBezTo>
                <a:cubicBezTo>
                  <a:pt x="6610902" y="855458"/>
                  <a:pt x="6612705" y="859845"/>
                  <a:pt x="6617091" y="858043"/>
                </a:cubicBezTo>
                <a:cubicBezTo>
                  <a:pt x="6617091" y="858043"/>
                  <a:pt x="6617091" y="858043"/>
                  <a:pt x="6621477" y="856239"/>
                </a:cubicBezTo>
                <a:cubicBezTo>
                  <a:pt x="6638246" y="859604"/>
                  <a:pt x="6648821" y="860386"/>
                  <a:pt x="6653208" y="858583"/>
                </a:cubicBezTo>
                <a:cubicBezTo>
                  <a:pt x="6657596" y="856780"/>
                  <a:pt x="6657596" y="856780"/>
                  <a:pt x="6657596" y="856780"/>
                </a:cubicBezTo>
                <a:cubicBezTo>
                  <a:pt x="6657596" y="856780"/>
                  <a:pt x="6657596" y="856780"/>
                  <a:pt x="6651405" y="854195"/>
                </a:cubicBezTo>
                <a:cubicBezTo>
                  <a:pt x="6657596" y="856780"/>
                  <a:pt x="6655793" y="852393"/>
                  <a:pt x="6649603" y="849809"/>
                </a:cubicBezTo>
                <a:cubicBezTo>
                  <a:pt x="6689327" y="859123"/>
                  <a:pt x="6714867" y="858883"/>
                  <a:pt x="6746598" y="861226"/>
                </a:cubicBezTo>
                <a:cubicBezTo>
                  <a:pt x="6773941" y="865372"/>
                  <a:pt x="6801286" y="869519"/>
                  <a:pt x="6841007" y="878834"/>
                </a:cubicBezTo>
                <a:cubicBezTo>
                  <a:pt x="6834817" y="876250"/>
                  <a:pt x="6839204" y="874446"/>
                  <a:pt x="6845394" y="877031"/>
                </a:cubicBezTo>
                <a:cubicBezTo>
                  <a:pt x="6845394" y="877031"/>
                  <a:pt x="6845394" y="877031"/>
                  <a:pt x="6847197" y="881417"/>
                </a:cubicBezTo>
                <a:cubicBezTo>
                  <a:pt x="6847197" y="881417"/>
                  <a:pt x="6851585" y="879615"/>
                  <a:pt x="6851585" y="879615"/>
                </a:cubicBezTo>
                <a:cubicBezTo>
                  <a:pt x="6857775" y="882199"/>
                  <a:pt x="6857775" y="882199"/>
                  <a:pt x="6857775" y="882199"/>
                </a:cubicBezTo>
                <a:cubicBezTo>
                  <a:pt x="6874540" y="885564"/>
                  <a:pt x="6874540" y="885564"/>
                  <a:pt x="6874540" y="885564"/>
                </a:cubicBezTo>
                <a:cubicBezTo>
                  <a:pt x="6872739" y="881177"/>
                  <a:pt x="6878927" y="883762"/>
                  <a:pt x="6883315" y="881957"/>
                </a:cubicBezTo>
                <a:cubicBezTo>
                  <a:pt x="6870936" y="876791"/>
                  <a:pt x="6872739" y="881177"/>
                  <a:pt x="6862161" y="880397"/>
                </a:cubicBezTo>
                <a:cubicBezTo>
                  <a:pt x="6862161" y="880397"/>
                  <a:pt x="6860358" y="876008"/>
                  <a:pt x="6860358" y="876008"/>
                </a:cubicBezTo>
                <a:cubicBezTo>
                  <a:pt x="6860358" y="876008"/>
                  <a:pt x="6860358" y="876008"/>
                  <a:pt x="6864746" y="874206"/>
                </a:cubicBezTo>
                <a:cubicBezTo>
                  <a:pt x="6862943" y="869819"/>
                  <a:pt x="6858554" y="871622"/>
                  <a:pt x="6858554" y="871622"/>
                </a:cubicBezTo>
                <a:cubicBezTo>
                  <a:pt x="6858554" y="871622"/>
                  <a:pt x="6854169" y="873425"/>
                  <a:pt x="6854169" y="873425"/>
                </a:cubicBezTo>
                <a:cubicBezTo>
                  <a:pt x="6847978" y="870841"/>
                  <a:pt x="6847978" y="870841"/>
                  <a:pt x="6847978" y="870841"/>
                </a:cubicBezTo>
                <a:cubicBezTo>
                  <a:pt x="6841788" y="868257"/>
                  <a:pt x="6828629" y="873666"/>
                  <a:pt x="6831212" y="867476"/>
                </a:cubicBezTo>
                <a:cubicBezTo>
                  <a:pt x="6823219" y="860506"/>
                  <a:pt x="6828629" y="873666"/>
                  <a:pt x="6822438" y="871081"/>
                </a:cubicBezTo>
                <a:cubicBezTo>
                  <a:pt x="6816248" y="868498"/>
                  <a:pt x="6820635" y="866694"/>
                  <a:pt x="6818832" y="862308"/>
                </a:cubicBezTo>
                <a:cubicBezTo>
                  <a:pt x="6808256" y="861526"/>
                  <a:pt x="6782716" y="861767"/>
                  <a:pt x="6782716" y="861767"/>
                </a:cubicBezTo>
                <a:cubicBezTo>
                  <a:pt x="6761561" y="860204"/>
                  <a:pt x="6726225" y="849086"/>
                  <a:pt x="6715648" y="848306"/>
                </a:cubicBezTo>
                <a:cubicBezTo>
                  <a:pt x="6709458" y="845722"/>
                  <a:pt x="6715648" y="848306"/>
                  <a:pt x="6717450" y="852693"/>
                </a:cubicBezTo>
                <a:cubicBezTo>
                  <a:pt x="6715648" y="848306"/>
                  <a:pt x="6705071" y="847525"/>
                  <a:pt x="6705071" y="847525"/>
                </a:cubicBezTo>
                <a:cubicBezTo>
                  <a:pt x="6705071" y="847525"/>
                  <a:pt x="6696297" y="851131"/>
                  <a:pt x="6696297" y="851131"/>
                </a:cubicBezTo>
                <a:cubicBezTo>
                  <a:pt x="6690107" y="848547"/>
                  <a:pt x="6698881" y="844940"/>
                  <a:pt x="6694494" y="846743"/>
                </a:cubicBezTo>
                <a:cubicBezTo>
                  <a:pt x="6686502" y="839773"/>
                  <a:pt x="6681333" y="852152"/>
                  <a:pt x="6682115" y="841576"/>
                </a:cubicBezTo>
                <a:cubicBezTo>
                  <a:pt x="6672439" y="842988"/>
                  <a:pt x="6657475" y="844009"/>
                  <a:pt x="6643157" y="843484"/>
                </a:cubicBezTo>
                <a:lnTo>
                  <a:pt x="6626448" y="839970"/>
                </a:lnTo>
                <a:lnTo>
                  <a:pt x="6614112" y="838605"/>
                </a:lnTo>
                <a:lnTo>
                  <a:pt x="6612394" y="838407"/>
                </a:lnTo>
                <a:lnTo>
                  <a:pt x="6611682" y="844882"/>
                </a:lnTo>
                <a:cubicBezTo>
                  <a:pt x="6571960" y="835568"/>
                  <a:pt x="6512885" y="829076"/>
                  <a:pt x="6493535" y="831901"/>
                </a:cubicBezTo>
                <a:cubicBezTo>
                  <a:pt x="6482958" y="831120"/>
                  <a:pt x="6420278" y="815856"/>
                  <a:pt x="6398343" y="824871"/>
                </a:cubicBezTo>
                <a:cubicBezTo>
                  <a:pt x="6387765" y="824091"/>
                  <a:pt x="6398343" y="824871"/>
                  <a:pt x="6396541" y="820483"/>
                </a:cubicBezTo>
                <a:cubicBezTo>
                  <a:pt x="6383378" y="825892"/>
                  <a:pt x="6349846" y="819162"/>
                  <a:pt x="6333079" y="815797"/>
                </a:cubicBezTo>
                <a:cubicBezTo>
                  <a:pt x="6333079" y="815797"/>
                  <a:pt x="6343656" y="816578"/>
                  <a:pt x="6346239" y="810389"/>
                </a:cubicBezTo>
                <a:cubicBezTo>
                  <a:pt x="6311925" y="814234"/>
                  <a:pt x="6322503" y="815016"/>
                  <a:pt x="6330497" y="821987"/>
                </a:cubicBezTo>
                <a:cubicBezTo>
                  <a:pt x="6288189" y="818863"/>
                  <a:pt x="6283801" y="820667"/>
                  <a:pt x="6259041" y="810329"/>
                </a:cubicBezTo>
                <a:cubicBezTo>
                  <a:pt x="6259041" y="810329"/>
                  <a:pt x="6252852" y="807746"/>
                  <a:pt x="6252852" y="807746"/>
                </a:cubicBezTo>
                <a:cubicBezTo>
                  <a:pt x="6252852" y="807746"/>
                  <a:pt x="6252852" y="807746"/>
                  <a:pt x="6248465" y="809548"/>
                </a:cubicBezTo>
                <a:cubicBezTo>
                  <a:pt x="6248465" y="809548"/>
                  <a:pt x="6250267" y="813934"/>
                  <a:pt x="6250267" y="813934"/>
                </a:cubicBezTo>
                <a:cubicBezTo>
                  <a:pt x="6250267" y="813934"/>
                  <a:pt x="6245880" y="815738"/>
                  <a:pt x="6239691" y="813154"/>
                </a:cubicBezTo>
                <a:cubicBezTo>
                  <a:pt x="6239691" y="813154"/>
                  <a:pt x="6239691" y="813154"/>
                  <a:pt x="6244077" y="811350"/>
                </a:cubicBezTo>
                <a:cubicBezTo>
                  <a:pt x="6244077" y="811350"/>
                  <a:pt x="6244077" y="811350"/>
                  <a:pt x="6242274" y="806964"/>
                </a:cubicBezTo>
                <a:cubicBezTo>
                  <a:pt x="6237888" y="808767"/>
                  <a:pt x="6237888" y="808767"/>
                  <a:pt x="6233501" y="810569"/>
                </a:cubicBezTo>
                <a:cubicBezTo>
                  <a:pt x="6227310" y="807986"/>
                  <a:pt x="6227310" y="807986"/>
                  <a:pt x="6227310" y="807986"/>
                </a:cubicBezTo>
                <a:cubicBezTo>
                  <a:pt x="6221122" y="805401"/>
                  <a:pt x="6195582" y="805642"/>
                  <a:pt x="6214150" y="813394"/>
                </a:cubicBezTo>
                <a:cubicBezTo>
                  <a:pt x="6207962" y="810810"/>
                  <a:pt x="6207962" y="810810"/>
                  <a:pt x="6203575" y="812612"/>
                </a:cubicBezTo>
                <a:cubicBezTo>
                  <a:pt x="6203575" y="812612"/>
                  <a:pt x="6205378" y="817000"/>
                  <a:pt x="6209764" y="815197"/>
                </a:cubicBezTo>
                <a:cubicBezTo>
                  <a:pt x="6209764" y="815197"/>
                  <a:pt x="6211567" y="819584"/>
                  <a:pt x="6215952" y="817781"/>
                </a:cubicBezTo>
                <a:cubicBezTo>
                  <a:pt x="6211567" y="819584"/>
                  <a:pt x="6207181" y="821386"/>
                  <a:pt x="6207181" y="821386"/>
                </a:cubicBezTo>
                <a:cubicBezTo>
                  <a:pt x="6200991" y="818803"/>
                  <a:pt x="6190413" y="818022"/>
                  <a:pt x="6175452" y="819043"/>
                </a:cubicBezTo>
                <a:cubicBezTo>
                  <a:pt x="6154296" y="817481"/>
                  <a:pt x="6133142" y="815918"/>
                  <a:pt x="6118178" y="816941"/>
                </a:cubicBezTo>
                <a:cubicBezTo>
                  <a:pt x="6113790" y="818744"/>
                  <a:pt x="6111988" y="814356"/>
                  <a:pt x="6111988" y="814356"/>
                </a:cubicBezTo>
                <a:cubicBezTo>
                  <a:pt x="6111988" y="814356"/>
                  <a:pt x="6107602" y="816160"/>
                  <a:pt x="6107602" y="816160"/>
                </a:cubicBezTo>
                <a:cubicBezTo>
                  <a:pt x="6098829" y="819766"/>
                  <a:pt x="6088256" y="818984"/>
                  <a:pt x="6082074" y="816400"/>
                </a:cubicBezTo>
                <a:cubicBezTo>
                  <a:pt x="6077686" y="818203"/>
                  <a:pt x="6067107" y="817422"/>
                  <a:pt x="6062724" y="819225"/>
                </a:cubicBezTo>
                <a:cubicBezTo>
                  <a:pt x="6052151" y="818444"/>
                  <a:pt x="6035383" y="815078"/>
                  <a:pt x="6024807" y="814297"/>
                </a:cubicBezTo>
                <a:cubicBezTo>
                  <a:pt x="6023000" y="809909"/>
                  <a:pt x="6023000" y="809909"/>
                  <a:pt x="6023000" y="809909"/>
                </a:cubicBezTo>
                <a:cubicBezTo>
                  <a:pt x="6018616" y="811714"/>
                  <a:pt x="6018616" y="811714"/>
                  <a:pt x="6014230" y="813516"/>
                </a:cubicBezTo>
                <a:cubicBezTo>
                  <a:pt x="6008041" y="810932"/>
                  <a:pt x="6009844" y="815319"/>
                  <a:pt x="6009844" y="815319"/>
                </a:cubicBezTo>
                <a:cubicBezTo>
                  <a:pt x="6016034" y="817902"/>
                  <a:pt x="6016034" y="817902"/>
                  <a:pt x="6016034" y="817902"/>
                </a:cubicBezTo>
                <a:cubicBezTo>
                  <a:pt x="6005455" y="817122"/>
                  <a:pt x="5986884" y="809370"/>
                  <a:pt x="5979915" y="817363"/>
                </a:cubicBezTo>
                <a:cubicBezTo>
                  <a:pt x="5978116" y="812976"/>
                  <a:pt x="5978116" y="812976"/>
                  <a:pt x="5973725" y="814779"/>
                </a:cubicBezTo>
                <a:cubicBezTo>
                  <a:pt x="5967538" y="812194"/>
                  <a:pt x="5969341" y="816580"/>
                  <a:pt x="5969341" y="816580"/>
                </a:cubicBezTo>
                <a:cubicBezTo>
                  <a:pt x="5952573" y="813215"/>
                  <a:pt x="5943019" y="827399"/>
                  <a:pt x="5935029" y="820427"/>
                </a:cubicBezTo>
                <a:cubicBezTo>
                  <a:pt x="5939415" y="818624"/>
                  <a:pt x="5939415" y="818624"/>
                  <a:pt x="5939415" y="818624"/>
                </a:cubicBezTo>
                <a:cubicBezTo>
                  <a:pt x="5949988" y="819405"/>
                  <a:pt x="5954377" y="817602"/>
                  <a:pt x="5952573" y="813215"/>
                </a:cubicBezTo>
                <a:cubicBezTo>
                  <a:pt x="5952573" y="813215"/>
                  <a:pt x="5946384" y="810631"/>
                  <a:pt x="5941997" y="812435"/>
                </a:cubicBezTo>
                <a:cubicBezTo>
                  <a:pt x="5935805" y="809851"/>
                  <a:pt x="5935805" y="809851"/>
                  <a:pt x="5935805" y="809851"/>
                </a:cubicBezTo>
                <a:cubicBezTo>
                  <a:pt x="5932201" y="801078"/>
                  <a:pt x="5947165" y="800055"/>
                  <a:pt x="5955158" y="807026"/>
                </a:cubicBezTo>
                <a:cubicBezTo>
                  <a:pt x="5947165" y="800055"/>
                  <a:pt x="5970901" y="795428"/>
                  <a:pt x="5955938" y="796449"/>
                </a:cubicBezTo>
                <a:cubicBezTo>
                  <a:pt x="5950773" y="808829"/>
                  <a:pt x="5935564" y="784310"/>
                  <a:pt x="5919821" y="795909"/>
                </a:cubicBezTo>
                <a:cubicBezTo>
                  <a:pt x="5913634" y="793324"/>
                  <a:pt x="5913634" y="793324"/>
                  <a:pt x="5913634" y="793324"/>
                </a:cubicBezTo>
                <a:cubicBezTo>
                  <a:pt x="5913634" y="793324"/>
                  <a:pt x="5909245" y="795127"/>
                  <a:pt x="5909245" y="795127"/>
                </a:cubicBezTo>
                <a:cubicBezTo>
                  <a:pt x="5903058" y="792544"/>
                  <a:pt x="5904857" y="796931"/>
                  <a:pt x="5904857" y="796931"/>
                </a:cubicBezTo>
                <a:cubicBezTo>
                  <a:pt x="5909245" y="795127"/>
                  <a:pt x="5911046" y="799515"/>
                  <a:pt x="5911046" y="799515"/>
                </a:cubicBezTo>
                <a:cubicBezTo>
                  <a:pt x="5906665" y="801317"/>
                  <a:pt x="5896088" y="800536"/>
                  <a:pt x="5897888" y="804923"/>
                </a:cubicBezTo>
                <a:cubicBezTo>
                  <a:pt x="5904077" y="807508"/>
                  <a:pt x="5893499" y="806726"/>
                  <a:pt x="5895305" y="811113"/>
                </a:cubicBezTo>
                <a:cubicBezTo>
                  <a:pt x="5905881" y="811893"/>
                  <a:pt x="5910270" y="810092"/>
                  <a:pt x="5920843" y="810873"/>
                </a:cubicBezTo>
                <a:cubicBezTo>
                  <a:pt x="5916457" y="812675"/>
                  <a:pt x="5916457" y="812675"/>
                  <a:pt x="5916457" y="812675"/>
                </a:cubicBezTo>
                <a:cubicBezTo>
                  <a:pt x="5912068" y="814477"/>
                  <a:pt x="5907684" y="816281"/>
                  <a:pt x="5909486" y="820668"/>
                </a:cubicBezTo>
                <a:lnTo>
                  <a:pt x="5918605" y="821341"/>
                </a:lnTo>
                <a:lnTo>
                  <a:pt x="5910291" y="824183"/>
                </a:lnTo>
                <a:cubicBezTo>
                  <a:pt x="5903360" y="824468"/>
                  <a:pt x="5895422" y="823883"/>
                  <a:pt x="5885751" y="825295"/>
                </a:cubicBezTo>
                <a:cubicBezTo>
                  <a:pt x="5919280" y="832026"/>
                  <a:pt x="5883166" y="831485"/>
                  <a:pt x="5877998" y="843866"/>
                </a:cubicBezTo>
                <a:cubicBezTo>
                  <a:pt x="5871808" y="841281"/>
                  <a:pt x="5880583" y="837675"/>
                  <a:pt x="5880583" y="837675"/>
                </a:cubicBezTo>
                <a:cubicBezTo>
                  <a:pt x="5878777" y="833289"/>
                  <a:pt x="5878777" y="833289"/>
                  <a:pt x="5878777" y="833289"/>
                </a:cubicBezTo>
                <a:cubicBezTo>
                  <a:pt x="5883166" y="831485"/>
                  <a:pt x="5883166" y="831485"/>
                  <a:pt x="5876979" y="828901"/>
                </a:cubicBezTo>
                <a:cubicBezTo>
                  <a:pt x="5876979" y="828901"/>
                  <a:pt x="5872591" y="830704"/>
                  <a:pt x="5868207" y="832506"/>
                </a:cubicBezTo>
                <a:cubicBezTo>
                  <a:pt x="5863818" y="834309"/>
                  <a:pt x="5863818" y="834309"/>
                  <a:pt x="5863818" y="834309"/>
                </a:cubicBezTo>
                <a:cubicBezTo>
                  <a:pt x="5857625" y="831726"/>
                  <a:pt x="5860213" y="825537"/>
                  <a:pt x="5851437" y="829142"/>
                </a:cubicBezTo>
                <a:cubicBezTo>
                  <a:pt x="5855825" y="827339"/>
                  <a:pt x="5855825" y="827339"/>
                  <a:pt x="5860213" y="825537"/>
                </a:cubicBezTo>
                <a:cubicBezTo>
                  <a:pt x="5864600" y="823733"/>
                  <a:pt x="5862793" y="819346"/>
                  <a:pt x="5858409" y="821147"/>
                </a:cubicBezTo>
                <a:cubicBezTo>
                  <a:pt x="5856603" y="816762"/>
                  <a:pt x="5852215" y="818564"/>
                  <a:pt x="5847831" y="820368"/>
                </a:cubicBezTo>
                <a:cubicBezTo>
                  <a:pt x="5843447" y="822171"/>
                  <a:pt x="5843447" y="822171"/>
                  <a:pt x="5839061" y="823974"/>
                </a:cubicBezTo>
                <a:cubicBezTo>
                  <a:pt x="5830286" y="827579"/>
                  <a:pt x="5823312" y="835573"/>
                  <a:pt x="5833889" y="836353"/>
                </a:cubicBezTo>
                <a:cubicBezTo>
                  <a:pt x="5829505" y="838156"/>
                  <a:pt x="5829505" y="838156"/>
                  <a:pt x="5831308" y="842544"/>
                </a:cubicBezTo>
                <a:cubicBezTo>
                  <a:pt x="5831308" y="842544"/>
                  <a:pt x="5831308" y="842544"/>
                  <a:pt x="5837498" y="845127"/>
                </a:cubicBezTo>
                <a:cubicBezTo>
                  <a:pt x="5833109" y="846930"/>
                  <a:pt x="5822533" y="846148"/>
                  <a:pt x="5813759" y="849755"/>
                </a:cubicBezTo>
                <a:cubicBezTo>
                  <a:pt x="5822533" y="846148"/>
                  <a:pt x="5833109" y="846930"/>
                  <a:pt x="5826921" y="844346"/>
                </a:cubicBezTo>
                <a:cubicBezTo>
                  <a:pt x="5818926" y="837375"/>
                  <a:pt x="5813759" y="849755"/>
                  <a:pt x="5805765" y="842784"/>
                </a:cubicBezTo>
                <a:cubicBezTo>
                  <a:pt x="5803962" y="838396"/>
                  <a:pt x="5803962" y="838396"/>
                  <a:pt x="5803962" y="838396"/>
                </a:cubicBezTo>
                <a:cubicBezTo>
                  <a:pt x="5803962" y="838396"/>
                  <a:pt x="5803962" y="838396"/>
                  <a:pt x="5799579" y="840200"/>
                </a:cubicBezTo>
                <a:cubicBezTo>
                  <a:pt x="5799579" y="840200"/>
                  <a:pt x="5799579" y="840200"/>
                  <a:pt x="5795194" y="842002"/>
                </a:cubicBezTo>
                <a:cubicBezTo>
                  <a:pt x="5796994" y="846389"/>
                  <a:pt x="5796994" y="846389"/>
                  <a:pt x="5796994" y="846389"/>
                </a:cubicBezTo>
                <a:cubicBezTo>
                  <a:pt x="5790804" y="843806"/>
                  <a:pt x="5790804" y="843806"/>
                  <a:pt x="5784616" y="841221"/>
                </a:cubicBezTo>
                <a:cubicBezTo>
                  <a:pt x="5777644" y="849214"/>
                  <a:pt x="5767068" y="848434"/>
                  <a:pt x="5758298" y="852039"/>
                </a:cubicBezTo>
                <a:cubicBezTo>
                  <a:pt x="5762681" y="850235"/>
                  <a:pt x="5767068" y="848434"/>
                  <a:pt x="5767068" y="848434"/>
                </a:cubicBezTo>
                <a:cubicBezTo>
                  <a:pt x="5747720" y="851257"/>
                  <a:pt x="5753910" y="853842"/>
                  <a:pt x="5737144" y="850476"/>
                </a:cubicBezTo>
                <a:cubicBezTo>
                  <a:pt x="5741527" y="848674"/>
                  <a:pt x="5739727" y="844286"/>
                  <a:pt x="5739727" y="844286"/>
                </a:cubicBezTo>
                <a:cubicBezTo>
                  <a:pt x="5739727" y="844286"/>
                  <a:pt x="5735340" y="846089"/>
                  <a:pt x="5735340" y="846089"/>
                </a:cubicBezTo>
                <a:cubicBezTo>
                  <a:pt x="5733537" y="841703"/>
                  <a:pt x="5733537" y="841703"/>
                  <a:pt x="5733537" y="841703"/>
                </a:cubicBezTo>
                <a:cubicBezTo>
                  <a:pt x="5763463" y="839659"/>
                  <a:pt x="5737925" y="839900"/>
                  <a:pt x="5736120" y="835513"/>
                </a:cubicBezTo>
                <a:cubicBezTo>
                  <a:pt x="5751084" y="834491"/>
                  <a:pt x="5766047" y="833469"/>
                  <a:pt x="5779210" y="828060"/>
                </a:cubicBezTo>
                <a:cubicBezTo>
                  <a:pt x="5781011" y="832447"/>
                  <a:pt x="5781011" y="832447"/>
                  <a:pt x="5781011" y="832447"/>
                </a:cubicBezTo>
                <a:cubicBezTo>
                  <a:pt x="5791584" y="833229"/>
                  <a:pt x="5795973" y="831426"/>
                  <a:pt x="5800359" y="829624"/>
                </a:cubicBezTo>
                <a:cubicBezTo>
                  <a:pt x="5789780" y="828842"/>
                  <a:pt x="5785399" y="830645"/>
                  <a:pt x="5783591" y="826257"/>
                </a:cubicBezTo>
                <a:cubicBezTo>
                  <a:pt x="5798556" y="825235"/>
                  <a:pt x="5796753" y="820848"/>
                  <a:pt x="5807328" y="821631"/>
                </a:cubicBezTo>
                <a:cubicBezTo>
                  <a:pt x="5807328" y="821631"/>
                  <a:pt x="5811716" y="819826"/>
                  <a:pt x="5813521" y="824215"/>
                </a:cubicBezTo>
                <a:cubicBezTo>
                  <a:pt x="5817905" y="822412"/>
                  <a:pt x="5817905" y="822412"/>
                  <a:pt x="5817905" y="822412"/>
                </a:cubicBezTo>
                <a:cubicBezTo>
                  <a:pt x="5822295" y="820609"/>
                  <a:pt x="5826679" y="818805"/>
                  <a:pt x="5820490" y="816222"/>
                </a:cubicBezTo>
                <a:cubicBezTo>
                  <a:pt x="5814302" y="813637"/>
                  <a:pt x="5814302" y="813637"/>
                  <a:pt x="5814302" y="813637"/>
                </a:cubicBezTo>
                <a:cubicBezTo>
                  <a:pt x="5812497" y="809251"/>
                  <a:pt x="5808110" y="811054"/>
                  <a:pt x="5803724" y="812856"/>
                </a:cubicBezTo>
                <a:cubicBezTo>
                  <a:pt x="5799340" y="814660"/>
                  <a:pt x="5799340" y="814660"/>
                  <a:pt x="5799340" y="814660"/>
                </a:cubicBezTo>
                <a:cubicBezTo>
                  <a:pt x="5801140" y="819046"/>
                  <a:pt x="5801140" y="819046"/>
                  <a:pt x="5801140" y="819046"/>
                </a:cubicBezTo>
                <a:cubicBezTo>
                  <a:pt x="5787982" y="824454"/>
                  <a:pt x="5751863" y="823914"/>
                  <a:pt x="5734318" y="831126"/>
                </a:cubicBezTo>
                <a:cubicBezTo>
                  <a:pt x="5728128" y="828542"/>
                  <a:pt x="5728128" y="828542"/>
                  <a:pt x="5728128" y="828542"/>
                </a:cubicBezTo>
                <a:cubicBezTo>
                  <a:pt x="5728128" y="828542"/>
                  <a:pt x="5728128" y="828542"/>
                  <a:pt x="5723742" y="830346"/>
                </a:cubicBezTo>
                <a:cubicBezTo>
                  <a:pt x="5723742" y="830346"/>
                  <a:pt x="5719356" y="832148"/>
                  <a:pt x="5719356" y="832148"/>
                </a:cubicBezTo>
                <a:cubicBezTo>
                  <a:pt x="5710582" y="835754"/>
                  <a:pt x="5695620" y="836776"/>
                  <a:pt x="5689427" y="834191"/>
                </a:cubicBezTo>
                <a:cubicBezTo>
                  <a:pt x="5691228" y="838579"/>
                  <a:pt x="5691228" y="838579"/>
                  <a:pt x="5691228" y="838579"/>
                </a:cubicBezTo>
                <a:cubicBezTo>
                  <a:pt x="5685044" y="835993"/>
                  <a:pt x="5685044" y="835993"/>
                  <a:pt x="5685044" y="835993"/>
                </a:cubicBezTo>
                <a:cubicBezTo>
                  <a:pt x="5685044" y="835993"/>
                  <a:pt x="5678859" y="833409"/>
                  <a:pt x="5674468" y="835212"/>
                </a:cubicBezTo>
                <a:cubicBezTo>
                  <a:pt x="5674468" y="835212"/>
                  <a:pt x="5670082" y="837015"/>
                  <a:pt x="5671886" y="841403"/>
                </a:cubicBezTo>
                <a:cubicBezTo>
                  <a:pt x="5626233" y="855043"/>
                  <a:pt x="5598895" y="850898"/>
                  <a:pt x="5569992" y="867905"/>
                </a:cubicBezTo>
                <a:cubicBezTo>
                  <a:pt x="5568183" y="863518"/>
                  <a:pt x="5563802" y="865321"/>
                  <a:pt x="5559414" y="867124"/>
                </a:cubicBezTo>
                <a:cubicBezTo>
                  <a:pt x="5559414" y="867124"/>
                  <a:pt x="5555030" y="868928"/>
                  <a:pt x="5555030" y="868928"/>
                </a:cubicBezTo>
                <a:cubicBezTo>
                  <a:pt x="5556828" y="873314"/>
                  <a:pt x="5556828" y="873314"/>
                  <a:pt x="5556828" y="873314"/>
                </a:cubicBezTo>
                <a:cubicBezTo>
                  <a:pt x="5548840" y="866343"/>
                  <a:pt x="5535682" y="871753"/>
                  <a:pt x="5526903" y="875358"/>
                </a:cubicBezTo>
                <a:cubicBezTo>
                  <a:pt x="5526903" y="875358"/>
                  <a:pt x="5522521" y="877161"/>
                  <a:pt x="5522521" y="877161"/>
                </a:cubicBezTo>
                <a:cubicBezTo>
                  <a:pt x="5516334" y="874576"/>
                  <a:pt x="5516334" y="874576"/>
                  <a:pt x="5513748" y="880767"/>
                </a:cubicBezTo>
                <a:cubicBezTo>
                  <a:pt x="5509363" y="882570"/>
                  <a:pt x="5509363" y="882570"/>
                  <a:pt x="5509363" y="882570"/>
                </a:cubicBezTo>
                <a:cubicBezTo>
                  <a:pt x="5509363" y="882570"/>
                  <a:pt x="5507556" y="878182"/>
                  <a:pt x="5503170" y="879985"/>
                </a:cubicBezTo>
                <a:cubicBezTo>
                  <a:pt x="5503170" y="879985"/>
                  <a:pt x="5503170" y="879985"/>
                  <a:pt x="5498786" y="881790"/>
                </a:cubicBezTo>
                <a:cubicBezTo>
                  <a:pt x="5491815" y="889782"/>
                  <a:pt x="5468859" y="883831"/>
                  <a:pt x="5472459" y="892605"/>
                </a:cubicBezTo>
                <a:cubicBezTo>
                  <a:pt x="5472459" y="892605"/>
                  <a:pt x="5472459" y="892605"/>
                  <a:pt x="5468076" y="894409"/>
                </a:cubicBezTo>
                <a:cubicBezTo>
                  <a:pt x="5463692" y="896212"/>
                  <a:pt x="5459303" y="898014"/>
                  <a:pt x="5459303" y="898014"/>
                </a:cubicBezTo>
                <a:cubicBezTo>
                  <a:pt x="5459303" y="898014"/>
                  <a:pt x="5454917" y="899817"/>
                  <a:pt x="5454917" y="899817"/>
                </a:cubicBezTo>
                <a:cubicBezTo>
                  <a:pt x="5446928" y="892846"/>
                  <a:pt x="5432986" y="908833"/>
                  <a:pt x="5424211" y="912437"/>
                </a:cubicBezTo>
                <a:cubicBezTo>
                  <a:pt x="5411053" y="917847"/>
                  <a:pt x="5416223" y="905466"/>
                  <a:pt x="5403054" y="910876"/>
                </a:cubicBezTo>
                <a:cubicBezTo>
                  <a:pt x="5403054" y="910876"/>
                  <a:pt x="5398679" y="912677"/>
                  <a:pt x="5396869" y="908291"/>
                </a:cubicBezTo>
                <a:cubicBezTo>
                  <a:pt x="5396869" y="908291"/>
                  <a:pt x="5392491" y="910094"/>
                  <a:pt x="5392491" y="910094"/>
                </a:cubicBezTo>
                <a:cubicBezTo>
                  <a:pt x="5388097" y="911897"/>
                  <a:pt x="5388097" y="911897"/>
                  <a:pt x="5394287" y="914480"/>
                </a:cubicBezTo>
                <a:cubicBezTo>
                  <a:pt x="5394287" y="914480"/>
                  <a:pt x="5394287" y="914480"/>
                  <a:pt x="5398679" y="912677"/>
                </a:cubicBezTo>
                <a:cubicBezTo>
                  <a:pt x="5391701" y="920670"/>
                  <a:pt x="5381132" y="919889"/>
                  <a:pt x="5382929" y="924276"/>
                </a:cubicBezTo>
                <a:cubicBezTo>
                  <a:pt x="5367972" y="925298"/>
                  <a:pt x="5381132" y="919889"/>
                  <a:pt x="5379329" y="915503"/>
                </a:cubicBezTo>
                <a:lnTo>
                  <a:pt x="5381752" y="909689"/>
                </a:lnTo>
                <a:lnTo>
                  <a:pt x="5406865" y="901219"/>
                </a:lnTo>
                <a:cubicBezTo>
                  <a:pt x="5431993" y="891610"/>
                  <a:pt x="5446608" y="882719"/>
                  <a:pt x="5469641" y="873256"/>
                </a:cubicBezTo>
                <a:cubicBezTo>
                  <a:pt x="5469641" y="873256"/>
                  <a:pt x="5471440" y="877642"/>
                  <a:pt x="5475829" y="875841"/>
                </a:cubicBezTo>
                <a:cubicBezTo>
                  <a:pt x="5475829" y="875841"/>
                  <a:pt x="5480219" y="874036"/>
                  <a:pt x="5480219" y="874036"/>
                </a:cubicBezTo>
                <a:cubicBezTo>
                  <a:pt x="5493373" y="868628"/>
                  <a:pt x="5497761" y="866824"/>
                  <a:pt x="5500348" y="860635"/>
                </a:cubicBezTo>
                <a:cubicBezTo>
                  <a:pt x="5482805" y="867846"/>
                  <a:pt x="5482805" y="867846"/>
                  <a:pt x="5482805" y="867846"/>
                </a:cubicBezTo>
                <a:cubicBezTo>
                  <a:pt x="5482805" y="867846"/>
                  <a:pt x="5487186" y="866043"/>
                  <a:pt x="5485386" y="861656"/>
                </a:cubicBezTo>
                <a:cubicBezTo>
                  <a:pt x="5485386" y="861656"/>
                  <a:pt x="5480991" y="863459"/>
                  <a:pt x="5480991" y="863459"/>
                </a:cubicBezTo>
                <a:cubicBezTo>
                  <a:pt x="5476611" y="865262"/>
                  <a:pt x="5476611" y="865262"/>
                  <a:pt x="5476611" y="865262"/>
                </a:cubicBezTo>
                <a:cubicBezTo>
                  <a:pt x="5472220" y="867065"/>
                  <a:pt x="5472220" y="867065"/>
                  <a:pt x="5472220" y="867065"/>
                </a:cubicBezTo>
                <a:cubicBezTo>
                  <a:pt x="5459842" y="861897"/>
                  <a:pt x="5451852" y="854926"/>
                  <a:pt x="5419349" y="863159"/>
                </a:cubicBezTo>
                <a:cubicBezTo>
                  <a:pt x="5390201" y="854626"/>
                  <a:pt x="5340925" y="859493"/>
                  <a:pt x="5306614" y="863341"/>
                </a:cubicBezTo>
                <a:cubicBezTo>
                  <a:pt x="5302222" y="865144"/>
                  <a:pt x="5300421" y="860757"/>
                  <a:pt x="5300421" y="860757"/>
                </a:cubicBezTo>
                <a:cubicBezTo>
                  <a:pt x="5300421" y="860757"/>
                  <a:pt x="5298613" y="856369"/>
                  <a:pt x="5294224" y="858172"/>
                </a:cubicBezTo>
                <a:cubicBezTo>
                  <a:pt x="5294224" y="858172"/>
                  <a:pt x="5298613" y="856369"/>
                  <a:pt x="5296812" y="851982"/>
                </a:cubicBezTo>
                <a:cubicBezTo>
                  <a:pt x="5288045" y="855587"/>
                  <a:pt x="5283648" y="857391"/>
                  <a:pt x="5283648" y="857391"/>
                </a:cubicBezTo>
                <a:cubicBezTo>
                  <a:pt x="5253728" y="859433"/>
                  <a:pt x="5216815" y="869471"/>
                  <a:pt x="5193084" y="874098"/>
                </a:cubicBezTo>
                <a:cubicBezTo>
                  <a:pt x="5186904" y="871514"/>
                  <a:pt x="5195671" y="867908"/>
                  <a:pt x="5200056" y="866105"/>
                </a:cubicBezTo>
                <a:cubicBezTo>
                  <a:pt x="5185096" y="867128"/>
                  <a:pt x="5128840" y="879987"/>
                  <a:pt x="5136595" y="861418"/>
                </a:cubicBezTo>
                <a:cubicBezTo>
                  <a:pt x="5145370" y="857812"/>
                  <a:pt x="5145370" y="857812"/>
                  <a:pt x="5145370" y="857812"/>
                </a:cubicBezTo>
                <a:cubicBezTo>
                  <a:pt x="5149766" y="856010"/>
                  <a:pt x="5149766" y="856010"/>
                  <a:pt x="5149766" y="856010"/>
                </a:cubicBezTo>
                <a:cubicBezTo>
                  <a:pt x="5149766" y="856010"/>
                  <a:pt x="5147954" y="851623"/>
                  <a:pt x="5143563" y="853427"/>
                </a:cubicBezTo>
                <a:cubicBezTo>
                  <a:pt x="5134790" y="857032"/>
                  <a:pt x="5134790" y="857032"/>
                  <a:pt x="5134790" y="857032"/>
                </a:cubicBezTo>
                <a:cubicBezTo>
                  <a:pt x="5150545" y="845435"/>
                  <a:pt x="5178663" y="839003"/>
                  <a:pt x="5204980" y="828185"/>
                </a:cubicBezTo>
                <a:cubicBezTo>
                  <a:pt x="5217896" y="797236"/>
                  <a:pt x="5136112" y="810338"/>
                  <a:pt x="5072894" y="831191"/>
                </a:cubicBezTo>
                <a:cubicBezTo>
                  <a:pt x="5066703" y="828607"/>
                  <a:pt x="5069289" y="822416"/>
                  <a:pt x="5052526" y="819053"/>
                </a:cubicBezTo>
                <a:cubicBezTo>
                  <a:pt x="5067484" y="818030"/>
                  <a:pt x="5065684" y="813643"/>
                  <a:pt x="5063877" y="809258"/>
                </a:cubicBezTo>
                <a:cubicBezTo>
                  <a:pt x="5098975" y="794833"/>
                  <a:pt x="5135871" y="784798"/>
                  <a:pt x="5170974" y="770374"/>
                </a:cubicBezTo>
                <a:cubicBezTo>
                  <a:pt x="5192908" y="761360"/>
                  <a:pt x="5167368" y="761600"/>
                  <a:pt x="5181313" y="745613"/>
                </a:cubicBezTo>
                <a:cubicBezTo>
                  <a:pt x="5205044" y="740987"/>
                  <a:pt x="5212002" y="732994"/>
                  <a:pt x="5240148" y="726563"/>
                </a:cubicBezTo>
                <a:cubicBezTo>
                  <a:pt x="5238343" y="722176"/>
                  <a:pt x="5227758" y="721396"/>
                  <a:pt x="5210193" y="728607"/>
                </a:cubicBezTo>
                <a:cubicBezTo>
                  <a:pt x="5218976" y="725001"/>
                  <a:pt x="5225948" y="717009"/>
                  <a:pt x="5245317" y="714184"/>
                </a:cubicBezTo>
                <a:cubicBezTo>
                  <a:pt x="5234731" y="713403"/>
                  <a:pt x="5237318" y="707212"/>
                  <a:pt x="5222343" y="708236"/>
                </a:cubicBezTo>
                <a:cubicBezTo>
                  <a:pt x="5300535" y="686360"/>
                  <a:pt x="5378722" y="664483"/>
                  <a:pt x="5458700" y="646997"/>
                </a:cubicBezTo>
                <a:cubicBezTo>
                  <a:pt x="5467475" y="643390"/>
                  <a:pt x="5476249" y="639784"/>
                  <a:pt x="5482438" y="642369"/>
                </a:cubicBezTo>
                <a:cubicBezTo>
                  <a:pt x="5705323" y="594028"/>
                  <a:pt x="5929500" y="574172"/>
                  <a:pt x="6150670" y="580870"/>
                </a:cubicBezTo>
                <a:lnTo>
                  <a:pt x="6208535" y="584941"/>
                </a:lnTo>
                <a:lnTo>
                  <a:pt x="6208615" y="583984"/>
                </a:lnTo>
                <a:cubicBezTo>
                  <a:pt x="6214822" y="581519"/>
                  <a:pt x="6219988" y="577174"/>
                  <a:pt x="6222819" y="572035"/>
                </a:cubicBezTo>
                <a:cubicBezTo>
                  <a:pt x="6226196" y="567539"/>
                  <a:pt x="6229028" y="562401"/>
                  <a:pt x="6232456" y="557313"/>
                </a:cubicBezTo>
                <a:cubicBezTo>
                  <a:pt x="6235833" y="552818"/>
                  <a:pt x="6239261" y="547729"/>
                  <a:pt x="6240354" y="541847"/>
                </a:cubicBezTo>
                <a:lnTo>
                  <a:pt x="6247643" y="534489"/>
                </a:lnTo>
                <a:close/>
                <a:moveTo>
                  <a:pt x="1800011" y="528967"/>
                </a:moveTo>
                <a:lnTo>
                  <a:pt x="1799916" y="529453"/>
                </a:lnTo>
                <a:lnTo>
                  <a:pt x="1799538" y="529276"/>
                </a:lnTo>
                <a:close/>
                <a:moveTo>
                  <a:pt x="3846383" y="524445"/>
                </a:moveTo>
                <a:cubicBezTo>
                  <a:pt x="3848918" y="523116"/>
                  <a:pt x="3852336" y="523470"/>
                  <a:pt x="3854638" y="525124"/>
                </a:cubicBezTo>
                <a:cubicBezTo>
                  <a:pt x="3856512" y="526644"/>
                  <a:pt x="3857945" y="527323"/>
                  <a:pt x="3860076" y="527279"/>
                </a:cubicBezTo>
                <a:cubicBezTo>
                  <a:pt x="3861840" y="530644"/>
                  <a:pt x="3863600" y="534009"/>
                  <a:pt x="3865366" y="537375"/>
                </a:cubicBezTo>
                <a:cubicBezTo>
                  <a:pt x="3863282" y="540254"/>
                  <a:pt x="3862204" y="543678"/>
                  <a:pt x="3862400" y="546792"/>
                </a:cubicBezTo>
                <a:cubicBezTo>
                  <a:pt x="3862168" y="549774"/>
                  <a:pt x="3862362" y="552888"/>
                  <a:pt x="3862276" y="556150"/>
                </a:cubicBezTo>
                <a:cubicBezTo>
                  <a:pt x="3862043" y="559132"/>
                  <a:pt x="3861957" y="562394"/>
                  <a:pt x="3863146" y="565346"/>
                </a:cubicBezTo>
                <a:cubicBezTo>
                  <a:pt x="3863903" y="568166"/>
                  <a:pt x="3862801" y="570172"/>
                  <a:pt x="3861564" y="572608"/>
                </a:cubicBezTo>
                <a:cubicBezTo>
                  <a:pt x="3860327" y="575044"/>
                  <a:pt x="3857362" y="576239"/>
                  <a:pt x="3856982" y="578940"/>
                </a:cubicBezTo>
                <a:cubicBezTo>
                  <a:pt x="3855011" y="579973"/>
                  <a:pt x="3853321" y="580859"/>
                  <a:pt x="3851349" y="581891"/>
                </a:cubicBezTo>
                <a:cubicBezTo>
                  <a:pt x="3850908" y="581051"/>
                  <a:pt x="3850479" y="580917"/>
                  <a:pt x="3849916" y="581212"/>
                </a:cubicBezTo>
                <a:cubicBezTo>
                  <a:pt x="3845689" y="583427"/>
                  <a:pt x="3841965" y="581802"/>
                  <a:pt x="3838795" y="579175"/>
                </a:cubicBezTo>
                <a:cubicBezTo>
                  <a:pt x="3835770" y="576829"/>
                  <a:pt x="3832611" y="574910"/>
                  <a:pt x="3831263" y="570968"/>
                </a:cubicBezTo>
                <a:cubicBezTo>
                  <a:pt x="3830052" y="566600"/>
                  <a:pt x="3827567" y="562540"/>
                  <a:pt x="3829331" y="557684"/>
                </a:cubicBezTo>
                <a:cubicBezTo>
                  <a:pt x="3829870" y="555972"/>
                  <a:pt x="3830555" y="554540"/>
                  <a:pt x="3832233" y="552946"/>
                </a:cubicBezTo>
                <a:cubicBezTo>
                  <a:pt x="3834611" y="550629"/>
                  <a:pt x="3837255" y="547456"/>
                  <a:pt x="3834060" y="543411"/>
                </a:cubicBezTo>
                <a:cubicBezTo>
                  <a:pt x="3832897" y="541876"/>
                  <a:pt x="3834294" y="540430"/>
                  <a:pt x="3834134" y="539441"/>
                </a:cubicBezTo>
                <a:cubicBezTo>
                  <a:pt x="3833192" y="534215"/>
                  <a:pt x="3835543" y="530481"/>
                  <a:pt x="3838471" y="527161"/>
                </a:cubicBezTo>
                <a:cubicBezTo>
                  <a:pt x="3841300" y="526393"/>
                  <a:pt x="3843848" y="525773"/>
                  <a:pt x="3846383" y="524445"/>
                </a:cubicBezTo>
                <a:close/>
                <a:moveTo>
                  <a:pt x="10304300" y="513527"/>
                </a:moveTo>
                <a:cubicBezTo>
                  <a:pt x="10305105" y="513960"/>
                  <a:pt x="10306713" y="514825"/>
                  <a:pt x="10306681" y="515845"/>
                </a:cubicBezTo>
                <a:cubicBezTo>
                  <a:pt x="10308754" y="521623"/>
                  <a:pt x="10310642" y="526783"/>
                  <a:pt x="10318679" y="524379"/>
                </a:cubicBezTo>
                <a:cubicBezTo>
                  <a:pt x="10321367" y="523238"/>
                  <a:pt x="10321492" y="525894"/>
                  <a:pt x="10321029" y="527717"/>
                </a:cubicBezTo>
                <a:cubicBezTo>
                  <a:pt x="10318558" y="535190"/>
                  <a:pt x="10321773" y="536922"/>
                  <a:pt x="10328759" y="535506"/>
                </a:cubicBezTo>
                <a:cubicBezTo>
                  <a:pt x="10333488" y="534429"/>
                  <a:pt x="10334663" y="536098"/>
                  <a:pt x="10332501" y="540112"/>
                </a:cubicBezTo>
                <a:cubicBezTo>
                  <a:pt x="10331203" y="542520"/>
                  <a:pt x="10328886" y="544897"/>
                  <a:pt x="10332287" y="547247"/>
                </a:cubicBezTo>
                <a:cubicBezTo>
                  <a:pt x="10339460" y="553183"/>
                  <a:pt x="10339648" y="560534"/>
                  <a:pt x="10335355" y="567544"/>
                </a:cubicBezTo>
                <a:cubicBezTo>
                  <a:pt x="10332141" y="572546"/>
                  <a:pt x="10332451" y="575820"/>
                  <a:pt x="10334987" y="579775"/>
                </a:cubicBezTo>
                <a:cubicBezTo>
                  <a:pt x="10334123" y="581381"/>
                  <a:pt x="10333257" y="582986"/>
                  <a:pt x="10332392" y="584593"/>
                </a:cubicBezTo>
                <a:cubicBezTo>
                  <a:pt x="10327076" y="584836"/>
                  <a:pt x="10323492" y="588601"/>
                  <a:pt x="10322535" y="593265"/>
                </a:cubicBezTo>
                <a:cubicBezTo>
                  <a:pt x="10320653" y="601573"/>
                  <a:pt x="10315213" y="605893"/>
                  <a:pt x="10307393" y="607895"/>
                </a:cubicBezTo>
                <a:cubicBezTo>
                  <a:pt x="10304302" y="608820"/>
                  <a:pt x="10301428" y="609344"/>
                  <a:pt x="10299110" y="611720"/>
                </a:cubicBezTo>
                <a:cubicBezTo>
                  <a:pt x="10295928" y="615703"/>
                  <a:pt x="10292219" y="616812"/>
                  <a:pt x="10288014" y="614029"/>
                </a:cubicBezTo>
                <a:cubicBezTo>
                  <a:pt x="10284799" y="612297"/>
                  <a:pt x="10281307" y="613005"/>
                  <a:pt x="10279235" y="613960"/>
                </a:cubicBezTo>
                <a:cubicBezTo>
                  <a:pt x="10267213" y="619914"/>
                  <a:pt x="10259976" y="609283"/>
                  <a:pt x="10250887" y="605940"/>
                </a:cubicBezTo>
                <a:cubicBezTo>
                  <a:pt x="10247054" y="604393"/>
                  <a:pt x="10238337" y="602286"/>
                  <a:pt x="10238243" y="598610"/>
                </a:cubicBezTo>
                <a:cubicBezTo>
                  <a:pt x="10237745" y="587984"/>
                  <a:pt x="10223554" y="584484"/>
                  <a:pt x="10226580" y="572129"/>
                </a:cubicBezTo>
                <a:cubicBezTo>
                  <a:pt x="10227506" y="568485"/>
                  <a:pt x="10222960" y="563447"/>
                  <a:pt x="10230563" y="561847"/>
                </a:cubicBezTo>
                <a:cubicBezTo>
                  <a:pt x="10232820" y="561508"/>
                  <a:pt x="10233716" y="558883"/>
                  <a:pt x="10232324" y="557616"/>
                </a:cubicBezTo>
                <a:cubicBezTo>
                  <a:pt x="10227190" y="551743"/>
                  <a:pt x="10229539" y="548347"/>
                  <a:pt x="10236153" y="545696"/>
                </a:cubicBezTo>
                <a:cubicBezTo>
                  <a:pt x="10238224" y="544739"/>
                  <a:pt x="10237697" y="541866"/>
                  <a:pt x="10237759" y="539827"/>
                </a:cubicBezTo>
                <a:cubicBezTo>
                  <a:pt x="10237449" y="536553"/>
                  <a:pt x="10238343" y="533927"/>
                  <a:pt x="10241837" y="533220"/>
                </a:cubicBezTo>
                <a:cubicBezTo>
                  <a:pt x="10245329" y="532512"/>
                  <a:pt x="10246224" y="529886"/>
                  <a:pt x="10248326" y="527911"/>
                </a:cubicBezTo>
                <a:cubicBezTo>
                  <a:pt x="10253579" y="522973"/>
                  <a:pt x="10260099" y="516646"/>
                  <a:pt x="10266034" y="516218"/>
                </a:cubicBezTo>
                <a:cubicBezTo>
                  <a:pt x="10278923" y="515393"/>
                  <a:pt x="10291627" y="513949"/>
                  <a:pt x="10304300" y="513527"/>
                </a:cubicBezTo>
                <a:close/>
                <a:moveTo>
                  <a:pt x="10773377" y="512275"/>
                </a:moveTo>
                <a:cubicBezTo>
                  <a:pt x="10777868" y="516096"/>
                  <a:pt x="10782594" y="515136"/>
                  <a:pt x="10787266" y="512978"/>
                </a:cubicBezTo>
                <a:cubicBezTo>
                  <a:pt x="10789414" y="512030"/>
                  <a:pt x="10790989" y="511710"/>
                  <a:pt x="10792760" y="514067"/>
                </a:cubicBezTo>
                <a:cubicBezTo>
                  <a:pt x="10794783" y="517260"/>
                  <a:pt x="10798283" y="517276"/>
                  <a:pt x="10801713" y="516552"/>
                </a:cubicBezTo>
                <a:cubicBezTo>
                  <a:pt x="10804587" y="515996"/>
                  <a:pt x="10807654" y="515076"/>
                  <a:pt x="10810528" y="514521"/>
                </a:cubicBezTo>
                <a:cubicBezTo>
                  <a:pt x="10811914" y="514333"/>
                  <a:pt x="10813087" y="514437"/>
                  <a:pt x="10813771" y="515012"/>
                </a:cubicBezTo>
                <a:cubicBezTo>
                  <a:pt x="10814457" y="515585"/>
                  <a:pt x="10814654" y="516627"/>
                  <a:pt x="10814097" y="518313"/>
                </a:cubicBezTo>
                <a:cubicBezTo>
                  <a:pt x="10813706" y="519038"/>
                  <a:pt x="10813498" y="519861"/>
                  <a:pt x="10813469" y="520781"/>
                </a:cubicBezTo>
                <a:cubicBezTo>
                  <a:pt x="10813344" y="521882"/>
                  <a:pt x="10812563" y="523332"/>
                  <a:pt x="10813735" y="524197"/>
                </a:cubicBezTo>
                <a:cubicBezTo>
                  <a:pt x="10814822" y="524783"/>
                  <a:pt x="10816036" y="524267"/>
                  <a:pt x="10816969" y="523836"/>
                </a:cubicBezTo>
                <a:cubicBezTo>
                  <a:pt x="10821349" y="522220"/>
                  <a:pt x="10822338" y="522987"/>
                  <a:pt x="10821921" y="527672"/>
                </a:cubicBezTo>
                <a:cubicBezTo>
                  <a:pt x="10821795" y="528773"/>
                  <a:pt x="10821586" y="529595"/>
                  <a:pt x="10821739" y="530613"/>
                </a:cubicBezTo>
                <a:cubicBezTo>
                  <a:pt x="10821878" y="532091"/>
                  <a:pt x="10822115" y="533387"/>
                  <a:pt x="10824319" y="533639"/>
                </a:cubicBezTo>
                <a:cubicBezTo>
                  <a:pt x="10826440" y="533612"/>
                  <a:pt x="10826830" y="532888"/>
                  <a:pt x="10827248" y="531243"/>
                </a:cubicBezTo>
                <a:lnTo>
                  <a:pt x="10828419" y="528338"/>
                </a:lnTo>
                <a:lnTo>
                  <a:pt x="10834997" y="550063"/>
                </a:lnTo>
                <a:lnTo>
                  <a:pt x="10833565" y="550777"/>
                </a:lnTo>
                <a:cubicBezTo>
                  <a:pt x="10832325" y="552212"/>
                  <a:pt x="10832282" y="553592"/>
                  <a:pt x="10833343" y="555098"/>
                </a:cubicBezTo>
                <a:cubicBezTo>
                  <a:pt x="10834137" y="556228"/>
                  <a:pt x="10835030" y="557177"/>
                  <a:pt x="10835824" y="558306"/>
                </a:cubicBezTo>
                <a:cubicBezTo>
                  <a:pt x="10837149" y="560188"/>
                  <a:pt x="10837192" y="561848"/>
                  <a:pt x="10835658" y="563826"/>
                </a:cubicBezTo>
                <a:cubicBezTo>
                  <a:pt x="10831055" y="569763"/>
                  <a:pt x="10830973" y="575564"/>
                  <a:pt x="10835212" y="581587"/>
                </a:cubicBezTo>
                <a:cubicBezTo>
                  <a:pt x="10835825" y="582619"/>
                  <a:pt x="10837917" y="583512"/>
                  <a:pt x="10836677" y="584948"/>
                </a:cubicBezTo>
                <a:cubicBezTo>
                  <a:pt x="10835617" y="586481"/>
                  <a:pt x="10833789" y="585965"/>
                  <a:pt x="10832061" y="585267"/>
                </a:cubicBezTo>
                <a:cubicBezTo>
                  <a:pt x="10831878" y="585169"/>
                  <a:pt x="10831698" y="585072"/>
                  <a:pt x="10831516" y="584974"/>
                </a:cubicBezTo>
                <a:cubicBezTo>
                  <a:pt x="10826774" y="583355"/>
                  <a:pt x="10824432" y="584664"/>
                  <a:pt x="10824754" y="589278"/>
                </a:cubicBezTo>
                <a:cubicBezTo>
                  <a:pt x="10824991" y="593615"/>
                  <a:pt x="10823079" y="595859"/>
                  <a:pt x="10819802" y="597599"/>
                </a:cubicBezTo>
                <a:cubicBezTo>
                  <a:pt x="10815493" y="599954"/>
                  <a:pt x="10811630" y="602783"/>
                  <a:pt x="10810278" y="607899"/>
                </a:cubicBezTo>
                <a:cubicBezTo>
                  <a:pt x="10809748" y="610185"/>
                  <a:pt x="10807267" y="610016"/>
                  <a:pt x="10805802" y="609696"/>
                </a:cubicBezTo>
                <a:cubicBezTo>
                  <a:pt x="10800211" y="608787"/>
                  <a:pt x="10796376" y="610695"/>
                  <a:pt x="10793293" y="615113"/>
                </a:cubicBezTo>
                <a:cubicBezTo>
                  <a:pt x="10791369" y="617817"/>
                  <a:pt x="10789988" y="617774"/>
                  <a:pt x="10788064" y="614401"/>
                </a:cubicBezTo>
                <a:cubicBezTo>
                  <a:pt x="10783949" y="607275"/>
                  <a:pt x="10773422" y="605109"/>
                  <a:pt x="10767285" y="609986"/>
                </a:cubicBezTo>
                <a:cubicBezTo>
                  <a:pt x="10766058" y="610962"/>
                  <a:pt x="10764455" y="612202"/>
                  <a:pt x="10765138" y="613973"/>
                </a:cubicBezTo>
                <a:cubicBezTo>
                  <a:pt x="10765821" y="615744"/>
                  <a:pt x="10767342" y="617264"/>
                  <a:pt x="10769559" y="617056"/>
                </a:cubicBezTo>
                <a:cubicBezTo>
                  <a:pt x="10770939" y="617098"/>
                  <a:pt x="10772515" y="616778"/>
                  <a:pt x="10773993" y="616639"/>
                </a:cubicBezTo>
                <a:cubicBezTo>
                  <a:pt x="10775569" y="616319"/>
                  <a:pt x="10776950" y="616362"/>
                  <a:pt x="10777270" y="617937"/>
                </a:cubicBezTo>
                <a:cubicBezTo>
                  <a:pt x="10777674" y="619791"/>
                  <a:pt x="10776364" y="620488"/>
                  <a:pt x="10774970" y="620906"/>
                </a:cubicBezTo>
                <a:cubicBezTo>
                  <a:pt x="10773756" y="621421"/>
                  <a:pt x="10772278" y="621560"/>
                  <a:pt x="10771163" y="621894"/>
                </a:cubicBezTo>
                <a:cubicBezTo>
                  <a:pt x="10768652" y="622646"/>
                  <a:pt x="10766575" y="624332"/>
                  <a:pt x="10767230" y="627023"/>
                </a:cubicBezTo>
                <a:cubicBezTo>
                  <a:pt x="10767900" y="629254"/>
                  <a:pt x="10770675" y="628879"/>
                  <a:pt x="10772710" y="628573"/>
                </a:cubicBezTo>
                <a:cubicBezTo>
                  <a:pt x="10774467" y="628350"/>
                  <a:pt x="10776252" y="627208"/>
                  <a:pt x="10778178" y="627543"/>
                </a:cubicBezTo>
                <a:cubicBezTo>
                  <a:pt x="10781021" y="627907"/>
                  <a:pt x="10782277" y="629050"/>
                  <a:pt x="10780535" y="631852"/>
                </a:cubicBezTo>
                <a:cubicBezTo>
                  <a:pt x="10778205" y="635741"/>
                  <a:pt x="10774816" y="638124"/>
                  <a:pt x="10770981" y="640032"/>
                </a:cubicBezTo>
                <a:cubicBezTo>
                  <a:pt x="10766114" y="642553"/>
                  <a:pt x="10764763" y="644630"/>
                  <a:pt x="10765613" y="649998"/>
                </a:cubicBezTo>
                <a:cubicBezTo>
                  <a:pt x="10765738" y="651936"/>
                  <a:pt x="10766505" y="653985"/>
                  <a:pt x="10767091" y="655937"/>
                </a:cubicBezTo>
                <a:cubicBezTo>
                  <a:pt x="10767343" y="656774"/>
                  <a:pt x="10767957" y="657806"/>
                  <a:pt x="10767105" y="658516"/>
                </a:cubicBezTo>
                <a:cubicBezTo>
                  <a:pt x="10766157" y="659408"/>
                  <a:pt x="10765153" y="659101"/>
                  <a:pt x="10764525" y="658529"/>
                </a:cubicBezTo>
                <a:cubicBezTo>
                  <a:pt x="10761653" y="656046"/>
                  <a:pt x="10760147" y="657105"/>
                  <a:pt x="10758766" y="660102"/>
                </a:cubicBezTo>
                <a:cubicBezTo>
                  <a:pt x="10756996" y="663824"/>
                  <a:pt x="10753273" y="665091"/>
                  <a:pt x="10749661" y="665717"/>
                </a:cubicBezTo>
                <a:cubicBezTo>
                  <a:pt x="10746787" y="666274"/>
                  <a:pt x="10745922" y="667444"/>
                  <a:pt x="10747136" y="669968"/>
                </a:cubicBezTo>
                <a:cubicBezTo>
                  <a:pt x="10747833" y="671279"/>
                  <a:pt x="10748168" y="672394"/>
                  <a:pt x="10747024" y="673649"/>
                </a:cubicBezTo>
                <a:cubicBezTo>
                  <a:pt x="10745589" y="675447"/>
                  <a:pt x="10744333" y="674303"/>
                  <a:pt x="10742870" y="673981"/>
                </a:cubicBezTo>
                <a:cubicBezTo>
                  <a:pt x="10742046" y="673772"/>
                  <a:pt x="10741139" y="673284"/>
                  <a:pt x="10740135" y="672976"/>
                </a:cubicBezTo>
                <a:cubicBezTo>
                  <a:pt x="10734948" y="670884"/>
                  <a:pt x="10732397" y="673016"/>
                  <a:pt x="10733052" y="678746"/>
                </a:cubicBezTo>
                <a:cubicBezTo>
                  <a:pt x="10733121" y="679484"/>
                  <a:pt x="10733288" y="680042"/>
                  <a:pt x="10733177" y="680683"/>
                </a:cubicBezTo>
                <a:cubicBezTo>
                  <a:pt x="10733136" y="682063"/>
                  <a:pt x="10732718" y="683708"/>
                  <a:pt x="10731240" y="683847"/>
                </a:cubicBezTo>
                <a:cubicBezTo>
                  <a:pt x="10729942" y="684083"/>
                  <a:pt x="10729063" y="682675"/>
                  <a:pt x="10728728" y="681560"/>
                </a:cubicBezTo>
                <a:cubicBezTo>
                  <a:pt x="10728394" y="680444"/>
                  <a:pt x="10728240" y="679427"/>
                  <a:pt x="10728184" y="678228"/>
                </a:cubicBezTo>
                <a:cubicBezTo>
                  <a:pt x="10727781" y="676373"/>
                  <a:pt x="10726888" y="675424"/>
                  <a:pt x="10724852" y="675730"/>
                </a:cubicBezTo>
                <a:cubicBezTo>
                  <a:pt x="10720138" y="676231"/>
                  <a:pt x="10716136" y="674542"/>
                  <a:pt x="10712232" y="672673"/>
                </a:cubicBezTo>
                <a:cubicBezTo>
                  <a:pt x="10707504" y="670593"/>
                  <a:pt x="10703083" y="667511"/>
                  <a:pt x="10697966" y="666157"/>
                </a:cubicBezTo>
                <a:cubicBezTo>
                  <a:pt x="10696139" y="665640"/>
                  <a:pt x="10695817" y="664065"/>
                  <a:pt x="10695580" y="662767"/>
                </a:cubicBezTo>
                <a:cubicBezTo>
                  <a:pt x="10694604" y="658501"/>
                  <a:pt x="10693809" y="654333"/>
                  <a:pt x="10688497" y="653341"/>
                </a:cubicBezTo>
                <a:cubicBezTo>
                  <a:pt x="10687493" y="653034"/>
                  <a:pt x="10687339" y="652015"/>
                  <a:pt x="10687366" y="651095"/>
                </a:cubicBezTo>
                <a:cubicBezTo>
                  <a:pt x="10687324" y="646397"/>
                  <a:pt x="10685623" y="641740"/>
                  <a:pt x="10684563" y="637195"/>
                </a:cubicBezTo>
                <a:cubicBezTo>
                  <a:pt x="10682932" y="630237"/>
                  <a:pt x="10683405" y="623713"/>
                  <a:pt x="10688454" y="618250"/>
                </a:cubicBezTo>
                <a:cubicBezTo>
                  <a:pt x="10690364" y="616006"/>
                  <a:pt x="10689793" y="613595"/>
                  <a:pt x="10689122" y="611364"/>
                </a:cubicBezTo>
                <a:cubicBezTo>
                  <a:pt x="10687714" y="606163"/>
                  <a:pt x="10688871" y="604449"/>
                  <a:pt x="10693961" y="603684"/>
                </a:cubicBezTo>
                <a:cubicBezTo>
                  <a:pt x="10699414" y="603115"/>
                  <a:pt x="10699414" y="603115"/>
                  <a:pt x="10698299" y="597371"/>
                </a:cubicBezTo>
                <a:cubicBezTo>
                  <a:pt x="10698061" y="596074"/>
                  <a:pt x="10697908" y="595056"/>
                  <a:pt x="10699582" y="594555"/>
                </a:cubicBezTo>
                <a:cubicBezTo>
                  <a:pt x="10705452" y="592340"/>
                  <a:pt x="10710960" y="589931"/>
                  <a:pt x="10716915" y="587995"/>
                </a:cubicBezTo>
                <a:cubicBezTo>
                  <a:pt x="10721293" y="586379"/>
                  <a:pt x="10725813" y="586242"/>
                  <a:pt x="10730289" y="587485"/>
                </a:cubicBezTo>
                <a:cubicBezTo>
                  <a:pt x="10733217" y="588127"/>
                  <a:pt x="10741626" y="584241"/>
                  <a:pt x="10743272" y="581621"/>
                </a:cubicBezTo>
                <a:cubicBezTo>
                  <a:pt x="10743759" y="580715"/>
                  <a:pt x="10744149" y="579990"/>
                  <a:pt x="10743257" y="579042"/>
                </a:cubicBezTo>
                <a:cubicBezTo>
                  <a:pt x="10739004" y="573478"/>
                  <a:pt x="10738920" y="567120"/>
                  <a:pt x="10739395" y="560596"/>
                </a:cubicBezTo>
                <a:cubicBezTo>
                  <a:pt x="10739435" y="559216"/>
                  <a:pt x="10739562" y="558114"/>
                  <a:pt x="10739506" y="556916"/>
                </a:cubicBezTo>
                <a:cubicBezTo>
                  <a:pt x="10739254" y="553039"/>
                  <a:pt x="10739715" y="550014"/>
                  <a:pt x="10742935" y="547074"/>
                </a:cubicBezTo>
                <a:cubicBezTo>
                  <a:pt x="10746157" y="544134"/>
                  <a:pt x="10746114" y="539436"/>
                  <a:pt x="10746059" y="535198"/>
                </a:cubicBezTo>
                <a:cubicBezTo>
                  <a:pt x="10746212" y="533176"/>
                  <a:pt x="10746435" y="531893"/>
                  <a:pt x="10748584" y="530947"/>
                </a:cubicBezTo>
                <a:cubicBezTo>
                  <a:pt x="10757369" y="526795"/>
                  <a:pt x="10765276" y="521236"/>
                  <a:pt x="10770784" y="512748"/>
                </a:cubicBezTo>
                <a:cubicBezTo>
                  <a:pt x="10771649" y="511577"/>
                  <a:pt x="10772303" y="511229"/>
                  <a:pt x="10773377" y="512275"/>
                </a:cubicBezTo>
                <a:close/>
                <a:moveTo>
                  <a:pt x="2685915" y="486683"/>
                </a:moveTo>
                <a:lnTo>
                  <a:pt x="2686114" y="486878"/>
                </a:lnTo>
                <a:lnTo>
                  <a:pt x="2685748" y="486965"/>
                </a:lnTo>
                <a:close/>
                <a:moveTo>
                  <a:pt x="11128309" y="485923"/>
                </a:moveTo>
                <a:cubicBezTo>
                  <a:pt x="11130473" y="481909"/>
                  <a:pt x="11132513" y="481972"/>
                  <a:pt x="11134215" y="486514"/>
                </a:cubicBezTo>
                <a:cubicBezTo>
                  <a:pt x="11136874" y="493126"/>
                  <a:pt x="11140089" y="494858"/>
                  <a:pt x="11144971" y="488683"/>
                </a:cubicBezTo>
                <a:cubicBezTo>
                  <a:pt x="11146239" y="487295"/>
                  <a:pt x="11148525" y="485937"/>
                  <a:pt x="11149053" y="488810"/>
                </a:cubicBezTo>
                <a:cubicBezTo>
                  <a:pt x="11151465" y="496843"/>
                  <a:pt x="11156814" y="495580"/>
                  <a:pt x="11162779" y="494133"/>
                </a:cubicBezTo>
                <a:cubicBezTo>
                  <a:pt x="11163612" y="493547"/>
                  <a:pt x="11165221" y="494413"/>
                  <a:pt x="11166024" y="494846"/>
                </a:cubicBezTo>
                <a:cubicBezTo>
                  <a:pt x="11172644" y="505662"/>
                  <a:pt x="11178427" y="517064"/>
                  <a:pt x="11184829" y="528282"/>
                </a:cubicBezTo>
                <a:cubicBezTo>
                  <a:pt x="11187737" y="533474"/>
                  <a:pt x="11186041" y="542399"/>
                  <a:pt x="11184806" y="549502"/>
                </a:cubicBezTo>
                <a:cubicBezTo>
                  <a:pt x="11184312" y="552344"/>
                  <a:pt x="11182614" y="554536"/>
                  <a:pt x="11183944" y="557843"/>
                </a:cubicBezTo>
                <a:cubicBezTo>
                  <a:pt x="11185273" y="561148"/>
                  <a:pt x="11183575" y="563340"/>
                  <a:pt x="11180669" y="564882"/>
                </a:cubicBezTo>
                <a:cubicBezTo>
                  <a:pt x="11179000" y="566055"/>
                  <a:pt x="11176312" y="567196"/>
                  <a:pt x="11176652" y="569451"/>
                </a:cubicBezTo>
                <a:cubicBezTo>
                  <a:pt x="11178076" y="576433"/>
                  <a:pt x="11176532" y="580262"/>
                  <a:pt x="11168805" y="579207"/>
                </a:cubicBezTo>
                <a:cubicBezTo>
                  <a:pt x="11166980" y="578742"/>
                  <a:pt x="11165281" y="580934"/>
                  <a:pt x="11166240" y="583004"/>
                </a:cubicBezTo>
                <a:cubicBezTo>
                  <a:pt x="11169086" y="590234"/>
                  <a:pt x="11162378" y="589211"/>
                  <a:pt x="11159844" y="591988"/>
                </a:cubicBezTo>
                <a:cubicBezTo>
                  <a:pt x="11151192" y="601310"/>
                  <a:pt x="11140463" y="591388"/>
                  <a:pt x="11131315" y="596818"/>
                </a:cubicBezTo>
                <a:cubicBezTo>
                  <a:pt x="11128195" y="598762"/>
                  <a:pt x="11121639" y="592641"/>
                  <a:pt x="11118237" y="590290"/>
                </a:cubicBezTo>
                <a:cubicBezTo>
                  <a:pt x="11110446" y="584540"/>
                  <a:pt x="11097587" y="584345"/>
                  <a:pt x="11095944" y="571030"/>
                </a:cubicBezTo>
                <a:cubicBezTo>
                  <a:pt x="11095604" y="568776"/>
                  <a:pt x="11094274" y="565470"/>
                  <a:pt x="11091057" y="563737"/>
                </a:cubicBezTo>
                <a:cubicBezTo>
                  <a:pt x="11086421" y="561757"/>
                  <a:pt x="11085307" y="558049"/>
                  <a:pt x="11086882" y="553201"/>
                </a:cubicBezTo>
                <a:cubicBezTo>
                  <a:pt x="11087592" y="549958"/>
                  <a:pt x="11086446" y="547269"/>
                  <a:pt x="11085519" y="544180"/>
                </a:cubicBezTo>
                <a:cubicBezTo>
                  <a:pt x="11082888" y="536548"/>
                  <a:pt x="11083504" y="529630"/>
                  <a:pt x="11089405" y="523488"/>
                </a:cubicBezTo>
                <a:cubicBezTo>
                  <a:pt x="11092773" y="520123"/>
                  <a:pt x="11093946" y="515058"/>
                  <a:pt x="11091224" y="510484"/>
                </a:cubicBezTo>
                <a:cubicBezTo>
                  <a:pt x="11092089" y="508878"/>
                  <a:pt x="11092955" y="507273"/>
                  <a:pt x="11093819" y="505667"/>
                </a:cubicBezTo>
                <a:cubicBezTo>
                  <a:pt x="11098518" y="505608"/>
                  <a:pt x="11101424" y="504067"/>
                  <a:pt x="11103833" y="498631"/>
                </a:cubicBezTo>
                <a:cubicBezTo>
                  <a:pt x="11107322" y="491190"/>
                  <a:pt x="11113565" y="487302"/>
                  <a:pt x="11122470" y="490027"/>
                </a:cubicBezTo>
                <a:cubicBezTo>
                  <a:pt x="11126303" y="491574"/>
                  <a:pt x="11127012" y="488331"/>
                  <a:pt x="11128309" y="485923"/>
                </a:cubicBezTo>
                <a:close/>
                <a:moveTo>
                  <a:pt x="7889440" y="481512"/>
                </a:moveTo>
                <a:cubicBezTo>
                  <a:pt x="7897921" y="486454"/>
                  <a:pt x="7906050" y="492101"/>
                  <a:pt x="7914532" y="497395"/>
                </a:cubicBezTo>
                <a:cubicBezTo>
                  <a:pt x="7918419" y="499866"/>
                  <a:pt x="7920539" y="506573"/>
                  <a:pt x="7922307" y="511867"/>
                </a:cubicBezTo>
                <a:cubicBezTo>
                  <a:pt x="7923014" y="513985"/>
                  <a:pt x="7922660" y="516103"/>
                  <a:pt x="7924780" y="517867"/>
                </a:cubicBezTo>
                <a:cubicBezTo>
                  <a:pt x="7926901" y="519633"/>
                  <a:pt x="7926548" y="521751"/>
                  <a:pt x="7925134" y="523868"/>
                </a:cubicBezTo>
                <a:cubicBezTo>
                  <a:pt x="7924427" y="525280"/>
                  <a:pt x="7923014" y="527045"/>
                  <a:pt x="7924074" y="528456"/>
                </a:cubicBezTo>
                <a:cubicBezTo>
                  <a:pt x="7927608" y="532692"/>
                  <a:pt x="7927962" y="535869"/>
                  <a:pt x="7922307" y="537987"/>
                </a:cubicBezTo>
                <a:cubicBezTo>
                  <a:pt x="7920893" y="538340"/>
                  <a:pt x="7920540" y="540458"/>
                  <a:pt x="7921953" y="541517"/>
                </a:cubicBezTo>
                <a:cubicBezTo>
                  <a:pt x="7926548" y="545399"/>
                  <a:pt x="7921600" y="547164"/>
                  <a:pt x="7920893" y="549988"/>
                </a:cubicBezTo>
                <a:cubicBezTo>
                  <a:pt x="7918419" y="559517"/>
                  <a:pt x="7907463" y="556694"/>
                  <a:pt x="7903223" y="563753"/>
                </a:cubicBezTo>
                <a:cubicBezTo>
                  <a:pt x="7901808" y="566223"/>
                  <a:pt x="7895093" y="564459"/>
                  <a:pt x="7891913" y="564106"/>
                </a:cubicBezTo>
                <a:cubicBezTo>
                  <a:pt x="7884491" y="563048"/>
                  <a:pt x="7875655" y="567636"/>
                  <a:pt x="7869648" y="559165"/>
                </a:cubicBezTo>
                <a:cubicBezTo>
                  <a:pt x="7868587" y="557753"/>
                  <a:pt x="7866467" y="555988"/>
                  <a:pt x="7863640" y="555988"/>
                </a:cubicBezTo>
                <a:cubicBezTo>
                  <a:pt x="7859752" y="556341"/>
                  <a:pt x="7857631" y="554223"/>
                  <a:pt x="7856924" y="550340"/>
                </a:cubicBezTo>
                <a:cubicBezTo>
                  <a:pt x="7856218" y="547870"/>
                  <a:pt x="7854451" y="546458"/>
                  <a:pt x="7852684" y="544693"/>
                </a:cubicBezTo>
                <a:cubicBezTo>
                  <a:pt x="7848089" y="540458"/>
                  <a:pt x="7845969" y="535516"/>
                  <a:pt x="7847736" y="529163"/>
                </a:cubicBezTo>
                <a:cubicBezTo>
                  <a:pt x="7848796" y="525633"/>
                  <a:pt x="7847736" y="521751"/>
                  <a:pt x="7844201" y="519633"/>
                </a:cubicBezTo>
                <a:cubicBezTo>
                  <a:pt x="7844202" y="518221"/>
                  <a:pt x="7844202" y="516809"/>
                  <a:pt x="7844202" y="515397"/>
                </a:cubicBezTo>
                <a:cubicBezTo>
                  <a:pt x="7847383" y="513632"/>
                  <a:pt x="7848797" y="511514"/>
                  <a:pt x="7848442" y="506926"/>
                </a:cubicBezTo>
                <a:cubicBezTo>
                  <a:pt x="7848089" y="500573"/>
                  <a:pt x="7850917" y="495631"/>
                  <a:pt x="7857985" y="494219"/>
                </a:cubicBezTo>
                <a:cubicBezTo>
                  <a:pt x="7861165" y="493866"/>
                  <a:pt x="7860458" y="491395"/>
                  <a:pt x="7860458" y="489278"/>
                </a:cubicBezTo>
                <a:cubicBezTo>
                  <a:pt x="7860459" y="485748"/>
                  <a:pt x="7861873" y="485042"/>
                  <a:pt x="7864700" y="487513"/>
                </a:cubicBezTo>
                <a:cubicBezTo>
                  <a:pt x="7868941" y="491043"/>
                  <a:pt x="7871768" y="491042"/>
                  <a:pt x="7872829" y="485042"/>
                </a:cubicBezTo>
                <a:cubicBezTo>
                  <a:pt x="7873182" y="483630"/>
                  <a:pt x="7874242" y="481865"/>
                  <a:pt x="7875656" y="483630"/>
                </a:cubicBezTo>
                <a:cubicBezTo>
                  <a:pt x="7880250" y="488219"/>
                  <a:pt x="7883431" y="485395"/>
                  <a:pt x="7886965" y="482218"/>
                </a:cubicBezTo>
                <a:cubicBezTo>
                  <a:pt x="7887319" y="481513"/>
                  <a:pt x="7888732" y="481513"/>
                  <a:pt x="7889440" y="481512"/>
                </a:cubicBezTo>
                <a:close/>
                <a:moveTo>
                  <a:pt x="4169942" y="479857"/>
                </a:moveTo>
                <a:cubicBezTo>
                  <a:pt x="4170927" y="480327"/>
                  <a:pt x="4172596" y="480684"/>
                  <a:pt x="4174143" y="479873"/>
                </a:cubicBezTo>
                <a:cubicBezTo>
                  <a:pt x="4176174" y="478563"/>
                  <a:pt x="4177943" y="479115"/>
                  <a:pt x="4179444" y="481039"/>
                </a:cubicBezTo>
                <a:cubicBezTo>
                  <a:pt x="4180541" y="482190"/>
                  <a:pt x="4181913" y="482457"/>
                  <a:pt x="4183389" y="482916"/>
                </a:cubicBezTo>
                <a:lnTo>
                  <a:pt x="4183391" y="482917"/>
                </a:lnTo>
                <a:cubicBezTo>
                  <a:pt x="4187123" y="483919"/>
                  <a:pt x="4189704" y="486017"/>
                  <a:pt x="4190560" y="490006"/>
                </a:cubicBezTo>
                <a:cubicBezTo>
                  <a:pt x="4190991" y="492244"/>
                  <a:pt x="4192687" y="494066"/>
                  <a:pt x="4195226" y="494212"/>
                </a:cubicBezTo>
                <a:cubicBezTo>
                  <a:pt x="4195631" y="494985"/>
                  <a:pt x="4196034" y="495759"/>
                  <a:pt x="4196440" y="496532"/>
                </a:cubicBezTo>
                <a:cubicBezTo>
                  <a:pt x="4195204" y="498413"/>
                  <a:pt x="4195039" y="499978"/>
                  <a:pt x="4196549" y="502391"/>
                </a:cubicBezTo>
                <a:cubicBezTo>
                  <a:pt x="4198565" y="505770"/>
                  <a:pt x="4198438" y="509288"/>
                  <a:pt x="4194969" y="512091"/>
                </a:cubicBezTo>
                <a:lnTo>
                  <a:pt x="4195026" y="515451"/>
                </a:lnTo>
                <a:lnTo>
                  <a:pt x="4195030" y="515507"/>
                </a:lnTo>
                <a:lnTo>
                  <a:pt x="4195029" y="515508"/>
                </a:lnTo>
                <a:cubicBezTo>
                  <a:pt x="4196042" y="517441"/>
                  <a:pt x="4195471" y="518234"/>
                  <a:pt x="4193221" y="517692"/>
                </a:cubicBezTo>
                <a:cubicBezTo>
                  <a:pt x="4189882" y="516975"/>
                  <a:pt x="4188336" y="517787"/>
                  <a:pt x="4189475" y="521379"/>
                </a:cubicBezTo>
                <a:cubicBezTo>
                  <a:pt x="4189687" y="522254"/>
                  <a:pt x="4189613" y="523525"/>
                  <a:pt x="4188333" y="522964"/>
                </a:cubicBezTo>
                <a:cubicBezTo>
                  <a:pt x="4184497" y="521769"/>
                  <a:pt x="4183566" y="524229"/>
                  <a:pt x="4182542" y="526984"/>
                </a:cubicBezTo>
                <a:cubicBezTo>
                  <a:pt x="4182551" y="527471"/>
                  <a:pt x="4181776" y="527878"/>
                  <a:pt x="4181389" y="528080"/>
                </a:cubicBezTo>
                <a:cubicBezTo>
                  <a:pt x="4175324" y="527808"/>
                  <a:pt x="4169248" y="527047"/>
                  <a:pt x="4163081" y="526580"/>
                </a:cubicBezTo>
                <a:lnTo>
                  <a:pt x="4161460" y="525482"/>
                </a:lnTo>
                <a:lnTo>
                  <a:pt x="4154668" y="520884"/>
                </a:lnTo>
                <a:cubicBezTo>
                  <a:pt x="4153673" y="519926"/>
                  <a:pt x="4153258" y="518664"/>
                  <a:pt x="4151589" y="518306"/>
                </a:cubicBezTo>
                <a:cubicBezTo>
                  <a:pt x="4149922" y="517948"/>
                  <a:pt x="4149507" y="516686"/>
                  <a:pt x="4149674" y="515120"/>
                </a:cubicBezTo>
                <a:cubicBezTo>
                  <a:pt x="4149656" y="514144"/>
                  <a:pt x="4149924" y="512772"/>
                  <a:pt x="4148939" y="512302"/>
                </a:cubicBezTo>
                <a:cubicBezTo>
                  <a:pt x="4145787" y="510996"/>
                  <a:pt x="4144681" y="509357"/>
                  <a:pt x="4147170" y="506573"/>
                </a:cubicBezTo>
                <a:cubicBezTo>
                  <a:pt x="4147845" y="505975"/>
                  <a:pt x="4147430" y="504713"/>
                  <a:pt x="4146351" y="504539"/>
                </a:cubicBezTo>
                <a:cubicBezTo>
                  <a:pt x="4142720" y="503730"/>
                  <a:pt x="4144925" y="501343"/>
                  <a:pt x="4144502" y="499594"/>
                </a:cubicBezTo>
                <a:cubicBezTo>
                  <a:pt x="4143120" y="493662"/>
                  <a:pt x="4149933" y="492065"/>
                  <a:pt x="4150231" y="486980"/>
                </a:cubicBezTo>
                <a:cubicBezTo>
                  <a:pt x="4150296" y="485220"/>
                  <a:pt x="4154481" y="484260"/>
                  <a:pt x="4156325" y="483540"/>
                </a:cubicBezTo>
                <a:cubicBezTo>
                  <a:pt x="4160695" y="481991"/>
                  <a:pt x="4164220" y="476941"/>
                  <a:pt x="4169942" y="479857"/>
                </a:cubicBezTo>
                <a:close/>
                <a:moveTo>
                  <a:pt x="1695890" y="479776"/>
                </a:moveTo>
                <a:cubicBezTo>
                  <a:pt x="1703678" y="479922"/>
                  <a:pt x="1711316" y="481307"/>
                  <a:pt x="1716977" y="488737"/>
                </a:cubicBezTo>
                <a:cubicBezTo>
                  <a:pt x="1718070" y="490117"/>
                  <a:pt x="1721606" y="490024"/>
                  <a:pt x="1722217" y="493357"/>
                </a:cubicBezTo>
                <a:cubicBezTo>
                  <a:pt x="1723667" y="502308"/>
                  <a:pt x="1730927" y="502644"/>
                  <a:pt x="1736757" y="502314"/>
                </a:cubicBezTo>
                <a:cubicBezTo>
                  <a:pt x="1740818" y="502030"/>
                  <a:pt x="1743491" y="502841"/>
                  <a:pt x="1746353" y="504175"/>
                </a:cubicBezTo>
                <a:cubicBezTo>
                  <a:pt x="1754750" y="507654"/>
                  <a:pt x="1757064" y="515701"/>
                  <a:pt x="1761293" y="522465"/>
                </a:cubicBezTo>
                <a:cubicBezTo>
                  <a:pt x="1764807" y="528893"/>
                  <a:pt x="1763543" y="535272"/>
                  <a:pt x="1762995" y="541984"/>
                </a:cubicBezTo>
                <a:cubicBezTo>
                  <a:pt x="1762637" y="549221"/>
                  <a:pt x="1760320" y="555981"/>
                  <a:pt x="1752429" y="558834"/>
                </a:cubicBezTo>
                <a:cubicBezTo>
                  <a:pt x="1751376" y="559214"/>
                  <a:pt x="1751040" y="559927"/>
                  <a:pt x="1751607" y="561498"/>
                </a:cubicBezTo>
                <a:cubicBezTo>
                  <a:pt x="1747924" y="562830"/>
                  <a:pt x="1744767" y="563972"/>
                  <a:pt x="1741084" y="565302"/>
                </a:cubicBezTo>
                <a:cubicBezTo>
                  <a:pt x="1737128" y="562587"/>
                  <a:pt x="1732055" y="565013"/>
                  <a:pt x="1727426" y="563725"/>
                </a:cubicBezTo>
                <a:cubicBezTo>
                  <a:pt x="1722797" y="562438"/>
                  <a:pt x="1718883" y="561484"/>
                  <a:pt x="1716126" y="557150"/>
                </a:cubicBezTo>
                <a:cubicBezTo>
                  <a:pt x="1713707" y="552102"/>
                  <a:pt x="1709372" y="548339"/>
                  <a:pt x="1705226" y="545100"/>
                </a:cubicBezTo>
                <a:cubicBezTo>
                  <a:pt x="1700892" y="541337"/>
                  <a:pt x="1697083" y="537383"/>
                  <a:pt x="1692937" y="534144"/>
                </a:cubicBezTo>
                <a:cubicBezTo>
                  <a:pt x="1689129" y="530191"/>
                  <a:pt x="1683404" y="527522"/>
                  <a:pt x="1677196" y="526806"/>
                </a:cubicBezTo>
                <a:cubicBezTo>
                  <a:pt x="1674925" y="520520"/>
                  <a:pt x="1672653" y="514234"/>
                  <a:pt x="1670381" y="507948"/>
                </a:cubicBezTo>
                <a:cubicBezTo>
                  <a:pt x="1672970" y="505236"/>
                  <a:pt x="1673790" y="502571"/>
                  <a:pt x="1674044" y="498334"/>
                </a:cubicBezTo>
                <a:cubicBezTo>
                  <a:pt x="1674634" y="493382"/>
                  <a:pt x="1678232" y="488528"/>
                  <a:pt x="1682968" y="486816"/>
                </a:cubicBezTo>
                <a:cubicBezTo>
                  <a:pt x="1687703" y="485104"/>
                  <a:pt x="1691534" y="482536"/>
                  <a:pt x="1695890" y="479776"/>
                </a:cubicBezTo>
                <a:close/>
                <a:moveTo>
                  <a:pt x="8968660" y="473508"/>
                </a:moveTo>
                <a:cubicBezTo>
                  <a:pt x="8972120" y="473468"/>
                  <a:pt x="8975739" y="474253"/>
                  <a:pt x="8979043" y="473782"/>
                </a:cubicBezTo>
                <a:cubicBezTo>
                  <a:pt x="8981876" y="473468"/>
                  <a:pt x="8987856" y="471897"/>
                  <a:pt x="8989114" y="474097"/>
                </a:cubicBezTo>
                <a:cubicBezTo>
                  <a:pt x="8992891" y="480383"/>
                  <a:pt x="9002645" y="477869"/>
                  <a:pt x="9004848" y="486354"/>
                </a:cubicBezTo>
                <a:cubicBezTo>
                  <a:pt x="9005478" y="488868"/>
                  <a:pt x="9009883" y="490440"/>
                  <a:pt x="9005792" y="493897"/>
                </a:cubicBezTo>
                <a:cubicBezTo>
                  <a:pt x="9004533" y="494840"/>
                  <a:pt x="9004848" y="496726"/>
                  <a:pt x="9006108" y="497040"/>
                </a:cubicBezTo>
                <a:cubicBezTo>
                  <a:pt x="9011143" y="498926"/>
                  <a:pt x="9010827" y="501755"/>
                  <a:pt x="9007680" y="505526"/>
                </a:cubicBezTo>
                <a:cubicBezTo>
                  <a:pt x="9006736" y="506783"/>
                  <a:pt x="9007995" y="508354"/>
                  <a:pt x="9008624" y="509611"/>
                </a:cubicBezTo>
                <a:cubicBezTo>
                  <a:pt x="9009884" y="511497"/>
                  <a:pt x="9010198" y="513383"/>
                  <a:pt x="9008310" y="514954"/>
                </a:cubicBezTo>
                <a:cubicBezTo>
                  <a:pt x="9006423" y="516526"/>
                  <a:pt x="9006736" y="518412"/>
                  <a:pt x="9006107" y="520297"/>
                </a:cubicBezTo>
                <a:cubicBezTo>
                  <a:pt x="9004533" y="525012"/>
                  <a:pt x="9002645" y="530983"/>
                  <a:pt x="8999184" y="533183"/>
                </a:cubicBezTo>
                <a:cubicBezTo>
                  <a:pt x="8991631" y="537898"/>
                  <a:pt x="8984393" y="542926"/>
                  <a:pt x="8976841" y="547327"/>
                </a:cubicBezTo>
                <a:cubicBezTo>
                  <a:pt x="8976212" y="547326"/>
                  <a:pt x="8974952" y="547327"/>
                  <a:pt x="8974639" y="546698"/>
                </a:cubicBezTo>
                <a:cubicBezTo>
                  <a:pt x="8971491" y="543869"/>
                  <a:pt x="8968660" y="541355"/>
                  <a:pt x="8964569" y="545441"/>
                </a:cubicBezTo>
                <a:cubicBezTo>
                  <a:pt x="8963310" y="547012"/>
                  <a:pt x="8962365" y="545440"/>
                  <a:pt x="8962050" y="544184"/>
                </a:cubicBezTo>
                <a:cubicBezTo>
                  <a:pt x="8961107" y="538841"/>
                  <a:pt x="8958589" y="538840"/>
                  <a:pt x="8954813" y="541983"/>
                </a:cubicBezTo>
                <a:cubicBezTo>
                  <a:pt x="8952296" y="544184"/>
                  <a:pt x="8951036" y="543555"/>
                  <a:pt x="8951037" y="540412"/>
                </a:cubicBezTo>
                <a:cubicBezTo>
                  <a:pt x="8951037" y="538526"/>
                  <a:pt x="8951666" y="536326"/>
                  <a:pt x="8948833" y="536012"/>
                </a:cubicBezTo>
                <a:cubicBezTo>
                  <a:pt x="8942539" y="534755"/>
                  <a:pt x="8940022" y="530355"/>
                  <a:pt x="8940337" y="524697"/>
                </a:cubicBezTo>
                <a:cubicBezTo>
                  <a:pt x="8940652" y="520612"/>
                  <a:pt x="8939392" y="518726"/>
                  <a:pt x="8936560" y="517155"/>
                </a:cubicBezTo>
                <a:cubicBezTo>
                  <a:pt x="8936561" y="515897"/>
                  <a:pt x="8936561" y="514640"/>
                  <a:pt x="8936560" y="513383"/>
                </a:cubicBezTo>
                <a:cubicBezTo>
                  <a:pt x="8939708" y="511497"/>
                  <a:pt x="8940651" y="508040"/>
                  <a:pt x="8939708" y="504897"/>
                </a:cubicBezTo>
                <a:cubicBezTo>
                  <a:pt x="8938133" y="499240"/>
                  <a:pt x="8940022" y="494840"/>
                  <a:pt x="8944113" y="491068"/>
                </a:cubicBezTo>
                <a:cubicBezTo>
                  <a:pt x="8945687" y="489497"/>
                  <a:pt x="8947261" y="488239"/>
                  <a:pt x="8947890" y="486039"/>
                </a:cubicBezTo>
                <a:cubicBezTo>
                  <a:pt x="8948518" y="482583"/>
                  <a:pt x="8950406" y="480697"/>
                  <a:pt x="8953868" y="481011"/>
                </a:cubicBezTo>
                <a:cubicBezTo>
                  <a:pt x="8956386" y="481011"/>
                  <a:pt x="8958274" y="479440"/>
                  <a:pt x="8959219" y="478182"/>
                </a:cubicBezTo>
                <a:cubicBezTo>
                  <a:pt x="8961893" y="474411"/>
                  <a:pt x="8965197" y="473547"/>
                  <a:pt x="8968660" y="473508"/>
                </a:cubicBezTo>
                <a:close/>
                <a:moveTo>
                  <a:pt x="9602462" y="472780"/>
                </a:moveTo>
                <a:cubicBezTo>
                  <a:pt x="9605045" y="472809"/>
                  <a:pt x="9607512" y="473454"/>
                  <a:pt x="9609509" y="476269"/>
                </a:cubicBezTo>
                <a:cubicBezTo>
                  <a:pt x="9610214" y="477207"/>
                  <a:pt x="9611622" y="478380"/>
                  <a:pt x="9613501" y="478380"/>
                </a:cubicBezTo>
                <a:cubicBezTo>
                  <a:pt x="9616086" y="478146"/>
                  <a:pt x="9617495" y="479553"/>
                  <a:pt x="9617965" y="482134"/>
                </a:cubicBezTo>
                <a:cubicBezTo>
                  <a:pt x="9618434" y="483776"/>
                  <a:pt x="9619609" y="484714"/>
                  <a:pt x="9620784" y="485888"/>
                </a:cubicBezTo>
                <a:cubicBezTo>
                  <a:pt x="9623837" y="488703"/>
                  <a:pt x="9625246" y="491986"/>
                  <a:pt x="9624072" y="496210"/>
                </a:cubicBezTo>
                <a:cubicBezTo>
                  <a:pt x="9623366" y="498555"/>
                  <a:pt x="9624072" y="501136"/>
                  <a:pt x="9626420" y="502544"/>
                </a:cubicBezTo>
                <a:cubicBezTo>
                  <a:pt x="9626421" y="503482"/>
                  <a:pt x="9626420" y="504420"/>
                  <a:pt x="9626421" y="505358"/>
                </a:cubicBezTo>
                <a:cubicBezTo>
                  <a:pt x="9624306" y="506532"/>
                  <a:pt x="9623366" y="507939"/>
                  <a:pt x="9623602" y="510988"/>
                </a:cubicBezTo>
                <a:cubicBezTo>
                  <a:pt x="9623836" y="515211"/>
                  <a:pt x="9621957" y="518495"/>
                  <a:pt x="9617259" y="519433"/>
                </a:cubicBezTo>
                <a:cubicBezTo>
                  <a:pt x="9615145" y="519668"/>
                  <a:pt x="9615615" y="521311"/>
                  <a:pt x="9615616" y="522718"/>
                </a:cubicBezTo>
                <a:cubicBezTo>
                  <a:pt x="9615616" y="525064"/>
                  <a:pt x="9614675" y="525533"/>
                  <a:pt x="9612797" y="523891"/>
                </a:cubicBezTo>
                <a:cubicBezTo>
                  <a:pt x="9609978" y="521545"/>
                  <a:pt x="9608100" y="521545"/>
                  <a:pt x="9607394" y="525533"/>
                </a:cubicBezTo>
                <a:cubicBezTo>
                  <a:pt x="9607159" y="526471"/>
                  <a:pt x="9606455" y="527644"/>
                  <a:pt x="9605515" y="526472"/>
                </a:cubicBezTo>
                <a:cubicBezTo>
                  <a:pt x="9602462" y="523422"/>
                  <a:pt x="9600347" y="525298"/>
                  <a:pt x="9597999" y="527410"/>
                </a:cubicBezTo>
                <a:cubicBezTo>
                  <a:pt x="9597763" y="527879"/>
                  <a:pt x="9596824" y="527879"/>
                  <a:pt x="9596355" y="527879"/>
                </a:cubicBezTo>
                <a:cubicBezTo>
                  <a:pt x="9590718" y="524594"/>
                  <a:pt x="9585315" y="520841"/>
                  <a:pt x="9579677" y="517323"/>
                </a:cubicBezTo>
                <a:cubicBezTo>
                  <a:pt x="9577093" y="515681"/>
                  <a:pt x="9575684" y="511223"/>
                  <a:pt x="9574509" y="507705"/>
                </a:cubicBezTo>
                <a:cubicBezTo>
                  <a:pt x="9574040" y="506296"/>
                  <a:pt x="9574274" y="504889"/>
                  <a:pt x="9572865" y="503716"/>
                </a:cubicBezTo>
                <a:cubicBezTo>
                  <a:pt x="9571457" y="502543"/>
                  <a:pt x="9571691" y="501136"/>
                  <a:pt x="9572630" y="499728"/>
                </a:cubicBezTo>
                <a:cubicBezTo>
                  <a:pt x="9573100" y="498789"/>
                  <a:pt x="9574040" y="497617"/>
                  <a:pt x="9573336" y="496679"/>
                </a:cubicBezTo>
                <a:cubicBezTo>
                  <a:pt x="9570986" y="493863"/>
                  <a:pt x="9570752" y="491752"/>
                  <a:pt x="9574510" y="490345"/>
                </a:cubicBezTo>
                <a:cubicBezTo>
                  <a:pt x="9575450" y="490109"/>
                  <a:pt x="9575684" y="488702"/>
                  <a:pt x="9574745" y="487999"/>
                </a:cubicBezTo>
                <a:cubicBezTo>
                  <a:pt x="9571692" y="485418"/>
                  <a:pt x="9574979" y="484246"/>
                  <a:pt x="9575449" y="482368"/>
                </a:cubicBezTo>
                <a:cubicBezTo>
                  <a:pt x="9577094" y="476035"/>
                  <a:pt x="9584375" y="477911"/>
                  <a:pt x="9587193" y="473220"/>
                </a:cubicBezTo>
                <a:cubicBezTo>
                  <a:pt x="9588133" y="471577"/>
                  <a:pt x="9592597" y="472750"/>
                  <a:pt x="9594710" y="472985"/>
                </a:cubicBezTo>
                <a:cubicBezTo>
                  <a:pt x="9597178" y="473337"/>
                  <a:pt x="9599878" y="472750"/>
                  <a:pt x="9602462" y="472780"/>
                </a:cubicBezTo>
                <a:close/>
                <a:moveTo>
                  <a:pt x="4719837" y="469604"/>
                </a:moveTo>
                <a:cubicBezTo>
                  <a:pt x="4720401" y="469149"/>
                  <a:pt x="4721042" y="469455"/>
                  <a:pt x="4721555" y="469825"/>
                </a:cubicBezTo>
                <a:cubicBezTo>
                  <a:pt x="4724255" y="471614"/>
                  <a:pt x="4727571" y="472439"/>
                  <a:pt x="4730578" y="473588"/>
                </a:cubicBezTo>
                <a:cubicBezTo>
                  <a:pt x="4735180" y="475340"/>
                  <a:pt x="4738723" y="478128"/>
                  <a:pt x="4739899" y="483119"/>
                </a:cubicBezTo>
                <a:cubicBezTo>
                  <a:pt x="4740443" y="485076"/>
                  <a:pt x="4742039" y="485680"/>
                  <a:pt x="4743573" y="486159"/>
                </a:cubicBezTo>
                <a:cubicBezTo>
                  <a:pt x="4747090" y="487360"/>
                  <a:pt x="4747621" y="488683"/>
                  <a:pt x="4746092" y="491886"/>
                </a:cubicBezTo>
                <a:cubicBezTo>
                  <a:pt x="4744315" y="495220"/>
                  <a:pt x="4744315" y="495220"/>
                  <a:pt x="4748027" y="496799"/>
                </a:cubicBezTo>
                <a:cubicBezTo>
                  <a:pt x="4748856" y="497163"/>
                  <a:pt x="4749498" y="497469"/>
                  <a:pt x="4749141" y="498618"/>
                </a:cubicBezTo>
                <a:cubicBezTo>
                  <a:pt x="4748140" y="502826"/>
                  <a:pt x="4747391" y="506902"/>
                  <a:pt x="4746199" y="511050"/>
                </a:cubicBezTo>
                <a:cubicBezTo>
                  <a:pt x="4745432" y="514174"/>
                  <a:pt x="4743766" y="516808"/>
                  <a:pt x="4741327" y="518887"/>
                </a:cubicBezTo>
                <a:cubicBezTo>
                  <a:pt x="4739834" y="520311"/>
                  <a:pt x="4738807" y="526614"/>
                  <a:pt x="4739670" y="528565"/>
                </a:cubicBezTo>
                <a:cubicBezTo>
                  <a:pt x="4740000" y="529193"/>
                  <a:pt x="4740261" y="529695"/>
                  <a:pt x="4741150" y="529551"/>
                </a:cubicBezTo>
                <a:cubicBezTo>
                  <a:pt x="4745966" y="529269"/>
                  <a:pt x="4749632" y="531674"/>
                  <a:pt x="4753176" y="534462"/>
                </a:cubicBezTo>
                <a:cubicBezTo>
                  <a:pt x="4753946" y="535019"/>
                  <a:pt x="4754528" y="535515"/>
                  <a:pt x="4755237" y="535946"/>
                </a:cubicBezTo>
                <a:cubicBezTo>
                  <a:pt x="4757545" y="537298"/>
                  <a:pt x="4759098" y="538727"/>
                  <a:pt x="4759531" y="541702"/>
                </a:cubicBezTo>
                <a:cubicBezTo>
                  <a:pt x="4759968" y="544677"/>
                  <a:pt x="4762668" y="546465"/>
                  <a:pt x="4765112" y="548069"/>
                </a:cubicBezTo>
                <a:cubicBezTo>
                  <a:pt x="4766207" y="548936"/>
                  <a:pt x="4766854" y="549558"/>
                  <a:pt x="4766564" y="551151"/>
                </a:cubicBezTo>
                <a:cubicBezTo>
                  <a:pt x="4765548" y="557771"/>
                  <a:pt x="4765675" y="564433"/>
                  <a:pt x="4768396" y="570854"/>
                </a:cubicBezTo>
                <a:cubicBezTo>
                  <a:pt x="4768731" y="571799"/>
                  <a:pt x="4768676" y="572308"/>
                  <a:pt x="4767667" y="572518"/>
                </a:cubicBezTo>
                <a:cubicBezTo>
                  <a:pt x="4763749" y="573608"/>
                  <a:pt x="4762472" y="576679"/>
                  <a:pt x="4761905" y="580181"/>
                </a:cubicBezTo>
                <a:cubicBezTo>
                  <a:pt x="4761619" y="581772"/>
                  <a:pt x="4761195" y="582796"/>
                  <a:pt x="4759164" y="582899"/>
                </a:cubicBezTo>
                <a:cubicBezTo>
                  <a:pt x="4756557" y="582822"/>
                  <a:pt x="4755197" y="584815"/>
                  <a:pt x="4754288" y="587054"/>
                </a:cubicBezTo>
                <a:cubicBezTo>
                  <a:pt x="4753500" y="588909"/>
                  <a:pt x="4752839" y="591016"/>
                  <a:pt x="4752049" y="592872"/>
                </a:cubicBezTo>
                <a:cubicBezTo>
                  <a:pt x="4751619" y="593737"/>
                  <a:pt x="4751109" y="594365"/>
                  <a:pt x="4750514" y="594535"/>
                </a:cubicBezTo>
                <a:cubicBezTo>
                  <a:pt x="4749924" y="594705"/>
                  <a:pt x="4749251" y="594417"/>
                  <a:pt x="4748503" y="593447"/>
                </a:cubicBezTo>
                <a:cubicBezTo>
                  <a:pt x="4748242" y="592944"/>
                  <a:pt x="4747852" y="592508"/>
                  <a:pt x="4747338" y="592137"/>
                </a:cubicBezTo>
                <a:cubicBezTo>
                  <a:pt x="4746756" y="591641"/>
                  <a:pt x="4746230" y="590635"/>
                  <a:pt x="4745282" y="590971"/>
                </a:cubicBezTo>
                <a:cubicBezTo>
                  <a:pt x="4744527" y="591366"/>
                  <a:pt x="4744355" y="592258"/>
                  <a:pt x="4744242" y="592958"/>
                </a:cubicBezTo>
                <a:cubicBezTo>
                  <a:pt x="4743477" y="596083"/>
                  <a:pt x="4742655" y="596352"/>
                  <a:pt x="4740144" y="594306"/>
                </a:cubicBezTo>
                <a:cubicBezTo>
                  <a:pt x="4739558" y="593809"/>
                  <a:pt x="4739173" y="593372"/>
                  <a:pt x="4738529" y="593068"/>
                </a:cubicBezTo>
                <a:cubicBezTo>
                  <a:pt x="4737634" y="592577"/>
                  <a:pt x="4736800" y="592212"/>
                  <a:pt x="4735807" y="593374"/>
                </a:cubicBezTo>
                <a:cubicBezTo>
                  <a:pt x="4735004" y="594595"/>
                  <a:pt x="4735264" y="595098"/>
                  <a:pt x="4736047" y="595971"/>
                </a:cubicBezTo>
                <a:lnTo>
                  <a:pt x="4737252" y="597761"/>
                </a:lnTo>
                <a:lnTo>
                  <a:pt x="4722306" y="593136"/>
                </a:lnTo>
                <a:lnTo>
                  <a:pt x="4722451" y="592043"/>
                </a:lnTo>
                <a:cubicBezTo>
                  <a:pt x="4722108" y="590780"/>
                  <a:pt x="4721337" y="590224"/>
                  <a:pt x="4720067" y="590247"/>
                </a:cubicBezTo>
                <a:cubicBezTo>
                  <a:pt x="4719116" y="590266"/>
                  <a:pt x="4718230" y="590410"/>
                  <a:pt x="4717278" y="590428"/>
                </a:cubicBezTo>
                <a:cubicBezTo>
                  <a:pt x="4715693" y="590458"/>
                  <a:pt x="4714727" y="589842"/>
                  <a:pt x="4714190" y="588203"/>
                </a:cubicBezTo>
                <a:cubicBezTo>
                  <a:pt x="4712571" y="583283"/>
                  <a:pt x="4709293" y="580998"/>
                  <a:pt x="4704212" y="581095"/>
                </a:cubicBezTo>
                <a:cubicBezTo>
                  <a:pt x="4703388" y="581047"/>
                  <a:pt x="4702073" y="581898"/>
                  <a:pt x="4701730" y="580635"/>
                </a:cubicBezTo>
                <a:cubicBezTo>
                  <a:pt x="4701262" y="579438"/>
                  <a:pt x="4702262" y="578593"/>
                  <a:pt x="4703327" y="577875"/>
                </a:cubicBezTo>
                <a:cubicBezTo>
                  <a:pt x="4703454" y="577809"/>
                  <a:pt x="4703583" y="577744"/>
                  <a:pt x="4703707" y="577678"/>
                </a:cubicBezTo>
                <a:cubicBezTo>
                  <a:pt x="4706462" y="575594"/>
                  <a:pt x="4706617" y="573750"/>
                  <a:pt x="4703859" y="572153"/>
                </a:cubicBezTo>
                <a:cubicBezTo>
                  <a:pt x="4701288" y="570616"/>
                  <a:pt x="4700745" y="568659"/>
                  <a:pt x="4701014" y="566115"/>
                </a:cubicBezTo>
                <a:cubicBezTo>
                  <a:pt x="4701332" y="562745"/>
                  <a:pt x="4701204" y="559448"/>
                  <a:pt x="4698804" y="556700"/>
                </a:cubicBezTo>
                <a:cubicBezTo>
                  <a:pt x="4697705" y="555516"/>
                  <a:pt x="4698756" y="554163"/>
                  <a:pt x="4699507" y="553451"/>
                </a:cubicBezTo>
                <a:cubicBezTo>
                  <a:pt x="4702184" y="550607"/>
                  <a:pt x="4702574" y="547680"/>
                  <a:pt x="4701239" y="544215"/>
                </a:cubicBezTo>
                <a:cubicBezTo>
                  <a:pt x="4700436" y="542072"/>
                  <a:pt x="4700992" y="541300"/>
                  <a:pt x="4703664" y="541503"/>
                </a:cubicBezTo>
                <a:cubicBezTo>
                  <a:pt x="4709320" y="541902"/>
                  <a:pt x="4714621" y="536723"/>
                  <a:pt x="4714202" y="531337"/>
                </a:cubicBezTo>
                <a:cubicBezTo>
                  <a:pt x="4714117" y="530259"/>
                  <a:pt x="4714030" y="528865"/>
                  <a:pt x="4712751" y="528572"/>
                </a:cubicBezTo>
                <a:cubicBezTo>
                  <a:pt x="4711479" y="528280"/>
                  <a:pt x="4710023" y="528561"/>
                  <a:pt x="4709284" y="529908"/>
                </a:cubicBezTo>
                <a:cubicBezTo>
                  <a:pt x="4708733" y="530681"/>
                  <a:pt x="4708304" y="531704"/>
                  <a:pt x="4707812" y="532601"/>
                </a:cubicBezTo>
                <a:cubicBezTo>
                  <a:pt x="4707388" y="533625"/>
                  <a:pt x="4706830" y="534397"/>
                  <a:pt x="4705808" y="533974"/>
                </a:cubicBezTo>
                <a:cubicBezTo>
                  <a:pt x="4704593" y="533489"/>
                  <a:pt x="4704699" y="532471"/>
                  <a:pt x="4705000" y="531513"/>
                </a:cubicBezTo>
                <a:cubicBezTo>
                  <a:pt x="4705173" y="530622"/>
                  <a:pt x="4705662" y="529723"/>
                  <a:pt x="4705904" y="528957"/>
                </a:cubicBezTo>
                <a:cubicBezTo>
                  <a:pt x="4706443" y="527234"/>
                  <a:pt x="4706283" y="525396"/>
                  <a:pt x="4704492" y="524732"/>
                </a:cubicBezTo>
                <a:cubicBezTo>
                  <a:pt x="4702961" y="524254"/>
                  <a:pt x="4702101" y="525983"/>
                  <a:pt x="4701492" y="527265"/>
                </a:cubicBezTo>
                <a:cubicBezTo>
                  <a:pt x="4700939" y="528354"/>
                  <a:pt x="4700906" y="529815"/>
                  <a:pt x="4699970" y="530785"/>
                </a:cubicBezTo>
                <a:cubicBezTo>
                  <a:pt x="4698666" y="532269"/>
                  <a:pt x="4697528" y="532545"/>
                  <a:pt x="4696599" y="530468"/>
                </a:cubicBezTo>
                <a:cubicBezTo>
                  <a:pt x="4695278" y="527637"/>
                  <a:pt x="4695226" y="524783"/>
                  <a:pt x="4695615" y="521856"/>
                </a:cubicBezTo>
                <a:cubicBezTo>
                  <a:pt x="4696053" y="518103"/>
                  <a:pt x="4695388" y="516529"/>
                  <a:pt x="4691993" y="514944"/>
                </a:cubicBezTo>
                <a:cubicBezTo>
                  <a:pt x="4690838" y="514268"/>
                  <a:pt x="4689367" y="513916"/>
                  <a:pt x="4688028" y="513496"/>
                </a:cubicBezTo>
                <a:cubicBezTo>
                  <a:pt x="4687453" y="513318"/>
                  <a:pt x="4686627" y="513270"/>
                  <a:pt x="4686550" y="512509"/>
                </a:cubicBezTo>
                <a:cubicBezTo>
                  <a:pt x="4686408" y="511624"/>
                  <a:pt x="4686968" y="511169"/>
                  <a:pt x="4687539" y="511031"/>
                </a:cubicBezTo>
                <a:cubicBezTo>
                  <a:pt x="4690064" y="510348"/>
                  <a:pt x="4690041" y="509079"/>
                  <a:pt x="4688863" y="507134"/>
                </a:cubicBezTo>
                <a:cubicBezTo>
                  <a:pt x="4687422" y="504687"/>
                  <a:pt x="4688132" y="502071"/>
                  <a:pt x="4689169" y="499767"/>
                </a:cubicBezTo>
                <a:cubicBezTo>
                  <a:pt x="4689960" y="497910"/>
                  <a:pt x="4689624" y="496965"/>
                  <a:pt x="4687714" y="496684"/>
                </a:cubicBezTo>
                <a:cubicBezTo>
                  <a:pt x="4686697" y="496577"/>
                  <a:pt x="4685928" y="496338"/>
                  <a:pt x="4685654" y="495201"/>
                </a:cubicBezTo>
                <a:cubicBezTo>
                  <a:pt x="4685182" y="493687"/>
                  <a:pt x="4686318" y="493411"/>
                  <a:pt x="4687069" y="492698"/>
                </a:cubicBezTo>
                <a:cubicBezTo>
                  <a:pt x="4687505" y="492310"/>
                  <a:pt x="4688134" y="491980"/>
                  <a:pt x="4688697" y="491525"/>
                </a:cubicBezTo>
                <a:cubicBezTo>
                  <a:pt x="4691896" y="489369"/>
                  <a:pt x="4691663" y="487089"/>
                  <a:pt x="4688134" y="485252"/>
                </a:cubicBezTo>
                <a:cubicBezTo>
                  <a:pt x="4687684" y="485008"/>
                  <a:pt x="4687302" y="484887"/>
                  <a:pt x="4686980" y="484576"/>
                </a:cubicBezTo>
                <a:cubicBezTo>
                  <a:pt x="4686207" y="484020"/>
                  <a:pt x="4685433" y="483147"/>
                  <a:pt x="4685918" y="482249"/>
                </a:cubicBezTo>
                <a:cubicBezTo>
                  <a:pt x="4686286" y="481416"/>
                  <a:pt x="4687430" y="481458"/>
                  <a:pt x="4688194" y="481697"/>
                </a:cubicBezTo>
                <a:cubicBezTo>
                  <a:pt x="4688961" y="481937"/>
                  <a:pt x="4689599" y="482241"/>
                  <a:pt x="4690309" y="482672"/>
                </a:cubicBezTo>
                <a:cubicBezTo>
                  <a:pt x="4691523" y="483156"/>
                  <a:pt x="4692411" y="483013"/>
                  <a:pt x="4693021" y="481732"/>
                </a:cubicBezTo>
                <a:cubicBezTo>
                  <a:pt x="4694552" y="478847"/>
                  <a:pt x="4697063" y="477212"/>
                  <a:pt x="4699636" y="475703"/>
                </a:cubicBezTo>
                <a:cubicBezTo>
                  <a:pt x="4702649" y="473804"/>
                  <a:pt x="4706116" y="472469"/>
                  <a:pt x="4708863" y="470068"/>
                </a:cubicBezTo>
                <a:cubicBezTo>
                  <a:pt x="4709863" y="469224"/>
                  <a:pt x="4710888" y="469649"/>
                  <a:pt x="4711717" y="470014"/>
                </a:cubicBezTo>
                <a:cubicBezTo>
                  <a:pt x="4714533" y="471102"/>
                  <a:pt x="4717221" y="472257"/>
                  <a:pt x="4719837" y="469604"/>
                </a:cubicBezTo>
                <a:close/>
                <a:moveTo>
                  <a:pt x="8794932" y="459629"/>
                </a:moveTo>
                <a:cubicBezTo>
                  <a:pt x="8799095" y="460627"/>
                  <a:pt x="8803426" y="460128"/>
                  <a:pt x="8807590" y="460461"/>
                </a:cubicBezTo>
                <a:cubicBezTo>
                  <a:pt x="8811087" y="460628"/>
                  <a:pt x="8814584" y="460960"/>
                  <a:pt x="8817749" y="463124"/>
                </a:cubicBezTo>
                <a:cubicBezTo>
                  <a:pt x="8819082" y="464123"/>
                  <a:pt x="8820080" y="463791"/>
                  <a:pt x="8821080" y="462625"/>
                </a:cubicBezTo>
                <a:cubicBezTo>
                  <a:pt x="8821579" y="461793"/>
                  <a:pt x="8822080" y="461127"/>
                  <a:pt x="8822746" y="460461"/>
                </a:cubicBezTo>
                <a:cubicBezTo>
                  <a:pt x="8823412" y="459795"/>
                  <a:pt x="8824577" y="459130"/>
                  <a:pt x="8825411" y="459796"/>
                </a:cubicBezTo>
                <a:cubicBezTo>
                  <a:pt x="8826410" y="460462"/>
                  <a:pt x="8826076" y="461792"/>
                  <a:pt x="8825577" y="462792"/>
                </a:cubicBezTo>
                <a:cubicBezTo>
                  <a:pt x="8825410" y="463291"/>
                  <a:pt x="8825077" y="463624"/>
                  <a:pt x="8824744" y="464123"/>
                </a:cubicBezTo>
                <a:cubicBezTo>
                  <a:pt x="8822080" y="467952"/>
                  <a:pt x="8823078" y="470449"/>
                  <a:pt x="8827575" y="470948"/>
                </a:cubicBezTo>
                <a:cubicBezTo>
                  <a:pt x="8828408" y="471115"/>
                  <a:pt x="8829240" y="471115"/>
                  <a:pt x="8829908" y="471281"/>
                </a:cubicBezTo>
                <a:cubicBezTo>
                  <a:pt x="8831072" y="471614"/>
                  <a:pt x="8832406" y="471281"/>
                  <a:pt x="8832739" y="473112"/>
                </a:cubicBezTo>
                <a:cubicBezTo>
                  <a:pt x="8833071" y="474444"/>
                  <a:pt x="8832405" y="475109"/>
                  <a:pt x="8831405" y="475775"/>
                </a:cubicBezTo>
                <a:cubicBezTo>
                  <a:pt x="8829573" y="477108"/>
                  <a:pt x="8829740" y="478273"/>
                  <a:pt x="8831572" y="479771"/>
                </a:cubicBezTo>
                <a:cubicBezTo>
                  <a:pt x="8833905" y="481602"/>
                  <a:pt x="8836069" y="483932"/>
                  <a:pt x="8835902" y="487261"/>
                </a:cubicBezTo>
                <a:cubicBezTo>
                  <a:pt x="8835737" y="489925"/>
                  <a:pt x="8836403" y="491256"/>
                  <a:pt x="8839400" y="490591"/>
                </a:cubicBezTo>
                <a:cubicBezTo>
                  <a:pt x="8840066" y="490424"/>
                  <a:pt x="8840899" y="490591"/>
                  <a:pt x="8841233" y="491590"/>
                </a:cubicBezTo>
                <a:cubicBezTo>
                  <a:pt x="8841565" y="492422"/>
                  <a:pt x="8840733" y="492921"/>
                  <a:pt x="8840232" y="493420"/>
                </a:cubicBezTo>
                <a:cubicBezTo>
                  <a:pt x="8839068" y="494586"/>
                  <a:pt x="8837734" y="495751"/>
                  <a:pt x="8836902" y="497083"/>
                </a:cubicBezTo>
                <a:cubicBezTo>
                  <a:pt x="8834237" y="500579"/>
                  <a:pt x="8834403" y="502576"/>
                  <a:pt x="8836902" y="506238"/>
                </a:cubicBezTo>
                <a:cubicBezTo>
                  <a:pt x="8838901" y="509068"/>
                  <a:pt x="8840399" y="512064"/>
                  <a:pt x="8840567" y="515726"/>
                </a:cubicBezTo>
                <a:cubicBezTo>
                  <a:pt x="8840732" y="518390"/>
                  <a:pt x="8839401" y="518722"/>
                  <a:pt x="8837236" y="517890"/>
                </a:cubicBezTo>
                <a:cubicBezTo>
                  <a:pt x="8835736" y="517391"/>
                  <a:pt x="8834904" y="515893"/>
                  <a:pt x="8833737" y="515061"/>
                </a:cubicBezTo>
                <a:cubicBezTo>
                  <a:pt x="8832405" y="514062"/>
                  <a:pt x="8830573" y="512730"/>
                  <a:pt x="8829240" y="514062"/>
                </a:cubicBezTo>
                <a:cubicBezTo>
                  <a:pt x="8827742" y="515727"/>
                  <a:pt x="8828574" y="517724"/>
                  <a:pt x="8830073" y="519222"/>
                </a:cubicBezTo>
                <a:cubicBezTo>
                  <a:pt x="8830739" y="519888"/>
                  <a:pt x="8831740" y="520554"/>
                  <a:pt x="8832405" y="521387"/>
                </a:cubicBezTo>
                <a:cubicBezTo>
                  <a:pt x="8833239" y="522218"/>
                  <a:pt x="8833905" y="523217"/>
                  <a:pt x="8832905" y="524383"/>
                </a:cubicBezTo>
                <a:cubicBezTo>
                  <a:pt x="8832072" y="525382"/>
                  <a:pt x="8831072" y="524882"/>
                  <a:pt x="8830074" y="524050"/>
                </a:cubicBezTo>
                <a:cubicBezTo>
                  <a:pt x="8829075" y="523384"/>
                  <a:pt x="8828075" y="522551"/>
                  <a:pt x="8827075" y="522052"/>
                </a:cubicBezTo>
                <a:cubicBezTo>
                  <a:pt x="8825576" y="521053"/>
                  <a:pt x="8823912" y="521553"/>
                  <a:pt x="8822745" y="522552"/>
                </a:cubicBezTo>
                <a:cubicBezTo>
                  <a:pt x="8821580" y="523551"/>
                  <a:pt x="8822246" y="525049"/>
                  <a:pt x="8822745" y="526213"/>
                </a:cubicBezTo>
                <a:cubicBezTo>
                  <a:pt x="8825243" y="532040"/>
                  <a:pt x="8833572" y="534536"/>
                  <a:pt x="8839233" y="531041"/>
                </a:cubicBezTo>
                <a:cubicBezTo>
                  <a:pt x="8841898" y="529377"/>
                  <a:pt x="8842897" y="529876"/>
                  <a:pt x="8843231" y="532539"/>
                </a:cubicBezTo>
                <a:cubicBezTo>
                  <a:pt x="8843730" y="536867"/>
                  <a:pt x="8845730" y="539697"/>
                  <a:pt x="8850059" y="541195"/>
                </a:cubicBezTo>
                <a:cubicBezTo>
                  <a:pt x="8851226" y="541528"/>
                  <a:pt x="8853057" y="542361"/>
                  <a:pt x="8852558" y="544191"/>
                </a:cubicBezTo>
                <a:cubicBezTo>
                  <a:pt x="8851558" y="548353"/>
                  <a:pt x="8853223" y="551849"/>
                  <a:pt x="8855389" y="555178"/>
                </a:cubicBezTo>
                <a:cubicBezTo>
                  <a:pt x="8857055" y="557675"/>
                  <a:pt x="8857553" y="560005"/>
                  <a:pt x="8855721" y="563002"/>
                </a:cubicBezTo>
                <a:cubicBezTo>
                  <a:pt x="8853724" y="566165"/>
                  <a:pt x="8854890" y="567996"/>
                  <a:pt x="8858886" y="568661"/>
                </a:cubicBezTo>
                <a:cubicBezTo>
                  <a:pt x="8859053" y="568661"/>
                  <a:pt x="8859219" y="568661"/>
                  <a:pt x="8859386" y="568661"/>
                </a:cubicBezTo>
                <a:cubicBezTo>
                  <a:pt x="8860884" y="568828"/>
                  <a:pt x="8862383" y="569161"/>
                  <a:pt x="8862551" y="570659"/>
                </a:cubicBezTo>
                <a:cubicBezTo>
                  <a:pt x="8862884" y="572157"/>
                  <a:pt x="8861051" y="571991"/>
                  <a:pt x="8860218" y="572490"/>
                </a:cubicBezTo>
                <a:cubicBezTo>
                  <a:pt x="8854889" y="575154"/>
                  <a:pt x="8852723" y="579315"/>
                  <a:pt x="8853724" y="585308"/>
                </a:cubicBezTo>
                <a:cubicBezTo>
                  <a:pt x="8854057" y="587306"/>
                  <a:pt x="8853391" y="588470"/>
                  <a:pt x="8851724" y="589303"/>
                </a:cubicBezTo>
                <a:cubicBezTo>
                  <a:pt x="8850725" y="589802"/>
                  <a:pt x="8849727" y="590135"/>
                  <a:pt x="8848726" y="590634"/>
                </a:cubicBezTo>
                <a:cubicBezTo>
                  <a:pt x="8847394" y="591300"/>
                  <a:pt x="8846895" y="592299"/>
                  <a:pt x="8847228" y="593797"/>
                </a:cubicBezTo>
                <a:lnTo>
                  <a:pt x="8847974" y="594855"/>
                </a:lnTo>
                <a:lnTo>
                  <a:pt x="8834956" y="607801"/>
                </a:lnTo>
                <a:lnTo>
                  <a:pt x="8835236" y="605283"/>
                </a:lnTo>
                <a:cubicBezTo>
                  <a:pt x="8835569" y="603952"/>
                  <a:pt x="8835569" y="603285"/>
                  <a:pt x="8834071" y="602453"/>
                </a:cubicBezTo>
                <a:cubicBezTo>
                  <a:pt x="8832405" y="601787"/>
                  <a:pt x="8831739" y="602619"/>
                  <a:pt x="8831073" y="603618"/>
                </a:cubicBezTo>
                <a:cubicBezTo>
                  <a:pt x="8830573" y="604284"/>
                  <a:pt x="8830406" y="604950"/>
                  <a:pt x="8830073" y="605782"/>
                </a:cubicBezTo>
                <a:cubicBezTo>
                  <a:pt x="8828574" y="609278"/>
                  <a:pt x="8827575" y="609444"/>
                  <a:pt x="8825077" y="606614"/>
                </a:cubicBezTo>
                <a:cubicBezTo>
                  <a:pt x="8824577" y="605949"/>
                  <a:pt x="8823911" y="605116"/>
                  <a:pt x="8822913" y="605117"/>
                </a:cubicBezTo>
                <a:cubicBezTo>
                  <a:pt x="8821747" y="605283"/>
                  <a:pt x="8821746" y="606615"/>
                  <a:pt x="8821413" y="607447"/>
                </a:cubicBezTo>
                <a:cubicBezTo>
                  <a:pt x="8821081" y="608113"/>
                  <a:pt x="8820913" y="608779"/>
                  <a:pt x="8820914" y="609445"/>
                </a:cubicBezTo>
                <a:cubicBezTo>
                  <a:pt x="8820663" y="610860"/>
                  <a:pt x="8820123" y="611525"/>
                  <a:pt x="8819414" y="611671"/>
                </a:cubicBezTo>
                <a:cubicBezTo>
                  <a:pt x="8818706" y="611817"/>
                  <a:pt x="8817833" y="611442"/>
                  <a:pt x="8816916" y="610776"/>
                </a:cubicBezTo>
                <a:cubicBezTo>
                  <a:pt x="8815084" y="609278"/>
                  <a:pt x="8813252" y="607447"/>
                  <a:pt x="8811421" y="605949"/>
                </a:cubicBezTo>
                <a:cubicBezTo>
                  <a:pt x="8809255" y="604118"/>
                  <a:pt x="8806757" y="602786"/>
                  <a:pt x="8804092" y="604284"/>
                </a:cubicBezTo>
                <a:cubicBezTo>
                  <a:pt x="8801927" y="605283"/>
                  <a:pt x="8800927" y="604451"/>
                  <a:pt x="8799763" y="602952"/>
                </a:cubicBezTo>
                <a:cubicBezTo>
                  <a:pt x="8797263" y="599623"/>
                  <a:pt x="8794267" y="597126"/>
                  <a:pt x="8789603" y="598125"/>
                </a:cubicBezTo>
                <a:cubicBezTo>
                  <a:pt x="8788437" y="598458"/>
                  <a:pt x="8788103" y="597958"/>
                  <a:pt x="8787937" y="596793"/>
                </a:cubicBezTo>
                <a:cubicBezTo>
                  <a:pt x="8787271" y="588637"/>
                  <a:pt x="8783774" y="581646"/>
                  <a:pt x="8779110" y="575320"/>
                </a:cubicBezTo>
                <a:cubicBezTo>
                  <a:pt x="8777945" y="573822"/>
                  <a:pt x="8778277" y="572822"/>
                  <a:pt x="8778943" y="571325"/>
                </a:cubicBezTo>
                <a:cubicBezTo>
                  <a:pt x="8780610" y="568329"/>
                  <a:pt x="8782441" y="564999"/>
                  <a:pt x="8781276" y="561670"/>
                </a:cubicBezTo>
                <a:cubicBezTo>
                  <a:pt x="8780109" y="558341"/>
                  <a:pt x="8780942" y="556010"/>
                  <a:pt x="8782608" y="553347"/>
                </a:cubicBezTo>
                <a:cubicBezTo>
                  <a:pt x="8783107" y="552514"/>
                  <a:pt x="8783441" y="551682"/>
                  <a:pt x="8783940" y="550683"/>
                </a:cubicBezTo>
                <a:cubicBezTo>
                  <a:pt x="8786106" y="545856"/>
                  <a:pt x="8788603" y="541362"/>
                  <a:pt x="8793766" y="539032"/>
                </a:cubicBezTo>
                <a:cubicBezTo>
                  <a:pt x="8794766" y="538698"/>
                  <a:pt x="8794765" y="538032"/>
                  <a:pt x="8794765" y="537200"/>
                </a:cubicBezTo>
                <a:cubicBezTo>
                  <a:pt x="8794599" y="534703"/>
                  <a:pt x="8790103" y="528711"/>
                  <a:pt x="8787770" y="528044"/>
                </a:cubicBezTo>
                <a:cubicBezTo>
                  <a:pt x="8784106" y="527212"/>
                  <a:pt x="8780942" y="525381"/>
                  <a:pt x="8778444" y="522551"/>
                </a:cubicBezTo>
                <a:cubicBezTo>
                  <a:pt x="8774946" y="518889"/>
                  <a:pt x="8771949" y="515061"/>
                  <a:pt x="8768617" y="511232"/>
                </a:cubicBezTo>
                <a:cubicBezTo>
                  <a:pt x="8767618" y="510233"/>
                  <a:pt x="8768119" y="509567"/>
                  <a:pt x="8768785" y="508735"/>
                </a:cubicBezTo>
                <a:cubicBezTo>
                  <a:pt x="8771783" y="505073"/>
                  <a:pt x="8771783" y="505073"/>
                  <a:pt x="8768119" y="502576"/>
                </a:cubicBezTo>
                <a:cubicBezTo>
                  <a:pt x="8764788" y="500079"/>
                  <a:pt x="8764620" y="498414"/>
                  <a:pt x="8767618" y="495252"/>
                </a:cubicBezTo>
                <a:cubicBezTo>
                  <a:pt x="8768951" y="493920"/>
                  <a:pt x="8770284" y="492422"/>
                  <a:pt x="8769784" y="490092"/>
                </a:cubicBezTo>
                <a:cubicBezTo>
                  <a:pt x="8768285" y="484265"/>
                  <a:pt x="8770449" y="479437"/>
                  <a:pt x="8774281" y="475110"/>
                </a:cubicBezTo>
                <a:cubicBezTo>
                  <a:pt x="8776778" y="472280"/>
                  <a:pt x="8779776" y="469616"/>
                  <a:pt x="8781608" y="466288"/>
                </a:cubicBezTo>
                <a:cubicBezTo>
                  <a:pt x="8781941" y="465621"/>
                  <a:pt x="8782442" y="464956"/>
                  <a:pt x="8783275" y="465122"/>
                </a:cubicBezTo>
                <a:cubicBezTo>
                  <a:pt x="8787438" y="466454"/>
                  <a:pt x="8789602" y="463791"/>
                  <a:pt x="8791934" y="461127"/>
                </a:cubicBezTo>
                <a:cubicBezTo>
                  <a:pt x="8792600" y="460295"/>
                  <a:pt x="8793433" y="459296"/>
                  <a:pt x="8794932" y="459629"/>
                </a:cubicBezTo>
                <a:close/>
                <a:moveTo>
                  <a:pt x="9211807" y="455326"/>
                </a:moveTo>
                <a:cubicBezTo>
                  <a:pt x="9214211" y="455353"/>
                  <a:pt x="9216506" y="455954"/>
                  <a:pt x="9218363" y="458574"/>
                </a:cubicBezTo>
                <a:cubicBezTo>
                  <a:pt x="9219019" y="459447"/>
                  <a:pt x="9220331" y="460538"/>
                  <a:pt x="9222080" y="460538"/>
                </a:cubicBezTo>
                <a:cubicBezTo>
                  <a:pt x="9224483" y="460320"/>
                  <a:pt x="9225795" y="461630"/>
                  <a:pt x="9226232" y="464031"/>
                </a:cubicBezTo>
                <a:cubicBezTo>
                  <a:pt x="9226670" y="465559"/>
                  <a:pt x="9227763" y="466432"/>
                  <a:pt x="9228855" y="467524"/>
                </a:cubicBezTo>
                <a:cubicBezTo>
                  <a:pt x="9231697" y="470144"/>
                  <a:pt x="9233008" y="473200"/>
                  <a:pt x="9231915" y="477129"/>
                </a:cubicBezTo>
                <a:cubicBezTo>
                  <a:pt x="9231259" y="479312"/>
                  <a:pt x="9231915" y="481713"/>
                  <a:pt x="9234101" y="483024"/>
                </a:cubicBezTo>
                <a:lnTo>
                  <a:pt x="9234101" y="483025"/>
                </a:lnTo>
                <a:lnTo>
                  <a:pt x="9234101" y="485643"/>
                </a:lnTo>
                <a:lnTo>
                  <a:pt x="9234102" y="485644"/>
                </a:lnTo>
                <a:cubicBezTo>
                  <a:pt x="9232135" y="486735"/>
                  <a:pt x="9231259" y="488046"/>
                  <a:pt x="9231478" y="490883"/>
                </a:cubicBezTo>
                <a:cubicBezTo>
                  <a:pt x="9231697" y="494813"/>
                  <a:pt x="9229949" y="497868"/>
                  <a:pt x="9225576" y="498742"/>
                </a:cubicBezTo>
                <a:cubicBezTo>
                  <a:pt x="9223609" y="498960"/>
                  <a:pt x="9224046" y="500488"/>
                  <a:pt x="9224046" y="501799"/>
                </a:cubicBezTo>
                <a:cubicBezTo>
                  <a:pt x="9224047" y="503981"/>
                  <a:pt x="9223172" y="504418"/>
                  <a:pt x="9221423" y="502890"/>
                </a:cubicBezTo>
                <a:cubicBezTo>
                  <a:pt x="9218800" y="500707"/>
                  <a:pt x="9217052" y="500707"/>
                  <a:pt x="9216396" y="504418"/>
                </a:cubicBezTo>
                <a:cubicBezTo>
                  <a:pt x="9216178" y="505292"/>
                  <a:pt x="9215522" y="506383"/>
                  <a:pt x="9214647" y="505292"/>
                </a:cubicBezTo>
                <a:cubicBezTo>
                  <a:pt x="9211807" y="502453"/>
                  <a:pt x="9209839" y="504200"/>
                  <a:pt x="9207654" y="506165"/>
                </a:cubicBezTo>
                <a:cubicBezTo>
                  <a:pt x="9207434" y="506601"/>
                  <a:pt x="9206560" y="506601"/>
                  <a:pt x="9206123" y="506601"/>
                </a:cubicBezTo>
                <a:cubicBezTo>
                  <a:pt x="9200876" y="503545"/>
                  <a:pt x="9195850" y="500052"/>
                  <a:pt x="9190603" y="496778"/>
                </a:cubicBezTo>
                <a:cubicBezTo>
                  <a:pt x="9188200" y="495249"/>
                  <a:pt x="9186887" y="491102"/>
                  <a:pt x="9185794" y="487827"/>
                </a:cubicBezTo>
                <a:cubicBezTo>
                  <a:pt x="9185357" y="486517"/>
                  <a:pt x="9185576" y="485208"/>
                  <a:pt x="9184264" y="484116"/>
                </a:cubicBezTo>
                <a:cubicBezTo>
                  <a:pt x="9182954" y="483025"/>
                  <a:pt x="9183171" y="481714"/>
                  <a:pt x="9184047" y="480405"/>
                </a:cubicBezTo>
                <a:lnTo>
                  <a:pt x="9184047" y="480404"/>
                </a:lnTo>
                <a:cubicBezTo>
                  <a:pt x="9184483" y="479530"/>
                  <a:pt x="9185358" y="478439"/>
                  <a:pt x="9184701" y="477566"/>
                </a:cubicBezTo>
                <a:cubicBezTo>
                  <a:pt x="9182516" y="474946"/>
                  <a:pt x="9182297" y="472981"/>
                  <a:pt x="9185794" y="471671"/>
                </a:cubicBezTo>
                <a:cubicBezTo>
                  <a:pt x="9186670" y="471453"/>
                  <a:pt x="9186887" y="470143"/>
                  <a:pt x="9186014" y="469489"/>
                </a:cubicBezTo>
                <a:cubicBezTo>
                  <a:pt x="9183172" y="467087"/>
                  <a:pt x="9186232" y="465996"/>
                  <a:pt x="9186669" y="464250"/>
                </a:cubicBezTo>
                <a:cubicBezTo>
                  <a:pt x="9188200" y="458355"/>
                  <a:pt x="9194975" y="460102"/>
                  <a:pt x="9197599" y="455736"/>
                </a:cubicBezTo>
                <a:cubicBezTo>
                  <a:pt x="9198472" y="454208"/>
                  <a:pt x="9202626" y="455299"/>
                  <a:pt x="9204592" y="455517"/>
                </a:cubicBezTo>
                <a:cubicBezTo>
                  <a:pt x="9206887" y="455844"/>
                  <a:pt x="9209401" y="455299"/>
                  <a:pt x="9211807" y="455326"/>
                </a:cubicBezTo>
                <a:close/>
                <a:moveTo>
                  <a:pt x="3531830" y="447728"/>
                </a:moveTo>
                <a:cubicBezTo>
                  <a:pt x="3537721" y="451160"/>
                  <a:pt x="3543366" y="455083"/>
                  <a:pt x="3549259" y="458760"/>
                </a:cubicBezTo>
                <a:cubicBezTo>
                  <a:pt x="3551958" y="460477"/>
                  <a:pt x="3553432" y="465135"/>
                  <a:pt x="3554657" y="468813"/>
                </a:cubicBezTo>
                <a:cubicBezTo>
                  <a:pt x="3555150" y="470283"/>
                  <a:pt x="3554902" y="471754"/>
                  <a:pt x="3556376" y="472980"/>
                </a:cubicBezTo>
                <a:cubicBezTo>
                  <a:pt x="3557848" y="474207"/>
                  <a:pt x="3557605" y="475676"/>
                  <a:pt x="3556620" y="477148"/>
                </a:cubicBezTo>
                <a:cubicBezTo>
                  <a:pt x="3556130" y="478129"/>
                  <a:pt x="3555150" y="479355"/>
                  <a:pt x="3555887" y="480335"/>
                </a:cubicBezTo>
                <a:cubicBezTo>
                  <a:pt x="3558340" y="483277"/>
                  <a:pt x="3558587" y="485484"/>
                  <a:pt x="3554658" y="486954"/>
                </a:cubicBezTo>
                <a:cubicBezTo>
                  <a:pt x="3553676" y="487200"/>
                  <a:pt x="3553432" y="488671"/>
                  <a:pt x="3554413" y="489406"/>
                </a:cubicBezTo>
                <a:cubicBezTo>
                  <a:pt x="3557605" y="492103"/>
                  <a:pt x="3554167" y="493329"/>
                  <a:pt x="3553676" y="495290"/>
                </a:cubicBezTo>
                <a:cubicBezTo>
                  <a:pt x="3551957" y="501910"/>
                  <a:pt x="3544348" y="499948"/>
                  <a:pt x="3541403" y="504852"/>
                </a:cubicBezTo>
                <a:cubicBezTo>
                  <a:pt x="3540421" y="506568"/>
                  <a:pt x="3535758" y="505342"/>
                  <a:pt x="3533547" y="505097"/>
                </a:cubicBezTo>
                <a:cubicBezTo>
                  <a:pt x="3528394" y="504361"/>
                  <a:pt x="3522256" y="507548"/>
                  <a:pt x="3518084" y="501665"/>
                </a:cubicBezTo>
                <a:cubicBezTo>
                  <a:pt x="3517348" y="500684"/>
                  <a:pt x="3515874" y="499458"/>
                  <a:pt x="3513909" y="499458"/>
                </a:cubicBezTo>
                <a:cubicBezTo>
                  <a:pt x="3511210" y="499703"/>
                  <a:pt x="3509740" y="498233"/>
                  <a:pt x="3509247" y="495535"/>
                </a:cubicBezTo>
                <a:cubicBezTo>
                  <a:pt x="3508756" y="493819"/>
                  <a:pt x="3507528" y="492839"/>
                  <a:pt x="3506301" y="491613"/>
                </a:cubicBezTo>
                <a:cubicBezTo>
                  <a:pt x="3503109" y="488672"/>
                  <a:pt x="3501639" y="485238"/>
                  <a:pt x="3502865" y="480826"/>
                </a:cubicBezTo>
                <a:cubicBezTo>
                  <a:pt x="3503602" y="478374"/>
                  <a:pt x="3502865" y="475677"/>
                  <a:pt x="3500411" y="474206"/>
                </a:cubicBezTo>
                <a:cubicBezTo>
                  <a:pt x="3500411" y="473225"/>
                  <a:pt x="3500411" y="472244"/>
                  <a:pt x="3500411" y="471264"/>
                </a:cubicBezTo>
                <a:cubicBezTo>
                  <a:pt x="3502619" y="470038"/>
                  <a:pt x="3503602" y="468567"/>
                  <a:pt x="3503357" y="465380"/>
                </a:cubicBezTo>
                <a:cubicBezTo>
                  <a:pt x="3503109" y="460967"/>
                  <a:pt x="3505075" y="457535"/>
                  <a:pt x="3509984" y="456554"/>
                </a:cubicBezTo>
                <a:cubicBezTo>
                  <a:pt x="3512191" y="456309"/>
                  <a:pt x="3511700" y="454593"/>
                  <a:pt x="3511700" y="453122"/>
                </a:cubicBezTo>
                <a:cubicBezTo>
                  <a:pt x="3511700" y="450670"/>
                  <a:pt x="3512684" y="450179"/>
                  <a:pt x="3514647" y="451896"/>
                </a:cubicBezTo>
                <a:cubicBezTo>
                  <a:pt x="3517592" y="454348"/>
                  <a:pt x="3519557" y="454347"/>
                  <a:pt x="3520293" y="450180"/>
                </a:cubicBezTo>
                <a:cubicBezTo>
                  <a:pt x="3520538" y="449199"/>
                  <a:pt x="3521274" y="447973"/>
                  <a:pt x="3522256" y="449199"/>
                </a:cubicBezTo>
                <a:cubicBezTo>
                  <a:pt x="3525446" y="452386"/>
                  <a:pt x="3527657" y="450425"/>
                  <a:pt x="3530112" y="448218"/>
                </a:cubicBezTo>
                <a:cubicBezTo>
                  <a:pt x="3530356" y="447728"/>
                  <a:pt x="3531339" y="447728"/>
                  <a:pt x="3531830" y="447728"/>
                </a:cubicBezTo>
                <a:close/>
                <a:moveTo>
                  <a:pt x="2626606" y="438787"/>
                </a:moveTo>
                <a:cubicBezTo>
                  <a:pt x="2627282" y="438926"/>
                  <a:pt x="2627800" y="439564"/>
                  <a:pt x="2628038" y="440918"/>
                </a:cubicBezTo>
                <a:cubicBezTo>
                  <a:pt x="2628038" y="441555"/>
                  <a:pt x="2628198" y="442192"/>
                  <a:pt x="2628518" y="442830"/>
                </a:cubicBezTo>
                <a:cubicBezTo>
                  <a:pt x="2628838" y="443627"/>
                  <a:pt x="2628837" y="444901"/>
                  <a:pt x="2629954" y="445060"/>
                </a:cubicBezTo>
                <a:cubicBezTo>
                  <a:pt x="2630909" y="445060"/>
                  <a:pt x="2631547" y="444264"/>
                  <a:pt x="2632024" y="443626"/>
                </a:cubicBezTo>
                <a:cubicBezTo>
                  <a:pt x="2634415" y="440918"/>
                  <a:pt x="2635373" y="441077"/>
                  <a:pt x="2636807" y="444423"/>
                </a:cubicBezTo>
                <a:cubicBezTo>
                  <a:pt x="2637126" y="445220"/>
                  <a:pt x="2637286" y="445857"/>
                  <a:pt x="2637763" y="446494"/>
                </a:cubicBezTo>
                <a:cubicBezTo>
                  <a:pt x="2638401" y="447450"/>
                  <a:pt x="2639039" y="448247"/>
                  <a:pt x="2640635" y="447609"/>
                </a:cubicBezTo>
                <a:cubicBezTo>
                  <a:pt x="2642069" y="446814"/>
                  <a:pt x="2642069" y="446175"/>
                  <a:pt x="2641750" y="444901"/>
                </a:cubicBezTo>
                <a:lnTo>
                  <a:pt x="2641481" y="442491"/>
                </a:lnTo>
                <a:lnTo>
                  <a:pt x="2653939" y="454883"/>
                </a:lnTo>
                <a:lnTo>
                  <a:pt x="2653226" y="455895"/>
                </a:lnTo>
                <a:cubicBezTo>
                  <a:pt x="2652908" y="457329"/>
                  <a:pt x="2653386" y="458285"/>
                  <a:pt x="2654661" y="458922"/>
                </a:cubicBezTo>
                <a:cubicBezTo>
                  <a:pt x="2655617" y="459400"/>
                  <a:pt x="2656574" y="459719"/>
                  <a:pt x="2657531" y="460197"/>
                </a:cubicBezTo>
                <a:cubicBezTo>
                  <a:pt x="2659127" y="460994"/>
                  <a:pt x="2659764" y="462108"/>
                  <a:pt x="2659446" y="464020"/>
                </a:cubicBezTo>
                <a:cubicBezTo>
                  <a:pt x="2658490" y="469756"/>
                  <a:pt x="2660561" y="473740"/>
                  <a:pt x="2665661" y="476289"/>
                </a:cubicBezTo>
                <a:cubicBezTo>
                  <a:pt x="2666459" y="476768"/>
                  <a:pt x="2668213" y="476608"/>
                  <a:pt x="2667893" y="478042"/>
                </a:cubicBezTo>
                <a:cubicBezTo>
                  <a:pt x="2667734" y="479476"/>
                  <a:pt x="2666299" y="479795"/>
                  <a:pt x="2664865" y="479954"/>
                </a:cubicBezTo>
                <a:cubicBezTo>
                  <a:pt x="2664706" y="479954"/>
                  <a:pt x="2664546" y="479954"/>
                  <a:pt x="2664387" y="479954"/>
                </a:cubicBezTo>
                <a:cubicBezTo>
                  <a:pt x="2660561" y="480592"/>
                  <a:pt x="2659445" y="482344"/>
                  <a:pt x="2661357" y="485371"/>
                </a:cubicBezTo>
                <a:cubicBezTo>
                  <a:pt x="2663111" y="488239"/>
                  <a:pt x="2662633" y="490470"/>
                  <a:pt x="2661038" y="492860"/>
                </a:cubicBezTo>
                <a:cubicBezTo>
                  <a:pt x="2658967" y="496046"/>
                  <a:pt x="2657372" y="499392"/>
                  <a:pt x="2658329" y="503376"/>
                </a:cubicBezTo>
                <a:cubicBezTo>
                  <a:pt x="2658807" y="505128"/>
                  <a:pt x="2657053" y="505925"/>
                  <a:pt x="2655936" y="506244"/>
                </a:cubicBezTo>
                <a:cubicBezTo>
                  <a:pt x="2651794" y="507677"/>
                  <a:pt x="2649879" y="510386"/>
                  <a:pt x="2649401" y="514528"/>
                </a:cubicBezTo>
                <a:cubicBezTo>
                  <a:pt x="2649083" y="517077"/>
                  <a:pt x="2648127" y="517555"/>
                  <a:pt x="2645576" y="515962"/>
                </a:cubicBezTo>
                <a:cubicBezTo>
                  <a:pt x="2640156" y="512616"/>
                  <a:pt x="2632185" y="515007"/>
                  <a:pt x="2629794" y="520583"/>
                </a:cubicBezTo>
                <a:cubicBezTo>
                  <a:pt x="2629316" y="521698"/>
                  <a:pt x="2628676" y="523132"/>
                  <a:pt x="2629795" y="524089"/>
                </a:cubicBezTo>
                <a:cubicBezTo>
                  <a:pt x="2630909" y="525044"/>
                  <a:pt x="2632503" y="525522"/>
                  <a:pt x="2633938" y="524567"/>
                </a:cubicBezTo>
                <a:cubicBezTo>
                  <a:pt x="2634895" y="524088"/>
                  <a:pt x="2635851" y="523291"/>
                  <a:pt x="2636807" y="522654"/>
                </a:cubicBezTo>
                <a:cubicBezTo>
                  <a:pt x="2637763" y="521857"/>
                  <a:pt x="2638720" y="521380"/>
                  <a:pt x="2639516" y="522336"/>
                </a:cubicBezTo>
                <a:cubicBezTo>
                  <a:pt x="2640475" y="523451"/>
                  <a:pt x="2639836" y="524407"/>
                  <a:pt x="2639039" y="525204"/>
                </a:cubicBezTo>
                <a:cubicBezTo>
                  <a:pt x="2638401" y="526000"/>
                  <a:pt x="2637444" y="526637"/>
                  <a:pt x="2636807" y="527275"/>
                </a:cubicBezTo>
                <a:cubicBezTo>
                  <a:pt x="2635373" y="528708"/>
                  <a:pt x="2634576" y="530621"/>
                  <a:pt x="2636011" y="532214"/>
                </a:cubicBezTo>
                <a:cubicBezTo>
                  <a:pt x="2637285" y="533489"/>
                  <a:pt x="2639038" y="532214"/>
                  <a:pt x="2640314" y="531258"/>
                </a:cubicBezTo>
                <a:cubicBezTo>
                  <a:pt x="2641431" y="530461"/>
                  <a:pt x="2642228" y="529027"/>
                  <a:pt x="2643663" y="528549"/>
                </a:cubicBezTo>
                <a:cubicBezTo>
                  <a:pt x="2645735" y="527753"/>
                  <a:pt x="2647011" y="528072"/>
                  <a:pt x="2646850" y="530621"/>
                </a:cubicBezTo>
                <a:cubicBezTo>
                  <a:pt x="2646691" y="534126"/>
                  <a:pt x="2645257" y="536994"/>
                  <a:pt x="2643344" y="539703"/>
                </a:cubicBezTo>
                <a:cubicBezTo>
                  <a:pt x="2640953" y="543208"/>
                  <a:pt x="2640794" y="545120"/>
                  <a:pt x="2643344" y="548466"/>
                </a:cubicBezTo>
                <a:cubicBezTo>
                  <a:pt x="2644140" y="549741"/>
                  <a:pt x="2645417" y="550856"/>
                  <a:pt x="2646533" y="551972"/>
                </a:cubicBezTo>
                <a:cubicBezTo>
                  <a:pt x="2647011" y="552449"/>
                  <a:pt x="2647807" y="552927"/>
                  <a:pt x="2647489" y="553724"/>
                </a:cubicBezTo>
                <a:cubicBezTo>
                  <a:pt x="2647169" y="554679"/>
                  <a:pt x="2646373" y="554839"/>
                  <a:pt x="2645735" y="554679"/>
                </a:cubicBezTo>
                <a:cubicBezTo>
                  <a:pt x="2642865" y="554043"/>
                  <a:pt x="2642228" y="555317"/>
                  <a:pt x="2642387" y="557866"/>
                </a:cubicBezTo>
                <a:cubicBezTo>
                  <a:pt x="2642547" y="561053"/>
                  <a:pt x="2640474" y="563283"/>
                  <a:pt x="2638240" y="565037"/>
                </a:cubicBezTo>
                <a:cubicBezTo>
                  <a:pt x="2636487" y="566470"/>
                  <a:pt x="2636328" y="567586"/>
                  <a:pt x="2638082" y="568861"/>
                </a:cubicBezTo>
                <a:cubicBezTo>
                  <a:pt x="2639039" y="569497"/>
                  <a:pt x="2639677" y="570135"/>
                  <a:pt x="2639357" y="571409"/>
                </a:cubicBezTo>
                <a:cubicBezTo>
                  <a:pt x="2639039" y="573162"/>
                  <a:pt x="2637762" y="572843"/>
                  <a:pt x="2636646" y="573162"/>
                </a:cubicBezTo>
                <a:cubicBezTo>
                  <a:pt x="2636011" y="573321"/>
                  <a:pt x="2635214" y="573322"/>
                  <a:pt x="2634415" y="573481"/>
                </a:cubicBezTo>
                <a:cubicBezTo>
                  <a:pt x="2630112" y="573959"/>
                  <a:pt x="2629155" y="576349"/>
                  <a:pt x="2631706" y="580014"/>
                </a:cubicBezTo>
                <a:cubicBezTo>
                  <a:pt x="2632024" y="580492"/>
                  <a:pt x="2632343" y="580810"/>
                  <a:pt x="2632503" y="581288"/>
                </a:cubicBezTo>
                <a:cubicBezTo>
                  <a:pt x="2632981" y="582244"/>
                  <a:pt x="2633299" y="583518"/>
                  <a:pt x="2632343" y="584156"/>
                </a:cubicBezTo>
                <a:cubicBezTo>
                  <a:pt x="2631546" y="584794"/>
                  <a:pt x="2630432" y="584156"/>
                  <a:pt x="2629795" y="583519"/>
                </a:cubicBezTo>
                <a:cubicBezTo>
                  <a:pt x="2629155" y="582881"/>
                  <a:pt x="2628675" y="582244"/>
                  <a:pt x="2628198" y="581447"/>
                </a:cubicBezTo>
                <a:cubicBezTo>
                  <a:pt x="2627243" y="580332"/>
                  <a:pt x="2626286" y="580013"/>
                  <a:pt x="2625011" y="580969"/>
                </a:cubicBezTo>
                <a:cubicBezTo>
                  <a:pt x="2621981" y="583041"/>
                  <a:pt x="2618633" y="583359"/>
                  <a:pt x="2615286" y="583518"/>
                </a:cubicBezTo>
                <a:cubicBezTo>
                  <a:pt x="2611298" y="583837"/>
                  <a:pt x="2607157" y="583359"/>
                  <a:pt x="2603172" y="584315"/>
                </a:cubicBezTo>
                <a:cubicBezTo>
                  <a:pt x="2601735" y="584634"/>
                  <a:pt x="2600937" y="583678"/>
                  <a:pt x="2600301" y="582882"/>
                </a:cubicBezTo>
                <a:cubicBezTo>
                  <a:pt x="2598069" y="580332"/>
                  <a:pt x="2595996" y="577783"/>
                  <a:pt x="2592009" y="579058"/>
                </a:cubicBezTo>
                <a:cubicBezTo>
                  <a:pt x="2591215" y="579217"/>
                  <a:pt x="2590738" y="578579"/>
                  <a:pt x="2590420" y="577942"/>
                </a:cubicBezTo>
                <a:cubicBezTo>
                  <a:pt x="2588665" y="574756"/>
                  <a:pt x="2585797" y="572206"/>
                  <a:pt x="2583400" y="569497"/>
                </a:cubicBezTo>
                <a:cubicBezTo>
                  <a:pt x="2579741" y="565355"/>
                  <a:pt x="2577666" y="560735"/>
                  <a:pt x="2579097" y="555158"/>
                </a:cubicBezTo>
                <a:cubicBezTo>
                  <a:pt x="2579575" y="552927"/>
                  <a:pt x="2578302" y="551493"/>
                  <a:pt x="2577030" y="550219"/>
                </a:cubicBezTo>
                <a:cubicBezTo>
                  <a:pt x="2574155" y="547191"/>
                  <a:pt x="2574318" y="545598"/>
                  <a:pt x="2577506" y="543208"/>
                </a:cubicBezTo>
                <a:cubicBezTo>
                  <a:pt x="2581015" y="540818"/>
                  <a:pt x="2581015" y="540818"/>
                  <a:pt x="2578142" y="537313"/>
                </a:cubicBezTo>
                <a:cubicBezTo>
                  <a:pt x="2577506" y="536517"/>
                  <a:pt x="2577031" y="535879"/>
                  <a:pt x="2577983" y="534923"/>
                </a:cubicBezTo>
                <a:cubicBezTo>
                  <a:pt x="2581173" y="531258"/>
                  <a:pt x="2584038" y="527594"/>
                  <a:pt x="2587390" y="524089"/>
                </a:cubicBezTo>
                <a:cubicBezTo>
                  <a:pt x="2589782" y="521380"/>
                  <a:pt x="2592808" y="519627"/>
                  <a:pt x="2596315" y="518831"/>
                </a:cubicBezTo>
                <a:cubicBezTo>
                  <a:pt x="2598548" y="518193"/>
                  <a:pt x="2602853" y="512457"/>
                  <a:pt x="2603014" y="510067"/>
                </a:cubicBezTo>
                <a:cubicBezTo>
                  <a:pt x="2603013" y="509271"/>
                  <a:pt x="2603014" y="508633"/>
                  <a:pt x="2602055" y="508315"/>
                </a:cubicBezTo>
                <a:cubicBezTo>
                  <a:pt x="2597112" y="506084"/>
                  <a:pt x="2594724" y="501782"/>
                  <a:pt x="2592646" y="497161"/>
                </a:cubicBezTo>
                <a:cubicBezTo>
                  <a:pt x="2592168" y="496206"/>
                  <a:pt x="2591853" y="495408"/>
                  <a:pt x="2591374" y="494613"/>
                </a:cubicBezTo>
                <a:cubicBezTo>
                  <a:pt x="2589782" y="492063"/>
                  <a:pt x="2588981" y="489833"/>
                  <a:pt x="2590101" y="486645"/>
                </a:cubicBezTo>
                <a:cubicBezTo>
                  <a:pt x="2591215" y="483459"/>
                  <a:pt x="2589463" y="480273"/>
                  <a:pt x="2587864" y="477405"/>
                </a:cubicBezTo>
                <a:cubicBezTo>
                  <a:pt x="2587228" y="475971"/>
                  <a:pt x="2586912" y="475015"/>
                  <a:pt x="2588027" y="473581"/>
                </a:cubicBezTo>
                <a:cubicBezTo>
                  <a:pt x="2592489" y="467526"/>
                  <a:pt x="2595837" y="460834"/>
                  <a:pt x="2596473" y="453027"/>
                </a:cubicBezTo>
                <a:cubicBezTo>
                  <a:pt x="2596635" y="451911"/>
                  <a:pt x="2596952" y="451434"/>
                  <a:pt x="2598069" y="451753"/>
                </a:cubicBezTo>
                <a:cubicBezTo>
                  <a:pt x="2602532" y="452708"/>
                  <a:pt x="2605401" y="450319"/>
                  <a:pt x="2607795" y="447132"/>
                </a:cubicBezTo>
                <a:cubicBezTo>
                  <a:pt x="2608909" y="445698"/>
                  <a:pt x="2609865" y="444901"/>
                  <a:pt x="2611941" y="445857"/>
                </a:cubicBezTo>
                <a:cubicBezTo>
                  <a:pt x="2614488" y="447291"/>
                  <a:pt x="2616881" y="446016"/>
                  <a:pt x="2618952" y="444264"/>
                </a:cubicBezTo>
                <a:cubicBezTo>
                  <a:pt x="2620708" y="442830"/>
                  <a:pt x="2622460" y="441077"/>
                  <a:pt x="2624213" y="439643"/>
                </a:cubicBezTo>
                <a:cubicBezTo>
                  <a:pt x="2625090" y="439006"/>
                  <a:pt x="2625926" y="438648"/>
                  <a:pt x="2626606" y="438787"/>
                </a:cubicBezTo>
                <a:close/>
                <a:moveTo>
                  <a:pt x="3092065" y="390996"/>
                </a:moveTo>
                <a:cubicBezTo>
                  <a:pt x="3094566" y="390996"/>
                  <a:pt x="3096708" y="390996"/>
                  <a:pt x="3099208" y="390996"/>
                </a:cubicBezTo>
                <a:cubicBezTo>
                  <a:pt x="3100995" y="393485"/>
                  <a:pt x="3104566" y="393130"/>
                  <a:pt x="3107068" y="394907"/>
                </a:cubicBezTo>
                <a:cubicBezTo>
                  <a:pt x="3109567" y="396686"/>
                  <a:pt x="3111710" y="398108"/>
                  <a:pt x="3112425" y="401307"/>
                </a:cubicBezTo>
                <a:cubicBezTo>
                  <a:pt x="3112784" y="404863"/>
                  <a:pt x="3114567" y="408064"/>
                  <a:pt x="3116355" y="410908"/>
                </a:cubicBezTo>
                <a:cubicBezTo>
                  <a:pt x="3118140" y="414108"/>
                  <a:pt x="3119568" y="417308"/>
                  <a:pt x="3121355" y="420153"/>
                </a:cubicBezTo>
                <a:cubicBezTo>
                  <a:pt x="3122784" y="423353"/>
                  <a:pt x="3125643" y="426197"/>
                  <a:pt x="3129213" y="427975"/>
                </a:cubicBezTo>
                <a:cubicBezTo>
                  <a:pt x="3129213" y="432241"/>
                  <a:pt x="3129214" y="436508"/>
                  <a:pt x="3129214" y="440775"/>
                </a:cubicBezTo>
                <a:cubicBezTo>
                  <a:pt x="3127070" y="441842"/>
                  <a:pt x="3125998" y="443264"/>
                  <a:pt x="3124926" y="445753"/>
                </a:cubicBezTo>
                <a:cubicBezTo>
                  <a:pt x="3123499" y="448598"/>
                  <a:pt x="3120283" y="450731"/>
                  <a:pt x="3117069" y="450731"/>
                </a:cubicBezTo>
                <a:cubicBezTo>
                  <a:pt x="3113853" y="450731"/>
                  <a:pt x="3110997" y="451442"/>
                  <a:pt x="3107780" y="452153"/>
                </a:cubicBezTo>
                <a:cubicBezTo>
                  <a:pt x="3103137" y="450376"/>
                  <a:pt x="3098851" y="447887"/>
                  <a:pt x="3097066" y="442197"/>
                </a:cubicBezTo>
                <a:cubicBezTo>
                  <a:pt x="3096708" y="441131"/>
                  <a:pt x="3094566" y="440420"/>
                  <a:pt x="3094923" y="438286"/>
                </a:cubicBezTo>
                <a:cubicBezTo>
                  <a:pt x="3095995" y="432597"/>
                  <a:pt x="3091709" y="430819"/>
                  <a:pt x="3088136" y="429753"/>
                </a:cubicBezTo>
                <a:cubicBezTo>
                  <a:pt x="3085635" y="429041"/>
                  <a:pt x="3084206" y="427975"/>
                  <a:pt x="3082778" y="426552"/>
                </a:cubicBezTo>
                <a:cubicBezTo>
                  <a:pt x="3078492" y="422641"/>
                  <a:pt x="3078849" y="417308"/>
                  <a:pt x="3077777" y="412330"/>
                </a:cubicBezTo>
                <a:cubicBezTo>
                  <a:pt x="3077063" y="407707"/>
                  <a:pt x="3079207" y="404152"/>
                  <a:pt x="3080992" y="400241"/>
                </a:cubicBezTo>
                <a:cubicBezTo>
                  <a:pt x="3082778" y="395974"/>
                  <a:pt x="3085636" y="392418"/>
                  <a:pt x="3090993" y="392418"/>
                </a:cubicBezTo>
                <a:cubicBezTo>
                  <a:pt x="3091708" y="392418"/>
                  <a:pt x="3092065" y="392062"/>
                  <a:pt x="3092065" y="390996"/>
                </a:cubicBezTo>
                <a:close/>
                <a:moveTo>
                  <a:pt x="3318977" y="381838"/>
                </a:moveTo>
                <a:cubicBezTo>
                  <a:pt x="3324867" y="385270"/>
                  <a:pt x="3330513" y="389192"/>
                  <a:pt x="3336405" y="392870"/>
                </a:cubicBezTo>
                <a:cubicBezTo>
                  <a:pt x="3339106" y="394586"/>
                  <a:pt x="3340578" y="399244"/>
                  <a:pt x="3341806" y="402922"/>
                </a:cubicBezTo>
                <a:cubicBezTo>
                  <a:pt x="3342296" y="404393"/>
                  <a:pt x="3342052" y="405864"/>
                  <a:pt x="3343524" y="407089"/>
                </a:cubicBezTo>
                <a:cubicBezTo>
                  <a:pt x="3344998" y="408316"/>
                  <a:pt x="3344751" y="409786"/>
                  <a:pt x="3343769" y="411257"/>
                </a:cubicBezTo>
                <a:cubicBezTo>
                  <a:pt x="3343278" y="412239"/>
                  <a:pt x="3342297" y="413464"/>
                  <a:pt x="3343033" y="414445"/>
                </a:cubicBezTo>
                <a:cubicBezTo>
                  <a:pt x="3345488" y="417387"/>
                  <a:pt x="3345734" y="419593"/>
                  <a:pt x="3341805" y="421064"/>
                </a:cubicBezTo>
                <a:cubicBezTo>
                  <a:pt x="3340824" y="421309"/>
                  <a:pt x="3340578" y="422780"/>
                  <a:pt x="3341559" y="423515"/>
                </a:cubicBezTo>
                <a:cubicBezTo>
                  <a:pt x="3344751" y="426213"/>
                  <a:pt x="3341313" y="427439"/>
                  <a:pt x="3340824" y="429400"/>
                </a:cubicBezTo>
                <a:cubicBezTo>
                  <a:pt x="3339106" y="436019"/>
                  <a:pt x="3331495" y="434058"/>
                  <a:pt x="3328549" y="438961"/>
                </a:cubicBezTo>
                <a:cubicBezTo>
                  <a:pt x="3327568" y="440677"/>
                  <a:pt x="3322903" y="439452"/>
                  <a:pt x="3320693" y="439207"/>
                </a:cubicBezTo>
                <a:cubicBezTo>
                  <a:pt x="3315536" y="438471"/>
                  <a:pt x="3309401" y="441658"/>
                  <a:pt x="3305228" y="435774"/>
                </a:cubicBezTo>
                <a:cubicBezTo>
                  <a:pt x="3304490" y="434793"/>
                  <a:pt x="3303018" y="433568"/>
                  <a:pt x="3301055" y="433568"/>
                </a:cubicBezTo>
                <a:cubicBezTo>
                  <a:pt x="3298354" y="433813"/>
                  <a:pt x="3296881" y="432342"/>
                  <a:pt x="3296389" y="429645"/>
                </a:cubicBezTo>
                <a:cubicBezTo>
                  <a:pt x="3295899" y="427929"/>
                  <a:pt x="3294671" y="426948"/>
                  <a:pt x="3293444" y="425723"/>
                </a:cubicBezTo>
                <a:cubicBezTo>
                  <a:pt x="3290251" y="422780"/>
                  <a:pt x="3288779" y="419348"/>
                  <a:pt x="3290006" y="414935"/>
                </a:cubicBezTo>
                <a:cubicBezTo>
                  <a:pt x="3290744" y="412483"/>
                  <a:pt x="3290006" y="409786"/>
                  <a:pt x="3287550" y="408316"/>
                </a:cubicBezTo>
                <a:cubicBezTo>
                  <a:pt x="3287550" y="407335"/>
                  <a:pt x="3287550" y="406354"/>
                  <a:pt x="3287550" y="405373"/>
                </a:cubicBezTo>
                <a:cubicBezTo>
                  <a:pt x="3289761" y="404148"/>
                  <a:pt x="3290743" y="402677"/>
                  <a:pt x="3290497" y="399489"/>
                </a:cubicBezTo>
                <a:cubicBezTo>
                  <a:pt x="3290251" y="395076"/>
                  <a:pt x="3292215" y="391644"/>
                  <a:pt x="3297127" y="390664"/>
                </a:cubicBezTo>
                <a:cubicBezTo>
                  <a:pt x="3299334" y="390419"/>
                  <a:pt x="3298845" y="388703"/>
                  <a:pt x="3298845" y="387231"/>
                </a:cubicBezTo>
                <a:cubicBezTo>
                  <a:pt x="3298845" y="384780"/>
                  <a:pt x="3299825" y="384289"/>
                  <a:pt x="3301791" y="386005"/>
                </a:cubicBezTo>
                <a:cubicBezTo>
                  <a:pt x="3304736" y="388457"/>
                  <a:pt x="3306701" y="388457"/>
                  <a:pt x="3307437" y="384289"/>
                </a:cubicBezTo>
                <a:cubicBezTo>
                  <a:pt x="3307681" y="383309"/>
                  <a:pt x="3308419" y="382083"/>
                  <a:pt x="3309402" y="383309"/>
                </a:cubicBezTo>
                <a:cubicBezTo>
                  <a:pt x="3312591" y="386496"/>
                  <a:pt x="3314801" y="384535"/>
                  <a:pt x="3317257" y="382328"/>
                </a:cubicBezTo>
                <a:cubicBezTo>
                  <a:pt x="3317502" y="381837"/>
                  <a:pt x="3318484" y="381837"/>
                  <a:pt x="3318977" y="381838"/>
                </a:cubicBezTo>
                <a:close/>
                <a:moveTo>
                  <a:pt x="10050735" y="367822"/>
                </a:moveTo>
                <a:lnTo>
                  <a:pt x="10050532" y="368162"/>
                </a:lnTo>
                <a:lnTo>
                  <a:pt x="10050294" y="367927"/>
                </a:lnTo>
                <a:close/>
                <a:moveTo>
                  <a:pt x="6887260" y="351534"/>
                </a:moveTo>
                <a:cubicBezTo>
                  <a:pt x="6888097" y="351604"/>
                  <a:pt x="6889771" y="351744"/>
                  <a:pt x="6890120" y="352616"/>
                </a:cubicBezTo>
                <a:cubicBezTo>
                  <a:pt x="6893990" y="356731"/>
                  <a:pt x="6897477" y="360392"/>
                  <a:pt x="6903377" y="355413"/>
                </a:cubicBezTo>
                <a:cubicBezTo>
                  <a:pt x="6905227" y="353463"/>
                  <a:pt x="6906307" y="355659"/>
                  <a:pt x="6906585" y="357366"/>
                </a:cubicBezTo>
                <a:cubicBezTo>
                  <a:pt x="6907245" y="364580"/>
                  <a:pt x="6910595" y="364861"/>
                  <a:pt x="6915970" y="361102"/>
                </a:cubicBezTo>
                <a:cubicBezTo>
                  <a:pt x="6919565" y="358456"/>
                  <a:pt x="6921169" y="359433"/>
                  <a:pt x="6920818" y="363614"/>
                </a:cubicBezTo>
                <a:cubicBezTo>
                  <a:pt x="6920608" y="366123"/>
                  <a:pt x="6919524" y="368979"/>
                  <a:pt x="6923258" y="369714"/>
                </a:cubicBezTo>
                <a:cubicBezTo>
                  <a:pt x="6931490" y="372089"/>
                  <a:pt x="6934349" y="378225"/>
                  <a:pt x="6933298" y="385716"/>
                </a:cubicBezTo>
                <a:cubicBezTo>
                  <a:pt x="6932423" y="391117"/>
                  <a:pt x="6933887" y="393766"/>
                  <a:pt x="6937480" y="396173"/>
                </a:cubicBezTo>
                <a:cubicBezTo>
                  <a:pt x="6937339" y="397846"/>
                  <a:pt x="6937199" y="399518"/>
                  <a:pt x="6937058" y="401191"/>
                </a:cubicBezTo>
                <a:cubicBezTo>
                  <a:pt x="6932661" y="403348"/>
                  <a:pt x="6931019" y="407842"/>
                  <a:pt x="6931924" y="412129"/>
                </a:cubicBezTo>
                <a:cubicBezTo>
                  <a:pt x="6933385" y="419831"/>
                  <a:pt x="6930382" y="425474"/>
                  <a:pt x="6924519" y="430035"/>
                </a:cubicBezTo>
                <a:cubicBezTo>
                  <a:pt x="6922250" y="431950"/>
                  <a:pt x="6920016" y="433446"/>
                  <a:pt x="6918933" y="436303"/>
                </a:cubicBezTo>
                <a:cubicBezTo>
                  <a:pt x="6917710" y="440832"/>
                  <a:pt x="6914986" y="443131"/>
                  <a:pt x="6910416" y="442326"/>
                </a:cubicBezTo>
                <a:cubicBezTo>
                  <a:pt x="6907067" y="442045"/>
                  <a:pt x="6904380" y="443924"/>
                  <a:pt x="6902984" y="445492"/>
                </a:cubicBezTo>
                <a:cubicBezTo>
                  <a:pt x="6895023" y="454929"/>
                  <a:pt x="6885013" y="448615"/>
                  <a:pt x="6876116" y="449132"/>
                </a:cubicBezTo>
                <a:cubicBezTo>
                  <a:pt x="6872312" y="449234"/>
                  <a:pt x="6864182" y="450657"/>
                  <a:pt x="6862753" y="447588"/>
                </a:cubicBezTo>
                <a:cubicBezTo>
                  <a:pt x="6858431" y="438804"/>
                  <a:pt x="6845172" y="441060"/>
                  <a:pt x="6843189" y="429525"/>
                </a:cubicBezTo>
                <a:cubicBezTo>
                  <a:pt x="6842632" y="426109"/>
                  <a:pt x="6836946" y="423526"/>
                  <a:pt x="6842774" y="419383"/>
                </a:cubicBezTo>
                <a:cubicBezTo>
                  <a:pt x="6844555" y="418269"/>
                  <a:pt x="6844347" y="415726"/>
                  <a:pt x="6842707" y="415167"/>
                </a:cubicBezTo>
                <a:cubicBezTo>
                  <a:pt x="6836219" y="412097"/>
                  <a:pt x="6836953" y="408368"/>
                  <a:pt x="6841562" y="403702"/>
                </a:cubicBezTo>
                <a:cubicBezTo>
                  <a:pt x="6842958" y="402134"/>
                  <a:pt x="6841458" y="399903"/>
                  <a:pt x="6840761" y="398161"/>
                </a:cubicBezTo>
                <a:cubicBezTo>
                  <a:pt x="6839298" y="395511"/>
                  <a:pt x="6839090" y="392968"/>
                  <a:pt x="6841777" y="391088"/>
                </a:cubicBezTo>
                <a:cubicBezTo>
                  <a:pt x="6844464" y="389207"/>
                  <a:pt x="6844256" y="386664"/>
                  <a:pt x="6845304" y="384225"/>
                </a:cubicBezTo>
                <a:cubicBezTo>
                  <a:pt x="6847924" y="378129"/>
                  <a:pt x="6851103" y="370395"/>
                  <a:pt x="6855954" y="367854"/>
                </a:cubicBezTo>
                <a:cubicBezTo>
                  <a:pt x="6866529" y="362426"/>
                  <a:pt x="6876719" y="356544"/>
                  <a:pt x="6887260" y="351534"/>
                </a:cubicBezTo>
                <a:close/>
                <a:moveTo>
                  <a:pt x="1867119" y="348819"/>
                </a:moveTo>
                <a:cubicBezTo>
                  <a:pt x="1868988" y="347633"/>
                  <a:pt x="1870607" y="348579"/>
                  <a:pt x="1871917" y="349381"/>
                </a:cubicBezTo>
                <a:cubicBezTo>
                  <a:pt x="1876383" y="351848"/>
                  <a:pt x="1880624" y="354398"/>
                  <a:pt x="1885614" y="350553"/>
                </a:cubicBezTo>
                <a:cubicBezTo>
                  <a:pt x="1886662" y="349919"/>
                  <a:pt x="1887665" y="350577"/>
                  <a:pt x="1888443" y="351316"/>
                </a:cubicBezTo>
                <a:cubicBezTo>
                  <a:pt x="1892558" y="354931"/>
                  <a:pt x="1897927" y="357073"/>
                  <a:pt x="1902700" y="359685"/>
                </a:cubicBezTo>
                <a:cubicBezTo>
                  <a:pt x="1910013" y="363675"/>
                  <a:pt x="1915314" y="369157"/>
                  <a:pt x="1916138" y="377791"/>
                </a:cubicBezTo>
                <a:cubicBezTo>
                  <a:pt x="1916603" y="381194"/>
                  <a:pt x="1919142" y="382573"/>
                  <a:pt x="1921601" y="383724"/>
                </a:cubicBezTo>
                <a:cubicBezTo>
                  <a:pt x="1927216" y="386543"/>
                  <a:pt x="1927805" y="388881"/>
                  <a:pt x="1924513" y="393899"/>
                </a:cubicBezTo>
                <a:cubicBezTo>
                  <a:pt x="1920769" y="399079"/>
                  <a:pt x="1920769" y="399079"/>
                  <a:pt x="1926627" y="402574"/>
                </a:cubicBezTo>
                <a:cubicBezTo>
                  <a:pt x="1927939" y="403376"/>
                  <a:pt x="1928942" y="404033"/>
                  <a:pt x="1928078" y="405877"/>
                </a:cubicBezTo>
                <a:cubicBezTo>
                  <a:pt x="1925438" y="412699"/>
                  <a:pt x="1923251" y="419358"/>
                  <a:pt x="1920304" y="426036"/>
                </a:cubicBezTo>
                <a:cubicBezTo>
                  <a:pt x="1918304" y="431097"/>
                  <a:pt x="1914911" y="435130"/>
                  <a:pt x="1910352" y="438053"/>
                </a:cubicBezTo>
                <a:cubicBezTo>
                  <a:pt x="1907518" y="440099"/>
                  <a:pt x="1904358" y="450425"/>
                  <a:pt x="1905357" y="453891"/>
                </a:cubicBezTo>
                <a:cubicBezTo>
                  <a:pt x="1905764" y="455021"/>
                  <a:pt x="1906090" y="455923"/>
                  <a:pt x="1907609" y="455885"/>
                </a:cubicBezTo>
                <a:cubicBezTo>
                  <a:pt x="1915749" y="456514"/>
                  <a:pt x="1921338" y="461382"/>
                  <a:pt x="1926639" y="466865"/>
                </a:cubicBezTo>
                <a:cubicBezTo>
                  <a:pt x="1927805" y="467975"/>
                  <a:pt x="1928665" y="468940"/>
                  <a:pt x="1929749" y="469823"/>
                </a:cubicBezTo>
                <a:cubicBezTo>
                  <a:pt x="1933313" y="472618"/>
                  <a:pt x="1935583" y="475368"/>
                  <a:pt x="1935634" y="480453"/>
                </a:cubicBezTo>
                <a:cubicBezTo>
                  <a:pt x="1935685" y="485537"/>
                  <a:pt x="1939800" y="489152"/>
                  <a:pt x="1943526" y="492398"/>
                </a:cubicBezTo>
                <a:cubicBezTo>
                  <a:pt x="1945164" y="494102"/>
                  <a:pt x="1946104" y="495293"/>
                  <a:pt x="1945258" y="497895"/>
                </a:cubicBezTo>
                <a:cubicBezTo>
                  <a:pt x="1942036" y="508756"/>
                  <a:pt x="1940721" y="519947"/>
                  <a:pt x="1943815" y="531330"/>
                </a:cubicBezTo>
                <a:cubicBezTo>
                  <a:pt x="1944160" y="532991"/>
                  <a:pt x="1943953" y="533832"/>
                  <a:pt x="1942210" y="533952"/>
                </a:cubicBezTo>
                <a:cubicBezTo>
                  <a:pt x="1935398" y="534882"/>
                  <a:pt x="1932558" y="539737"/>
                  <a:pt x="1930802" y="545474"/>
                </a:cubicBezTo>
                <a:cubicBezTo>
                  <a:pt x="1929957" y="548075"/>
                  <a:pt x="1929010" y="549694"/>
                  <a:pt x="1925586" y="549400"/>
                </a:cubicBezTo>
                <a:cubicBezTo>
                  <a:pt x="1921240" y="548675"/>
                  <a:pt x="1918505" y="551705"/>
                  <a:pt x="1916468" y="555248"/>
                </a:cubicBezTo>
                <a:cubicBezTo>
                  <a:pt x="1914718" y="558177"/>
                  <a:pt x="1913132" y="561556"/>
                  <a:pt x="1911383" y="564485"/>
                </a:cubicBezTo>
                <a:cubicBezTo>
                  <a:pt x="1910467" y="565836"/>
                  <a:pt x="1909466" y="566773"/>
                  <a:pt x="1908435" y="566922"/>
                </a:cubicBezTo>
                <a:cubicBezTo>
                  <a:pt x="1907404" y="567071"/>
                  <a:pt x="1906343" y="566434"/>
                  <a:pt x="1905312" y="564639"/>
                </a:cubicBezTo>
                <a:cubicBezTo>
                  <a:pt x="1904985" y="563736"/>
                  <a:pt x="1904434" y="562915"/>
                  <a:pt x="1903655" y="562176"/>
                </a:cubicBezTo>
                <a:cubicBezTo>
                  <a:pt x="1902797" y="561210"/>
                  <a:pt x="1902144" y="559405"/>
                  <a:pt x="1900482" y="559751"/>
                </a:cubicBezTo>
                <a:cubicBezTo>
                  <a:pt x="1899127" y="560240"/>
                  <a:pt x="1898632" y="561695"/>
                  <a:pt x="1898281" y="562842"/>
                </a:cubicBezTo>
                <a:cubicBezTo>
                  <a:pt x="1896281" y="567903"/>
                  <a:pt x="1894845" y="568167"/>
                  <a:pt x="1891100" y="564162"/>
                </a:cubicBezTo>
                <a:cubicBezTo>
                  <a:pt x="1890241" y="563198"/>
                  <a:pt x="1889688" y="562377"/>
                  <a:pt x="1888685" y="561719"/>
                </a:cubicBezTo>
                <a:cubicBezTo>
                  <a:pt x="1887292" y="560692"/>
                  <a:pt x="1885982" y="559889"/>
                  <a:pt x="1884050" y="561609"/>
                </a:cubicBezTo>
                <a:cubicBezTo>
                  <a:pt x="1882427" y="563471"/>
                  <a:pt x="1882753" y="564374"/>
                  <a:pt x="1883857" y="566016"/>
                </a:cubicBezTo>
                <a:lnTo>
                  <a:pt x="1885470" y="569291"/>
                </a:lnTo>
                <a:lnTo>
                  <a:pt x="1861481" y="558121"/>
                </a:lnTo>
                <a:lnTo>
                  <a:pt x="1861973" y="556322"/>
                </a:lnTo>
                <a:cubicBezTo>
                  <a:pt x="1861690" y="554127"/>
                  <a:pt x="1860524" y="553018"/>
                  <a:pt x="1858391" y="552769"/>
                </a:cubicBezTo>
                <a:cubicBezTo>
                  <a:pt x="1856792" y="552581"/>
                  <a:pt x="1855274" y="552619"/>
                  <a:pt x="1853675" y="552433"/>
                </a:cubicBezTo>
                <a:cubicBezTo>
                  <a:pt x="1851009" y="552120"/>
                  <a:pt x="1849536" y="550867"/>
                  <a:pt x="1849008" y="547996"/>
                </a:cubicBezTo>
                <a:cubicBezTo>
                  <a:pt x="1847427" y="539382"/>
                  <a:pt x="1842451" y="534802"/>
                  <a:pt x="1833922" y="533803"/>
                </a:cubicBezTo>
                <a:cubicBezTo>
                  <a:pt x="1832549" y="533535"/>
                  <a:pt x="1830146" y="534658"/>
                  <a:pt x="1829864" y="532463"/>
                </a:cubicBezTo>
                <a:cubicBezTo>
                  <a:pt x="1829356" y="530351"/>
                  <a:pt x="1831225" y="529166"/>
                  <a:pt x="1833175" y="528205"/>
                </a:cubicBezTo>
                <a:cubicBezTo>
                  <a:pt x="1833400" y="528124"/>
                  <a:pt x="1833627" y="528042"/>
                  <a:pt x="1833853" y="527960"/>
                </a:cubicBezTo>
                <a:cubicBezTo>
                  <a:pt x="1838945" y="525099"/>
                  <a:pt x="1839628" y="522045"/>
                  <a:pt x="1835368" y="518738"/>
                </a:cubicBezTo>
                <a:cubicBezTo>
                  <a:pt x="1831417" y="515573"/>
                  <a:pt x="1830952" y="512170"/>
                  <a:pt x="1831986" y="507969"/>
                </a:cubicBezTo>
                <a:cubicBezTo>
                  <a:pt x="1833290" y="502394"/>
                  <a:pt x="1833834" y="496839"/>
                  <a:pt x="1830440" y="491689"/>
                </a:cubicBezTo>
                <a:cubicBezTo>
                  <a:pt x="1828866" y="489451"/>
                  <a:pt x="1830942" y="487425"/>
                  <a:pt x="1832359" y="486403"/>
                </a:cubicBezTo>
                <a:cubicBezTo>
                  <a:pt x="1837495" y="482250"/>
                  <a:pt x="1838817" y="477434"/>
                  <a:pt x="1837373" y="471322"/>
                </a:cubicBezTo>
                <a:cubicBezTo>
                  <a:pt x="1836520" y="467549"/>
                  <a:pt x="1837631" y="466381"/>
                  <a:pt x="1842058" y="467333"/>
                </a:cubicBezTo>
                <a:cubicBezTo>
                  <a:pt x="1851447" y="469297"/>
                  <a:pt x="1861512" y="461831"/>
                  <a:pt x="1862044" y="452709"/>
                </a:cubicBezTo>
                <a:cubicBezTo>
                  <a:pt x="1862150" y="450885"/>
                  <a:pt x="1862318" y="448528"/>
                  <a:pt x="1860250" y="447745"/>
                </a:cubicBezTo>
                <a:cubicBezTo>
                  <a:pt x="1858179" y="446962"/>
                  <a:pt x="1855678" y="447101"/>
                  <a:pt x="1854134" y="449189"/>
                </a:cubicBezTo>
                <a:cubicBezTo>
                  <a:pt x="1853024" y="450357"/>
                  <a:pt x="1852078" y="451974"/>
                  <a:pt x="1851050" y="453366"/>
                </a:cubicBezTo>
                <a:cubicBezTo>
                  <a:pt x="1850103" y="454985"/>
                  <a:pt x="1848993" y="456151"/>
                  <a:pt x="1847375" y="455205"/>
                </a:cubicBezTo>
                <a:cubicBezTo>
                  <a:pt x="1845449" y="454115"/>
                  <a:pt x="1845863" y="452435"/>
                  <a:pt x="1846584" y="450899"/>
                </a:cubicBezTo>
                <a:cubicBezTo>
                  <a:pt x="1847078" y="449444"/>
                  <a:pt x="1848107" y="448051"/>
                  <a:pt x="1848684" y="446822"/>
                </a:cubicBezTo>
                <a:cubicBezTo>
                  <a:pt x="1849982" y="444057"/>
                  <a:pt x="1850131" y="440942"/>
                  <a:pt x="1847285" y="439419"/>
                </a:cubicBezTo>
                <a:cubicBezTo>
                  <a:pt x="1844825" y="438267"/>
                  <a:pt x="1842995" y="440970"/>
                  <a:pt x="1841677" y="442977"/>
                </a:cubicBezTo>
                <a:cubicBezTo>
                  <a:pt x="1840506" y="444676"/>
                  <a:pt x="1840111" y="447115"/>
                  <a:pt x="1838323" y="448527"/>
                </a:cubicBezTo>
                <a:cubicBezTo>
                  <a:pt x="1835796" y="450716"/>
                  <a:pt x="1833828" y="450917"/>
                  <a:pt x="1832748" y="447226"/>
                </a:cubicBezTo>
                <a:cubicBezTo>
                  <a:pt x="1831179" y="442180"/>
                  <a:pt x="1831743" y="437383"/>
                  <a:pt x="1833065" y="432568"/>
                </a:cubicBezTo>
                <a:cubicBezTo>
                  <a:pt x="1834657" y="426379"/>
                  <a:pt x="1833905" y="423590"/>
                  <a:pt x="1828579" y="420157"/>
                </a:cubicBezTo>
                <a:cubicBezTo>
                  <a:pt x="1826798" y="418759"/>
                  <a:pt x="1824420" y="417832"/>
                  <a:pt x="1822269" y="416825"/>
                </a:cubicBezTo>
                <a:cubicBezTo>
                  <a:pt x="1821347" y="416392"/>
                  <a:pt x="1819974" y="416123"/>
                  <a:pt x="1820017" y="414832"/>
                </a:cubicBezTo>
                <a:cubicBezTo>
                  <a:pt x="1819978" y="413315"/>
                  <a:pt x="1821027" y="412681"/>
                  <a:pt x="1822011" y="412580"/>
                </a:cubicBezTo>
                <a:cubicBezTo>
                  <a:pt x="1826401" y="412013"/>
                  <a:pt x="1826651" y="409882"/>
                  <a:pt x="1825121" y="406354"/>
                </a:cubicBezTo>
                <a:cubicBezTo>
                  <a:pt x="1823264" y="401922"/>
                  <a:pt x="1825056" y="397702"/>
                  <a:pt x="1827320" y="394076"/>
                </a:cubicBezTo>
                <a:cubicBezTo>
                  <a:pt x="1829069" y="391149"/>
                  <a:pt x="1828724" y="389487"/>
                  <a:pt x="1825588" y="388579"/>
                </a:cubicBezTo>
                <a:cubicBezTo>
                  <a:pt x="1823908" y="388167"/>
                  <a:pt x="1822677" y="387590"/>
                  <a:pt x="1822477" y="385622"/>
                </a:cubicBezTo>
                <a:cubicBezTo>
                  <a:pt x="1822031" y="382977"/>
                  <a:pt x="1824001" y="382775"/>
                  <a:pt x="1825418" y="381752"/>
                </a:cubicBezTo>
                <a:cubicBezTo>
                  <a:pt x="1826239" y="381201"/>
                  <a:pt x="1827368" y="380792"/>
                  <a:pt x="1828415" y="380158"/>
                </a:cubicBezTo>
                <a:cubicBezTo>
                  <a:pt x="1834267" y="377279"/>
                  <a:pt x="1834397" y="373404"/>
                  <a:pt x="1828909" y="369519"/>
                </a:cubicBezTo>
                <a:cubicBezTo>
                  <a:pt x="1828213" y="369006"/>
                  <a:pt x="1827598" y="368718"/>
                  <a:pt x="1827127" y="368122"/>
                </a:cubicBezTo>
                <a:cubicBezTo>
                  <a:pt x="1825961" y="367013"/>
                  <a:pt x="1824857" y="365372"/>
                  <a:pt x="1825885" y="363979"/>
                </a:cubicBezTo>
                <a:cubicBezTo>
                  <a:pt x="1826687" y="362668"/>
                  <a:pt x="1828595" y="363000"/>
                  <a:pt x="1829824" y="363576"/>
                </a:cubicBezTo>
                <a:cubicBezTo>
                  <a:pt x="1831053" y="364152"/>
                  <a:pt x="1832057" y="364810"/>
                  <a:pt x="1833142" y="365693"/>
                </a:cubicBezTo>
                <a:cubicBezTo>
                  <a:pt x="1835067" y="366783"/>
                  <a:pt x="1836585" y="366745"/>
                  <a:pt x="1837902" y="364738"/>
                </a:cubicBezTo>
                <a:cubicBezTo>
                  <a:pt x="1841132" y="360254"/>
                  <a:pt x="1845710" y="358089"/>
                  <a:pt x="1850369" y="356149"/>
                </a:cubicBezTo>
                <a:cubicBezTo>
                  <a:pt x="1855850" y="353658"/>
                  <a:pt x="1861964" y="352213"/>
                  <a:pt x="1867119" y="348819"/>
                </a:cubicBezTo>
                <a:close/>
                <a:moveTo>
                  <a:pt x="8902792" y="346645"/>
                </a:moveTo>
                <a:cubicBezTo>
                  <a:pt x="8905654" y="347277"/>
                  <a:pt x="8908199" y="347910"/>
                  <a:pt x="8911061" y="347911"/>
                </a:cubicBezTo>
                <a:cubicBezTo>
                  <a:pt x="8913923" y="347910"/>
                  <a:pt x="8916786" y="349810"/>
                  <a:pt x="8918058" y="352344"/>
                </a:cubicBezTo>
                <a:cubicBezTo>
                  <a:pt x="8919012" y="354559"/>
                  <a:pt x="8919967" y="355825"/>
                  <a:pt x="8921875" y="356775"/>
                </a:cubicBezTo>
                <a:cubicBezTo>
                  <a:pt x="8921874" y="360575"/>
                  <a:pt x="8921874" y="364374"/>
                  <a:pt x="8921874" y="368173"/>
                </a:cubicBezTo>
                <a:cubicBezTo>
                  <a:pt x="8918694" y="369757"/>
                  <a:pt x="8916149" y="372290"/>
                  <a:pt x="8914877" y="375139"/>
                </a:cubicBezTo>
                <a:cubicBezTo>
                  <a:pt x="8913287" y="377672"/>
                  <a:pt x="8912015" y="380522"/>
                  <a:pt x="8910425" y="383371"/>
                </a:cubicBezTo>
                <a:cubicBezTo>
                  <a:pt x="8908836" y="385904"/>
                  <a:pt x="8907245" y="388754"/>
                  <a:pt x="8906927" y="391919"/>
                </a:cubicBezTo>
                <a:cubicBezTo>
                  <a:pt x="8906290" y="394769"/>
                  <a:pt x="8904383" y="396036"/>
                  <a:pt x="8902156" y="397618"/>
                </a:cubicBezTo>
                <a:cubicBezTo>
                  <a:pt x="8899930" y="399201"/>
                  <a:pt x="8896750" y="398884"/>
                  <a:pt x="8895160" y="401101"/>
                </a:cubicBezTo>
                <a:cubicBezTo>
                  <a:pt x="8892934" y="401101"/>
                  <a:pt x="8891025" y="401101"/>
                  <a:pt x="8888798" y="401101"/>
                </a:cubicBezTo>
                <a:cubicBezTo>
                  <a:pt x="8888799" y="400151"/>
                  <a:pt x="8888480" y="399835"/>
                  <a:pt x="8887844" y="399835"/>
                </a:cubicBezTo>
                <a:cubicBezTo>
                  <a:pt x="8883074" y="399835"/>
                  <a:pt x="8880530" y="396669"/>
                  <a:pt x="8878939" y="392869"/>
                </a:cubicBezTo>
                <a:cubicBezTo>
                  <a:pt x="8877349" y="389386"/>
                  <a:pt x="8875441" y="386221"/>
                  <a:pt x="8876078" y="382104"/>
                </a:cubicBezTo>
                <a:cubicBezTo>
                  <a:pt x="8877032" y="377672"/>
                  <a:pt x="8876713" y="372922"/>
                  <a:pt x="8880531" y="369441"/>
                </a:cubicBezTo>
                <a:cubicBezTo>
                  <a:pt x="8881802" y="368173"/>
                  <a:pt x="8883074" y="367224"/>
                  <a:pt x="8885301" y="366590"/>
                </a:cubicBezTo>
                <a:cubicBezTo>
                  <a:pt x="8888480" y="365641"/>
                  <a:pt x="8892297" y="364058"/>
                  <a:pt x="8891343" y="358992"/>
                </a:cubicBezTo>
                <a:cubicBezTo>
                  <a:pt x="8891025" y="357092"/>
                  <a:pt x="8892933" y="356459"/>
                  <a:pt x="8893251" y="355510"/>
                </a:cubicBezTo>
                <a:cubicBezTo>
                  <a:pt x="8894842" y="350444"/>
                  <a:pt x="8898657" y="348227"/>
                  <a:pt x="8902792" y="346645"/>
                </a:cubicBezTo>
                <a:close/>
                <a:moveTo>
                  <a:pt x="7015858" y="343164"/>
                </a:moveTo>
                <a:lnTo>
                  <a:pt x="7016061" y="343575"/>
                </a:lnTo>
                <a:lnTo>
                  <a:pt x="7015563" y="343413"/>
                </a:lnTo>
                <a:close/>
                <a:moveTo>
                  <a:pt x="9757077" y="342938"/>
                </a:moveTo>
                <a:cubicBezTo>
                  <a:pt x="9759662" y="342967"/>
                  <a:pt x="9762128" y="343612"/>
                  <a:pt x="9764124" y="346428"/>
                </a:cubicBezTo>
                <a:cubicBezTo>
                  <a:pt x="9764829" y="347366"/>
                  <a:pt x="9766239" y="348539"/>
                  <a:pt x="9768117" y="348539"/>
                </a:cubicBezTo>
                <a:cubicBezTo>
                  <a:pt x="9770701" y="348304"/>
                  <a:pt x="9772110" y="349711"/>
                  <a:pt x="9772580" y="352291"/>
                </a:cubicBezTo>
                <a:cubicBezTo>
                  <a:pt x="9773050" y="353934"/>
                  <a:pt x="9774224" y="354872"/>
                  <a:pt x="9775399" y="356045"/>
                </a:cubicBezTo>
                <a:cubicBezTo>
                  <a:pt x="9778452" y="358861"/>
                  <a:pt x="9779862" y="362145"/>
                  <a:pt x="9778687" y="366368"/>
                </a:cubicBezTo>
                <a:cubicBezTo>
                  <a:pt x="9777982" y="368713"/>
                  <a:pt x="9778687" y="371294"/>
                  <a:pt x="9781037" y="372701"/>
                </a:cubicBezTo>
                <a:cubicBezTo>
                  <a:pt x="9781036" y="373640"/>
                  <a:pt x="9781037" y="374578"/>
                  <a:pt x="9781036" y="375516"/>
                </a:cubicBezTo>
                <a:cubicBezTo>
                  <a:pt x="9778923" y="376689"/>
                  <a:pt x="9777983" y="378097"/>
                  <a:pt x="9778217" y="381146"/>
                </a:cubicBezTo>
                <a:cubicBezTo>
                  <a:pt x="9778452" y="385369"/>
                  <a:pt x="9776574" y="388653"/>
                  <a:pt x="9771876" y="389591"/>
                </a:cubicBezTo>
                <a:cubicBezTo>
                  <a:pt x="9769762" y="389826"/>
                  <a:pt x="9770231" y="391468"/>
                  <a:pt x="9770231" y="392876"/>
                </a:cubicBezTo>
                <a:cubicBezTo>
                  <a:pt x="9770231" y="395221"/>
                  <a:pt x="9769291" y="395691"/>
                  <a:pt x="9767412" y="394049"/>
                </a:cubicBezTo>
                <a:cubicBezTo>
                  <a:pt x="9764595" y="391703"/>
                  <a:pt x="9762715" y="391702"/>
                  <a:pt x="9762010" y="395691"/>
                </a:cubicBezTo>
                <a:cubicBezTo>
                  <a:pt x="9761776" y="396629"/>
                  <a:pt x="9761070" y="397802"/>
                  <a:pt x="9760132" y="396630"/>
                </a:cubicBezTo>
                <a:cubicBezTo>
                  <a:pt x="9757077" y="393579"/>
                  <a:pt x="9754964" y="395456"/>
                  <a:pt x="9752614" y="397568"/>
                </a:cubicBezTo>
                <a:cubicBezTo>
                  <a:pt x="9752379" y="398037"/>
                  <a:pt x="9751441" y="398037"/>
                  <a:pt x="9750970" y="398037"/>
                </a:cubicBezTo>
                <a:cubicBezTo>
                  <a:pt x="9745333" y="394752"/>
                  <a:pt x="9739930" y="390999"/>
                  <a:pt x="9734294" y="387480"/>
                </a:cubicBezTo>
                <a:cubicBezTo>
                  <a:pt x="9731710" y="385838"/>
                  <a:pt x="9730301" y="381381"/>
                  <a:pt x="9729125" y="377862"/>
                </a:cubicBezTo>
                <a:cubicBezTo>
                  <a:pt x="9728655" y="376455"/>
                  <a:pt x="9728891" y="375047"/>
                  <a:pt x="9727482" y="373874"/>
                </a:cubicBezTo>
                <a:cubicBezTo>
                  <a:pt x="9726072" y="372701"/>
                  <a:pt x="9726307" y="371294"/>
                  <a:pt x="9727246" y="369886"/>
                </a:cubicBezTo>
                <a:cubicBezTo>
                  <a:pt x="9727717" y="368948"/>
                  <a:pt x="9728655" y="367775"/>
                  <a:pt x="9727951" y="366836"/>
                </a:cubicBezTo>
                <a:cubicBezTo>
                  <a:pt x="9725602" y="364021"/>
                  <a:pt x="9725367" y="361910"/>
                  <a:pt x="9729125" y="360502"/>
                </a:cubicBezTo>
                <a:cubicBezTo>
                  <a:pt x="9730065" y="360268"/>
                  <a:pt x="9730300" y="358860"/>
                  <a:pt x="9729360" y="358157"/>
                </a:cubicBezTo>
                <a:cubicBezTo>
                  <a:pt x="9726307" y="355577"/>
                  <a:pt x="9729596" y="354403"/>
                  <a:pt x="9730065" y="352526"/>
                </a:cubicBezTo>
                <a:cubicBezTo>
                  <a:pt x="9731709" y="346192"/>
                  <a:pt x="9738992" y="348069"/>
                  <a:pt x="9741810" y="343377"/>
                </a:cubicBezTo>
                <a:cubicBezTo>
                  <a:pt x="9742749" y="341735"/>
                  <a:pt x="9747212" y="342909"/>
                  <a:pt x="9749327" y="343142"/>
                </a:cubicBezTo>
                <a:cubicBezTo>
                  <a:pt x="9751793" y="343495"/>
                  <a:pt x="9754495" y="342908"/>
                  <a:pt x="9757077" y="342938"/>
                </a:cubicBezTo>
                <a:close/>
                <a:moveTo>
                  <a:pt x="4729966" y="318578"/>
                </a:moveTo>
                <a:cubicBezTo>
                  <a:pt x="4730948" y="319048"/>
                  <a:pt x="4732621" y="319406"/>
                  <a:pt x="4734169" y="318595"/>
                </a:cubicBezTo>
                <a:cubicBezTo>
                  <a:pt x="4736196" y="317285"/>
                  <a:pt x="4737967" y="317837"/>
                  <a:pt x="4739467" y="319761"/>
                </a:cubicBezTo>
                <a:cubicBezTo>
                  <a:pt x="4740564" y="320912"/>
                  <a:pt x="4741935" y="321179"/>
                  <a:pt x="4743412" y="321638"/>
                </a:cubicBezTo>
                <a:cubicBezTo>
                  <a:pt x="4747145" y="322639"/>
                  <a:pt x="4749723" y="324738"/>
                  <a:pt x="4750578" y="328726"/>
                </a:cubicBezTo>
                <a:cubicBezTo>
                  <a:pt x="4751014" y="330964"/>
                  <a:pt x="4752708" y="332786"/>
                  <a:pt x="4755251" y="332933"/>
                </a:cubicBezTo>
                <a:cubicBezTo>
                  <a:pt x="4755654" y="333706"/>
                  <a:pt x="4756063" y="334480"/>
                  <a:pt x="4756468" y="335254"/>
                </a:cubicBezTo>
                <a:cubicBezTo>
                  <a:pt x="4755229" y="337132"/>
                  <a:pt x="4755064" y="338699"/>
                  <a:pt x="4756579" y="341111"/>
                </a:cubicBezTo>
                <a:cubicBezTo>
                  <a:pt x="4758594" y="344491"/>
                  <a:pt x="4758460" y="348009"/>
                  <a:pt x="4754998" y="350811"/>
                </a:cubicBezTo>
                <a:cubicBezTo>
                  <a:pt x="4753351" y="351918"/>
                  <a:pt x="4754451" y="353068"/>
                  <a:pt x="4755059" y="354229"/>
                </a:cubicBezTo>
                <a:cubicBezTo>
                  <a:pt x="4756068" y="356162"/>
                  <a:pt x="4755497" y="356955"/>
                  <a:pt x="4753240" y="356413"/>
                </a:cubicBezTo>
                <a:cubicBezTo>
                  <a:pt x="4749902" y="355696"/>
                  <a:pt x="4748355" y="356508"/>
                  <a:pt x="4749498" y="360100"/>
                </a:cubicBezTo>
                <a:cubicBezTo>
                  <a:pt x="4749707" y="360974"/>
                  <a:pt x="4749634" y="362245"/>
                  <a:pt x="4748356" y="361684"/>
                </a:cubicBezTo>
                <a:cubicBezTo>
                  <a:pt x="4744519" y="360489"/>
                  <a:pt x="4743588" y="362949"/>
                  <a:pt x="4742562" y="365704"/>
                </a:cubicBezTo>
                <a:cubicBezTo>
                  <a:pt x="4742572" y="366193"/>
                  <a:pt x="4741798" y="366598"/>
                  <a:pt x="4741410" y="366801"/>
                </a:cubicBezTo>
                <a:cubicBezTo>
                  <a:pt x="4735344" y="366528"/>
                  <a:pt x="4729271" y="365767"/>
                  <a:pt x="4723106" y="365301"/>
                </a:cubicBezTo>
                <a:cubicBezTo>
                  <a:pt x="4720267" y="365064"/>
                  <a:pt x="4717177" y="361998"/>
                  <a:pt x="4714692" y="359604"/>
                </a:cubicBezTo>
                <a:cubicBezTo>
                  <a:pt x="4713699" y="358647"/>
                  <a:pt x="4713283" y="357386"/>
                  <a:pt x="4711613" y="357028"/>
                </a:cubicBezTo>
                <a:cubicBezTo>
                  <a:pt x="4709946" y="356669"/>
                  <a:pt x="4709532" y="355407"/>
                  <a:pt x="4709699" y="353842"/>
                </a:cubicBezTo>
                <a:cubicBezTo>
                  <a:pt x="4709681" y="352866"/>
                  <a:pt x="4709948" y="351492"/>
                  <a:pt x="4708959" y="351024"/>
                </a:cubicBezTo>
                <a:cubicBezTo>
                  <a:pt x="4705808" y="349718"/>
                  <a:pt x="4704703" y="348079"/>
                  <a:pt x="4707196" y="345295"/>
                </a:cubicBezTo>
                <a:cubicBezTo>
                  <a:pt x="4707867" y="344696"/>
                  <a:pt x="4707451" y="343434"/>
                  <a:pt x="4706376" y="343261"/>
                </a:cubicBezTo>
                <a:cubicBezTo>
                  <a:pt x="4702745" y="342452"/>
                  <a:pt x="4704949" y="340065"/>
                  <a:pt x="4704523" y="338315"/>
                </a:cubicBezTo>
                <a:cubicBezTo>
                  <a:pt x="4703142" y="332384"/>
                  <a:pt x="4709955" y="330786"/>
                  <a:pt x="4710253" y="325701"/>
                </a:cubicBezTo>
                <a:cubicBezTo>
                  <a:pt x="4710317" y="323942"/>
                  <a:pt x="4714503" y="322981"/>
                  <a:pt x="4716348" y="322262"/>
                </a:cubicBezTo>
                <a:cubicBezTo>
                  <a:pt x="4720718" y="320712"/>
                  <a:pt x="4724243" y="315662"/>
                  <a:pt x="4729966" y="318578"/>
                </a:cubicBezTo>
                <a:close/>
                <a:moveTo>
                  <a:pt x="4524628" y="314011"/>
                </a:moveTo>
                <a:cubicBezTo>
                  <a:pt x="4525687" y="314514"/>
                  <a:pt x="4527480" y="314900"/>
                  <a:pt x="4529144" y="314028"/>
                </a:cubicBezTo>
                <a:cubicBezTo>
                  <a:pt x="4531324" y="312620"/>
                  <a:pt x="4533226" y="313213"/>
                  <a:pt x="4534840" y="315282"/>
                </a:cubicBezTo>
                <a:cubicBezTo>
                  <a:pt x="4536018" y="316517"/>
                  <a:pt x="4537498" y="316804"/>
                  <a:pt x="4539079" y="317298"/>
                </a:cubicBezTo>
                <a:cubicBezTo>
                  <a:pt x="4543089" y="318374"/>
                  <a:pt x="4545864" y="320629"/>
                  <a:pt x="4546784" y="324915"/>
                </a:cubicBezTo>
                <a:cubicBezTo>
                  <a:pt x="4547249" y="327320"/>
                  <a:pt x="4549068" y="329279"/>
                  <a:pt x="4551804" y="329435"/>
                </a:cubicBezTo>
                <a:cubicBezTo>
                  <a:pt x="4552241" y="330267"/>
                  <a:pt x="4552675" y="331098"/>
                  <a:pt x="4553106" y="331929"/>
                </a:cubicBezTo>
                <a:cubicBezTo>
                  <a:pt x="4551779" y="333949"/>
                  <a:pt x="4551602" y="335632"/>
                  <a:pt x="4553226" y="338224"/>
                </a:cubicBezTo>
                <a:cubicBezTo>
                  <a:pt x="4555395" y="341856"/>
                  <a:pt x="4555252" y="345637"/>
                  <a:pt x="4551529" y="348648"/>
                </a:cubicBezTo>
                <a:cubicBezTo>
                  <a:pt x="4549763" y="349837"/>
                  <a:pt x="4550943" y="351074"/>
                  <a:pt x="4551596" y="352321"/>
                </a:cubicBezTo>
                <a:cubicBezTo>
                  <a:pt x="4552682" y="354398"/>
                  <a:pt x="4552069" y="355250"/>
                  <a:pt x="4549642" y="354668"/>
                </a:cubicBezTo>
                <a:cubicBezTo>
                  <a:pt x="4546054" y="353898"/>
                  <a:pt x="4544393" y="354770"/>
                  <a:pt x="4545616" y="358629"/>
                </a:cubicBezTo>
                <a:cubicBezTo>
                  <a:pt x="4545845" y="359569"/>
                  <a:pt x="4545765" y="360935"/>
                  <a:pt x="4544390" y="360332"/>
                </a:cubicBezTo>
                <a:cubicBezTo>
                  <a:pt x="4540267" y="359048"/>
                  <a:pt x="4539267" y="361691"/>
                  <a:pt x="4538170" y="364652"/>
                </a:cubicBezTo>
                <a:cubicBezTo>
                  <a:pt x="4538174" y="365176"/>
                  <a:pt x="4537345" y="365612"/>
                  <a:pt x="4536929" y="365830"/>
                </a:cubicBezTo>
                <a:cubicBezTo>
                  <a:pt x="4530412" y="365537"/>
                  <a:pt x="4523883" y="364720"/>
                  <a:pt x="4517255" y="364219"/>
                </a:cubicBezTo>
                <a:cubicBezTo>
                  <a:pt x="4514209" y="363963"/>
                  <a:pt x="4510890" y="360669"/>
                  <a:pt x="4508215" y="358098"/>
                </a:cubicBezTo>
                <a:cubicBezTo>
                  <a:pt x="4507147" y="357069"/>
                  <a:pt x="4506701" y="355713"/>
                  <a:pt x="4504909" y="355328"/>
                </a:cubicBezTo>
                <a:cubicBezTo>
                  <a:pt x="4503113" y="354943"/>
                  <a:pt x="4502669" y="353587"/>
                  <a:pt x="4502848" y="351905"/>
                </a:cubicBezTo>
                <a:cubicBezTo>
                  <a:pt x="4502827" y="350856"/>
                  <a:pt x="4503116" y="349380"/>
                  <a:pt x="4502059" y="348876"/>
                </a:cubicBezTo>
                <a:cubicBezTo>
                  <a:pt x="4498665" y="347472"/>
                  <a:pt x="4497480" y="345711"/>
                  <a:pt x="4500156" y="342721"/>
                </a:cubicBezTo>
                <a:cubicBezTo>
                  <a:pt x="4500883" y="342076"/>
                  <a:pt x="4500437" y="340721"/>
                  <a:pt x="4499275" y="340533"/>
                </a:cubicBezTo>
                <a:cubicBezTo>
                  <a:pt x="4495375" y="339665"/>
                  <a:pt x="4497740" y="337100"/>
                  <a:pt x="4497287" y="335219"/>
                </a:cubicBezTo>
                <a:cubicBezTo>
                  <a:pt x="4495805" y="328846"/>
                  <a:pt x="4503124" y="327129"/>
                  <a:pt x="4503441" y="321665"/>
                </a:cubicBezTo>
                <a:cubicBezTo>
                  <a:pt x="4503515" y="319774"/>
                  <a:pt x="4508013" y="318742"/>
                  <a:pt x="4509995" y="317969"/>
                </a:cubicBezTo>
                <a:cubicBezTo>
                  <a:pt x="4514692" y="316303"/>
                  <a:pt x="4518479" y="310877"/>
                  <a:pt x="4524628" y="314011"/>
                </a:cubicBezTo>
                <a:close/>
                <a:moveTo>
                  <a:pt x="6060879" y="308223"/>
                </a:moveTo>
                <a:cubicBezTo>
                  <a:pt x="6068013" y="313222"/>
                  <a:pt x="6074781" y="318819"/>
                  <a:pt x="6081887" y="324130"/>
                </a:cubicBezTo>
                <a:lnTo>
                  <a:pt x="6086113" y="333868"/>
                </a:lnTo>
                <a:lnTo>
                  <a:pt x="6218652" y="338114"/>
                </a:lnTo>
                <a:cubicBezTo>
                  <a:pt x="6284244" y="342102"/>
                  <a:pt x="6349647" y="348062"/>
                  <a:pt x="6414834" y="356272"/>
                </a:cubicBezTo>
                <a:lnTo>
                  <a:pt x="6573042" y="381975"/>
                </a:lnTo>
                <a:lnTo>
                  <a:pt x="6575588" y="380522"/>
                </a:lnTo>
                <a:cubicBezTo>
                  <a:pt x="6575927" y="379965"/>
                  <a:pt x="6577090" y="380063"/>
                  <a:pt x="6577672" y="380111"/>
                </a:cubicBezTo>
                <a:lnTo>
                  <a:pt x="6582070" y="383441"/>
                </a:lnTo>
                <a:lnTo>
                  <a:pt x="6609719" y="387933"/>
                </a:lnTo>
                <a:cubicBezTo>
                  <a:pt x="6674447" y="400922"/>
                  <a:pt x="6738933" y="416439"/>
                  <a:pt x="6803148" y="434762"/>
                </a:cubicBezTo>
                <a:cubicBezTo>
                  <a:pt x="7197358" y="549550"/>
                  <a:pt x="7549854" y="738970"/>
                  <a:pt x="7866095" y="1000776"/>
                </a:cubicBezTo>
                <a:cubicBezTo>
                  <a:pt x="7976685" y="1093731"/>
                  <a:pt x="8097775" y="1175980"/>
                  <a:pt x="8188103" y="1292160"/>
                </a:cubicBezTo>
                <a:lnTo>
                  <a:pt x="8218816" y="1332902"/>
                </a:lnTo>
                <a:lnTo>
                  <a:pt x="8217878" y="1328842"/>
                </a:lnTo>
                <a:cubicBezTo>
                  <a:pt x="8216464" y="1326724"/>
                  <a:pt x="8216111" y="1324606"/>
                  <a:pt x="8218231" y="1322841"/>
                </a:cubicBezTo>
                <a:cubicBezTo>
                  <a:pt x="8220352" y="1321076"/>
                  <a:pt x="8219998" y="1318958"/>
                  <a:pt x="8220705" y="1316841"/>
                </a:cubicBezTo>
                <a:cubicBezTo>
                  <a:pt x="8222473" y="1311546"/>
                  <a:pt x="8224593" y="1304839"/>
                  <a:pt x="8228481" y="1302368"/>
                </a:cubicBezTo>
                <a:cubicBezTo>
                  <a:pt x="8236963" y="1297074"/>
                  <a:pt x="8245091" y="1291427"/>
                  <a:pt x="8253573" y="1286486"/>
                </a:cubicBezTo>
                <a:cubicBezTo>
                  <a:pt x="8254280" y="1286486"/>
                  <a:pt x="8255693" y="1286485"/>
                  <a:pt x="8256048" y="1287191"/>
                </a:cubicBezTo>
                <a:cubicBezTo>
                  <a:pt x="8259581" y="1290369"/>
                  <a:pt x="8262762" y="1293192"/>
                  <a:pt x="8267356" y="1288604"/>
                </a:cubicBezTo>
                <a:cubicBezTo>
                  <a:pt x="8268770" y="1286839"/>
                  <a:pt x="8269830" y="1288604"/>
                  <a:pt x="8270184" y="1290015"/>
                </a:cubicBezTo>
                <a:cubicBezTo>
                  <a:pt x="8271244" y="1296016"/>
                  <a:pt x="8274072" y="1296016"/>
                  <a:pt x="8278313" y="1292486"/>
                </a:cubicBezTo>
                <a:cubicBezTo>
                  <a:pt x="8281139" y="1290015"/>
                  <a:pt x="8282553" y="1290721"/>
                  <a:pt x="8282554" y="1294251"/>
                </a:cubicBezTo>
                <a:cubicBezTo>
                  <a:pt x="8282554" y="1296369"/>
                  <a:pt x="8281847" y="1298839"/>
                  <a:pt x="8285027" y="1299193"/>
                </a:cubicBezTo>
                <a:cubicBezTo>
                  <a:pt x="8292096" y="1300604"/>
                  <a:pt x="8294923" y="1305545"/>
                  <a:pt x="8294570" y="1311899"/>
                </a:cubicBezTo>
                <a:lnTo>
                  <a:pt x="8297559" y="1317871"/>
                </a:lnTo>
                <a:lnTo>
                  <a:pt x="8328455" y="1302330"/>
                </a:lnTo>
                <a:cubicBezTo>
                  <a:pt x="8392462" y="1276446"/>
                  <a:pt x="8457806" y="1251664"/>
                  <a:pt x="8520240" y="1222239"/>
                </a:cubicBezTo>
                <a:cubicBezTo>
                  <a:pt x="8656228" y="1157383"/>
                  <a:pt x="8800753" y="1123569"/>
                  <a:pt x="8946747" y="1096021"/>
                </a:cubicBezTo>
                <a:lnTo>
                  <a:pt x="9011142" y="1084407"/>
                </a:lnTo>
                <a:lnTo>
                  <a:pt x="9011142" y="1084338"/>
                </a:lnTo>
                <a:cubicBezTo>
                  <a:pt x="9014290" y="1082453"/>
                  <a:pt x="9015233" y="1078995"/>
                  <a:pt x="9014290" y="1075852"/>
                </a:cubicBezTo>
                <a:cubicBezTo>
                  <a:pt x="9012715" y="1070196"/>
                  <a:pt x="9014604" y="1065795"/>
                  <a:pt x="9018695" y="1062023"/>
                </a:cubicBezTo>
                <a:cubicBezTo>
                  <a:pt x="9020268" y="1060452"/>
                  <a:pt x="9021843" y="1059195"/>
                  <a:pt x="9022472" y="1056995"/>
                </a:cubicBezTo>
                <a:cubicBezTo>
                  <a:pt x="9023100" y="1053538"/>
                  <a:pt x="9024989" y="1051652"/>
                  <a:pt x="9028450" y="1051966"/>
                </a:cubicBezTo>
                <a:cubicBezTo>
                  <a:pt x="9030968" y="1051966"/>
                  <a:pt x="9032856" y="1050395"/>
                  <a:pt x="9033800" y="1049135"/>
                </a:cubicBezTo>
                <a:cubicBezTo>
                  <a:pt x="9039151" y="1041593"/>
                  <a:pt x="9047017" y="1045678"/>
                  <a:pt x="9053625" y="1044735"/>
                </a:cubicBezTo>
                <a:cubicBezTo>
                  <a:pt x="9056459" y="1044421"/>
                  <a:pt x="9062437" y="1042850"/>
                  <a:pt x="9063696" y="1045050"/>
                </a:cubicBezTo>
                <a:cubicBezTo>
                  <a:pt x="9067473" y="1051338"/>
                  <a:pt x="9077227" y="1048821"/>
                  <a:pt x="9079430" y="1057309"/>
                </a:cubicBezTo>
                <a:cubicBezTo>
                  <a:pt x="9080060" y="1059823"/>
                  <a:pt x="9084465" y="1061395"/>
                  <a:pt x="9080375" y="1064852"/>
                </a:cubicBezTo>
                <a:cubicBezTo>
                  <a:pt x="9079115" y="1065795"/>
                  <a:pt x="9079431" y="1067681"/>
                  <a:pt x="9080690" y="1067995"/>
                </a:cubicBezTo>
                <a:lnTo>
                  <a:pt x="9081383" y="1071738"/>
                </a:lnTo>
                <a:lnTo>
                  <a:pt x="9092971" y="1069648"/>
                </a:lnTo>
                <a:cubicBezTo>
                  <a:pt x="9216489" y="1047862"/>
                  <a:pt x="9338669" y="1024982"/>
                  <a:pt x="9465172" y="1021390"/>
                </a:cubicBezTo>
                <a:cubicBezTo>
                  <a:pt x="9473832" y="1021785"/>
                  <a:pt x="9483594" y="1020843"/>
                  <a:pt x="9492251" y="1021239"/>
                </a:cubicBezTo>
                <a:cubicBezTo>
                  <a:pt x="9508232" y="1020927"/>
                  <a:pt x="9514289" y="1032658"/>
                  <a:pt x="9514366" y="1046197"/>
                </a:cubicBezTo>
                <a:cubicBezTo>
                  <a:pt x="9513337" y="1061085"/>
                  <a:pt x="9502002" y="1058484"/>
                  <a:pt x="9490902" y="1058325"/>
                </a:cubicBezTo>
                <a:cubicBezTo>
                  <a:pt x="9425644" y="1058467"/>
                  <a:pt x="9359518" y="1062388"/>
                  <a:pt x="9294334" y="1076070"/>
                </a:cubicBezTo>
                <a:cubicBezTo>
                  <a:pt x="9283469" y="1078349"/>
                  <a:pt x="9271268" y="1079527"/>
                  <a:pt x="9262212" y="1087792"/>
                </a:cubicBezTo>
                <a:cubicBezTo>
                  <a:pt x="9261110" y="1089129"/>
                  <a:pt x="9256466" y="1092040"/>
                  <a:pt x="9257803" y="1093140"/>
                </a:cubicBezTo>
                <a:cubicBezTo>
                  <a:pt x="9258273" y="1098023"/>
                  <a:pt x="9261817" y="1096450"/>
                  <a:pt x="9264022" y="1093773"/>
                </a:cubicBezTo>
                <a:cubicBezTo>
                  <a:pt x="9386747" y="1089314"/>
                  <a:pt x="9508766" y="1077535"/>
                  <a:pt x="9630625" y="1076855"/>
                </a:cubicBezTo>
                <a:cubicBezTo>
                  <a:pt x="9668803" y="1076863"/>
                  <a:pt x="9705879" y="1078210"/>
                  <a:pt x="9745161" y="1076880"/>
                </a:cubicBezTo>
                <a:cubicBezTo>
                  <a:pt x="9753821" y="1077276"/>
                  <a:pt x="9764053" y="1081214"/>
                  <a:pt x="9775078" y="1067835"/>
                </a:cubicBezTo>
                <a:cubicBezTo>
                  <a:pt x="9711082" y="1055540"/>
                  <a:pt x="9643928" y="1074339"/>
                  <a:pt x="9593249" y="1021341"/>
                </a:cubicBezTo>
                <a:cubicBezTo>
                  <a:pt x="9860898" y="1012742"/>
                  <a:pt x="10118379" y="1051933"/>
                  <a:pt x="10371908" y="1139530"/>
                </a:cubicBezTo>
                <a:cubicBezTo>
                  <a:pt x="10352461" y="1154954"/>
                  <a:pt x="10333099" y="1145740"/>
                  <a:pt x="10314206" y="1141407"/>
                </a:cubicBezTo>
                <a:cubicBezTo>
                  <a:pt x="10293977" y="1135969"/>
                  <a:pt x="10275086" y="1131634"/>
                  <a:pt x="10254226" y="1132418"/>
                </a:cubicBezTo>
                <a:cubicBezTo>
                  <a:pt x="10202196" y="1116506"/>
                  <a:pt x="10149299" y="1104368"/>
                  <a:pt x="10097346" y="1101995"/>
                </a:cubicBezTo>
                <a:cubicBezTo>
                  <a:pt x="10096479" y="1105772"/>
                  <a:pt x="10095611" y="1109552"/>
                  <a:pt x="10094744" y="1113332"/>
                </a:cubicBezTo>
                <a:cubicBezTo>
                  <a:pt x="10147404" y="1123025"/>
                  <a:pt x="10200065" y="1132721"/>
                  <a:pt x="10253829" y="1141078"/>
                </a:cubicBezTo>
                <a:cubicBezTo>
                  <a:pt x="10399760" y="1188874"/>
                  <a:pt x="10545694" y="1236671"/>
                  <a:pt x="10686640" y="1297419"/>
                </a:cubicBezTo>
                <a:lnTo>
                  <a:pt x="10729007" y="1317382"/>
                </a:lnTo>
                <a:lnTo>
                  <a:pt x="10728877" y="1316792"/>
                </a:lnTo>
                <a:cubicBezTo>
                  <a:pt x="10732559" y="1309958"/>
                  <a:pt x="10736239" y="1303125"/>
                  <a:pt x="10739920" y="1296292"/>
                </a:cubicBezTo>
                <a:cubicBezTo>
                  <a:pt x="10747174" y="1296527"/>
                  <a:pt x="10754205" y="1294437"/>
                  <a:pt x="10759253" y="1290544"/>
                </a:cubicBezTo>
                <a:cubicBezTo>
                  <a:pt x="10764568" y="1287529"/>
                  <a:pt x="10769616" y="1283637"/>
                  <a:pt x="10775237" y="1280052"/>
                </a:cubicBezTo>
                <a:cubicBezTo>
                  <a:pt x="10780551" y="1277037"/>
                  <a:pt x="10786171" y="1273453"/>
                  <a:pt x="10789811" y="1268067"/>
                </a:cubicBezTo>
                <a:cubicBezTo>
                  <a:pt x="10793716" y="1263558"/>
                  <a:pt x="10798375" y="1263130"/>
                  <a:pt x="10803913" y="1262439"/>
                </a:cubicBezTo>
                <a:cubicBezTo>
                  <a:pt x="10809451" y="1261749"/>
                  <a:pt x="10814864" y="1265401"/>
                  <a:pt x="10819871" y="1262955"/>
                </a:cubicBezTo>
                <a:cubicBezTo>
                  <a:pt x="10823876" y="1265112"/>
                  <a:pt x="10827307" y="1266961"/>
                  <a:pt x="10831312" y="1269117"/>
                </a:cubicBezTo>
                <a:cubicBezTo>
                  <a:pt x="10830392" y="1270825"/>
                  <a:pt x="10830656" y="1271704"/>
                  <a:pt x="10831801" y="1272320"/>
                </a:cubicBezTo>
                <a:cubicBezTo>
                  <a:pt x="10840381" y="1276941"/>
                  <a:pt x="10841890" y="1285101"/>
                  <a:pt x="10841069" y="1293475"/>
                </a:cubicBezTo>
                <a:cubicBezTo>
                  <a:pt x="10840554" y="1301280"/>
                  <a:pt x="10840918" y="1308823"/>
                  <a:pt x="10835787" y="1315610"/>
                </a:cubicBezTo>
                <a:cubicBezTo>
                  <a:pt x="10829776" y="1322657"/>
                  <a:pt x="10825747" y="1331508"/>
                  <a:pt x="10815508" y="1334073"/>
                </a:cubicBezTo>
                <a:cubicBezTo>
                  <a:pt x="10811993" y="1335119"/>
                  <a:pt x="10808784" y="1335594"/>
                  <a:pt x="10804167" y="1334576"/>
                </a:cubicBezTo>
                <a:cubicBezTo>
                  <a:pt x="10797527" y="1333203"/>
                  <a:pt x="10789130" y="1332353"/>
                  <a:pt x="10785937" y="1342388"/>
                </a:cubicBezTo>
                <a:lnTo>
                  <a:pt x="10784312" y="1343442"/>
                </a:lnTo>
                <a:lnTo>
                  <a:pt x="10825741" y="1362963"/>
                </a:lnTo>
                <a:cubicBezTo>
                  <a:pt x="11108909" y="1512046"/>
                  <a:pt x="11353853" y="1702921"/>
                  <a:pt x="11562628" y="1935390"/>
                </a:cubicBezTo>
                <a:lnTo>
                  <a:pt x="11569270" y="1943702"/>
                </a:lnTo>
                <a:lnTo>
                  <a:pt x="11572012" y="1938431"/>
                </a:lnTo>
                <a:cubicBezTo>
                  <a:pt x="11573117" y="1937165"/>
                  <a:pt x="11574084" y="1936225"/>
                  <a:pt x="11574956" y="1935054"/>
                </a:cubicBezTo>
                <a:cubicBezTo>
                  <a:pt x="11577708" y="1931212"/>
                  <a:pt x="11580473" y="1928720"/>
                  <a:pt x="11585772" y="1928436"/>
                </a:cubicBezTo>
                <a:cubicBezTo>
                  <a:pt x="11591072" y="1928153"/>
                  <a:pt x="11594656" y="1923699"/>
                  <a:pt x="11597870" y="1919667"/>
                </a:cubicBezTo>
                <a:cubicBezTo>
                  <a:pt x="11599573" y="1917882"/>
                  <a:pt x="11600772" y="1916847"/>
                  <a:pt x="11603524" y="1917611"/>
                </a:cubicBezTo>
                <a:cubicBezTo>
                  <a:pt x="11614993" y="1920480"/>
                  <a:pt x="11626722" y="1921344"/>
                  <a:pt x="11638452" y="1917603"/>
                </a:cubicBezTo>
                <a:cubicBezTo>
                  <a:pt x="11640168" y="1917168"/>
                  <a:pt x="11641054" y="1917345"/>
                  <a:pt x="11641258" y="1919158"/>
                </a:cubicBezTo>
                <a:cubicBezTo>
                  <a:pt x="11642538" y="1926218"/>
                  <a:pt x="11647727" y="1928959"/>
                  <a:pt x="11653789" y="1930529"/>
                </a:cubicBezTo>
                <a:cubicBezTo>
                  <a:pt x="11656540" y="1931294"/>
                  <a:pt x="11658270" y="1932208"/>
                  <a:pt x="11658120" y="1935792"/>
                </a:cubicBezTo>
                <a:cubicBezTo>
                  <a:pt x="11657561" y="1940357"/>
                  <a:pt x="11660842" y="1943070"/>
                  <a:pt x="11664629" y="1945035"/>
                </a:cubicBezTo>
                <a:cubicBezTo>
                  <a:pt x="11667763" y="1946726"/>
                  <a:pt x="11671359" y="1948227"/>
                  <a:pt x="11674491" y="1949918"/>
                </a:cubicBezTo>
                <a:cubicBezTo>
                  <a:pt x="11675942" y="1950811"/>
                  <a:pt x="11676963" y="1951813"/>
                  <a:pt x="11677167" y="1952882"/>
                </a:cubicBezTo>
                <a:cubicBezTo>
                  <a:pt x="11677368" y="1953949"/>
                  <a:pt x="11676751" y="1955084"/>
                  <a:pt x="11674926" y="1956241"/>
                </a:cubicBezTo>
                <a:cubicBezTo>
                  <a:pt x="11674000" y="1956622"/>
                  <a:pt x="11673169" y="1957235"/>
                  <a:pt x="11672433" y="1958079"/>
                </a:cubicBezTo>
                <a:cubicBezTo>
                  <a:pt x="11671465" y="1959019"/>
                  <a:pt x="11669612" y="1959781"/>
                  <a:pt x="11670048" y="1961498"/>
                </a:cubicBezTo>
                <a:cubicBezTo>
                  <a:pt x="11670621" y="1962889"/>
                  <a:pt x="11672159" y="1963340"/>
                  <a:pt x="11673372" y="1963654"/>
                </a:cubicBezTo>
                <a:cubicBezTo>
                  <a:pt x="11678739" y="1965510"/>
                  <a:pt x="11679079" y="1966995"/>
                  <a:pt x="11675073" y="1971081"/>
                </a:cubicBezTo>
                <a:cubicBezTo>
                  <a:pt x="11674106" y="1972021"/>
                  <a:pt x="11673275" y="1972633"/>
                  <a:pt x="11672635" y="1973710"/>
                </a:cubicBezTo>
                <a:cubicBezTo>
                  <a:pt x="11671627" y="1975209"/>
                  <a:pt x="11670850" y="1976612"/>
                  <a:pt x="11672729" y="1978548"/>
                </a:cubicBezTo>
                <a:cubicBezTo>
                  <a:pt x="11674745" y="1980157"/>
                  <a:pt x="11675671" y="1979776"/>
                  <a:pt x="11677333" y="1978551"/>
                </a:cubicBezTo>
                <a:lnTo>
                  <a:pt x="11680676" y="1976719"/>
                </a:lnTo>
                <a:lnTo>
                  <a:pt x="11670115" y="2002238"/>
                </a:lnTo>
                <a:lnTo>
                  <a:pt x="11668216" y="2001807"/>
                </a:lnTo>
                <a:cubicBezTo>
                  <a:pt x="11665941" y="2002201"/>
                  <a:pt x="11664838" y="2003468"/>
                  <a:pt x="11664674" y="2005702"/>
                </a:cubicBezTo>
                <a:cubicBezTo>
                  <a:pt x="11664551" y="2007378"/>
                  <a:pt x="11664660" y="2008959"/>
                  <a:pt x="11664538" y="2010636"/>
                </a:cubicBezTo>
                <a:cubicBezTo>
                  <a:pt x="11664332" y="2013428"/>
                  <a:pt x="11663093" y="2015023"/>
                  <a:pt x="11660122" y="2015702"/>
                </a:cubicBezTo>
                <a:cubicBezTo>
                  <a:pt x="11651214" y="2017742"/>
                  <a:pt x="11646662" y="2023136"/>
                  <a:pt x="11646008" y="2032075"/>
                </a:cubicBezTo>
                <a:cubicBezTo>
                  <a:pt x="11645789" y="2033520"/>
                  <a:pt x="11647069" y="2035972"/>
                  <a:pt x="11644794" y="2036368"/>
                </a:cubicBezTo>
                <a:lnTo>
                  <a:pt x="11641345" y="2033918"/>
                </a:lnTo>
                <a:lnTo>
                  <a:pt x="11759425" y="2181713"/>
                </a:lnTo>
                <a:cubicBezTo>
                  <a:pt x="11806400" y="2247370"/>
                  <a:pt x="11858890" y="2306342"/>
                  <a:pt x="11893033" y="2379406"/>
                </a:cubicBezTo>
                <a:cubicBezTo>
                  <a:pt x="11896178" y="2386492"/>
                  <a:pt x="11902869" y="2392003"/>
                  <a:pt x="11897593" y="2401132"/>
                </a:cubicBezTo>
                <a:cubicBezTo>
                  <a:pt x="11890741" y="2406719"/>
                  <a:pt x="11886493" y="2400975"/>
                  <a:pt x="11884919" y="2397431"/>
                </a:cubicBezTo>
                <a:cubicBezTo>
                  <a:pt x="11850987" y="2342517"/>
                  <a:pt x="11814571" y="2289767"/>
                  <a:pt x="11776200" y="2238705"/>
                </a:cubicBezTo>
                <a:lnTo>
                  <a:pt x="11679996" y="2120016"/>
                </a:lnTo>
                <a:lnTo>
                  <a:pt x="11683055" y="2127452"/>
                </a:lnTo>
                <a:cubicBezTo>
                  <a:pt x="11680402" y="2131701"/>
                  <a:pt x="11683161" y="2136879"/>
                  <a:pt x="11682029" y="2141765"/>
                </a:cubicBezTo>
                <a:cubicBezTo>
                  <a:pt x="11680895" y="2146651"/>
                  <a:pt x="11680077" y="2150775"/>
                  <a:pt x="11675683" y="2153846"/>
                </a:cubicBezTo>
                <a:lnTo>
                  <a:pt x="11671114" y="2158355"/>
                </a:lnTo>
                <a:lnTo>
                  <a:pt x="11709599" y="2207766"/>
                </a:lnTo>
                <a:cubicBezTo>
                  <a:pt x="11855415" y="2410751"/>
                  <a:pt x="11968920" y="2636253"/>
                  <a:pt x="12044337" y="2888221"/>
                </a:cubicBezTo>
                <a:cubicBezTo>
                  <a:pt x="12045910" y="2891765"/>
                  <a:pt x="12048821" y="2896411"/>
                  <a:pt x="12047954" y="2900188"/>
                </a:cubicBezTo>
                <a:cubicBezTo>
                  <a:pt x="12048188" y="2902628"/>
                  <a:pt x="12045985" y="2905301"/>
                  <a:pt x="12042913" y="2911756"/>
                </a:cubicBezTo>
                <a:cubicBezTo>
                  <a:pt x="12027416" y="2878772"/>
                  <a:pt x="12012388" y="2850670"/>
                  <a:pt x="12000667" y="2818540"/>
                </a:cubicBezTo>
                <a:cubicBezTo>
                  <a:pt x="11956502" y="2699031"/>
                  <a:pt x="11899444" y="2586308"/>
                  <a:pt x="11836079" y="2476812"/>
                </a:cubicBezTo>
                <a:lnTo>
                  <a:pt x="11817182" y="2446720"/>
                </a:lnTo>
                <a:lnTo>
                  <a:pt x="11814121" y="2450446"/>
                </a:lnTo>
                <a:cubicBezTo>
                  <a:pt x="11812657" y="2451710"/>
                  <a:pt x="11810844" y="2452125"/>
                  <a:pt x="11810128" y="2454406"/>
                </a:cubicBezTo>
                <a:cubicBezTo>
                  <a:pt x="11809414" y="2456687"/>
                  <a:pt x="11807600" y="2457102"/>
                  <a:pt x="11805436" y="2456667"/>
                </a:cubicBezTo>
                <a:cubicBezTo>
                  <a:pt x="11804072" y="2456566"/>
                  <a:pt x="11802193" y="2456016"/>
                  <a:pt x="11801411" y="2457331"/>
                </a:cubicBezTo>
                <a:cubicBezTo>
                  <a:pt x="11799181" y="2461558"/>
                  <a:pt x="11796751" y="2462890"/>
                  <a:pt x="11793191" y="2459055"/>
                </a:cubicBezTo>
                <a:cubicBezTo>
                  <a:pt x="11792441" y="2458039"/>
                  <a:pt x="11790628" y="2458454"/>
                  <a:pt x="11790246" y="2459936"/>
                </a:cubicBezTo>
                <a:cubicBezTo>
                  <a:pt x="11788648" y="2464898"/>
                  <a:pt x="11785603" y="2461514"/>
                  <a:pt x="11783107" y="2461879"/>
                </a:cubicBezTo>
                <a:cubicBezTo>
                  <a:pt x="11774656" y="2463038"/>
                  <a:pt x="11773306" y="2453328"/>
                  <a:pt x="11766251" y="2452256"/>
                </a:cubicBezTo>
                <a:cubicBezTo>
                  <a:pt x="11763805" y="2451938"/>
                  <a:pt x="11763006" y="2445976"/>
                  <a:pt x="11762240" y="2443310"/>
                </a:cubicBezTo>
                <a:cubicBezTo>
                  <a:pt x="11760642" y="2437014"/>
                  <a:pt x="11754052" y="2431446"/>
                  <a:pt x="11758860" y="2423838"/>
                </a:cubicBezTo>
                <a:cubicBezTo>
                  <a:pt x="11759643" y="2422523"/>
                  <a:pt x="11760357" y="2420243"/>
                  <a:pt x="11759425" y="2417977"/>
                </a:cubicBezTo>
                <a:cubicBezTo>
                  <a:pt x="11757862" y="2414978"/>
                  <a:pt x="11758860" y="2412581"/>
                  <a:pt x="11761737" y="2410734"/>
                </a:cubicBezTo>
                <a:cubicBezTo>
                  <a:pt x="11763484" y="2409354"/>
                  <a:pt x="11764033" y="2407472"/>
                  <a:pt x="11764865" y="2405474"/>
                </a:cubicBezTo>
                <a:cubicBezTo>
                  <a:pt x="11766746" y="2400396"/>
                  <a:pt x="11770005" y="2397068"/>
                  <a:pt x="11775679" y="2396390"/>
                </a:cubicBezTo>
                <a:lnTo>
                  <a:pt x="11781944" y="2390608"/>
                </a:lnTo>
                <a:lnTo>
                  <a:pt x="11651297" y="2182563"/>
                </a:lnTo>
                <a:lnTo>
                  <a:pt x="11645806" y="2195811"/>
                </a:lnTo>
                <a:cubicBezTo>
                  <a:pt x="11639356" y="2198466"/>
                  <a:pt x="11632904" y="2201118"/>
                  <a:pt x="11626453" y="2203772"/>
                </a:cubicBezTo>
                <a:cubicBezTo>
                  <a:pt x="11623508" y="2201196"/>
                  <a:pt x="11620691" y="2200460"/>
                  <a:pt x="11616262" y="2200389"/>
                </a:cubicBezTo>
                <a:cubicBezTo>
                  <a:pt x="11611072" y="2199997"/>
                  <a:pt x="11605847" y="2196465"/>
                  <a:pt x="11603848" y="2191605"/>
                </a:cubicBezTo>
                <a:cubicBezTo>
                  <a:pt x="11601850" y="2186744"/>
                  <a:pt x="11598998" y="2182867"/>
                  <a:pt x="11595923" y="2178449"/>
                </a:cubicBezTo>
                <a:cubicBezTo>
                  <a:pt x="11595723" y="2170323"/>
                  <a:pt x="11596820" y="2162295"/>
                  <a:pt x="11604310" y="2156057"/>
                </a:cubicBezTo>
                <a:cubicBezTo>
                  <a:pt x="11605701" y="2154854"/>
                  <a:pt x="11605444" y="2151172"/>
                  <a:pt x="11608892" y="2150384"/>
                </a:cubicBezTo>
                <a:cubicBezTo>
                  <a:pt x="11613524" y="2149425"/>
                  <a:pt x="11615848" y="2147049"/>
                  <a:pt x="11616936" y="2144155"/>
                </a:cubicBezTo>
                <a:lnTo>
                  <a:pt x="11617549" y="2135149"/>
                </a:lnTo>
                <a:lnTo>
                  <a:pt x="11605959" y="2121248"/>
                </a:lnTo>
                <a:cubicBezTo>
                  <a:pt x="11595887" y="2110983"/>
                  <a:pt x="11585400" y="2101219"/>
                  <a:pt x="11575798" y="2091064"/>
                </a:cubicBezTo>
                <a:cubicBezTo>
                  <a:pt x="11570447" y="2086654"/>
                  <a:pt x="11565727" y="2076026"/>
                  <a:pt x="11556673" y="2084291"/>
                </a:cubicBezTo>
                <a:cubicBezTo>
                  <a:pt x="11549823" y="2089877"/>
                  <a:pt x="11551867" y="2098297"/>
                  <a:pt x="11553910" y="2106722"/>
                </a:cubicBezTo>
                <a:cubicBezTo>
                  <a:pt x="11557293" y="2116249"/>
                  <a:pt x="11560912" y="2128214"/>
                  <a:pt x="11561852" y="2137978"/>
                </a:cubicBezTo>
                <a:lnTo>
                  <a:pt x="11526995" y="2101679"/>
                </a:lnTo>
                <a:lnTo>
                  <a:pt x="11572568" y="2156388"/>
                </a:lnTo>
                <a:cubicBezTo>
                  <a:pt x="11667237" y="2284665"/>
                  <a:pt x="11746677" y="2419562"/>
                  <a:pt x="11811444" y="2561214"/>
                </a:cubicBezTo>
                <a:lnTo>
                  <a:pt x="11827093" y="2600710"/>
                </a:lnTo>
                <a:lnTo>
                  <a:pt x="11856432" y="2656661"/>
                </a:lnTo>
                <a:lnTo>
                  <a:pt x="11913259" y="2795418"/>
                </a:lnTo>
                <a:lnTo>
                  <a:pt x="11920909" y="2796228"/>
                </a:lnTo>
                <a:cubicBezTo>
                  <a:pt x="11926320" y="2797159"/>
                  <a:pt x="11932268" y="2797868"/>
                  <a:pt x="11937867" y="2796197"/>
                </a:cubicBezTo>
                <a:cubicBezTo>
                  <a:pt x="11943149" y="2795287"/>
                  <a:pt x="11946633" y="2797641"/>
                  <a:pt x="11950876" y="2800317"/>
                </a:cubicBezTo>
                <a:cubicBezTo>
                  <a:pt x="11955118" y="2802991"/>
                  <a:pt x="11956802" y="2808612"/>
                  <a:pt x="11961675" y="2809763"/>
                </a:cubicBezTo>
                <a:cubicBezTo>
                  <a:pt x="11963231" y="2813544"/>
                  <a:pt x="11964563" y="2816783"/>
                  <a:pt x="11966119" y="2820564"/>
                </a:cubicBezTo>
                <a:cubicBezTo>
                  <a:pt x="11964505" y="2821227"/>
                  <a:pt x="11964191" y="2821989"/>
                  <a:pt x="11964634" y="2823068"/>
                </a:cubicBezTo>
                <a:cubicBezTo>
                  <a:pt x="11967966" y="2831168"/>
                  <a:pt x="11964367" y="2837700"/>
                  <a:pt x="11959027" y="2843054"/>
                </a:cubicBezTo>
                <a:cubicBezTo>
                  <a:pt x="11954225" y="2848187"/>
                  <a:pt x="11950182" y="2853638"/>
                  <a:pt x="11942749" y="2855432"/>
                </a:cubicBezTo>
                <a:lnTo>
                  <a:pt x="11938248" y="2856435"/>
                </a:lnTo>
                <a:lnTo>
                  <a:pt x="11944132" y="2870803"/>
                </a:lnTo>
                <a:cubicBezTo>
                  <a:pt x="11945940" y="2876787"/>
                  <a:pt x="11945073" y="2880564"/>
                  <a:pt x="11943339" y="2888120"/>
                </a:cubicBezTo>
                <a:lnTo>
                  <a:pt x="11929616" y="2858036"/>
                </a:lnTo>
                <a:lnTo>
                  <a:pt x="11919817" y="2856910"/>
                </a:lnTo>
                <a:lnTo>
                  <a:pt x="11962271" y="3006579"/>
                </a:lnTo>
                <a:cubicBezTo>
                  <a:pt x="11986770" y="3116074"/>
                  <a:pt x="12022799" y="3223907"/>
                  <a:pt x="12023845" y="3338182"/>
                </a:cubicBezTo>
                <a:cubicBezTo>
                  <a:pt x="12024878" y="3629753"/>
                  <a:pt x="12019608" y="3921272"/>
                  <a:pt x="11953952" y="4207696"/>
                </a:cubicBezTo>
                <a:lnTo>
                  <a:pt x="11934023" y="4284231"/>
                </a:lnTo>
                <a:lnTo>
                  <a:pt x="11933135" y="4307813"/>
                </a:lnTo>
                <a:cubicBezTo>
                  <a:pt x="11931360" y="4318144"/>
                  <a:pt x="11928308" y="4327984"/>
                  <a:pt x="11924251" y="4336996"/>
                </a:cubicBezTo>
                <a:cubicBezTo>
                  <a:pt x="11893406" y="4419410"/>
                  <a:pt x="11869205" y="4506032"/>
                  <a:pt x="11830989" y="4587425"/>
                </a:cubicBezTo>
                <a:lnTo>
                  <a:pt x="11819214" y="4608817"/>
                </a:lnTo>
                <a:lnTo>
                  <a:pt x="11805268" y="4644467"/>
                </a:lnTo>
                <a:lnTo>
                  <a:pt x="11795293" y="4666396"/>
                </a:lnTo>
                <a:lnTo>
                  <a:pt x="11799584" y="4666217"/>
                </a:lnTo>
                <a:cubicBezTo>
                  <a:pt x="11810260" y="4662588"/>
                  <a:pt x="11817274" y="4651521"/>
                  <a:pt x="11830087" y="4650282"/>
                </a:cubicBezTo>
                <a:cubicBezTo>
                  <a:pt x="11820549" y="4691845"/>
                  <a:pt x="11801881" y="4728132"/>
                  <a:pt x="11781876" y="4763315"/>
                </a:cubicBezTo>
                <a:cubicBezTo>
                  <a:pt x="11646721" y="5009129"/>
                  <a:pt x="11491496" y="5238408"/>
                  <a:pt x="11287239" y="5431777"/>
                </a:cubicBezTo>
                <a:cubicBezTo>
                  <a:pt x="11142591" y="5566436"/>
                  <a:pt x="10986532" y="5684954"/>
                  <a:pt x="10813244" y="5778041"/>
                </a:cubicBezTo>
                <a:cubicBezTo>
                  <a:pt x="10760572" y="5806526"/>
                  <a:pt x="10702708" y="5819502"/>
                  <a:pt x="10657433" y="5860819"/>
                </a:cubicBezTo>
                <a:cubicBezTo>
                  <a:pt x="10646171" y="5871760"/>
                  <a:pt x="10627356" y="5880965"/>
                  <a:pt x="10642780" y="5900413"/>
                </a:cubicBezTo>
                <a:cubicBezTo>
                  <a:pt x="10657099" y="5921199"/>
                  <a:pt x="10668755" y="5901600"/>
                  <a:pt x="10682928" y="5895305"/>
                </a:cubicBezTo>
                <a:cubicBezTo>
                  <a:pt x="10697967" y="5885233"/>
                  <a:pt x="10714973" y="5870043"/>
                  <a:pt x="10740319" y="5877450"/>
                </a:cubicBezTo>
                <a:cubicBezTo>
                  <a:pt x="10661499" y="5954026"/>
                  <a:pt x="10562929" y="5991869"/>
                  <a:pt x="10471286" y="6037664"/>
                </a:cubicBezTo>
                <a:cubicBezTo>
                  <a:pt x="10413263" y="6061739"/>
                  <a:pt x="10351387" y="6071406"/>
                  <a:pt x="10296509" y="6102567"/>
                </a:cubicBezTo>
                <a:cubicBezTo>
                  <a:pt x="10358621" y="6095339"/>
                  <a:pt x="10412866" y="6070398"/>
                  <a:pt x="10471126" y="6048764"/>
                </a:cubicBezTo>
                <a:cubicBezTo>
                  <a:pt x="10512458" y="6036768"/>
                  <a:pt x="10552097" y="6020009"/>
                  <a:pt x="10590892" y="6000868"/>
                </a:cubicBezTo>
                <a:lnTo>
                  <a:pt x="10677168" y="5954092"/>
                </a:lnTo>
                <a:lnTo>
                  <a:pt x="10677220" y="5951483"/>
                </a:lnTo>
                <a:cubicBezTo>
                  <a:pt x="10676049" y="5944954"/>
                  <a:pt x="10678992" y="5940293"/>
                  <a:pt x="10682652" y="5936148"/>
                </a:cubicBezTo>
                <a:cubicBezTo>
                  <a:pt x="10686189" y="5935192"/>
                  <a:pt x="10689371" y="5934421"/>
                  <a:pt x="10692540" y="5932765"/>
                </a:cubicBezTo>
                <a:cubicBezTo>
                  <a:pt x="10695710" y="5931109"/>
                  <a:pt x="10699977" y="5931556"/>
                  <a:pt x="10702851" y="5933625"/>
                </a:cubicBezTo>
                <a:lnTo>
                  <a:pt x="10709600" y="5936307"/>
                </a:lnTo>
                <a:lnTo>
                  <a:pt x="10858800" y="5847941"/>
                </a:lnTo>
                <a:cubicBezTo>
                  <a:pt x="11010070" y="5754190"/>
                  <a:pt x="11155042" y="5650828"/>
                  <a:pt x="11289571" y="5532541"/>
                </a:cubicBezTo>
                <a:cubicBezTo>
                  <a:pt x="11310988" y="5512000"/>
                  <a:pt x="11337523" y="5493428"/>
                  <a:pt x="11353353" y="5466036"/>
                </a:cubicBezTo>
                <a:cubicBezTo>
                  <a:pt x="11338636" y="5453910"/>
                  <a:pt x="11331390" y="5468157"/>
                  <a:pt x="11323437" y="5475082"/>
                </a:cubicBezTo>
                <a:cubicBezTo>
                  <a:pt x="11175246" y="5611315"/>
                  <a:pt x="11014542" y="5732743"/>
                  <a:pt x="10838417" y="5834725"/>
                </a:cubicBezTo>
                <a:cubicBezTo>
                  <a:pt x="10829126" y="5840549"/>
                  <a:pt x="10817234" y="5857707"/>
                  <a:pt x="10807163" y="5842670"/>
                </a:cubicBezTo>
                <a:cubicBezTo>
                  <a:pt x="10797090" y="5827632"/>
                  <a:pt x="10813231" y="5816221"/>
                  <a:pt x="10824962" y="5810163"/>
                </a:cubicBezTo>
                <a:cubicBezTo>
                  <a:pt x="10879604" y="5776562"/>
                  <a:pt x="10938495" y="5748707"/>
                  <a:pt x="10991328" y="5709123"/>
                </a:cubicBezTo>
                <a:cubicBezTo>
                  <a:pt x="11218563" y="5536933"/>
                  <a:pt x="11433523" y="5352382"/>
                  <a:pt x="11598039" y="5117280"/>
                </a:cubicBezTo>
                <a:cubicBezTo>
                  <a:pt x="11725777" y="4934993"/>
                  <a:pt x="11824787" y="4735773"/>
                  <a:pt x="11907111" y="4529543"/>
                </a:cubicBezTo>
                <a:cubicBezTo>
                  <a:pt x="11923970" y="4487274"/>
                  <a:pt x="11941930" y="4443666"/>
                  <a:pt x="11965243" y="4404469"/>
                </a:cubicBezTo>
                <a:cubicBezTo>
                  <a:pt x="11868553" y="4742631"/>
                  <a:pt x="11707322" y="5050077"/>
                  <a:pt x="11478874" y="5324603"/>
                </a:cubicBezTo>
                <a:cubicBezTo>
                  <a:pt x="11502646" y="5328466"/>
                  <a:pt x="11509187" y="5306898"/>
                  <a:pt x="11534223" y="5298323"/>
                </a:cubicBezTo>
                <a:cubicBezTo>
                  <a:pt x="11494533" y="5346492"/>
                  <a:pt x="11460358" y="5387971"/>
                  <a:pt x="11423269" y="5424802"/>
                </a:cubicBezTo>
                <a:lnTo>
                  <a:pt x="11274561" y="5569510"/>
                </a:lnTo>
                <a:lnTo>
                  <a:pt x="11281575" y="5570095"/>
                </a:lnTo>
                <a:cubicBezTo>
                  <a:pt x="11284867" y="5572772"/>
                  <a:pt x="11287388" y="5573969"/>
                  <a:pt x="11291136" y="5573895"/>
                </a:cubicBezTo>
                <a:lnTo>
                  <a:pt x="11293328" y="5578089"/>
                </a:lnTo>
                <a:lnTo>
                  <a:pt x="11376956" y="5509633"/>
                </a:lnTo>
                <a:cubicBezTo>
                  <a:pt x="11413570" y="5477465"/>
                  <a:pt x="11447784" y="5442757"/>
                  <a:pt x="11476411" y="5401199"/>
                </a:cubicBezTo>
                <a:cubicBezTo>
                  <a:pt x="11488068" y="5381600"/>
                  <a:pt x="11512867" y="5370585"/>
                  <a:pt x="11530978" y="5354057"/>
                </a:cubicBezTo>
                <a:cubicBezTo>
                  <a:pt x="11608301" y="5287477"/>
                  <a:pt x="11655087" y="5197983"/>
                  <a:pt x="11711003" y="5113764"/>
                </a:cubicBezTo>
                <a:cubicBezTo>
                  <a:pt x="11833154" y="4924625"/>
                  <a:pt x="11937279" y="4727376"/>
                  <a:pt x="12019368" y="4518706"/>
                </a:cubicBezTo>
                <a:lnTo>
                  <a:pt x="12025524" y="4498888"/>
                </a:lnTo>
                <a:lnTo>
                  <a:pt x="12017498" y="4495324"/>
                </a:lnTo>
                <a:cubicBezTo>
                  <a:pt x="12015330" y="4493022"/>
                  <a:pt x="12013328" y="4490453"/>
                  <a:pt x="12009967" y="4489942"/>
                </a:cubicBezTo>
                <a:cubicBezTo>
                  <a:pt x="12007635" y="4489639"/>
                  <a:pt x="12006875" y="4483957"/>
                  <a:pt x="12006145" y="4481417"/>
                </a:cubicBezTo>
                <a:cubicBezTo>
                  <a:pt x="12004621" y="4475417"/>
                  <a:pt x="11998343" y="4470112"/>
                  <a:pt x="12002923" y="4462862"/>
                </a:cubicBezTo>
                <a:cubicBezTo>
                  <a:pt x="12003669" y="4461609"/>
                  <a:pt x="12004350" y="4459436"/>
                  <a:pt x="12003462" y="4457276"/>
                </a:cubicBezTo>
                <a:cubicBezTo>
                  <a:pt x="12001971" y="4454419"/>
                  <a:pt x="12002923" y="4452134"/>
                  <a:pt x="12005665" y="4450375"/>
                </a:cubicBezTo>
                <a:cubicBezTo>
                  <a:pt x="12007330" y="4449059"/>
                  <a:pt x="12007853" y="4447266"/>
                  <a:pt x="12008645" y="4445362"/>
                </a:cubicBezTo>
                <a:cubicBezTo>
                  <a:pt x="12010436" y="4440523"/>
                  <a:pt x="12013544" y="4437351"/>
                  <a:pt x="12018951" y="4436704"/>
                </a:cubicBezTo>
                <a:cubicBezTo>
                  <a:pt x="12021979" y="4436406"/>
                  <a:pt x="12024611" y="4434377"/>
                  <a:pt x="12025118" y="4431012"/>
                </a:cubicBezTo>
                <a:cubicBezTo>
                  <a:pt x="12026196" y="4430569"/>
                  <a:pt x="12027274" y="4430125"/>
                  <a:pt x="12028353" y="4429682"/>
                </a:cubicBezTo>
                <a:cubicBezTo>
                  <a:pt x="12030699" y="4431556"/>
                  <a:pt x="12032762" y="4431970"/>
                  <a:pt x="12036155" y="4430259"/>
                </a:cubicBezTo>
                <a:lnTo>
                  <a:pt x="12046047" y="4432826"/>
                </a:lnTo>
                <a:lnTo>
                  <a:pt x="12081389" y="4319055"/>
                </a:lnTo>
                <a:cubicBezTo>
                  <a:pt x="12098246" y="4251230"/>
                  <a:pt x="12113184" y="4182667"/>
                  <a:pt x="12131900" y="4114972"/>
                </a:cubicBezTo>
                <a:cubicBezTo>
                  <a:pt x="12135839" y="4104740"/>
                  <a:pt x="12139542" y="4092066"/>
                  <a:pt x="12144114" y="4075615"/>
                </a:cubicBezTo>
                <a:cubicBezTo>
                  <a:pt x="12162448" y="4099707"/>
                  <a:pt x="12166141" y="4125214"/>
                  <a:pt x="12157159" y="4147017"/>
                </a:cubicBezTo>
                <a:cubicBezTo>
                  <a:pt x="12112022" y="4253595"/>
                  <a:pt x="12101123" y="4370413"/>
                  <a:pt x="12064879" y="4479827"/>
                </a:cubicBezTo>
                <a:cubicBezTo>
                  <a:pt x="11945829" y="4828770"/>
                  <a:pt x="11765312" y="5140541"/>
                  <a:pt x="11515768" y="5413410"/>
                </a:cubicBezTo>
                <a:cubicBezTo>
                  <a:pt x="11463915" y="5469525"/>
                  <a:pt x="11407478" y="5519618"/>
                  <a:pt x="11349475" y="5567860"/>
                </a:cubicBezTo>
                <a:lnTo>
                  <a:pt x="11295133" y="5612203"/>
                </a:lnTo>
                <a:lnTo>
                  <a:pt x="11294956" y="5624687"/>
                </a:lnTo>
                <a:cubicBezTo>
                  <a:pt x="11294541" y="5629932"/>
                  <a:pt x="11294383" y="5635671"/>
                  <a:pt x="11296467" y="5640865"/>
                </a:cubicBezTo>
                <a:cubicBezTo>
                  <a:pt x="11297798" y="5645827"/>
                  <a:pt x="11295855" y="5649356"/>
                  <a:pt x="11293673" y="5653637"/>
                </a:cubicBezTo>
                <a:cubicBezTo>
                  <a:pt x="11291492" y="5657920"/>
                  <a:pt x="11286276" y="5660018"/>
                  <a:pt x="11285604" y="5664768"/>
                </a:cubicBezTo>
                <a:cubicBezTo>
                  <a:pt x="11282133" y="5666582"/>
                  <a:pt x="11279157" y="5668138"/>
                  <a:pt x="11275686" y="5669952"/>
                </a:cubicBezTo>
                <a:cubicBezTo>
                  <a:pt x="11274913" y="5668471"/>
                  <a:pt x="11274159" y="5668236"/>
                  <a:pt x="11273167" y="5668755"/>
                </a:cubicBezTo>
                <a:cubicBezTo>
                  <a:pt x="11265729" y="5672642"/>
                  <a:pt x="11259182" y="5669779"/>
                  <a:pt x="11253608" y="5665151"/>
                </a:cubicBezTo>
                <a:lnTo>
                  <a:pt x="11243616" y="5654241"/>
                </a:lnTo>
                <a:lnTo>
                  <a:pt x="11173799" y="5711211"/>
                </a:lnTo>
                <a:cubicBezTo>
                  <a:pt x="11027107" y="5837445"/>
                  <a:pt x="10867197" y="5941556"/>
                  <a:pt x="10688009" y="6011813"/>
                </a:cubicBezTo>
                <a:cubicBezTo>
                  <a:pt x="10671399" y="6018345"/>
                  <a:pt x="10657697" y="6029518"/>
                  <a:pt x="10640068" y="6012747"/>
                </a:cubicBezTo>
                <a:cubicBezTo>
                  <a:pt x="10635819" y="6007000"/>
                  <a:pt x="10627395" y="6009044"/>
                  <a:pt x="10621649" y="6013295"/>
                </a:cubicBezTo>
                <a:cubicBezTo>
                  <a:pt x="10516936" y="6064045"/>
                  <a:pt x="10407504" y="6104168"/>
                  <a:pt x="10295159" y="6139645"/>
                </a:cubicBezTo>
                <a:cubicBezTo>
                  <a:pt x="10292721" y="6139881"/>
                  <a:pt x="10290514" y="6142557"/>
                  <a:pt x="10287207" y="6146570"/>
                </a:cubicBezTo>
                <a:cubicBezTo>
                  <a:pt x="10299087" y="6167592"/>
                  <a:pt x="10313098" y="6172398"/>
                  <a:pt x="10338133" y="6163823"/>
                </a:cubicBezTo>
                <a:cubicBezTo>
                  <a:pt x="10510075" y="6107811"/>
                  <a:pt x="10683587" y="6055345"/>
                  <a:pt x="10845617" y="5973197"/>
                </a:cubicBezTo>
                <a:cubicBezTo>
                  <a:pt x="11109683" y="5838094"/>
                  <a:pt x="11339991" y="5659450"/>
                  <a:pt x="11533866" y="5435061"/>
                </a:cubicBezTo>
                <a:cubicBezTo>
                  <a:pt x="11642380" y="5308817"/>
                  <a:pt x="11750893" y="5182576"/>
                  <a:pt x="11835560" y="5038928"/>
                </a:cubicBezTo>
                <a:cubicBezTo>
                  <a:pt x="11866987" y="4981705"/>
                  <a:pt x="11915569" y="4936374"/>
                  <a:pt x="11956362" y="4886869"/>
                </a:cubicBezTo>
                <a:cubicBezTo>
                  <a:pt x="11852396" y="5073019"/>
                  <a:pt x="11735287" y="5250585"/>
                  <a:pt x="11599683" y="5415160"/>
                </a:cubicBezTo>
                <a:cubicBezTo>
                  <a:pt x="11461638" y="5579970"/>
                  <a:pt x="11308169" y="5725332"/>
                  <a:pt x="11131722" y="5849513"/>
                </a:cubicBezTo>
                <a:cubicBezTo>
                  <a:pt x="11298086" y="5748473"/>
                  <a:pt x="11442969" y="5616256"/>
                  <a:pt x="11593912" y="5495768"/>
                </a:cubicBezTo>
                <a:cubicBezTo>
                  <a:pt x="11596587" y="5497973"/>
                  <a:pt x="11598160" y="5501517"/>
                  <a:pt x="11599499" y="5502619"/>
                </a:cubicBezTo>
                <a:cubicBezTo>
                  <a:pt x="11561307" y="5540790"/>
                  <a:pt x="11523117" y="5578960"/>
                  <a:pt x="11482487" y="5617368"/>
                </a:cubicBezTo>
                <a:cubicBezTo>
                  <a:pt x="11378967" y="5713186"/>
                  <a:pt x="11270306" y="5800602"/>
                  <a:pt x="11156750" y="5879815"/>
                </a:cubicBezTo>
                <a:lnTo>
                  <a:pt x="11129441" y="5897504"/>
                </a:lnTo>
                <a:lnTo>
                  <a:pt x="11129875" y="5898335"/>
                </a:lnTo>
                <a:cubicBezTo>
                  <a:pt x="11128330" y="5900682"/>
                  <a:pt x="11128118" y="5902637"/>
                  <a:pt x="11130004" y="5905652"/>
                </a:cubicBezTo>
                <a:cubicBezTo>
                  <a:pt x="11132518" y="5909877"/>
                  <a:pt x="11132351" y="5914272"/>
                  <a:pt x="11128016" y="5917769"/>
                </a:cubicBezTo>
                <a:cubicBezTo>
                  <a:pt x="11125965" y="5919149"/>
                  <a:pt x="11127333" y="5920587"/>
                  <a:pt x="11128091" y="5922037"/>
                </a:cubicBezTo>
                <a:cubicBezTo>
                  <a:pt x="11129355" y="5924454"/>
                  <a:pt x="11128639" y="5925444"/>
                  <a:pt x="11125819" y="5924763"/>
                </a:cubicBezTo>
                <a:cubicBezTo>
                  <a:pt x="11121651" y="5923865"/>
                  <a:pt x="11119716" y="5924876"/>
                  <a:pt x="11121137" y="5929364"/>
                </a:cubicBezTo>
                <a:cubicBezTo>
                  <a:pt x="11121401" y="5930458"/>
                  <a:pt x="11121306" y="5932045"/>
                  <a:pt x="11119706" y="5931343"/>
                </a:cubicBezTo>
                <a:cubicBezTo>
                  <a:pt x="11114918" y="5929845"/>
                  <a:pt x="11113750" y="5932917"/>
                  <a:pt x="11112467" y="5936356"/>
                </a:cubicBezTo>
                <a:cubicBezTo>
                  <a:pt x="11112478" y="5936966"/>
                  <a:pt x="11111510" y="5937473"/>
                  <a:pt x="11111027" y="5937726"/>
                </a:cubicBezTo>
                <a:cubicBezTo>
                  <a:pt x="11103450" y="5937378"/>
                  <a:pt x="11095864" y="5936420"/>
                  <a:pt x="11088160" y="5935829"/>
                </a:cubicBezTo>
                <a:lnTo>
                  <a:pt x="11079426" y="5929902"/>
                </a:lnTo>
                <a:lnTo>
                  <a:pt x="10982775" y="5992509"/>
                </a:lnTo>
                <a:lnTo>
                  <a:pt x="10886476" y="6045961"/>
                </a:lnTo>
                <a:lnTo>
                  <a:pt x="10890708" y="6051358"/>
                </a:lnTo>
                <a:cubicBezTo>
                  <a:pt x="10890389" y="6053296"/>
                  <a:pt x="10892692" y="6054308"/>
                  <a:pt x="10894116" y="6055335"/>
                </a:cubicBezTo>
                <a:cubicBezTo>
                  <a:pt x="10896601" y="6056695"/>
                  <a:pt x="10898041" y="6058600"/>
                  <a:pt x="10896860" y="6061433"/>
                </a:cubicBezTo>
                <a:cubicBezTo>
                  <a:pt x="10895679" y="6064264"/>
                  <a:pt x="10897118" y="6066170"/>
                  <a:pt x="10897513" y="6068622"/>
                </a:cubicBezTo>
                <a:cubicBezTo>
                  <a:pt x="10898498" y="6074752"/>
                  <a:pt x="10899864" y="6082456"/>
                  <a:pt x="10897303" y="6086895"/>
                </a:cubicBezTo>
                <a:cubicBezTo>
                  <a:pt x="10891671" y="6096484"/>
                  <a:pt x="10886567" y="6106238"/>
                  <a:pt x="10880751" y="6115480"/>
                </a:cubicBezTo>
                <a:cubicBezTo>
                  <a:pt x="10880054" y="6115845"/>
                  <a:pt x="10878661" y="6116573"/>
                  <a:pt x="10877948" y="6116059"/>
                </a:cubicBezTo>
                <a:cubicBezTo>
                  <a:pt x="10872828" y="6114748"/>
                  <a:pt x="10868238" y="6113603"/>
                  <a:pt x="10866073" y="6120494"/>
                </a:cubicBezTo>
                <a:cubicBezTo>
                  <a:pt x="10865588" y="6122962"/>
                  <a:pt x="10863633" y="6121768"/>
                  <a:pt x="10862558" y="6120559"/>
                </a:cubicBezTo>
                <a:cubicBezTo>
                  <a:pt x="10858421" y="6115189"/>
                  <a:pt x="10855634" y="6116646"/>
                  <a:pt x="10853272" y="6122312"/>
                </a:cubicBezTo>
                <a:cubicBezTo>
                  <a:pt x="10851757" y="6126204"/>
                  <a:pt x="10850000" y="6126236"/>
                  <a:pt x="10848182" y="6122756"/>
                </a:cubicBezTo>
                <a:cubicBezTo>
                  <a:pt x="10847090" y="6120669"/>
                  <a:pt x="10846515" y="6117869"/>
                  <a:pt x="10843196" y="6119160"/>
                </a:cubicBezTo>
                <a:cubicBezTo>
                  <a:pt x="10835502" y="6121410"/>
                  <a:pt x="10830169" y="6117995"/>
                  <a:pt x="10827244" y="6111550"/>
                </a:cubicBezTo>
                <a:cubicBezTo>
                  <a:pt x="10825227" y="6106845"/>
                  <a:pt x="10822743" y="6105485"/>
                  <a:pt x="10818698" y="6105383"/>
                </a:cubicBezTo>
                <a:cubicBezTo>
                  <a:pt x="10817970" y="6103992"/>
                  <a:pt x="10817243" y="6102600"/>
                  <a:pt x="10816515" y="6101208"/>
                </a:cubicBezTo>
                <a:cubicBezTo>
                  <a:pt x="10818908" y="6097300"/>
                  <a:pt x="10817953" y="6092925"/>
                  <a:pt x="10815089" y="6089993"/>
                </a:cubicBezTo>
                <a:lnTo>
                  <a:pt x="10814387" y="6085976"/>
                </a:lnTo>
                <a:lnTo>
                  <a:pt x="10801639" y="6093051"/>
                </a:lnTo>
                <a:lnTo>
                  <a:pt x="10697774" y="6142780"/>
                </a:lnTo>
                <a:lnTo>
                  <a:pt x="10702049" y="6150961"/>
                </a:lnTo>
                <a:cubicBezTo>
                  <a:pt x="10705899" y="6152938"/>
                  <a:pt x="10709293" y="6155387"/>
                  <a:pt x="10711596" y="6159346"/>
                </a:cubicBezTo>
                <a:cubicBezTo>
                  <a:pt x="10713321" y="6162198"/>
                  <a:pt x="10712039" y="6163338"/>
                  <a:pt x="10709160" y="6163668"/>
                </a:cubicBezTo>
                <a:cubicBezTo>
                  <a:pt x="10707212" y="6163984"/>
                  <a:pt x="10705423" y="6162807"/>
                  <a:pt x="10703652" y="6162560"/>
                </a:cubicBezTo>
                <a:cubicBezTo>
                  <a:pt x="10701598" y="6162225"/>
                  <a:pt x="10698799" y="6161810"/>
                  <a:pt x="10698094" y="6164056"/>
                </a:cubicBezTo>
                <a:cubicBezTo>
                  <a:pt x="10697398" y="6166766"/>
                  <a:pt x="10699477" y="6168495"/>
                  <a:pt x="10702002" y="6169287"/>
                </a:cubicBezTo>
                <a:cubicBezTo>
                  <a:pt x="10703125" y="6169639"/>
                  <a:pt x="10704617" y="6169798"/>
                  <a:pt x="10705835" y="6170334"/>
                </a:cubicBezTo>
                <a:cubicBezTo>
                  <a:pt x="10707239" y="6170774"/>
                  <a:pt x="10708556" y="6171493"/>
                  <a:pt x="10708122" y="6173362"/>
                </a:cubicBezTo>
                <a:cubicBezTo>
                  <a:pt x="10707778" y="6174949"/>
                  <a:pt x="10706383" y="6174975"/>
                  <a:pt x="10704795" y="6174632"/>
                </a:cubicBezTo>
                <a:cubicBezTo>
                  <a:pt x="10703304" y="6174472"/>
                  <a:pt x="10701716" y="6174129"/>
                  <a:pt x="10700320" y="6174155"/>
                </a:cubicBezTo>
                <a:cubicBezTo>
                  <a:pt x="10698083" y="6173916"/>
                  <a:pt x="10696528" y="6175433"/>
                  <a:pt x="10695816" y="6177214"/>
                </a:cubicBezTo>
                <a:cubicBezTo>
                  <a:pt x="10695103" y="6178993"/>
                  <a:pt x="10696707" y="6180267"/>
                  <a:pt x="10697934" y="6181268"/>
                </a:cubicBezTo>
                <a:cubicBezTo>
                  <a:pt x="10704071" y="6186272"/>
                  <a:pt x="10714735" y="6184218"/>
                  <a:pt x="10718983" y="6177072"/>
                </a:cubicBezTo>
                <a:cubicBezTo>
                  <a:pt x="10720970" y="6173686"/>
                  <a:pt x="10722365" y="6173662"/>
                  <a:pt x="10724274" y="6176417"/>
                </a:cubicBezTo>
                <a:cubicBezTo>
                  <a:pt x="10727331" y="6180920"/>
                  <a:pt x="10731181" y="6182896"/>
                  <a:pt x="10736842" y="6182049"/>
                </a:cubicBezTo>
                <a:cubicBezTo>
                  <a:pt x="10738327" y="6181743"/>
                  <a:pt x="10740835" y="6181605"/>
                  <a:pt x="10741342" y="6183921"/>
                </a:cubicBezTo>
                <a:cubicBezTo>
                  <a:pt x="10742643" y="6189106"/>
                  <a:pt x="10746510" y="6192013"/>
                  <a:pt x="10750833" y="6194446"/>
                </a:cubicBezTo>
                <a:cubicBezTo>
                  <a:pt x="10754122" y="6196247"/>
                  <a:pt x="10756024" y="6198538"/>
                  <a:pt x="10755730" y="6202915"/>
                </a:cubicBezTo>
                <a:cubicBezTo>
                  <a:pt x="10755348" y="6207574"/>
                  <a:pt x="10757697" y="6208926"/>
                  <a:pt x="10762508" y="6207351"/>
                </a:cubicBezTo>
                <a:cubicBezTo>
                  <a:pt x="10762692" y="6207254"/>
                  <a:pt x="10762876" y="6207158"/>
                  <a:pt x="10763061" y="6207061"/>
                </a:cubicBezTo>
                <a:cubicBezTo>
                  <a:pt x="10764816" y="6206378"/>
                  <a:pt x="10766668" y="6205880"/>
                  <a:pt x="10767720" y="6207442"/>
                </a:cubicBezTo>
                <a:cubicBezTo>
                  <a:pt x="10768955" y="6208907"/>
                  <a:pt x="10766831" y="6209783"/>
                  <a:pt x="10766198" y="6210819"/>
                </a:cubicBezTo>
                <a:cubicBezTo>
                  <a:pt x="10761839" y="6216851"/>
                  <a:pt x="10761849" y="6222710"/>
                  <a:pt x="10766423" y="6228767"/>
                </a:cubicBezTo>
                <a:cubicBezTo>
                  <a:pt x="10767948" y="6230786"/>
                  <a:pt x="10767884" y="6232461"/>
                  <a:pt x="10766523" y="6234346"/>
                </a:cubicBezTo>
                <a:cubicBezTo>
                  <a:pt x="10765705" y="6235478"/>
                  <a:pt x="10764792" y="6236425"/>
                  <a:pt x="10763974" y="6237555"/>
                </a:cubicBezTo>
                <a:cubicBezTo>
                  <a:pt x="10762884" y="6239063"/>
                  <a:pt x="10762910" y="6240458"/>
                  <a:pt x="10764144" y="6241924"/>
                </a:cubicBezTo>
                <a:lnTo>
                  <a:pt x="10765582" y="6242665"/>
                </a:lnTo>
                <a:lnTo>
                  <a:pt x="10758661" y="6264528"/>
                </a:lnTo>
                <a:lnTo>
                  <a:pt x="10757515" y="6261579"/>
                </a:lnTo>
                <a:cubicBezTo>
                  <a:pt x="10757113" y="6259912"/>
                  <a:pt x="10756728" y="6259175"/>
                  <a:pt x="10754587" y="6259121"/>
                </a:cubicBezTo>
                <a:cubicBezTo>
                  <a:pt x="10752358" y="6259347"/>
                  <a:pt x="10752102" y="6260654"/>
                  <a:pt x="10751942" y="6262145"/>
                </a:cubicBezTo>
                <a:cubicBezTo>
                  <a:pt x="10751774" y="6263171"/>
                  <a:pt x="10751976" y="6264004"/>
                  <a:pt x="10752087" y="6265120"/>
                </a:cubicBezTo>
                <a:cubicBezTo>
                  <a:pt x="10752451" y="6269857"/>
                  <a:pt x="10751442" y="6270619"/>
                  <a:pt x="10747038" y="6268932"/>
                </a:cubicBezTo>
                <a:cubicBezTo>
                  <a:pt x="10746100" y="6268483"/>
                  <a:pt x="10744880" y="6267948"/>
                  <a:pt x="10743774" y="6268526"/>
                </a:cubicBezTo>
                <a:cubicBezTo>
                  <a:pt x="10742579" y="6269384"/>
                  <a:pt x="10743350" y="6270859"/>
                  <a:pt x="10743463" y="6271973"/>
                </a:cubicBezTo>
                <a:cubicBezTo>
                  <a:pt x="10743480" y="6272903"/>
                  <a:pt x="10743681" y="6273737"/>
                  <a:pt x="10744065" y="6274473"/>
                </a:cubicBezTo>
                <a:cubicBezTo>
                  <a:pt x="10744607" y="6276185"/>
                  <a:pt x="10744395" y="6277236"/>
                  <a:pt x="10743694" y="6277806"/>
                </a:cubicBezTo>
                <a:cubicBezTo>
                  <a:pt x="10742995" y="6278376"/>
                  <a:pt x="10741810" y="6278468"/>
                  <a:pt x="10740411" y="6278261"/>
                </a:cubicBezTo>
                <a:cubicBezTo>
                  <a:pt x="10737516" y="6277663"/>
                  <a:pt x="10734428" y="6276695"/>
                  <a:pt x="10731534" y="6276097"/>
                </a:cubicBezTo>
                <a:cubicBezTo>
                  <a:pt x="10728076" y="6275322"/>
                  <a:pt x="10724540" y="6275293"/>
                  <a:pt x="10722456" y="6278494"/>
                </a:cubicBezTo>
                <a:cubicBezTo>
                  <a:pt x="10720638" y="6280852"/>
                  <a:pt x="10719049" y="6280509"/>
                  <a:pt x="10716893" y="6279525"/>
                </a:cubicBezTo>
                <a:cubicBezTo>
                  <a:pt x="10712201" y="6277285"/>
                  <a:pt x="10707436" y="6276255"/>
                  <a:pt x="10702851" y="6280059"/>
                </a:cubicBezTo>
                <a:cubicBezTo>
                  <a:pt x="10701754" y="6281102"/>
                  <a:pt x="10701096" y="6280742"/>
                  <a:pt x="10700237" y="6279548"/>
                </a:cubicBezTo>
                <a:cubicBezTo>
                  <a:pt x="10694780" y="6270903"/>
                  <a:pt x="10686863" y="6265187"/>
                  <a:pt x="10678039" y="6260882"/>
                </a:cubicBezTo>
                <a:cubicBezTo>
                  <a:pt x="10675883" y="6259898"/>
                  <a:pt x="10675673" y="6258599"/>
                  <a:pt x="10675543" y="6256555"/>
                </a:cubicBezTo>
                <a:cubicBezTo>
                  <a:pt x="10675654" y="6252274"/>
                  <a:pt x="10675755" y="6247529"/>
                  <a:pt x="10672538" y="6244518"/>
                </a:cubicBezTo>
                <a:cubicBezTo>
                  <a:pt x="10669321" y="6241506"/>
                  <a:pt x="10668895" y="6238444"/>
                  <a:pt x="10669197" y="6234532"/>
                </a:cubicBezTo>
                <a:cubicBezTo>
                  <a:pt x="10669270" y="6233321"/>
                  <a:pt x="10669156" y="6232206"/>
                  <a:pt x="10669131" y="6230812"/>
                </a:cubicBezTo>
                <a:cubicBezTo>
                  <a:pt x="10668735" y="6224214"/>
                  <a:pt x="10668900" y="6217794"/>
                  <a:pt x="10673268" y="6212225"/>
                </a:cubicBezTo>
                <a:cubicBezTo>
                  <a:pt x="10674181" y="6211279"/>
                  <a:pt x="10673797" y="6210542"/>
                  <a:pt x="10673315" y="6209620"/>
                </a:cubicBezTo>
                <a:cubicBezTo>
                  <a:pt x="10671686" y="6206953"/>
                  <a:pt x="10663240" y="6202920"/>
                  <a:pt x="10660274" y="6203532"/>
                </a:cubicBezTo>
                <a:cubicBezTo>
                  <a:pt x="10655736" y="6204731"/>
                  <a:pt x="10651172" y="6204534"/>
                  <a:pt x="10646770" y="6202847"/>
                </a:cubicBezTo>
                <a:cubicBezTo>
                  <a:pt x="10640779" y="6200816"/>
                  <a:pt x="10635244" y="6198312"/>
                  <a:pt x="10629340" y="6196000"/>
                </a:cubicBezTo>
                <a:cubicBezTo>
                  <a:pt x="10627657" y="6195473"/>
                  <a:pt x="10627824" y="6194447"/>
                  <a:pt x="10628080" y="6193140"/>
                </a:cubicBezTo>
                <a:cubicBezTo>
                  <a:pt x="10629281" y="6187351"/>
                  <a:pt x="10629281" y="6187351"/>
                  <a:pt x="10623779" y="6186706"/>
                </a:cubicBezTo>
                <a:cubicBezTo>
                  <a:pt x="10618646" y="6185869"/>
                  <a:pt x="10617498" y="6184123"/>
                  <a:pt x="10618987" y="6178886"/>
                </a:cubicBezTo>
                <a:lnTo>
                  <a:pt x="10618951" y="6178460"/>
                </a:lnTo>
                <a:lnTo>
                  <a:pt x="10497392" y="6229022"/>
                </a:lnTo>
                <a:lnTo>
                  <a:pt x="10388605" y="6267890"/>
                </a:lnTo>
                <a:lnTo>
                  <a:pt x="10398358" y="6270428"/>
                </a:lnTo>
                <a:cubicBezTo>
                  <a:pt x="10401921" y="6271499"/>
                  <a:pt x="10405075" y="6273377"/>
                  <a:pt x="10406714" y="6278068"/>
                </a:cubicBezTo>
                <a:cubicBezTo>
                  <a:pt x="10407314" y="6279648"/>
                  <a:pt x="10408795" y="6281834"/>
                  <a:pt x="10411394" y="6282584"/>
                </a:cubicBezTo>
                <a:cubicBezTo>
                  <a:pt x="10415062" y="6283291"/>
                  <a:pt x="10416450" y="6285800"/>
                  <a:pt x="10416069" y="6289558"/>
                </a:cubicBezTo>
                <a:cubicBezTo>
                  <a:pt x="10416064" y="6292017"/>
                  <a:pt x="10417313" y="6293784"/>
                  <a:pt x="10418470" y="6295876"/>
                </a:cubicBezTo>
                <a:cubicBezTo>
                  <a:pt x="10421570" y="6300989"/>
                  <a:pt x="10422209" y="6306096"/>
                  <a:pt x="10418898" y="6311467"/>
                </a:cubicBezTo>
                <a:cubicBezTo>
                  <a:pt x="10416986" y="6314432"/>
                  <a:pt x="10416931" y="6318283"/>
                  <a:pt x="10419619" y="6321168"/>
                </a:cubicBezTo>
                <a:cubicBezTo>
                  <a:pt x="10419243" y="6322466"/>
                  <a:pt x="10418868" y="6323764"/>
                  <a:pt x="10418494" y="6325062"/>
                </a:cubicBezTo>
                <a:cubicBezTo>
                  <a:pt x="10415101" y="6325840"/>
                  <a:pt x="10413239" y="6327413"/>
                  <a:pt x="10412346" y="6331725"/>
                </a:cubicBezTo>
                <a:cubicBezTo>
                  <a:pt x="10410985" y="6337660"/>
                  <a:pt x="10407074" y="6341454"/>
                  <a:pt x="10400201" y="6340877"/>
                </a:cubicBezTo>
                <a:cubicBezTo>
                  <a:pt x="10397183" y="6340356"/>
                  <a:pt x="10397177" y="6342816"/>
                  <a:pt x="10396616" y="6344763"/>
                </a:cubicBezTo>
                <a:cubicBezTo>
                  <a:pt x="10395679" y="6348008"/>
                  <a:pt x="10394192" y="6348282"/>
                  <a:pt x="10392248" y="6345260"/>
                </a:cubicBezTo>
                <a:cubicBezTo>
                  <a:pt x="10389286" y="6340890"/>
                  <a:pt x="10386685" y="6340140"/>
                  <a:pt x="10384119" y="6345374"/>
                </a:cubicBezTo>
                <a:cubicBezTo>
                  <a:pt x="10383419" y="6346579"/>
                  <a:pt x="10381975" y="6347920"/>
                  <a:pt x="10381144" y="6345922"/>
                </a:cubicBezTo>
                <a:cubicBezTo>
                  <a:pt x="10378138" y="6340485"/>
                  <a:pt x="10374464" y="6342237"/>
                  <a:pt x="10370371" y="6344219"/>
                </a:cubicBezTo>
                <a:cubicBezTo>
                  <a:pt x="10369860" y="6344774"/>
                  <a:pt x="10368560" y="6344399"/>
                  <a:pt x="10367909" y="6344212"/>
                </a:cubicBezTo>
                <a:cubicBezTo>
                  <a:pt x="10361423" y="6337418"/>
                  <a:pt x="10355447" y="6330068"/>
                  <a:pt x="10349055" y="6322949"/>
                </a:cubicBezTo>
                <a:cubicBezTo>
                  <a:pt x="10346136" y="6319646"/>
                  <a:pt x="10345966" y="6312917"/>
                  <a:pt x="10345746" y="6307580"/>
                </a:cubicBezTo>
                <a:cubicBezTo>
                  <a:pt x="10345659" y="6305445"/>
                  <a:pt x="10346546" y="6303592"/>
                  <a:pt x="10345064" y="6301406"/>
                </a:cubicBezTo>
                <a:cubicBezTo>
                  <a:pt x="10343582" y="6299222"/>
                  <a:pt x="10344469" y="6297369"/>
                  <a:pt x="10346331" y="6295796"/>
                </a:cubicBezTo>
                <a:cubicBezTo>
                  <a:pt x="10347357" y="6294686"/>
                  <a:pt x="10349124" y="6293438"/>
                  <a:pt x="10348524" y="6291858"/>
                </a:cubicBezTo>
                <a:cubicBezTo>
                  <a:pt x="10346398" y="6287027"/>
                  <a:pt x="10346916" y="6284011"/>
                  <a:pt x="10352677" y="6283565"/>
                </a:cubicBezTo>
                <a:cubicBezTo>
                  <a:pt x="10354071" y="6283616"/>
                  <a:pt x="10354958" y="6281762"/>
                  <a:pt x="10353940" y="6280413"/>
                </a:cubicBezTo>
                <a:lnTo>
                  <a:pt x="10354009" y="6280250"/>
                </a:lnTo>
                <a:lnTo>
                  <a:pt x="10338807" y="6285682"/>
                </a:lnTo>
                <a:cubicBezTo>
                  <a:pt x="10082232" y="6370799"/>
                  <a:pt x="9817643" y="6411122"/>
                  <a:pt x="9547170" y="6390436"/>
                </a:cubicBezTo>
                <a:cubicBezTo>
                  <a:pt x="9443025" y="6383250"/>
                  <a:pt x="9339426" y="6394483"/>
                  <a:pt x="9235048" y="6384855"/>
                </a:cubicBezTo>
                <a:cubicBezTo>
                  <a:pt x="9186401" y="6378467"/>
                  <a:pt x="9137519" y="6369640"/>
                  <a:pt x="9090371" y="6353255"/>
                </a:cubicBezTo>
                <a:cubicBezTo>
                  <a:pt x="9001190" y="6322456"/>
                  <a:pt x="8909409" y="6302989"/>
                  <a:pt x="8817627" y="6283525"/>
                </a:cubicBezTo>
                <a:cubicBezTo>
                  <a:pt x="8829037" y="6299665"/>
                  <a:pt x="8891374" y="6333057"/>
                  <a:pt x="8924275" y="6342196"/>
                </a:cubicBezTo>
                <a:cubicBezTo>
                  <a:pt x="8879085" y="6358875"/>
                  <a:pt x="8606268" y="6275604"/>
                  <a:pt x="8530949" y="6222529"/>
                </a:cubicBezTo>
                <a:cubicBezTo>
                  <a:pt x="8550868" y="6211986"/>
                  <a:pt x="8571967" y="6213644"/>
                  <a:pt x="8594795" y="6207745"/>
                </a:cubicBezTo>
                <a:cubicBezTo>
                  <a:pt x="8561112" y="6177745"/>
                  <a:pt x="8520888" y="6169312"/>
                  <a:pt x="8483973" y="6156866"/>
                </a:cubicBezTo>
                <a:cubicBezTo>
                  <a:pt x="8476416" y="6155133"/>
                  <a:pt x="8470435" y="6156942"/>
                  <a:pt x="8470037" y="6165601"/>
                </a:cubicBezTo>
                <a:cubicBezTo>
                  <a:pt x="8467351" y="6201575"/>
                  <a:pt x="8445547" y="6192595"/>
                  <a:pt x="8426184" y="6183382"/>
                </a:cubicBezTo>
                <a:cubicBezTo>
                  <a:pt x="8332050" y="6139513"/>
                  <a:pt x="8239017" y="6094306"/>
                  <a:pt x="8147953" y="6043983"/>
                </a:cubicBezTo>
                <a:cubicBezTo>
                  <a:pt x="8108993" y="6023113"/>
                  <a:pt x="8071687" y="6000237"/>
                  <a:pt x="8035867" y="5975215"/>
                </a:cubicBezTo>
                <a:lnTo>
                  <a:pt x="8031316" y="5971612"/>
                </a:lnTo>
                <a:lnTo>
                  <a:pt x="8018132" y="5979863"/>
                </a:lnTo>
                <a:cubicBezTo>
                  <a:pt x="8014414" y="5983585"/>
                  <a:pt x="8011120" y="5987975"/>
                  <a:pt x="8007278" y="5992241"/>
                </a:cubicBezTo>
                <a:cubicBezTo>
                  <a:pt x="8003561" y="5995964"/>
                  <a:pt x="7999720" y="6000230"/>
                  <a:pt x="7997937" y="6005535"/>
                </a:cubicBezTo>
                <a:cubicBezTo>
                  <a:pt x="7995732" y="6010175"/>
                  <a:pt x="7991964" y="6011601"/>
                  <a:pt x="7987527" y="6013446"/>
                </a:cubicBezTo>
                <a:cubicBezTo>
                  <a:pt x="7983089" y="6015292"/>
                  <a:pt x="7977758" y="6013505"/>
                  <a:pt x="7974165" y="6016685"/>
                </a:cubicBezTo>
                <a:cubicBezTo>
                  <a:pt x="7970347" y="6015815"/>
                  <a:pt x="7967074" y="6015069"/>
                  <a:pt x="7963255" y="6014199"/>
                </a:cubicBezTo>
                <a:cubicBezTo>
                  <a:pt x="7963627" y="6012570"/>
                  <a:pt x="7963204" y="6011902"/>
                  <a:pt x="7962113" y="6011653"/>
                </a:cubicBezTo>
                <a:cubicBezTo>
                  <a:pt x="7953932" y="6009789"/>
                  <a:pt x="7950805" y="6003364"/>
                  <a:pt x="7949562" y="5996226"/>
                </a:cubicBezTo>
                <a:cubicBezTo>
                  <a:pt x="7948196" y="5989632"/>
                  <a:pt x="7946161" y="5983455"/>
                  <a:pt x="7948860" y="5976645"/>
                </a:cubicBezTo>
                <a:cubicBezTo>
                  <a:pt x="7952229" y="5969414"/>
                  <a:pt x="7953540" y="5961145"/>
                  <a:pt x="7961447" y="5956663"/>
                </a:cubicBezTo>
                <a:cubicBezTo>
                  <a:pt x="7964124" y="5954988"/>
                  <a:pt x="7966677" y="5953856"/>
                  <a:pt x="7970743" y="5953640"/>
                </a:cubicBezTo>
                <a:cubicBezTo>
                  <a:pt x="7976569" y="5953254"/>
                  <a:pt x="7983733" y="5952031"/>
                  <a:pt x="7984076" y="5942969"/>
                </a:cubicBezTo>
                <a:lnTo>
                  <a:pt x="7988629" y="5937833"/>
                </a:lnTo>
                <a:lnTo>
                  <a:pt x="7932700" y="5893576"/>
                </a:lnTo>
                <a:cubicBezTo>
                  <a:pt x="7928450" y="5887830"/>
                  <a:pt x="7923099" y="5883420"/>
                  <a:pt x="7917747" y="5879010"/>
                </a:cubicBezTo>
                <a:cubicBezTo>
                  <a:pt x="7910823" y="5871056"/>
                  <a:pt x="7905236" y="5864208"/>
                  <a:pt x="7911615" y="5853740"/>
                </a:cubicBezTo>
                <a:cubicBezTo>
                  <a:pt x="7919096" y="5841932"/>
                  <a:pt x="7929329" y="5845872"/>
                  <a:pt x="7938458" y="5851148"/>
                </a:cubicBezTo>
                <a:cubicBezTo>
                  <a:pt x="7959395" y="5863905"/>
                  <a:pt x="7979228" y="5878002"/>
                  <a:pt x="8000162" y="5890758"/>
                </a:cubicBezTo>
                <a:cubicBezTo>
                  <a:pt x="8007955" y="5894933"/>
                  <a:pt x="8016850" y="5897769"/>
                  <a:pt x="8026847" y="5899266"/>
                </a:cubicBezTo>
                <a:cubicBezTo>
                  <a:pt x="8011820" y="5871160"/>
                  <a:pt x="7987973" y="5853757"/>
                  <a:pt x="7961922" y="5839030"/>
                </a:cubicBezTo>
                <a:lnTo>
                  <a:pt x="7859328" y="5774142"/>
                </a:lnTo>
                <a:lnTo>
                  <a:pt x="7796908" y="5826606"/>
                </a:lnTo>
                <a:cubicBezTo>
                  <a:pt x="7751434" y="5862794"/>
                  <a:pt x="7704817" y="5897655"/>
                  <a:pt x="7656674" y="5930748"/>
                </a:cubicBezTo>
                <a:cubicBezTo>
                  <a:pt x="7606483" y="5964683"/>
                  <a:pt x="7555698" y="5996931"/>
                  <a:pt x="7504317" y="6027505"/>
                </a:cubicBezTo>
                <a:lnTo>
                  <a:pt x="7412996" y="6078278"/>
                </a:lnTo>
                <a:lnTo>
                  <a:pt x="7411442" y="6080646"/>
                </a:lnTo>
                <a:cubicBezTo>
                  <a:pt x="7409446" y="6083211"/>
                  <a:pt x="7407250" y="6085328"/>
                  <a:pt x="7404837" y="6086187"/>
                </a:cubicBezTo>
                <a:lnTo>
                  <a:pt x="7388133" y="6092102"/>
                </a:lnTo>
                <a:lnTo>
                  <a:pt x="7348375" y="6114207"/>
                </a:lnTo>
                <a:cubicBezTo>
                  <a:pt x="7032893" y="6277596"/>
                  <a:pt x="6695758" y="6381016"/>
                  <a:pt x="6336067" y="6426635"/>
                </a:cubicBezTo>
                <a:cubicBezTo>
                  <a:pt x="6245120" y="6438461"/>
                  <a:pt x="6157918" y="6459396"/>
                  <a:pt x="6066457" y="6454405"/>
                </a:cubicBezTo>
                <a:cubicBezTo>
                  <a:pt x="6057678" y="6453754"/>
                  <a:pt x="6048570" y="6457498"/>
                  <a:pt x="6042256" y="6447317"/>
                </a:cubicBezTo>
                <a:cubicBezTo>
                  <a:pt x="6040334" y="6437461"/>
                  <a:pt x="6048365" y="6436289"/>
                  <a:pt x="6052760" y="6436612"/>
                </a:cubicBezTo>
                <a:cubicBezTo>
                  <a:pt x="6345499" y="6418502"/>
                  <a:pt x="6624902" y="6342002"/>
                  <a:pt x="6903130" y="6257467"/>
                </a:cubicBezTo>
                <a:cubicBezTo>
                  <a:pt x="7049370" y="6214400"/>
                  <a:pt x="7183630" y="6142189"/>
                  <a:pt x="7320884" y="6077265"/>
                </a:cubicBezTo>
                <a:lnTo>
                  <a:pt x="7339645" y="6068760"/>
                </a:lnTo>
                <a:lnTo>
                  <a:pt x="7335518" y="6059520"/>
                </a:lnTo>
                <a:cubicBezTo>
                  <a:pt x="7337035" y="6054632"/>
                  <a:pt x="7336026" y="6051985"/>
                  <a:pt x="7333012" y="6049285"/>
                </a:cubicBezTo>
                <a:cubicBezTo>
                  <a:pt x="7333360" y="6047754"/>
                  <a:pt x="7333710" y="6046223"/>
                  <a:pt x="7334059" y="6044691"/>
                </a:cubicBezTo>
                <a:lnTo>
                  <a:pt x="7336570" y="6040851"/>
                </a:lnTo>
                <a:lnTo>
                  <a:pt x="7222909" y="6097617"/>
                </a:lnTo>
                <a:lnTo>
                  <a:pt x="7213203" y="6109304"/>
                </a:lnTo>
                <a:cubicBezTo>
                  <a:pt x="7213054" y="6111830"/>
                  <a:pt x="7211920" y="6113064"/>
                  <a:pt x="7209660" y="6113616"/>
                </a:cubicBezTo>
                <a:cubicBezTo>
                  <a:pt x="7208304" y="6113947"/>
                  <a:pt x="7206995" y="6114075"/>
                  <a:pt x="7205640" y="6114405"/>
                </a:cubicBezTo>
                <a:cubicBezTo>
                  <a:pt x="7203831" y="6114847"/>
                  <a:pt x="7202946" y="6115925"/>
                  <a:pt x="7202936" y="6117841"/>
                </a:cubicBezTo>
                <a:lnTo>
                  <a:pt x="7203550" y="6119337"/>
                </a:lnTo>
                <a:lnTo>
                  <a:pt x="7184103" y="6131492"/>
                </a:lnTo>
                <a:lnTo>
                  <a:pt x="7185143" y="6128503"/>
                </a:lnTo>
                <a:cubicBezTo>
                  <a:pt x="7185918" y="6126974"/>
                  <a:pt x="7186103" y="6126163"/>
                  <a:pt x="7184509" y="6124733"/>
                </a:cubicBezTo>
                <a:cubicBezTo>
                  <a:pt x="7182665" y="6123460"/>
                  <a:pt x="7181622" y="6124289"/>
                  <a:pt x="7180534" y="6125320"/>
                </a:cubicBezTo>
                <a:cubicBezTo>
                  <a:pt x="7179740" y="6125993"/>
                  <a:pt x="7179352" y="6126757"/>
                  <a:pt x="7178716" y="6127679"/>
                </a:cubicBezTo>
                <a:cubicBezTo>
                  <a:pt x="7175920" y="6131521"/>
                  <a:pt x="7174657" y="6131446"/>
                  <a:pt x="7172399" y="6127305"/>
                </a:cubicBezTo>
                <a:cubicBezTo>
                  <a:pt x="7171975" y="6126356"/>
                  <a:pt x="7171395" y="6125157"/>
                  <a:pt x="7170178" y="6124880"/>
                </a:cubicBezTo>
                <a:cubicBezTo>
                  <a:pt x="7168712" y="6124759"/>
                  <a:pt x="7168342" y="6126381"/>
                  <a:pt x="7167706" y="6127302"/>
                </a:cubicBezTo>
                <a:cubicBezTo>
                  <a:pt x="7167115" y="6128021"/>
                  <a:pt x="7166727" y="6128786"/>
                  <a:pt x="7166543" y="6129597"/>
                </a:cubicBezTo>
                <a:cubicBezTo>
                  <a:pt x="7165845" y="6131251"/>
                  <a:pt x="7165002" y="6131912"/>
                  <a:pt x="7164099" y="6131893"/>
                </a:cubicBezTo>
                <a:cubicBezTo>
                  <a:pt x="7163197" y="6131874"/>
                  <a:pt x="7162236" y="6131175"/>
                  <a:pt x="7161305" y="6130109"/>
                </a:cubicBezTo>
                <a:lnTo>
                  <a:pt x="7160055" y="6128381"/>
                </a:lnTo>
                <a:lnTo>
                  <a:pt x="6961547" y="6207513"/>
                </a:lnTo>
                <a:cubicBezTo>
                  <a:pt x="6481845" y="6381397"/>
                  <a:pt x="5988133" y="6437356"/>
                  <a:pt x="5475866" y="6333050"/>
                </a:cubicBezTo>
                <a:cubicBezTo>
                  <a:pt x="5471472" y="6332724"/>
                  <a:pt x="5465261" y="6333149"/>
                  <a:pt x="5461944" y="6330254"/>
                </a:cubicBezTo>
                <a:cubicBezTo>
                  <a:pt x="5459375" y="6329181"/>
                  <a:pt x="5457878" y="6325539"/>
                  <a:pt x="5453061" y="6319001"/>
                </a:cubicBezTo>
                <a:cubicBezTo>
                  <a:pt x="5494402" y="6321173"/>
                  <a:pt x="5530600" y="6321198"/>
                  <a:pt x="5569045" y="6326687"/>
                </a:cubicBezTo>
                <a:cubicBezTo>
                  <a:pt x="5855726" y="6366417"/>
                  <a:pt x="6142891" y="6339947"/>
                  <a:pt x="6430830" y="6315299"/>
                </a:cubicBezTo>
                <a:cubicBezTo>
                  <a:pt x="6463713" y="6312428"/>
                  <a:pt x="6494679" y="6299703"/>
                  <a:pt x="6525320" y="6291370"/>
                </a:cubicBezTo>
                <a:cubicBezTo>
                  <a:pt x="6532604" y="6288375"/>
                  <a:pt x="6545779" y="6289350"/>
                  <a:pt x="6542358" y="6275850"/>
                </a:cubicBezTo>
                <a:cubicBezTo>
                  <a:pt x="6540438" y="6265993"/>
                  <a:pt x="6530907" y="6263524"/>
                  <a:pt x="6521376" y="6261052"/>
                </a:cubicBezTo>
                <a:cubicBezTo>
                  <a:pt x="6510022" y="6259331"/>
                  <a:pt x="6496099" y="6256537"/>
                  <a:pt x="6485820" y="6252245"/>
                </a:cubicBezTo>
                <a:lnTo>
                  <a:pt x="6540860" y="6236804"/>
                </a:lnTo>
                <a:lnTo>
                  <a:pt x="6461633" y="6253101"/>
                </a:lnTo>
                <a:cubicBezTo>
                  <a:pt x="6282401" y="6279103"/>
                  <a:pt x="6104722" y="6286311"/>
                  <a:pt x="5928161" y="6275201"/>
                </a:cubicBezTo>
                <a:lnTo>
                  <a:pt x="5880223" y="6269693"/>
                </a:lnTo>
                <a:lnTo>
                  <a:pt x="5808464" y="6269066"/>
                </a:lnTo>
                <a:cubicBezTo>
                  <a:pt x="5721494" y="6264159"/>
                  <a:pt x="5634374" y="6255125"/>
                  <a:pt x="5547045" y="6242048"/>
                </a:cubicBezTo>
                <a:cubicBezTo>
                  <a:pt x="5540076" y="6240651"/>
                  <a:pt x="5536765" y="6237756"/>
                  <a:pt x="5530128" y="6231967"/>
                </a:cubicBezTo>
                <a:lnTo>
                  <a:pt x="5636074" y="6238728"/>
                </a:lnTo>
                <a:lnTo>
                  <a:pt x="5401349" y="6187392"/>
                </a:lnTo>
                <a:cubicBezTo>
                  <a:pt x="5355312" y="6174574"/>
                  <a:pt x="5308636" y="6163504"/>
                  <a:pt x="5262211" y="6151496"/>
                </a:cubicBezTo>
                <a:lnTo>
                  <a:pt x="5249410" y="6147635"/>
                </a:lnTo>
                <a:lnTo>
                  <a:pt x="5249474" y="6153116"/>
                </a:lnTo>
                <a:cubicBezTo>
                  <a:pt x="5251270" y="6155811"/>
                  <a:pt x="5250568" y="6158198"/>
                  <a:pt x="5248019" y="6160253"/>
                </a:cubicBezTo>
                <a:cubicBezTo>
                  <a:pt x="5246493" y="6161748"/>
                  <a:pt x="5246166" y="6163597"/>
                  <a:pt x="5245581" y="6165585"/>
                </a:cubicBezTo>
                <a:cubicBezTo>
                  <a:pt x="5244311" y="6170615"/>
                  <a:pt x="5241544" y="6174121"/>
                  <a:pt x="5236208" y="6175350"/>
                </a:cubicBezTo>
                <a:cubicBezTo>
                  <a:pt x="5233208" y="6175976"/>
                  <a:pt x="5230796" y="6178289"/>
                  <a:pt x="5230651" y="6181706"/>
                </a:cubicBezTo>
                <a:cubicBezTo>
                  <a:pt x="5229618" y="6182266"/>
                  <a:pt x="5228584" y="6182825"/>
                  <a:pt x="5227555" y="6183384"/>
                </a:cubicBezTo>
                <a:cubicBezTo>
                  <a:pt x="5225010" y="6181764"/>
                  <a:pt x="5222906" y="6181572"/>
                  <a:pt x="5219694" y="6183649"/>
                </a:cubicBezTo>
                <a:cubicBezTo>
                  <a:pt x="5215197" y="6186424"/>
                  <a:pt x="5210476" y="6186321"/>
                  <a:pt x="5206650" y="6181724"/>
                </a:cubicBezTo>
                <a:cubicBezTo>
                  <a:pt x="5205124" y="6179544"/>
                  <a:pt x="5203603" y="6181039"/>
                  <a:pt x="5202058" y="6181878"/>
                </a:cubicBezTo>
                <a:cubicBezTo>
                  <a:pt x="5199484" y="6183277"/>
                  <a:pt x="5198408" y="6182525"/>
                  <a:pt x="5199091" y="6179484"/>
                </a:cubicBezTo>
                <a:cubicBezTo>
                  <a:pt x="5199980" y="6174990"/>
                  <a:pt x="5198864" y="6172928"/>
                  <a:pt x="5194070" y="6174533"/>
                </a:cubicBezTo>
                <a:cubicBezTo>
                  <a:pt x="5192894" y="6174835"/>
                  <a:pt x="5191193" y="6174761"/>
                  <a:pt x="5191923" y="6173031"/>
                </a:cubicBezTo>
                <a:cubicBezTo>
                  <a:pt x="5193448" y="6167860"/>
                  <a:pt x="5190128" y="6166658"/>
                  <a:pt x="5186411" y="6165340"/>
                </a:cubicBezTo>
                <a:cubicBezTo>
                  <a:pt x="5185760" y="6165361"/>
                  <a:pt x="5185192" y="6164330"/>
                  <a:pt x="5184919" y="6163814"/>
                </a:cubicBezTo>
                <a:cubicBezTo>
                  <a:pt x="5185157" y="6155668"/>
                  <a:pt x="5186062" y="6147500"/>
                  <a:pt x="5186555" y="6139213"/>
                </a:cubicBezTo>
                <a:lnTo>
                  <a:pt x="5192317" y="6130414"/>
                </a:lnTo>
                <a:lnTo>
                  <a:pt x="5124569" y="6109979"/>
                </a:lnTo>
                <a:lnTo>
                  <a:pt x="5119902" y="6107931"/>
                </a:lnTo>
                <a:lnTo>
                  <a:pt x="5114111" y="6111988"/>
                </a:lnTo>
                <a:cubicBezTo>
                  <a:pt x="5088245" y="6128437"/>
                  <a:pt x="5061464" y="6143567"/>
                  <a:pt x="5033293" y="6156713"/>
                </a:cubicBezTo>
                <a:cubicBezTo>
                  <a:pt x="4961204" y="6189852"/>
                  <a:pt x="4888940" y="6222598"/>
                  <a:pt x="4816214" y="6254081"/>
                </a:cubicBezTo>
                <a:lnTo>
                  <a:pt x="4710048" y="6297422"/>
                </a:lnTo>
                <a:lnTo>
                  <a:pt x="4708599" y="6298932"/>
                </a:lnTo>
                <a:cubicBezTo>
                  <a:pt x="4704583" y="6299770"/>
                  <a:pt x="4701352" y="6302869"/>
                  <a:pt x="4701156" y="6307448"/>
                </a:cubicBezTo>
                <a:cubicBezTo>
                  <a:pt x="4699779" y="6308198"/>
                  <a:pt x="4698399" y="6308947"/>
                  <a:pt x="4697017" y="6309697"/>
                </a:cubicBezTo>
                <a:cubicBezTo>
                  <a:pt x="4693606" y="6307525"/>
                  <a:pt x="4690786" y="6307269"/>
                  <a:pt x="4686486" y="6310051"/>
                </a:cubicBezTo>
                <a:cubicBezTo>
                  <a:pt x="4683475" y="6311910"/>
                  <a:pt x="4680389" y="6312805"/>
                  <a:pt x="4677410" y="6312466"/>
                </a:cubicBezTo>
                <a:lnTo>
                  <a:pt x="4675693" y="6311446"/>
                </a:lnTo>
                <a:lnTo>
                  <a:pt x="4596300" y="6343857"/>
                </a:lnTo>
                <a:cubicBezTo>
                  <a:pt x="4448325" y="6400015"/>
                  <a:pt x="4297235" y="6447625"/>
                  <a:pt x="4140645" y="6479712"/>
                </a:cubicBezTo>
                <a:lnTo>
                  <a:pt x="4055861" y="6494497"/>
                </a:lnTo>
                <a:lnTo>
                  <a:pt x="4032110" y="6504253"/>
                </a:lnTo>
                <a:cubicBezTo>
                  <a:pt x="4021077" y="6507157"/>
                  <a:pt x="4009956" y="6508570"/>
                  <a:pt x="3999198" y="6508618"/>
                </a:cubicBezTo>
                <a:cubicBezTo>
                  <a:pt x="3951435" y="6511931"/>
                  <a:pt x="3903380" y="6517365"/>
                  <a:pt x="3855035" y="6521828"/>
                </a:cubicBezTo>
                <a:lnTo>
                  <a:pt x="3786789" y="6525283"/>
                </a:lnTo>
                <a:lnTo>
                  <a:pt x="3784056" y="6527055"/>
                </a:lnTo>
                <a:cubicBezTo>
                  <a:pt x="3778764" y="6530421"/>
                  <a:pt x="3772866" y="6531886"/>
                  <a:pt x="3766635" y="6531526"/>
                </a:cubicBezTo>
                <a:cubicBezTo>
                  <a:pt x="3762604" y="6531515"/>
                  <a:pt x="3752667" y="6539008"/>
                  <a:pt x="3751251" y="6542917"/>
                </a:cubicBezTo>
                <a:cubicBezTo>
                  <a:pt x="3750867" y="6544246"/>
                  <a:pt x="3750559" y="6545309"/>
                  <a:pt x="3752002" y="6546301"/>
                </a:cubicBezTo>
                <a:cubicBezTo>
                  <a:pt x="3759169" y="6552400"/>
                  <a:pt x="3761086" y="6560726"/>
                  <a:pt x="3762318" y="6569429"/>
                </a:cubicBezTo>
                <a:cubicBezTo>
                  <a:pt x="3762656" y="6571253"/>
                  <a:pt x="3762803" y="6572735"/>
                  <a:pt x="3763218" y="6574294"/>
                </a:cubicBezTo>
                <a:lnTo>
                  <a:pt x="3762579" y="6579478"/>
                </a:lnTo>
                <a:lnTo>
                  <a:pt x="3800787" y="6578493"/>
                </a:lnTo>
                <a:cubicBezTo>
                  <a:pt x="3850248" y="6576122"/>
                  <a:pt x="3901538" y="6574240"/>
                  <a:pt x="3950871" y="6579646"/>
                </a:cubicBezTo>
                <a:lnTo>
                  <a:pt x="3761062" y="6598346"/>
                </a:lnTo>
                <a:lnTo>
                  <a:pt x="3760783" y="6604679"/>
                </a:lnTo>
                <a:cubicBezTo>
                  <a:pt x="3761157" y="6607378"/>
                  <a:pt x="3761228" y="6609126"/>
                  <a:pt x="3758677" y="6610980"/>
                </a:cubicBezTo>
                <a:cubicBezTo>
                  <a:pt x="3748320" y="6618929"/>
                  <a:pt x="3739515" y="6628479"/>
                  <a:pt x="3734695" y="6641191"/>
                </a:cubicBezTo>
                <a:cubicBezTo>
                  <a:pt x="3733890" y="6642975"/>
                  <a:pt x="3733130" y="6643619"/>
                  <a:pt x="3731422" y="6642550"/>
                </a:cubicBezTo>
                <a:cubicBezTo>
                  <a:pt x="3724436" y="6638807"/>
                  <a:pt x="3718503" y="6641411"/>
                  <a:pt x="3712981" y="6645575"/>
                </a:cubicBezTo>
                <a:cubicBezTo>
                  <a:pt x="3710429" y="6647429"/>
                  <a:pt x="3708450" y="6648297"/>
                  <a:pt x="3705455" y="6645705"/>
                </a:cubicBezTo>
                <a:cubicBezTo>
                  <a:pt x="3701893" y="6642086"/>
                  <a:pt x="3697291" y="6643061"/>
                  <a:pt x="3692991" y="6644986"/>
                </a:cubicBezTo>
                <a:cubicBezTo>
                  <a:pt x="3689377" y="6646534"/>
                  <a:pt x="3685608" y="6648612"/>
                  <a:pt x="3681993" y="6650159"/>
                </a:cubicBezTo>
                <a:cubicBezTo>
                  <a:pt x="3680226" y="6650801"/>
                  <a:pt x="3678656" y="6650996"/>
                  <a:pt x="3677595" y="6650437"/>
                </a:cubicBezTo>
                <a:cubicBezTo>
                  <a:pt x="3676530" y="6649878"/>
                  <a:pt x="3675974" y="6648566"/>
                  <a:pt x="3676226" y="6646192"/>
                </a:cubicBezTo>
                <a:cubicBezTo>
                  <a:pt x="3676533" y="6645130"/>
                  <a:pt x="3676576" y="6643990"/>
                  <a:pt x="3676350" y="6642773"/>
                </a:cubicBezTo>
                <a:cubicBezTo>
                  <a:pt x="3676200" y="6641292"/>
                  <a:pt x="3676816" y="6639166"/>
                  <a:pt x="3675029" y="6638362"/>
                </a:cubicBezTo>
                <a:cubicBezTo>
                  <a:pt x="3673437" y="6637903"/>
                  <a:pt x="3671990" y="6638924"/>
                  <a:pt x="3670884" y="6639757"/>
                </a:cubicBezTo>
                <a:cubicBezTo>
                  <a:pt x="3665595" y="6643123"/>
                  <a:pt x="3664075" y="6642396"/>
                  <a:pt x="3663294" y="6636126"/>
                </a:cubicBezTo>
                <a:cubicBezTo>
                  <a:pt x="3663146" y="6634644"/>
                  <a:pt x="3663185" y="6633505"/>
                  <a:pt x="3662695" y="6632211"/>
                </a:cubicBezTo>
                <a:cubicBezTo>
                  <a:pt x="3662091" y="6630310"/>
                  <a:pt x="3661409" y="6628675"/>
                  <a:pt x="3658446" y="6628970"/>
                </a:cubicBezTo>
                <a:cubicBezTo>
                  <a:pt x="3655671" y="6629609"/>
                  <a:pt x="3655363" y="6630671"/>
                  <a:pt x="3655282" y="6632951"/>
                </a:cubicBezTo>
                <a:lnTo>
                  <a:pt x="3654569" y="6637099"/>
                </a:lnTo>
                <a:lnTo>
                  <a:pt x="3639753" y="6610436"/>
                </a:lnTo>
                <a:lnTo>
                  <a:pt x="3641433" y="6609091"/>
                </a:lnTo>
                <a:lnTo>
                  <a:pt x="3641164" y="6607444"/>
                </a:lnTo>
                <a:lnTo>
                  <a:pt x="3384236" y="6606026"/>
                </a:lnTo>
                <a:cubicBezTo>
                  <a:pt x="3242882" y="6597812"/>
                  <a:pt x="3101782" y="6578404"/>
                  <a:pt x="2960986" y="6547613"/>
                </a:cubicBezTo>
                <a:lnTo>
                  <a:pt x="2960621" y="6547523"/>
                </a:lnTo>
                <a:lnTo>
                  <a:pt x="2960658" y="6548866"/>
                </a:lnTo>
                <a:cubicBezTo>
                  <a:pt x="2958747" y="6551830"/>
                  <a:pt x="2958692" y="6555681"/>
                  <a:pt x="2961377" y="6558566"/>
                </a:cubicBezTo>
                <a:cubicBezTo>
                  <a:pt x="2961005" y="6559864"/>
                  <a:pt x="2960629" y="6561162"/>
                  <a:pt x="2960254" y="6562460"/>
                </a:cubicBezTo>
                <a:cubicBezTo>
                  <a:pt x="2956863" y="6563239"/>
                  <a:pt x="2955001" y="6564810"/>
                  <a:pt x="2954106" y="6569124"/>
                </a:cubicBezTo>
                <a:cubicBezTo>
                  <a:pt x="2952746" y="6575059"/>
                  <a:pt x="2948836" y="6578852"/>
                  <a:pt x="2941962" y="6578274"/>
                </a:cubicBezTo>
                <a:cubicBezTo>
                  <a:pt x="2938942" y="6577754"/>
                  <a:pt x="2938939" y="6580214"/>
                  <a:pt x="2938376" y="6582161"/>
                </a:cubicBezTo>
                <a:cubicBezTo>
                  <a:pt x="2937441" y="6585407"/>
                  <a:pt x="2935953" y="6585680"/>
                  <a:pt x="2934006" y="6582658"/>
                </a:cubicBezTo>
                <a:cubicBezTo>
                  <a:pt x="2931047" y="6578288"/>
                  <a:pt x="2928448" y="6577537"/>
                  <a:pt x="2925880" y="6582772"/>
                </a:cubicBezTo>
                <a:cubicBezTo>
                  <a:pt x="2925181" y="6583977"/>
                  <a:pt x="2923738" y="6585318"/>
                  <a:pt x="2922905" y="6583321"/>
                </a:cubicBezTo>
                <a:cubicBezTo>
                  <a:pt x="2919899" y="6577883"/>
                  <a:pt x="2916225" y="6579635"/>
                  <a:pt x="2912133" y="6581618"/>
                </a:cubicBezTo>
                <a:cubicBezTo>
                  <a:pt x="2911621" y="6582173"/>
                  <a:pt x="2910319" y="6581797"/>
                  <a:pt x="2909673" y="6581610"/>
                </a:cubicBezTo>
                <a:cubicBezTo>
                  <a:pt x="2903184" y="6574816"/>
                  <a:pt x="2897211" y="6567466"/>
                  <a:pt x="2890817" y="6560347"/>
                </a:cubicBezTo>
                <a:cubicBezTo>
                  <a:pt x="2887896" y="6557044"/>
                  <a:pt x="2887727" y="6550315"/>
                  <a:pt x="2887508" y="6544978"/>
                </a:cubicBezTo>
                <a:cubicBezTo>
                  <a:pt x="2887419" y="6542843"/>
                  <a:pt x="2888307" y="6540990"/>
                  <a:pt x="2886827" y="6538805"/>
                </a:cubicBezTo>
                <a:cubicBezTo>
                  <a:pt x="2885344" y="6536620"/>
                  <a:pt x="2886232" y="6534766"/>
                  <a:pt x="2888092" y="6533194"/>
                </a:cubicBezTo>
                <a:lnTo>
                  <a:pt x="2889810" y="6530111"/>
                </a:lnTo>
                <a:lnTo>
                  <a:pt x="2820292" y="6513018"/>
                </a:lnTo>
                <a:cubicBezTo>
                  <a:pt x="2827192" y="6538302"/>
                  <a:pt x="2851502" y="6535051"/>
                  <a:pt x="2871284" y="6555976"/>
                </a:cubicBezTo>
                <a:cubicBezTo>
                  <a:pt x="2805679" y="6538398"/>
                  <a:pt x="2749189" y="6523263"/>
                  <a:pt x="2695986" y="6503147"/>
                </a:cubicBezTo>
                <a:lnTo>
                  <a:pt x="2536934" y="6441155"/>
                </a:lnTo>
                <a:lnTo>
                  <a:pt x="2526786" y="6443760"/>
                </a:lnTo>
                <a:cubicBezTo>
                  <a:pt x="2522757" y="6443749"/>
                  <a:pt x="2512817" y="6451243"/>
                  <a:pt x="2511401" y="6455151"/>
                </a:cubicBezTo>
                <a:lnTo>
                  <a:pt x="2511692" y="6456460"/>
                </a:lnTo>
                <a:lnTo>
                  <a:pt x="2591088" y="6495545"/>
                </a:lnTo>
                <a:cubicBezTo>
                  <a:pt x="2639460" y="6517295"/>
                  <a:pt x="2689262" y="6535523"/>
                  <a:pt x="2743330" y="6545127"/>
                </a:cubicBezTo>
                <a:cubicBezTo>
                  <a:pt x="2767997" y="6547830"/>
                  <a:pt x="2790091" y="6567422"/>
                  <a:pt x="2814627" y="6577902"/>
                </a:cubicBezTo>
                <a:cubicBezTo>
                  <a:pt x="2915440" y="6624444"/>
                  <a:pt x="3025166" y="6630409"/>
                  <a:pt x="3133792" y="6647797"/>
                </a:cubicBezTo>
                <a:cubicBezTo>
                  <a:pt x="3194390" y="6656711"/>
                  <a:pt x="3254984" y="6664281"/>
                  <a:pt x="3315594" y="6670421"/>
                </a:cubicBezTo>
                <a:lnTo>
                  <a:pt x="3406809" y="6677463"/>
                </a:lnTo>
                <a:lnTo>
                  <a:pt x="3413963" y="6667422"/>
                </a:lnTo>
                <a:cubicBezTo>
                  <a:pt x="3416230" y="6666179"/>
                  <a:pt x="3418368" y="6665373"/>
                  <a:pt x="3421702" y="6665386"/>
                </a:cubicBezTo>
                <a:cubicBezTo>
                  <a:pt x="3426480" y="6665341"/>
                  <a:pt x="3432393" y="6664675"/>
                  <a:pt x="3433093" y="6657287"/>
                </a:cubicBezTo>
                <a:cubicBezTo>
                  <a:pt x="3433413" y="6654531"/>
                  <a:pt x="3436305" y="6654418"/>
                  <a:pt x="3437125" y="6653231"/>
                </a:cubicBezTo>
                <a:cubicBezTo>
                  <a:pt x="3441347" y="6646858"/>
                  <a:pt x="3447511" y="6645316"/>
                  <a:pt x="3453863" y="6644777"/>
                </a:cubicBezTo>
                <a:cubicBezTo>
                  <a:pt x="3457570" y="6646796"/>
                  <a:pt x="3460836" y="6648688"/>
                  <a:pt x="3464793" y="6649831"/>
                </a:cubicBezTo>
                <a:cubicBezTo>
                  <a:pt x="3468757" y="6650973"/>
                  <a:pt x="3471955" y="6654744"/>
                  <a:pt x="3472704" y="6658756"/>
                </a:cubicBezTo>
                <a:cubicBezTo>
                  <a:pt x="3473139" y="6662203"/>
                  <a:pt x="3473952" y="6664335"/>
                  <a:pt x="3476214" y="6666412"/>
                </a:cubicBezTo>
                <a:cubicBezTo>
                  <a:pt x="3474696" y="6671667"/>
                  <a:pt x="3473180" y="6676923"/>
                  <a:pt x="3471663" y="6682180"/>
                </a:cubicBezTo>
                <a:lnTo>
                  <a:pt x="3471197" y="6682435"/>
                </a:lnTo>
                <a:lnTo>
                  <a:pt x="3497495" y="6684466"/>
                </a:lnTo>
                <a:lnTo>
                  <a:pt x="3638852" y="6688311"/>
                </a:lnTo>
                <a:lnTo>
                  <a:pt x="3638763" y="6687484"/>
                </a:lnTo>
                <a:cubicBezTo>
                  <a:pt x="3637281" y="6685298"/>
                  <a:pt x="3638169" y="6683445"/>
                  <a:pt x="3640029" y="6681873"/>
                </a:cubicBezTo>
                <a:cubicBezTo>
                  <a:pt x="3641053" y="6680763"/>
                  <a:pt x="3642821" y="6679516"/>
                  <a:pt x="3642222" y="6677936"/>
                </a:cubicBezTo>
                <a:cubicBezTo>
                  <a:pt x="3640096" y="6673103"/>
                  <a:pt x="3640615" y="6670089"/>
                  <a:pt x="3646377" y="6669642"/>
                </a:cubicBezTo>
                <a:cubicBezTo>
                  <a:pt x="3647768" y="6669693"/>
                  <a:pt x="3648655" y="6667840"/>
                  <a:pt x="3647636" y="6666491"/>
                </a:cubicBezTo>
                <a:cubicBezTo>
                  <a:pt x="3644443" y="6661702"/>
                  <a:pt x="3649461" y="6661393"/>
                  <a:pt x="3650860" y="6658984"/>
                </a:cubicBezTo>
                <a:cubicBezTo>
                  <a:pt x="3655664" y="6650877"/>
                  <a:pt x="3664988" y="6656382"/>
                  <a:pt x="3670762" y="6651017"/>
                </a:cubicBezTo>
                <a:cubicBezTo>
                  <a:pt x="3672715" y="6649121"/>
                  <a:pt x="3678421" y="6652525"/>
                  <a:pt x="3681250" y="6653693"/>
                </a:cubicBezTo>
                <a:cubicBezTo>
                  <a:pt x="3687793" y="6656636"/>
                  <a:pt x="3697136" y="6654762"/>
                  <a:pt x="3700413" y="6664145"/>
                </a:cubicBezTo>
                <a:cubicBezTo>
                  <a:pt x="3701012" y="6665725"/>
                  <a:pt x="3702490" y="6667910"/>
                  <a:pt x="3705092" y="6668660"/>
                </a:cubicBezTo>
                <a:cubicBezTo>
                  <a:pt x="3708760" y="6669367"/>
                  <a:pt x="3710147" y="6671877"/>
                  <a:pt x="3709765" y="6675635"/>
                </a:cubicBezTo>
                <a:cubicBezTo>
                  <a:pt x="3709761" y="6678094"/>
                  <a:pt x="3711011" y="6679862"/>
                  <a:pt x="3712166" y="6681952"/>
                </a:cubicBezTo>
                <a:lnTo>
                  <a:pt x="3712349" y="6688587"/>
                </a:lnTo>
                <a:lnTo>
                  <a:pt x="3862152" y="6684772"/>
                </a:lnTo>
                <a:cubicBezTo>
                  <a:pt x="3938172" y="6681705"/>
                  <a:pt x="4013076" y="6670039"/>
                  <a:pt x="4087841" y="6656140"/>
                </a:cubicBezTo>
                <a:lnTo>
                  <a:pt x="4130686" y="6648133"/>
                </a:lnTo>
                <a:lnTo>
                  <a:pt x="4130668" y="6648113"/>
                </a:lnTo>
                <a:cubicBezTo>
                  <a:pt x="4127748" y="6644810"/>
                  <a:pt x="4127578" y="6638082"/>
                  <a:pt x="4127358" y="6632745"/>
                </a:cubicBezTo>
                <a:cubicBezTo>
                  <a:pt x="4127271" y="6630610"/>
                  <a:pt x="4128159" y="6628757"/>
                  <a:pt x="4126676" y="6626571"/>
                </a:cubicBezTo>
                <a:cubicBezTo>
                  <a:pt x="4125194" y="6624385"/>
                  <a:pt x="4126081" y="6622532"/>
                  <a:pt x="4127943" y="6620960"/>
                </a:cubicBezTo>
                <a:cubicBezTo>
                  <a:pt x="4128967" y="6619850"/>
                  <a:pt x="4130737" y="6618603"/>
                  <a:pt x="4130137" y="6617023"/>
                </a:cubicBezTo>
                <a:cubicBezTo>
                  <a:pt x="4128012" y="6612190"/>
                  <a:pt x="4128531" y="6609176"/>
                  <a:pt x="4134290" y="6608729"/>
                </a:cubicBezTo>
                <a:cubicBezTo>
                  <a:pt x="4135685" y="6608780"/>
                  <a:pt x="4136572" y="6606927"/>
                  <a:pt x="4135552" y="6605578"/>
                </a:cubicBezTo>
                <a:cubicBezTo>
                  <a:pt x="4132359" y="6600789"/>
                  <a:pt x="4137376" y="6600479"/>
                  <a:pt x="4138775" y="6598071"/>
                </a:cubicBezTo>
                <a:cubicBezTo>
                  <a:pt x="4143580" y="6589965"/>
                  <a:pt x="4152903" y="6595469"/>
                  <a:pt x="4158676" y="6590104"/>
                </a:cubicBezTo>
                <a:cubicBezTo>
                  <a:pt x="4160629" y="6588207"/>
                  <a:pt x="4166335" y="6591612"/>
                  <a:pt x="4169167" y="6592781"/>
                </a:cubicBezTo>
                <a:cubicBezTo>
                  <a:pt x="4175709" y="6595723"/>
                  <a:pt x="4185051" y="6593849"/>
                  <a:pt x="4188326" y="6603232"/>
                </a:cubicBezTo>
                <a:cubicBezTo>
                  <a:pt x="4188929" y="6604812"/>
                  <a:pt x="4190410" y="6606997"/>
                  <a:pt x="4193007" y="6607747"/>
                </a:cubicBezTo>
                <a:cubicBezTo>
                  <a:pt x="4196653" y="6608455"/>
                  <a:pt x="4198041" y="6610964"/>
                  <a:pt x="4197662" y="6614722"/>
                </a:cubicBezTo>
                <a:cubicBezTo>
                  <a:pt x="4197653" y="6617181"/>
                  <a:pt x="4198905" y="6618948"/>
                  <a:pt x="4200063" y="6621040"/>
                </a:cubicBezTo>
                <a:lnTo>
                  <a:pt x="4200444" y="6635089"/>
                </a:lnTo>
                <a:lnTo>
                  <a:pt x="4312688" y="6614111"/>
                </a:lnTo>
                <a:cubicBezTo>
                  <a:pt x="4324596" y="6613397"/>
                  <a:pt x="4338819" y="6611348"/>
                  <a:pt x="4357172" y="6608455"/>
                </a:cubicBezTo>
                <a:cubicBezTo>
                  <a:pt x="4341577" y="6637477"/>
                  <a:pt x="4317984" y="6652638"/>
                  <a:pt x="4292346" y="6653579"/>
                </a:cubicBezTo>
                <a:cubicBezTo>
                  <a:pt x="4260871" y="6654422"/>
                  <a:pt x="4229733" y="6657672"/>
                  <a:pt x="4198774" y="6662285"/>
                </a:cubicBezTo>
                <a:lnTo>
                  <a:pt x="4182963" y="6665174"/>
                </a:lnTo>
                <a:lnTo>
                  <a:pt x="4181814" y="6666040"/>
                </a:lnTo>
                <a:cubicBezTo>
                  <a:pt x="4178797" y="6665521"/>
                  <a:pt x="4178790" y="6667980"/>
                  <a:pt x="4178229" y="6669927"/>
                </a:cubicBezTo>
                <a:cubicBezTo>
                  <a:pt x="4177291" y="6673172"/>
                  <a:pt x="4175804" y="6673446"/>
                  <a:pt x="4173859" y="6670424"/>
                </a:cubicBezTo>
                <a:lnTo>
                  <a:pt x="4170356" y="6667475"/>
                </a:lnTo>
                <a:lnTo>
                  <a:pt x="4168682" y="6667781"/>
                </a:lnTo>
                <a:lnTo>
                  <a:pt x="4165729" y="6670539"/>
                </a:lnTo>
                <a:cubicBezTo>
                  <a:pt x="4165032" y="6671743"/>
                  <a:pt x="4163587" y="6673084"/>
                  <a:pt x="4162756" y="6671087"/>
                </a:cubicBezTo>
                <a:lnTo>
                  <a:pt x="4160318" y="6669308"/>
                </a:lnTo>
                <a:lnTo>
                  <a:pt x="4106331" y="6679159"/>
                </a:lnTo>
                <a:cubicBezTo>
                  <a:pt x="4044860" y="6691738"/>
                  <a:pt x="3983534" y="6705577"/>
                  <a:pt x="3921185" y="6712306"/>
                </a:cubicBezTo>
                <a:lnTo>
                  <a:pt x="3698517" y="6723473"/>
                </a:lnTo>
                <a:lnTo>
                  <a:pt x="3693898" y="6726953"/>
                </a:lnTo>
                <a:cubicBezTo>
                  <a:pt x="3690881" y="6726434"/>
                  <a:pt x="3690876" y="6728892"/>
                  <a:pt x="3690314" y="6730840"/>
                </a:cubicBezTo>
                <a:cubicBezTo>
                  <a:pt x="3689377" y="6734085"/>
                  <a:pt x="3687890" y="6734360"/>
                  <a:pt x="3685944" y="6731337"/>
                </a:cubicBezTo>
                <a:cubicBezTo>
                  <a:pt x="3682982" y="6726967"/>
                  <a:pt x="3680382" y="6726216"/>
                  <a:pt x="3677817" y="6731452"/>
                </a:cubicBezTo>
                <a:cubicBezTo>
                  <a:pt x="3677117" y="6732657"/>
                  <a:pt x="3675674" y="6733998"/>
                  <a:pt x="3674842" y="6732000"/>
                </a:cubicBezTo>
                <a:cubicBezTo>
                  <a:pt x="3671835" y="6726561"/>
                  <a:pt x="3668161" y="6728313"/>
                  <a:pt x="3664070" y="6730296"/>
                </a:cubicBezTo>
                <a:cubicBezTo>
                  <a:pt x="3663557" y="6730852"/>
                  <a:pt x="3662258" y="6730477"/>
                  <a:pt x="3661609" y="6730289"/>
                </a:cubicBezTo>
                <a:lnTo>
                  <a:pt x="3657395" y="6725536"/>
                </a:lnTo>
                <a:lnTo>
                  <a:pt x="3623421" y="6727240"/>
                </a:lnTo>
                <a:cubicBezTo>
                  <a:pt x="3327313" y="6727359"/>
                  <a:pt x="3036075" y="6682646"/>
                  <a:pt x="2748989" y="6589609"/>
                </a:cubicBezTo>
                <a:cubicBezTo>
                  <a:pt x="2709511" y="6576590"/>
                  <a:pt x="2671004" y="6561756"/>
                  <a:pt x="2633126" y="6545716"/>
                </a:cubicBezTo>
                <a:lnTo>
                  <a:pt x="2522306" y="6495176"/>
                </a:lnTo>
                <a:lnTo>
                  <a:pt x="2521662" y="6500428"/>
                </a:lnTo>
                <a:cubicBezTo>
                  <a:pt x="2518265" y="6505205"/>
                  <a:pt x="2519656" y="6511364"/>
                  <a:pt x="2520934" y="6516914"/>
                </a:cubicBezTo>
                <a:cubicBezTo>
                  <a:pt x="2521307" y="6519612"/>
                  <a:pt x="2521379" y="6521360"/>
                  <a:pt x="2518827" y="6523214"/>
                </a:cubicBezTo>
                <a:lnTo>
                  <a:pt x="2507197" y="6537863"/>
                </a:lnTo>
                <a:lnTo>
                  <a:pt x="2508865" y="6538633"/>
                </a:lnTo>
                <a:cubicBezTo>
                  <a:pt x="2582685" y="6568362"/>
                  <a:pt x="2658298" y="6594602"/>
                  <a:pt x="2735710" y="6617298"/>
                </a:cubicBezTo>
                <a:cubicBezTo>
                  <a:pt x="2822693" y="6642558"/>
                  <a:pt x="2909678" y="6667817"/>
                  <a:pt x="2997465" y="6689144"/>
                </a:cubicBezTo>
                <a:lnTo>
                  <a:pt x="3119702" y="6715502"/>
                </a:lnTo>
                <a:lnTo>
                  <a:pt x="3120297" y="6715191"/>
                </a:lnTo>
                <a:cubicBezTo>
                  <a:pt x="3123693" y="6714905"/>
                  <a:pt x="3127206" y="6714937"/>
                  <a:pt x="3129892" y="6712441"/>
                </a:cubicBezTo>
                <a:cubicBezTo>
                  <a:pt x="3131713" y="6710676"/>
                  <a:pt x="3137022" y="6713845"/>
                  <a:pt x="3139656" y="6714932"/>
                </a:cubicBezTo>
                <a:cubicBezTo>
                  <a:pt x="3142702" y="6716301"/>
                  <a:pt x="3146396" y="6716550"/>
                  <a:pt x="3149711" y="6717548"/>
                </a:cubicBezTo>
                <a:lnTo>
                  <a:pt x="3153694" y="6721190"/>
                </a:lnTo>
                <a:lnTo>
                  <a:pt x="3264080" y="6737391"/>
                </a:lnTo>
                <a:cubicBezTo>
                  <a:pt x="3334925" y="6742702"/>
                  <a:pt x="3401733" y="6770368"/>
                  <a:pt x="3469151" y="6788436"/>
                </a:cubicBezTo>
                <a:cubicBezTo>
                  <a:pt x="3411343" y="6783687"/>
                  <a:pt x="3353693" y="6777882"/>
                  <a:pt x="3296235" y="6770909"/>
                </a:cubicBezTo>
                <a:lnTo>
                  <a:pt x="3168741" y="6752692"/>
                </a:lnTo>
                <a:lnTo>
                  <a:pt x="3168825" y="6755740"/>
                </a:lnTo>
                <a:cubicBezTo>
                  <a:pt x="3167046" y="6758497"/>
                  <a:pt x="3166993" y="6762082"/>
                  <a:pt x="3169495" y="6764766"/>
                </a:cubicBezTo>
                <a:cubicBezTo>
                  <a:pt x="3169145" y="6765974"/>
                  <a:pt x="3168797" y="6767182"/>
                  <a:pt x="3168451" y="6768391"/>
                </a:cubicBezTo>
                <a:cubicBezTo>
                  <a:pt x="3165291" y="6769115"/>
                  <a:pt x="3163559" y="6770577"/>
                  <a:pt x="3162727" y="6774591"/>
                </a:cubicBezTo>
                <a:cubicBezTo>
                  <a:pt x="3161461" y="6780114"/>
                  <a:pt x="3157824" y="6783644"/>
                  <a:pt x="3151426" y="6783106"/>
                </a:cubicBezTo>
                <a:cubicBezTo>
                  <a:pt x="3148618" y="6782623"/>
                  <a:pt x="3148611" y="6784911"/>
                  <a:pt x="3148090" y="6786723"/>
                </a:cubicBezTo>
                <a:cubicBezTo>
                  <a:pt x="3147216" y="6789742"/>
                  <a:pt x="3145834" y="6789998"/>
                  <a:pt x="3144025" y="6787185"/>
                </a:cubicBezTo>
                <a:cubicBezTo>
                  <a:pt x="3141269" y="6783119"/>
                  <a:pt x="3138849" y="6782421"/>
                  <a:pt x="3136461" y="6787292"/>
                </a:cubicBezTo>
                <a:cubicBezTo>
                  <a:pt x="3135809" y="6788412"/>
                  <a:pt x="3134466" y="6789662"/>
                  <a:pt x="3133691" y="6787802"/>
                </a:cubicBezTo>
                <a:cubicBezTo>
                  <a:pt x="3130895" y="6782742"/>
                  <a:pt x="3127474" y="6784372"/>
                  <a:pt x="3123668" y="6786217"/>
                </a:cubicBezTo>
                <a:cubicBezTo>
                  <a:pt x="3123191" y="6786734"/>
                  <a:pt x="3121982" y="6786385"/>
                  <a:pt x="3121375" y="6786210"/>
                </a:cubicBezTo>
                <a:cubicBezTo>
                  <a:pt x="3115338" y="6779887"/>
                  <a:pt x="3109780" y="6773048"/>
                  <a:pt x="3103829" y="6766423"/>
                </a:cubicBezTo>
                <a:cubicBezTo>
                  <a:pt x="3101115" y="6763350"/>
                  <a:pt x="3100956" y="6757087"/>
                  <a:pt x="3100750" y="6752122"/>
                </a:cubicBezTo>
                <a:cubicBezTo>
                  <a:pt x="3100668" y="6750135"/>
                  <a:pt x="3101494" y="6748410"/>
                  <a:pt x="3100116" y="6746377"/>
                </a:cubicBezTo>
                <a:lnTo>
                  <a:pt x="3101115" y="6741949"/>
                </a:lnTo>
                <a:lnTo>
                  <a:pt x="3077372" y="6737457"/>
                </a:lnTo>
                <a:lnTo>
                  <a:pt x="3079124" y="6742065"/>
                </a:lnTo>
                <a:cubicBezTo>
                  <a:pt x="3082008" y="6746824"/>
                  <a:pt x="3082603" y="6751575"/>
                  <a:pt x="3079523" y="6756574"/>
                </a:cubicBezTo>
                <a:cubicBezTo>
                  <a:pt x="3077743" y="6759333"/>
                  <a:pt x="3077691" y="6762916"/>
                  <a:pt x="3080192" y="6765601"/>
                </a:cubicBezTo>
                <a:cubicBezTo>
                  <a:pt x="3079842" y="6766809"/>
                  <a:pt x="3079494" y="6768018"/>
                  <a:pt x="3079146" y="6769226"/>
                </a:cubicBezTo>
                <a:cubicBezTo>
                  <a:pt x="3075988" y="6769950"/>
                  <a:pt x="3074255" y="6771412"/>
                  <a:pt x="3073425" y="6775426"/>
                </a:cubicBezTo>
                <a:cubicBezTo>
                  <a:pt x="3072159" y="6780948"/>
                  <a:pt x="3068519" y="6784478"/>
                  <a:pt x="3062123" y="6783940"/>
                </a:cubicBezTo>
                <a:cubicBezTo>
                  <a:pt x="3059314" y="6783457"/>
                  <a:pt x="3059309" y="6785746"/>
                  <a:pt x="3058786" y="6787558"/>
                </a:cubicBezTo>
                <a:cubicBezTo>
                  <a:pt x="3057914" y="6790578"/>
                  <a:pt x="3056530" y="6790833"/>
                  <a:pt x="3054721" y="6788021"/>
                </a:cubicBezTo>
                <a:cubicBezTo>
                  <a:pt x="3051965" y="6783953"/>
                  <a:pt x="3049546" y="6783255"/>
                  <a:pt x="3047156" y="6788127"/>
                </a:cubicBezTo>
                <a:cubicBezTo>
                  <a:pt x="3046506" y="6789248"/>
                  <a:pt x="3045162" y="6790497"/>
                  <a:pt x="3044388" y="6788636"/>
                </a:cubicBezTo>
                <a:cubicBezTo>
                  <a:pt x="3041591" y="6783576"/>
                  <a:pt x="3038173" y="6785206"/>
                  <a:pt x="3034363" y="6787052"/>
                </a:cubicBezTo>
                <a:cubicBezTo>
                  <a:pt x="3033887" y="6787568"/>
                  <a:pt x="3032678" y="6787220"/>
                  <a:pt x="3032073" y="6787045"/>
                </a:cubicBezTo>
                <a:cubicBezTo>
                  <a:pt x="3026036" y="6780723"/>
                  <a:pt x="3020478" y="6773883"/>
                  <a:pt x="3014528" y="6767259"/>
                </a:cubicBezTo>
                <a:cubicBezTo>
                  <a:pt x="3011811" y="6764184"/>
                  <a:pt x="3011652" y="6757923"/>
                  <a:pt x="3011450" y="6752956"/>
                </a:cubicBezTo>
                <a:cubicBezTo>
                  <a:pt x="3011367" y="6750970"/>
                  <a:pt x="3012194" y="6749245"/>
                  <a:pt x="3010815" y="6747212"/>
                </a:cubicBezTo>
                <a:cubicBezTo>
                  <a:pt x="3009434" y="6745178"/>
                  <a:pt x="3010259" y="6743453"/>
                  <a:pt x="3011994" y="6741990"/>
                </a:cubicBezTo>
                <a:cubicBezTo>
                  <a:pt x="3012949" y="6740958"/>
                  <a:pt x="3014592" y="6739796"/>
                  <a:pt x="3014032" y="6738326"/>
                </a:cubicBezTo>
                <a:cubicBezTo>
                  <a:pt x="3012057" y="6733830"/>
                  <a:pt x="3012538" y="6731024"/>
                  <a:pt x="3017899" y="6730608"/>
                </a:cubicBezTo>
                <a:cubicBezTo>
                  <a:pt x="3019195" y="6730656"/>
                  <a:pt x="3020020" y="6728931"/>
                  <a:pt x="3019073" y="6727676"/>
                </a:cubicBezTo>
                <a:lnTo>
                  <a:pt x="3019568" y="6726522"/>
                </a:lnTo>
                <a:lnTo>
                  <a:pt x="2954030" y="6714123"/>
                </a:lnTo>
                <a:cubicBezTo>
                  <a:pt x="2897462" y="6702017"/>
                  <a:pt x="2841142" y="6688513"/>
                  <a:pt x="2785106" y="6673498"/>
                </a:cubicBezTo>
                <a:cubicBezTo>
                  <a:pt x="2672368" y="6642315"/>
                  <a:pt x="2562704" y="6605119"/>
                  <a:pt x="2455908" y="6560878"/>
                </a:cubicBezTo>
                <a:lnTo>
                  <a:pt x="2450543" y="6558442"/>
                </a:lnTo>
                <a:lnTo>
                  <a:pt x="2442141" y="6562394"/>
                </a:lnTo>
                <a:cubicBezTo>
                  <a:pt x="2440373" y="6563034"/>
                  <a:pt x="2438804" y="6563230"/>
                  <a:pt x="2437742" y="6562671"/>
                </a:cubicBezTo>
                <a:cubicBezTo>
                  <a:pt x="2436680" y="6562112"/>
                  <a:pt x="2436122" y="6560800"/>
                  <a:pt x="2436376" y="6558426"/>
                </a:cubicBezTo>
                <a:cubicBezTo>
                  <a:pt x="2436683" y="6557364"/>
                  <a:pt x="2436723" y="6556224"/>
                  <a:pt x="2436498" y="6555008"/>
                </a:cubicBezTo>
                <a:lnTo>
                  <a:pt x="2435480" y="6551603"/>
                </a:lnTo>
                <a:lnTo>
                  <a:pt x="2434077" y="6550966"/>
                </a:lnTo>
                <a:lnTo>
                  <a:pt x="2431033" y="6551990"/>
                </a:lnTo>
                <a:cubicBezTo>
                  <a:pt x="2425743" y="6555358"/>
                  <a:pt x="2424223" y="6554631"/>
                  <a:pt x="2423440" y="6548361"/>
                </a:cubicBezTo>
                <a:lnTo>
                  <a:pt x="2423076" y="6545971"/>
                </a:lnTo>
                <a:lnTo>
                  <a:pt x="2416998" y="6543212"/>
                </a:lnTo>
                <a:lnTo>
                  <a:pt x="2415429" y="6545184"/>
                </a:lnTo>
                <a:lnTo>
                  <a:pt x="2414718" y="6549332"/>
                </a:lnTo>
                <a:lnTo>
                  <a:pt x="2409399" y="6539761"/>
                </a:lnTo>
                <a:lnTo>
                  <a:pt x="2297832" y="6489105"/>
                </a:lnTo>
                <a:cubicBezTo>
                  <a:pt x="2245837" y="6463334"/>
                  <a:pt x="2194535" y="6435672"/>
                  <a:pt x="2143893" y="6405991"/>
                </a:cubicBezTo>
                <a:cubicBezTo>
                  <a:pt x="2231443" y="6465580"/>
                  <a:pt x="2324291" y="6516335"/>
                  <a:pt x="2418673" y="6564084"/>
                </a:cubicBezTo>
                <a:lnTo>
                  <a:pt x="2422102" y="6565775"/>
                </a:lnTo>
                <a:lnTo>
                  <a:pt x="2430910" y="6563250"/>
                </a:lnTo>
                <a:cubicBezTo>
                  <a:pt x="2432864" y="6561354"/>
                  <a:pt x="2438570" y="6564758"/>
                  <a:pt x="2441401" y="6565927"/>
                </a:cubicBezTo>
                <a:cubicBezTo>
                  <a:pt x="2447944" y="6568870"/>
                  <a:pt x="2457285" y="6566996"/>
                  <a:pt x="2460561" y="6576380"/>
                </a:cubicBezTo>
                <a:cubicBezTo>
                  <a:pt x="2461161" y="6577958"/>
                  <a:pt x="2462642" y="6580144"/>
                  <a:pt x="2465241" y="6580894"/>
                </a:cubicBezTo>
                <a:cubicBezTo>
                  <a:pt x="2468909" y="6581601"/>
                  <a:pt x="2470297" y="6584111"/>
                  <a:pt x="2469917" y="6587868"/>
                </a:cubicBezTo>
                <a:lnTo>
                  <a:pt x="2470611" y="6589698"/>
                </a:lnTo>
                <a:lnTo>
                  <a:pt x="2702676" y="6704143"/>
                </a:lnTo>
                <a:cubicBezTo>
                  <a:pt x="2701699" y="6707787"/>
                  <a:pt x="2698902" y="6710943"/>
                  <a:pt x="2698411" y="6712765"/>
                </a:cubicBezTo>
                <a:cubicBezTo>
                  <a:pt x="2643387" y="6692162"/>
                  <a:pt x="2588360" y="6671559"/>
                  <a:pt x="2532002" y="6648645"/>
                </a:cubicBezTo>
                <a:lnTo>
                  <a:pt x="2472765" y="6621906"/>
                </a:lnTo>
                <a:lnTo>
                  <a:pt x="2472340" y="6623374"/>
                </a:lnTo>
                <a:cubicBezTo>
                  <a:pt x="2468947" y="6624152"/>
                  <a:pt x="2467087" y="6625723"/>
                  <a:pt x="2466194" y="6630037"/>
                </a:cubicBezTo>
                <a:cubicBezTo>
                  <a:pt x="2464831" y="6635972"/>
                  <a:pt x="2460920" y="6639765"/>
                  <a:pt x="2454049" y="6639187"/>
                </a:cubicBezTo>
                <a:cubicBezTo>
                  <a:pt x="2451029" y="6638668"/>
                  <a:pt x="2451026" y="6641127"/>
                  <a:pt x="2450463" y="6643075"/>
                </a:cubicBezTo>
                <a:cubicBezTo>
                  <a:pt x="2449526" y="6646320"/>
                  <a:pt x="2448039" y="6646593"/>
                  <a:pt x="2446095" y="6643571"/>
                </a:cubicBezTo>
                <a:cubicBezTo>
                  <a:pt x="2443133" y="6639201"/>
                  <a:pt x="2440533" y="6638450"/>
                  <a:pt x="2437965" y="6643685"/>
                </a:cubicBezTo>
                <a:cubicBezTo>
                  <a:pt x="2437267" y="6644890"/>
                  <a:pt x="2435823" y="6646231"/>
                  <a:pt x="2434991" y="6644234"/>
                </a:cubicBezTo>
                <a:cubicBezTo>
                  <a:pt x="2431986" y="6638795"/>
                  <a:pt x="2428310" y="6640548"/>
                  <a:pt x="2424219" y="6642531"/>
                </a:cubicBezTo>
                <a:cubicBezTo>
                  <a:pt x="2423705" y="6643086"/>
                  <a:pt x="2422407" y="6642711"/>
                  <a:pt x="2421756" y="6642524"/>
                </a:cubicBezTo>
                <a:cubicBezTo>
                  <a:pt x="2415269" y="6635729"/>
                  <a:pt x="2409294" y="6628380"/>
                  <a:pt x="2402902" y="6621260"/>
                </a:cubicBezTo>
                <a:cubicBezTo>
                  <a:pt x="2399982" y="6617956"/>
                  <a:pt x="2399813" y="6611229"/>
                  <a:pt x="2399594" y="6605891"/>
                </a:cubicBezTo>
                <a:cubicBezTo>
                  <a:pt x="2399505" y="6603757"/>
                  <a:pt x="2400390" y="6601903"/>
                  <a:pt x="2398912" y="6599718"/>
                </a:cubicBezTo>
                <a:cubicBezTo>
                  <a:pt x="2397428" y="6597533"/>
                  <a:pt x="2398316" y="6595679"/>
                  <a:pt x="2400178" y="6594107"/>
                </a:cubicBezTo>
                <a:cubicBezTo>
                  <a:pt x="2401203" y="6592997"/>
                  <a:pt x="2402970" y="6591749"/>
                  <a:pt x="2402370" y="6590170"/>
                </a:cubicBezTo>
                <a:lnTo>
                  <a:pt x="2402387" y="6590136"/>
                </a:lnTo>
                <a:lnTo>
                  <a:pt x="2364974" y="6573247"/>
                </a:lnTo>
                <a:cubicBezTo>
                  <a:pt x="2282897" y="6533438"/>
                  <a:pt x="2202968" y="6490479"/>
                  <a:pt x="2125168" y="6444444"/>
                </a:cubicBezTo>
                <a:lnTo>
                  <a:pt x="1986745" y="6354661"/>
                </a:lnTo>
                <a:lnTo>
                  <a:pt x="1986124" y="6356810"/>
                </a:lnTo>
                <a:cubicBezTo>
                  <a:pt x="1982732" y="6357589"/>
                  <a:pt x="1980869" y="6359161"/>
                  <a:pt x="1979977" y="6363473"/>
                </a:cubicBezTo>
                <a:cubicBezTo>
                  <a:pt x="1978616" y="6369408"/>
                  <a:pt x="1974705" y="6373201"/>
                  <a:pt x="1967831" y="6372624"/>
                </a:cubicBezTo>
                <a:cubicBezTo>
                  <a:pt x="1964813" y="6372104"/>
                  <a:pt x="1964807" y="6374563"/>
                  <a:pt x="1964245" y="6376511"/>
                </a:cubicBezTo>
                <a:cubicBezTo>
                  <a:pt x="1963309" y="6379756"/>
                  <a:pt x="1961822" y="6380030"/>
                  <a:pt x="1959877" y="6377009"/>
                </a:cubicBezTo>
                <a:cubicBezTo>
                  <a:pt x="1956915" y="6372637"/>
                  <a:pt x="1954315" y="6371887"/>
                  <a:pt x="1951748" y="6377123"/>
                </a:cubicBezTo>
                <a:cubicBezTo>
                  <a:pt x="1951049" y="6378327"/>
                  <a:pt x="1949606" y="6379669"/>
                  <a:pt x="1948775" y="6377671"/>
                </a:cubicBezTo>
                <a:cubicBezTo>
                  <a:pt x="1945768" y="6372233"/>
                  <a:pt x="1942094" y="6373984"/>
                  <a:pt x="1938002" y="6375967"/>
                </a:cubicBezTo>
                <a:cubicBezTo>
                  <a:pt x="1937490" y="6376522"/>
                  <a:pt x="1936189" y="6376148"/>
                  <a:pt x="1935540" y="6375960"/>
                </a:cubicBezTo>
                <a:cubicBezTo>
                  <a:pt x="1929053" y="6369166"/>
                  <a:pt x="1923078" y="6361816"/>
                  <a:pt x="1916684" y="6354697"/>
                </a:cubicBezTo>
                <a:cubicBezTo>
                  <a:pt x="1913765" y="6351394"/>
                  <a:pt x="1913596" y="6344665"/>
                  <a:pt x="1913376" y="6339328"/>
                </a:cubicBezTo>
                <a:cubicBezTo>
                  <a:pt x="1913288" y="6337194"/>
                  <a:pt x="1914176" y="6335340"/>
                  <a:pt x="1912694" y="6333154"/>
                </a:cubicBezTo>
                <a:cubicBezTo>
                  <a:pt x="1911213" y="6330970"/>
                  <a:pt x="1912100" y="6329116"/>
                  <a:pt x="1913961" y="6327545"/>
                </a:cubicBezTo>
                <a:cubicBezTo>
                  <a:pt x="1914986" y="6326433"/>
                  <a:pt x="1916754" y="6325186"/>
                  <a:pt x="1916154" y="6323607"/>
                </a:cubicBezTo>
                <a:cubicBezTo>
                  <a:pt x="1914029" y="6318774"/>
                  <a:pt x="1914548" y="6315759"/>
                  <a:pt x="1920307" y="6315314"/>
                </a:cubicBezTo>
                <a:lnTo>
                  <a:pt x="1921499" y="6312337"/>
                </a:lnTo>
                <a:lnTo>
                  <a:pt x="1898129" y="6297178"/>
                </a:lnTo>
                <a:lnTo>
                  <a:pt x="1853097" y="6263408"/>
                </a:lnTo>
                <a:lnTo>
                  <a:pt x="1853066" y="6263665"/>
                </a:lnTo>
                <a:cubicBezTo>
                  <a:pt x="1853722" y="6264852"/>
                  <a:pt x="1854838" y="6266172"/>
                  <a:pt x="1855428" y="6267589"/>
                </a:cubicBezTo>
                <a:cubicBezTo>
                  <a:pt x="1856246" y="6269074"/>
                  <a:pt x="1856769" y="6270722"/>
                  <a:pt x="1854922" y="6271934"/>
                </a:cubicBezTo>
                <a:cubicBezTo>
                  <a:pt x="1853371" y="6272983"/>
                  <a:pt x="1852188" y="6271894"/>
                  <a:pt x="1851138" y="6270343"/>
                </a:cubicBezTo>
                <a:cubicBezTo>
                  <a:pt x="1850022" y="6269023"/>
                  <a:pt x="1848972" y="6267473"/>
                  <a:pt x="1847789" y="6266382"/>
                </a:cubicBezTo>
                <a:cubicBezTo>
                  <a:pt x="1846115" y="6264402"/>
                  <a:pt x="1843611" y="6264429"/>
                  <a:pt x="1841599" y="6265345"/>
                </a:cubicBezTo>
                <a:cubicBezTo>
                  <a:pt x="1839587" y="6266261"/>
                  <a:pt x="1839911" y="6268599"/>
                  <a:pt x="1840137" y="6270410"/>
                </a:cubicBezTo>
                <a:cubicBezTo>
                  <a:pt x="1841267" y="6279469"/>
                  <a:pt x="1851789" y="6286248"/>
                  <a:pt x="1861018" y="6283672"/>
                </a:cubicBezTo>
                <a:cubicBezTo>
                  <a:pt x="1865369" y="6282434"/>
                  <a:pt x="1866553" y="6283524"/>
                  <a:pt x="1865950" y="6287341"/>
                </a:cubicBezTo>
                <a:cubicBezTo>
                  <a:pt x="1864912" y="6293528"/>
                  <a:pt x="1866548" y="6298241"/>
                  <a:pt x="1871940" y="6302042"/>
                </a:cubicBezTo>
                <a:cubicBezTo>
                  <a:pt x="1873420" y="6302968"/>
                  <a:pt x="1875622" y="6304851"/>
                  <a:pt x="1874200" y="6307184"/>
                </a:cubicBezTo>
                <a:cubicBezTo>
                  <a:pt x="1871155" y="6312542"/>
                  <a:pt x="1872064" y="6318044"/>
                  <a:pt x="1873729" y="6323513"/>
                </a:cubicBezTo>
                <a:cubicBezTo>
                  <a:pt x="1875037" y="6327633"/>
                  <a:pt x="1874797" y="6331057"/>
                  <a:pt x="1871066" y="6334470"/>
                </a:cubicBezTo>
                <a:cubicBezTo>
                  <a:pt x="1867039" y="6338048"/>
                  <a:pt x="1867920" y="6341046"/>
                  <a:pt x="1873184" y="6343563"/>
                </a:cubicBezTo>
                <a:cubicBezTo>
                  <a:pt x="1873414" y="6343629"/>
                  <a:pt x="1873645" y="6343696"/>
                  <a:pt x="1873875" y="6343762"/>
                </a:cubicBezTo>
                <a:cubicBezTo>
                  <a:pt x="1875883" y="6344591"/>
                  <a:pt x="1877823" y="6345650"/>
                  <a:pt x="1877455" y="6347789"/>
                </a:cubicBezTo>
                <a:cubicBezTo>
                  <a:pt x="1877318" y="6349995"/>
                  <a:pt x="1874849" y="6349033"/>
                  <a:pt x="1873499" y="6349392"/>
                </a:cubicBezTo>
                <a:cubicBezTo>
                  <a:pt x="1865062" y="6350947"/>
                  <a:pt x="1860406" y="6355840"/>
                  <a:pt x="1859395" y="6364530"/>
                </a:cubicBezTo>
                <a:cubicBezTo>
                  <a:pt x="1859058" y="6367426"/>
                  <a:pt x="1857671" y="6368772"/>
                  <a:pt x="1855035" y="6369258"/>
                </a:cubicBezTo>
                <a:cubicBezTo>
                  <a:pt x="1853453" y="6369551"/>
                  <a:pt x="1851938" y="6369612"/>
                  <a:pt x="1850356" y="6369904"/>
                </a:cubicBezTo>
                <a:cubicBezTo>
                  <a:pt x="1848247" y="6370293"/>
                  <a:pt x="1847156" y="6371475"/>
                  <a:pt x="1847019" y="6373680"/>
                </a:cubicBezTo>
                <a:lnTo>
                  <a:pt x="1847628" y="6375441"/>
                </a:lnTo>
                <a:lnTo>
                  <a:pt x="1824452" y="6388152"/>
                </a:lnTo>
                <a:lnTo>
                  <a:pt x="1825845" y="6384782"/>
                </a:lnTo>
                <a:cubicBezTo>
                  <a:pt x="1826837" y="6383072"/>
                  <a:pt x="1827103" y="6382151"/>
                  <a:pt x="1825362" y="6380401"/>
                </a:cubicBezTo>
                <a:cubicBezTo>
                  <a:pt x="1823324" y="6378815"/>
                  <a:pt x="1822070" y="6379701"/>
                  <a:pt x="1820749" y="6380817"/>
                </a:cubicBezTo>
                <a:cubicBezTo>
                  <a:pt x="1819793" y="6381538"/>
                  <a:pt x="1819296" y="6382393"/>
                  <a:pt x="1818504" y="6383411"/>
                </a:cubicBezTo>
                <a:cubicBezTo>
                  <a:pt x="1815034" y="6387648"/>
                  <a:pt x="1813585" y="6387480"/>
                  <a:pt x="1811259" y="6382567"/>
                </a:cubicBezTo>
                <a:cubicBezTo>
                  <a:pt x="1810833" y="6381446"/>
                  <a:pt x="1810244" y="6380029"/>
                  <a:pt x="1808862" y="6379630"/>
                </a:cubicBezTo>
                <a:cubicBezTo>
                  <a:pt x="1807183" y="6379395"/>
                  <a:pt x="1806651" y="6381237"/>
                  <a:pt x="1805858" y="6382256"/>
                </a:cubicBezTo>
                <a:cubicBezTo>
                  <a:pt x="1805131" y="6383044"/>
                  <a:pt x="1804634" y="6383898"/>
                  <a:pt x="1804369" y="6384819"/>
                </a:cubicBezTo>
                <a:cubicBezTo>
                  <a:pt x="1803459" y="6386677"/>
                  <a:pt x="1802444" y="6387382"/>
                  <a:pt x="1801406" y="6387301"/>
                </a:cubicBezTo>
                <a:cubicBezTo>
                  <a:pt x="1800369" y="6387219"/>
                  <a:pt x="1799309" y="6386353"/>
                  <a:pt x="1798307" y="6385065"/>
                </a:cubicBezTo>
                <a:cubicBezTo>
                  <a:pt x="1796372" y="6382262"/>
                  <a:pt x="1794568" y="6378997"/>
                  <a:pt x="1792633" y="6376194"/>
                </a:cubicBezTo>
                <a:cubicBezTo>
                  <a:pt x="1790369" y="6372795"/>
                  <a:pt x="1787444" y="6369956"/>
                  <a:pt x="1783160" y="6370964"/>
                </a:cubicBezTo>
                <a:cubicBezTo>
                  <a:pt x="1779766" y="6371481"/>
                  <a:pt x="1778716" y="6369932"/>
                  <a:pt x="1777701" y="6367393"/>
                </a:cubicBezTo>
                <a:cubicBezTo>
                  <a:pt x="1775575" y="6361789"/>
                  <a:pt x="1772425" y="6357139"/>
                  <a:pt x="1765575" y="6356658"/>
                </a:cubicBezTo>
                <a:cubicBezTo>
                  <a:pt x="1763828" y="6356653"/>
                  <a:pt x="1763567" y="6355830"/>
                  <a:pt x="1763802" y="6354151"/>
                </a:cubicBezTo>
                <a:cubicBezTo>
                  <a:pt x="1766137" y="6342602"/>
                  <a:pt x="1764090" y="6331534"/>
                  <a:pt x="1760165" y="6320920"/>
                </a:cubicBezTo>
                <a:cubicBezTo>
                  <a:pt x="1759151" y="6318382"/>
                  <a:pt x="1760010" y="6317134"/>
                  <a:pt x="1761530" y="6315327"/>
                </a:cubicBezTo>
                <a:cubicBezTo>
                  <a:pt x="1765030" y="6311847"/>
                  <a:pt x="1768895" y="6307973"/>
                  <a:pt x="1768611" y="6302901"/>
                </a:cubicBezTo>
                <a:cubicBezTo>
                  <a:pt x="1768327" y="6297831"/>
                  <a:pt x="1770409" y="6294939"/>
                  <a:pt x="1773777" y="6291920"/>
                </a:cubicBezTo>
                <a:cubicBezTo>
                  <a:pt x="1774801" y="6290967"/>
                  <a:pt x="1775594" y="6289950"/>
                  <a:pt x="1776684" y="6288767"/>
                </a:cubicBezTo>
                <a:cubicBezTo>
                  <a:pt x="1781607" y="6282954"/>
                  <a:pt x="1786857" y="6277733"/>
                  <a:pt x="1794929" y="6276572"/>
                </a:cubicBezTo>
                <a:cubicBezTo>
                  <a:pt x="1796446" y="6276510"/>
                  <a:pt x="1796711" y="6275589"/>
                  <a:pt x="1797043" y="6274437"/>
                </a:cubicBezTo>
                <a:cubicBezTo>
                  <a:pt x="1797810" y="6270916"/>
                  <a:pt x="1793982" y="6260831"/>
                  <a:pt x="1791023" y="6258979"/>
                </a:cubicBezTo>
                <a:cubicBezTo>
                  <a:pt x="1786286" y="6256364"/>
                  <a:pt x="1782639" y="6252567"/>
                  <a:pt x="1780314" y="6247655"/>
                </a:cubicBezTo>
                <a:cubicBezTo>
                  <a:pt x="1776938" y="6241193"/>
                  <a:pt x="1774320" y="6234699"/>
                  <a:pt x="1771240" y="6228073"/>
                </a:cubicBezTo>
                <a:cubicBezTo>
                  <a:pt x="1770256" y="6226293"/>
                  <a:pt x="1771213" y="6225570"/>
                  <a:pt x="1772468" y="6224685"/>
                </a:cubicBezTo>
                <a:cubicBezTo>
                  <a:pt x="1778077" y="6220816"/>
                  <a:pt x="1778077" y="6220816"/>
                  <a:pt x="1774005" y="6215899"/>
                </a:cubicBezTo>
                <a:lnTo>
                  <a:pt x="1776200" y="6205743"/>
                </a:lnTo>
                <a:lnTo>
                  <a:pt x="1753818" y="6188958"/>
                </a:lnTo>
                <a:cubicBezTo>
                  <a:pt x="1612308" y="6076774"/>
                  <a:pt x="1479188" y="5952762"/>
                  <a:pt x="1354299" y="5817500"/>
                </a:cubicBezTo>
                <a:cubicBezTo>
                  <a:pt x="1154284" y="5601806"/>
                  <a:pt x="995011" y="5357972"/>
                  <a:pt x="893501" y="5080792"/>
                </a:cubicBezTo>
                <a:cubicBezTo>
                  <a:pt x="853644" y="4974416"/>
                  <a:pt x="795793" y="4876889"/>
                  <a:pt x="758247" y="4769179"/>
                </a:cubicBezTo>
                <a:lnTo>
                  <a:pt x="754716" y="4752800"/>
                </a:lnTo>
                <a:lnTo>
                  <a:pt x="753992" y="4758541"/>
                </a:lnTo>
                <a:cubicBezTo>
                  <a:pt x="754102" y="4759607"/>
                  <a:pt x="754010" y="4760803"/>
                  <a:pt x="752871" y="4761245"/>
                </a:cubicBezTo>
                <a:cubicBezTo>
                  <a:pt x="746785" y="4762850"/>
                  <a:pt x="746218" y="4767760"/>
                  <a:pt x="745449" y="4772799"/>
                </a:cubicBezTo>
                <a:cubicBezTo>
                  <a:pt x="745284" y="4774325"/>
                  <a:pt x="745046" y="4776182"/>
                  <a:pt x="742969" y="4776939"/>
                </a:cubicBezTo>
                <a:cubicBezTo>
                  <a:pt x="737141" y="4778948"/>
                  <a:pt x="732269" y="4782907"/>
                  <a:pt x="726957" y="4785725"/>
                </a:cubicBezTo>
                <a:cubicBezTo>
                  <a:pt x="722582" y="4788230"/>
                  <a:pt x="718078" y="4790532"/>
                  <a:pt x="712561" y="4790355"/>
                </a:cubicBezTo>
                <a:cubicBezTo>
                  <a:pt x="710170" y="4790174"/>
                  <a:pt x="709214" y="4791351"/>
                  <a:pt x="708903" y="4793539"/>
                </a:cubicBezTo>
                <a:cubicBezTo>
                  <a:pt x="708941" y="4794936"/>
                  <a:pt x="708850" y="4796132"/>
                  <a:pt x="708556" y="4797456"/>
                </a:cubicBezTo>
                <a:cubicBezTo>
                  <a:pt x="708262" y="4798780"/>
                  <a:pt x="707362" y="4800491"/>
                  <a:pt x="705837" y="4800327"/>
                </a:cubicBezTo>
                <a:cubicBezTo>
                  <a:pt x="704107" y="4800292"/>
                  <a:pt x="703481" y="4798417"/>
                  <a:pt x="703315" y="4796817"/>
                </a:cubicBezTo>
                <a:cubicBezTo>
                  <a:pt x="703130" y="4796082"/>
                  <a:pt x="703277" y="4795420"/>
                  <a:pt x="703295" y="4794556"/>
                </a:cubicBezTo>
                <a:cubicBezTo>
                  <a:pt x="703567" y="4787845"/>
                  <a:pt x="700420" y="4785587"/>
                  <a:pt x="694574" y="4788462"/>
                </a:cubicBezTo>
                <a:cubicBezTo>
                  <a:pt x="693436" y="4788904"/>
                  <a:pt x="692424" y="4789549"/>
                  <a:pt x="691487" y="4789863"/>
                </a:cubicBezTo>
                <a:cubicBezTo>
                  <a:pt x="689813" y="4790360"/>
                  <a:pt x="688453" y="4791796"/>
                  <a:pt x="686632" y="4789831"/>
                </a:cubicBezTo>
                <a:cubicBezTo>
                  <a:pt x="685197" y="4788472"/>
                  <a:pt x="685490" y="4787148"/>
                  <a:pt x="686187" y="4785565"/>
                </a:cubicBezTo>
                <a:cubicBezTo>
                  <a:pt x="687381" y="4782531"/>
                  <a:pt x="686277" y="4781245"/>
                  <a:pt x="682893" y="4780844"/>
                </a:cubicBezTo>
                <a:cubicBezTo>
                  <a:pt x="678645" y="4780426"/>
                  <a:pt x="674213" y="4779272"/>
                  <a:pt x="671837" y="4775101"/>
                </a:cubicBezTo>
                <a:cubicBezTo>
                  <a:pt x="669978" y="4771739"/>
                  <a:pt x="668139" y="4770637"/>
                  <a:pt x="665014" y="4773766"/>
                </a:cubicBezTo>
                <a:cubicBezTo>
                  <a:pt x="664335" y="4774484"/>
                  <a:pt x="663195" y="4774926"/>
                  <a:pt x="662017" y="4773972"/>
                </a:cubicBezTo>
                <a:cubicBezTo>
                  <a:pt x="660969" y="4773219"/>
                  <a:pt x="661593" y="4771968"/>
                  <a:pt x="661813" y="4770974"/>
                </a:cubicBezTo>
                <a:cubicBezTo>
                  <a:pt x="662327" y="4768657"/>
                  <a:pt x="663042" y="4766212"/>
                  <a:pt x="663022" y="4763950"/>
                </a:cubicBezTo>
                <a:cubicBezTo>
                  <a:pt x="663552" y="4757643"/>
                  <a:pt x="661804" y="4755347"/>
                  <a:pt x="655936" y="4752834"/>
                </a:cubicBezTo>
                <a:cubicBezTo>
                  <a:pt x="651319" y="4750946"/>
                  <a:pt x="647181" y="4748469"/>
                  <a:pt x="644143" y="4744151"/>
                </a:cubicBezTo>
                <a:cubicBezTo>
                  <a:pt x="641880" y="4741046"/>
                  <a:pt x="643240" y="4739611"/>
                  <a:pt x="646512" y="4738945"/>
                </a:cubicBezTo>
                <a:cubicBezTo>
                  <a:pt x="648719" y="4738391"/>
                  <a:pt x="650889" y="4739566"/>
                  <a:pt x="652950" y="4739674"/>
                </a:cubicBezTo>
                <a:cubicBezTo>
                  <a:pt x="655340" y="4739855"/>
                  <a:pt x="658596" y="4740054"/>
                  <a:pt x="659182" y="4737406"/>
                </a:cubicBezTo>
                <a:cubicBezTo>
                  <a:pt x="659713" y="4734225"/>
                  <a:pt x="657156" y="4732444"/>
                  <a:pt x="654177" y="4731785"/>
                </a:cubicBezTo>
                <a:cubicBezTo>
                  <a:pt x="652852" y="4731493"/>
                  <a:pt x="651124" y="4731458"/>
                  <a:pt x="649671" y="4730963"/>
                </a:cubicBezTo>
                <a:cubicBezTo>
                  <a:pt x="648015" y="4730597"/>
                  <a:pt x="646433" y="4729900"/>
                  <a:pt x="646745" y="4727712"/>
                </a:cubicBezTo>
                <a:cubicBezTo>
                  <a:pt x="646983" y="4725854"/>
                  <a:pt x="648582" y="4725687"/>
                  <a:pt x="650440" y="4725924"/>
                </a:cubicBezTo>
                <a:cubicBezTo>
                  <a:pt x="652169" y="4725959"/>
                  <a:pt x="654027" y="4726196"/>
                  <a:pt x="655626" y="4726029"/>
                </a:cubicBezTo>
                <a:cubicBezTo>
                  <a:pt x="658219" y="4726082"/>
                  <a:pt x="659854" y="4724187"/>
                  <a:pt x="660496" y="4722071"/>
                </a:cubicBezTo>
                <a:cubicBezTo>
                  <a:pt x="661140" y="4719956"/>
                  <a:pt x="659171" y="4718653"/>
                  <a:pt x="657662" y="4717624"/>
                </a:cubicBezTo>
                <a:cubicBezTo>
                  <a:pt x="650120" y="4712484"/>
                  <a:pt x="638076" y="4715899"/>
                  <a:pt x="633908" y="4724527"/>
                </a:cubicBezTo>
                <a:cubicBezTo>
                  <a:pt x="631960" y="4728610"/>
                  <a:pt x="630361" y="4728777"/>
                  <a:pt x="627894" y="4725801"/>
                </a:cubicBezTo>
                <a:cubicBezTo>
                  <a:pt x="623938" y="4720933"/>
                  <a:pt x="619321" y="4719044"/>
                  <a:pt x="612905" y="4720577"/>
                </a:cubicBezTo>
                <a:cubicBezTo>
                  <a:pt x="611231" y="4721075"/>
                  <a:pt x="608363" y="4721482"/>
                  <a:pt x="607552" y="4718872"/>
                </a:cubicBezTo>
                <a:cubicBezTo>
                  <a:pt x="605545" y="4713047"/>
                  <a:pt x="600816" y="4710092"/>
                  <a:pt x="595611" y="4707725"/>
                </a:cubicBezTo>
                <a:cubicBezTo>
                  <a:pt x="591656" y="4705983"/>
                  <a:pt x="589246" y="4703540"/>
                  <a:pt x="589151" y="4698485"/>
                </a:cubicBezTo>
                <a:cubicBezTo>
                  <a:pt x="589129" y="4693098"/>
                  <a:pt x="586296" y="4691776"/>
                  <a:pt x="580928" y="4694062"/>
                </a:cubicBezTo>
                <a:cubicBezTo>
                  <a:pt x="580726" y="4694191"/>
                  <a:pt x="580523" y="4694320"/>
                  <a:pt x="580322" y="4694449"/>
                </a:cubicBezTo>
                <a:cubicBezTo>
                  <a:pt x="578373" y="4695407"/>
                  <a:pt x="576295" y="4696163"/>
                  <a:pt x="574934" y="4694473"/>
                </a:cubicBezTo>
                <a:cubicBezTo>
                  <a:pt x="573369" y="4692912"/>
                  <a:pt x="575722" y="4691697"/>
                  <a:pt x="576347" y="4690446"/>
                </a:cubicBezTo>
                <a:cubicBezTo>
                  <a:pt x="580756" y="4683087"/>
                  <a:pt x="580164" y="4676357"/>
                  <a:pt x="574312" y="4669856"/>
                </a:cubicBezTo>
                <a:cubicBezTo>
                  <a:pt x="572361" y="4667688"/>
                  <a:pt x="572268" y="4665758"/>
                  <a:pt x="573646" y="4663458"/>
                </a:cubicBezTo>
                <a:cubicBezTo>
                  <a:pt x="574473" y="4662078"/>
                  <a:pt x="575428" y="4660901"/>
                  <a:pt x="576255" y="4659521"/>
                </a:cubicBezTo>
                <a:cubicBezTo>
                  <a:pt x="577357" y="4657681"/>
                  <a:pt x="577190" y="4656083"/>
                  <a:pt x="575627" y="4654520"/>
                </a:cubicBezTo>
                <a:lnTo>
                  <a:pt x="573903" y="4653814"/>
                </a:lnTo>
                <a:lnTo>
                  <a:pt x="579687" y="4628020"/>
                </a:lnTo>
                <a:lnTo>
                  <a:pt x="581296" y="4631294"/>
                </a:lnTo>
                <a:cubicBezTo>
                  <a:pt x="581921" y="4633169"/>
                  <a:pt x="582437" y="4633977"/>
                  <a:pt x="584901" y="4633828"/>
                </a:cubicBezTo>
                <a:cubicBezTo>
                  <a:pt x="587439" y="4633347"/>
                  <a:pt x="587603" y="4631821"/>
                  <a:pt x="587640" y="4630093"/>
                </a:cubicBezTo>
                <a:cubicBezTo>
                  <a:pt x="587730" y="4628897"/>
                  <a:pt x="587417" y="4627960"/>
                  <a:pt x="587177" y="4626692"/>
                </a:cubicBezTo>
                <a:cubicBezTo>
                  <a:pt x="586291" y="4621287"/>
                  <a:pt x="587376" y="4620311"/>
                  <a:pt x="592598" y="4621813"/>
                </a:cubicBezTo>
                <a:cubicBezTo>
                  <a:pt x="593721" y="4622235"/>
                  <a:pt x="595174" y="4622730"/>
                  <a:pt x="596388" y="4621957"/>
                </a:cubicBezTo>
                <a:cubicBezTo>
                  <a:pt x="597674" y="4620853"/>
                  <a:pt x="596643" y="4619236"/>
                  <a:pt x="596404" y="4617967"/>
                </a:cubicBezTo>
                <a:cubicBezTo>
                  <a:pt x="596292" y="4616901"/>
                  <a:pt x="595979" y="4615964"/>
                  <a:pt x="595463" y="4615155"/>
                </a:cubicBezTo>
                <a:cubicBezTo>
                  <a:pt x="594672" y="4613244"/>
                  <a:pt x="594814" y="4612016"/>
                  <a:pt x="595560" y="4611291"/>
                </a:cubicBezTo>
                <a:cubicBezTo>
                  <a:pt x="596307" y="4610567"/>
                  <a:pt x="597658" y="4610345"/>
                  <a:pt x="599286" y="4610445"/>
                </a:cubicBezTo>
                <a:cubicBezTo>
                  <a:pt x="602670" y="4610845"/>
                  <a:pt x="606311" y="4611651"/>
                  <a:pt x="609695" y="4612052"/>
                </a:cubicBezTo>
                <a:cubicBezTo>
                  <a:pt x="613741" y="4612599"/>
                  <a:pt x="617805" y="4612281"/>
                  <a:pt x="619881" y="4608400"/>
                </a:cubicBezTo>
                <a:cubicBezTo>
                  <a:pt x="621736" y="4605511"/>
                  <a:pt x="623594" y="4605750"/>
                  <a:pt x="626169" y="4606665"/>
                </a:cubicBezTo>
                <a:cubicBezTo>
                  <a:pt x="631778" y="4608774"/>
                  <a:pt x="637351" y="4609485"/>
                  <a:pt x="642240" y="4604662"/>
                </a:cubicBezTo>
                <a:cubicBezTo>
                  <a:pt x="643397" y="4603356"/>
                  <a:pt x="644188" y="4603705"/>
                  <a:pt x="645292" y="4604991"/>
                </a:cubicBezTo>
                <a:cubicBezTo>
                  <a:pt x="652415" y="4614379"/>
                  <a:pt x="662073" y="4620159"/>
                  <a:pt x="672631" y="4624230"/>
                </a:cubicBezTo>
                <a:cubicBezTo>
                  <a:pt x="675206" y="4625147"/>
                  <a:pt x="675574" y="4626617"/>
                  <a:pt x="675926" y="4628951"/>
                </a:cubicBezTo>
                <a:cubicBezTo>
                  <a:pt x="676222" y="4633878"/>
                  <a:pt x="676575" y="4639338"/>
                  <a:pt x="680567" y="4642478"/>
                </a:cubicBezTo>
                <a:cubicBezTo>
                  <a:pt x="684560" y="4645618"/>
                  <a:pt x="685353" y="4649091"/>
                  <a:pt x="685392" y="4653614"/>
                </a:cubicBezTo>
                <a:cubicBezTo>
                  <a:pt x="685430" y="4655012"/>
                  <a:pt x="685670" y="4656280"/>
                  <a:pt x="685835" y="4657880"/>
                </a:cubicBezTo>
                <a:cubicBezTo>
                  <a:pt x="686944" y="4665417"/>
                  <a:pt x="687389" y="4672807"/>
                  <a:pt x="682925" y="4679632"/>
                </a:cubicBezTo>
                <a:cubicBezTo>
                  <a:pt x="681969" y="4680810"/>
                  <a:pt x="682485" y="4681618"/>
                  <a:pt x="683129" y="4682629"/>
                </a:cubicBezTo>
                <a:cubicBezTo>
                  <a:pt x="685264" y="4685532"/>
                  <a:pt x="695361" y="4689327"/>
                  <a:pt x="698708" y="4688330"/>
                </a:cubicBezTo>
                <a:cubicBezTo>
                  <a:pt x="703801" y="4686505"/>
                  <a:pt x="709060" y="4686279"/>
                  <a:pt x="714283" y="4687781"/>
                </a:cubicBezTo>
                <a:cubicBezTo>
                  <a:pt x="721364" y="4689520"/>
                  <a:pt x="727968" y="4691848"/>
                  <a:pt x="734975" y="4693918"/>
                </a:cubicBezTo>
                <a:cubicBezTo>
                  <a:pt x="736961" y="4694357"/>
                  <a:pt x="736870" y="4695552"/>
                  <a:pt x="736706" y="4697079"/>
                </a:cubicBezTo>
                <a:cubicBezTo>
                  <a:pt x="735900" y="4703845"/>
                  <a:pt x="735900" y="4703845"/>
                  <a:pt x="742281" y="4704041"/>
                </a:cubicBezTo>
                <a:lnTo>
                  <a:pt x="744998" y="4707722"/>
                </a:lnTo>
                <a:lnTo>
                  <a:pt x="724286" y="4611654"/>
                </a:lnTo>
                <a:cubicBezTo>
                  <a:pt x="714563" y="4509447"/>
                  <a:pt x="692443" y="4409776"/>
                  <a:pt x="670320" y="4310105"/>
                </a:cubicBezTo>
                <a:cubicBezTo>
                  <a:pt x="659482" y="4328685"/>
                  <a:pt x="654531" y="4405478"/>
                  <a:pt x="660321" y="4442180"/>
                </a:cubicBezTo>
                <a:cubicBezTo>
                  <a:pt x="637259" y="4418914"/>
                  <a:pt x="612755" y="4289981"/>
                  <a:pt x="602159" y="4172499"/>
                </a:cubicBezTo>
                <a:lnTo>
                  <a:pt x="601758" y="4166530"/>
                </a:lnTo>
                <a:lnTo>
                  <a:pt x="598443" y="4166555"/>
                </a:lnTo>
                <a:cubicBezTo>
                  <a:pt x="593631" y="4167542"/>
                  <a:pt x="588847" y="4168043"/>
                  <a:pt x="584226" y="4163745"/>
                </a:cubicBezTo>
                <a:cubicBezTo>
                  <a:pt x="581515" y="4161179"/>
                  <a:pt x="574950" y="4162681"/>
                  <a:pt x="577240" y="4155318"/>
                </a:cubicBezTo>
                <a:cubicBezTo>
                  <a:pt x="578039" y="4153198"/>
                  <a:pt x="576198" y="4151153"/>
                  <a:pt x="574426" y="4151746"/>
                </a:cubicBezTo>
                <a:cubicBezTo>
                  <a:pt x="566853" y="4153353"/>
                  <a:pt x="565046" y="4149675"/>
                  <a:pt x="565948" y="4142661"/>
                </a:cubicBezTo>
                <a:cubicBezTo>
                  <a:pt x="566120" y="4140403"/>
                  <a:pt x="563375" y="4139470"/>
                  <a:pt x="561639" y="4138431"/>
                </a:cubicBezTo>
                <a:cubicBezTo>
                  <a:pt x="558651" y="4137116"/>
                  <a:pt x="556809" y="4135070"/>
                  <a:pt x="557885" y="4131700"/>
                </a:cubicBezTo>
                <a:cubicBezTo>
                  <a:pt x="558962" y="4128331"/>
                  <a:pt x="557119" y="4126285"/>
                  <a:pt x="556424" y="4123508"/>
                </a:cubicBezTo>
                <a:cubicBezTo>
                  <a:pt x="554686" y="4116566"/>
                  <a:pt x="552356" y="4107855"/>
                  <a:pt x="554856" y="4102505"/>
                </a:cubicBezTo>
                <a:cubicBezTo>
                  <a:pt x="560377" y="4090936"/>
                  <a:pt x="565272" y="4079228"/>
                  <a:pt x="571036" y="4068040"/>
                </a:cubicBezTo>
                <a:cubicBezTo>
                  <a:pt x="571800" y="4067552"/>
                  <a:pt x="573328" y="4066579"/>
                  <a:pt x="574197" y="4067098"/>
                </a:cubicBezTo>
                <a:cubicBezTo>
                  <a:pt x="580207" y="4068096"/>
                  <a:pt x="585591" y="4068957"/>
                  <a:pt x="587397" y="4060829"/>
                </a:cubicBezTo>
                <a:cubicBezTo>
                  <a:pt x="587709" y="4057947"/>
                  <a:pt x="590070" y="4059125"/>
                  <a:pt x="591426" y="4060408"/>
                </a:cubicBezTo>
                <a:lnTo>
                  <a:pt x="597255" y="4063332"/>
                </a:lnTo>
                <a:lnTo>
                  <a:pt x="597100" y="4044514"/>
                </a:lnTo>
                <a:cubicBezTo>
                  <a:pt x="597696" y="4026597"/>
                  <a:pt x="599095" y="4011012"/>
                  <a:pt x="601419" y="3998696"/>
                </a:cubicBezTo>
                <a:cubicBezTo>
                  <a:pt x="620845" y="4013667"/>
                  <a:pt x="628719" y="4035307"/>
                  <a:pt x="644857" y="4055255"/>
                </a:cubicBezTo>
                <a:cubicBezTo>
                  <a:pt x="659373" y="4008367"/>
                  <a:pt x="649583" y="3964730"/>
                  <a:pt x="645257" y="3922558"/>
                </a:cubicBezTo>
                <a:cubicBezTo>
                  <a:pt x="643565" y="3914294"/>
                  <a:pt x="639076" y="3909186"/>
                  <a:pt x="630321" y="3912698"/>
                </a:cubicBezTo>
                <a:cubicBezTo>
                  <a:pt x="593485" y="3926262"/>
                  <a:pt x="592544" y="3900621"/>
                  <a:pt x="592934" y="3877290"/>
                </a:cubicBezTo>
                <a:lnTo>
                  <a:pt x="601361" y="3650094"/>
                </a:lnTo>
                <a:lnTo>
                  <a:pt x="595373" y="3653691"/>
                </a:lnTo>
                <a:cubicBezTo>
                  <a:pt x="592178" y="3656265"/>
                  <a:pt x="586135" y="3662801"/>
                  <a:pt x="582904" y="3661104"/>
                </a:cubicBezTo>
                <a:cubicBezTo>
                  <a:pt x="573453" y="3656395"/>
                  <a:pt x="563556" y="3666999"/>
                  <a:pt x="554313" y="3658402"/>
                </a:cubicBezTo>
                <a:cubicBezTo>
                  <a:pt x="551602" y="3655836"/>
                  <a:pt x="545038" y="3657338"/>
                  <a:pt x="547329" y="3649974"/>
                </a:cubicBezTo>
                <a:cubicBezTo>
                  <a:pt x="548127" y="3647854"/>
                  <a:pt x="546285" y="3645809"/>
                  <a:pt x="544514" y="3646402"/>
                </a:cubicBezTo>
                <a:cubicBezTo>
                  <a:pt x="536941" y="3648010"/>
                  <a:pt x="535133" y="3644333"/>
                  <a:pt x="536035" y="3637317"/>
                </a:cubicBezTo>
                <a:cubicBezTo>
                  <a:pt x="536208" y="3635061"/>
                  <a:pt x="533464" y="3634127"/>
                  <a:pt x="531727" y="3633087"/>
                </a:cubicBezTo>
                <a:cubicBezTo>
                  <a:pt x="528739" y="3631772"/>
                  <a:pt x="526897" y="3629726"/>
                  <a:pt x="527973" y="3626357"/>
                </a:cubicBezTo>
                <a:cubicBezTo>
                  <a:pt x="529049" y="3622987"/>
                  <a:pt x="527208" y="3620944"/>
                  <a:pt x="526512" y="3618166"/>
                </a:cubicBezTo>
                <a:cubicBezTo>
                  <a:pt x="524774" y="3611225"/>
                  <a:pt x="522444" y="3602512"/>
                  <a:pt x="524944" y="3597164"/>
                </a:cubicBezTo>
                <a:cubicBezTo>
                  <a:pt x="530464" y="3585593"/>
                  <a:pt x="535360" y="3573886"/>
                  <a:pt x="541124" y="3562714"/>
                </a:cubicBezTo>
                <a:cubicBezTo>
                  <a:pt x="541887" y="3562230"/>
                  <a:pt x="543416" y="3561256"/>
                  <a:pt x="544285" y="3561774"/>
                </a:cubicBezTo>
                <a:cubicBezTo>
                  <a:pt x="550294" y="3562772"/>
                  <a:pt x="555679" y="3563635"/>
                  <a:pt x="557484" y="3555506"/>
                </a:cubicBezTo>
                <a:cubicBezTo>
                  <a:pt x="557796" y="3552621"/>
                  <a:pt x="560158" y="3553799"/>
                  <a:pt x="561514" y="3555083"/>
                </a:cubicBezTo>
                <a:cubicBezTo>
                  <a:pt x="566795" y="3560842"/>
                  <a:pt x="569852" y="3558891"/>
                  <a:pt x="572004" y="3552151"/>
                </a:cubicBezTo>
                <a:cubicBezTo>
                  <a:pt x="573358" y="3547531"/>
                  <a:pt x="575373" y="3547318"/>
                  <a:pt x="577805" y="3551137"/>
                </a:cubicBezTo>
                <a:cubicBezTo>
                  <a:pt x="579265" y="3553425"/>
                  <a:pt x="580203" y="3556587"/>
                  <a:pt x="583885" y="3554775"/>
                </a:cubicBezTo>
                <a:cubicBezTo>
                  <a:pt x="592500" y="3551429"/>
                  <a:pt x="598962" y="3554821"/>
                  <a:pt x="602959" y="3561935"/>
                </a:cubicBezTo>
                <a:lnTo>
                  <a:pt x="604595" y="3562912"/>
                </a:lnTo>
                <a:lnTo>
                  <a:pt x="605485" y="3538904"/>
                </a:lnTo>
                <a:cubicBezTo>
                  <a:pt x="611676" y="3442930"/>
                  <a:pt x="628798" y="3349890"/>
                  <a:pt x="657343" y="3257940"/>
                </a:cubicBezTo>
                <a:cubicBezTo>
                  <a:pt x="661118" y="3251140"/>
                  <a:pt x="663070" y="3243851"/>
                  <a:pt x="665024" y="3236565"/>
                </a:cubicBezTo>
                <a:cubicBezTo>
                  <a:pt x="667401" y="3231341"/>
                  <a:pt x="669654" y="3226575"/>
                  <a:pt x="672969" y="3223312"/>
                </a:cubicBezTo>
                <a:lnTo>
                  <a:pt x="676691" y="3222213"/>
                </a:lnTo>
                <a:lnTo>
                  <a:pt x="670256" y="3222657"/>
                </a:lnTo>
                <a:cubicBezTo>
                  <a:pt x="667887" y="3224327"/>
                  <a:pt x="667209" y="3221777"/>
                  <a:pt x="667276" y="3219909"/>
                </a:cubicBezTo>
                <a:cubicBezTo>
                  <a:pt x="668103" y="3212145"/>
                  <a:pt x="664620" y="3211140"/>
                  <a:pt x="658142" y="3213980"/>
                </a:cubicBezTo>
                <a:cubicBezTo>
                  <a:pt x="653780" y="3216018"/>
                  <a:pt x="652289" y="3214645"/>
                  <a:pt x="653545" y="3210298"/>
                </a:cubicBezTo>
                <a:cubicBezTo>
                  <a:pt x="654298" y="3207690"/>
                  <a:pt x="656047" y="3204899"/>
                  <a:pt x="652254" y="3203333"/>
                </a:cubicBezTo>
                <a:cubicBezTo>
                  <a:pt x="644050" y="3199078"/>
                  <a:pt x="642324" y="3191986"/>
                  <a:pt x="645018" y="3184281"/>
                </a:cubicBezTo>
                <a:cubicBezTo>
                  <a:pt x="647085" y="3178758"/>
                  <a:pt x="646097" y="3175645"/>
                  <a:pt x="642806" y="3172342"/>
                </a:cubicBezTo>
                <a:cubicBezTo>
                  <a:pt x="643308" y="3170603"/>
                  <a:pt x="643810" y="3168861"/>
                  <a:pt x="644312" y="3167122"/>
                </a:cubicBezTo>
                <a:cubicBezTo>
                  <a:pt x="649419" y="3165770"/>
                  <a:pt x="652105" y="3161363"/>
                  <a:pt x="652054" y="3156638"/>
                </a:cubicBezTo>
                <a:cubicBezTo>
                  <a:pt x="652136" y="3148184"/>
                  <a:pt x="656505" y="3142851"/>
                  <a:pt x="663670" y="3139269"/>
                </a:cubicBezTo>
                <a:cubicBezTo>
                  <a:pt x="666474" y="3137724"/>
                  <a:pt x="669153" y="3136612"/>
                  <a:pt x="670901" y="3133820"/>
                </a:cubicBezTo>
                <a:cubicBezTo>
                  <a:pt x="673153" y="3129291"/>
                  <a:pt x="676518" y="3127435"/>
                  <a:pt x="681180" y="3129252"/>
                </a:cubicBezTo>
                <a:cubicBezTo>
                  <a:pt x="684664" y="3130257"/>
                  <a:pt x="687903" y="3128837"/>
                  <a:pt x="689711" y="3127474"/>
                </a:cubicBezTo>
                <a:cubicBezTo>
                  <a:pt x="700124" y="3119174"/>
                  <a:pt x="709376" y="3127970"/>
                  <a:pt x="718894" y="3129305"/>
                </a:cubicBezTo>
                <a:cubicBezTo>
                  <a:pt x="722938" y="3130000"/>
                  <a:pt x="731837" y="3130215"/>
                  <a:pt x="732700" y="3133759"/>
                </a:cubicBezTo>
                <a:lnTo>
                  <a:pt x="740935" y="3142970"/>
                </a:lnTo>
                <a:lnTo>
                  <a:pt x="756929" y="3026576"/>
                </a:lnTo>
                <a:lnTo>
                  <a:pt x="789321" y="2896426"/>
                </a:lnTo>
                <a:lnTo>
                  <a:pt x="779838" y="2885732"/>
                </a:lnTo>
                <a:cubicBezTo>
                  <a:pt x="777122" y="2882658"/>
                  <a:pt x="776963" y="2876397"/>
                  <a:pt x="776760" y="2871430"/>
                </a:cubicBezTo>
                <a:cubicBezTo>
                  <a:pt x="776678" y="2869443"/>
                  <a:pt x="777503" y="2867718"/>
                  <a:pt x="776124" y="2865684"/>
                </a:cubicBezTo>
                <a:cubicBezTo>
                  <a:pt x="774746" y="2863651"/>
                  <a:pt x="775572" y="2861926"/>
                  <a:pt x="777304" y="2860463"/>
                </a:cubicBezTo>
                <a:cubicBezTo>
                  <a:pt x="778258" y="2859429"/>
                  <a:pt x="779903" y="2858270"/>
                  <a:pt x="779344" y="2856801"/>
                </a:cubicBezTo>
                <a:cubicBezTo>
                  <a:pt x="777367" y="2852303"/>
                  <a:pt x="777849" y="2849499"/>
                  <a:pt x="783209" y="2849084"/>
                </a:cubicBezTo>
                <a:cubicBezTo>
                  <a:pt x="784506" y="2849129"/>
                  <a:pt x="785331" y="2847404"/>
                  <a:pt x="784384" y="2846151"/>
                </a:cubicBezTo>
                <a:cubicBezTo>
                  <a:pt x="781411" y="2841693"/>
                  <a:pt x="786081" y="2841405"/>
                  <a:pt x="787383" y="2839164"/>
                </a:cubicBezTo>
                <a:cubicBezTo>
                  <a:pt x="789617" y="2835392"/>
                  <a:pt x="792904" y="2834788"/>
                  <a:pt x="796304" y="2834500"/>
                </a:cubicBezTo>
                <a:lnTo>
                  <a:pt x="805382" y="2831897"/>
                </a:lnTo>
                <a:lnTo>
                  <a:pt x="814287" y="2796114"/>
                </a:lnTo>
                <a:cubicBezTo>
                  <a:pt x="872840" y="2606740"/>
                  <a:pt x="975846" y="2440987"/>
                  <a:pt x="1086140" y="2277190"/>
                </a:cubicBezTo>
                <a:cubicBezTo>
                  <a:pt x="1276656" y="1996245"/>
                  <a:pt x="1493754" y="1739990"/>
                  <a:pt x="1767180" y="1535930"/>
                </a:cubicBezTo>
                <a:cubicBezTo>
                  <a:pt x="2083663" y="1302393"/>
                  <a:pt x="2432764" y="1143996"/>
                  <a:pt x="2815911" y="1055268"/>
                </a:cubicBezTo>
                <a:cubicBezTo>
                  <a:pt x="2950961" y="1025044"/>
                  <a:pt x="3083961" y="980608"/>
                  <a:pt x="3224930" y="979323"/>
                </a:cubicBezTo>
                <a:cubicBezTo>
                  <a:pt x="3314862" y="979007"/>
                  <a:pt x="3404787" y="979176"/>
                  <a:pt x="3494594" y="980875"/>
                </a:cubicBezTo>
                <a:lnTo>
                  <a:pt x="3497819" y="981003"/>
                </a:lnTo>
                <a:lnTo>
                  <a:pt x="3489499" y="979729"/>
                </a:lnTo>
                <a:cubicBezTo>
                  <a:pt x="3486286" y="979729"/>
                  <a:pt x="3483072" y="977596"/>
                  <a:pt x="3481643" y="974751"/>
                </a:cubicBezTo>
                <a:cubicBezTo>
                  <a:pt x="3480572" y="972262"/>
                  <a:pt x="3479501" y="970841"/>
                  <a:pt x="3477358" y="969773"/>
                </a:cubicBezTo>
                <a:cubicBezTo>
                  <a:pt x="3477358" y="965507"/>
                  <a:pt x="3477358" y="961241"/>
                  <a:pt x="3477357" y="956974"/>
                </a:cubicBezTo>
                <a:cubicBezTo>
                  <a:pt x="3480929" y="955195"/>
                  <a:pt x="3483785" y="952351"/>
                  <a:pt x="3485214" y="949150"/>
                </a:cubicBezTo>
                <a:cubicBezTo>
                  <a:pt x="3487000" y="946306"/>
                  <a:pt x="3488428" y="943106"/>
                  <a:pt x="3490215" y="939906"/>
                </a:cubicBezTo>
                <a:cubicBezTo>
                  <a:pt x="3492000" y="937062"/>
                  <a:pt x="3493784" y="933861"/>
                  <a:pt x="3494144" y="930305"/>
                </a:cubicBezTo>
                <a:cubicBezTo>
                  <a:pt x="3494856" y="927106"/>
                  <a:pt x="3497000" y="925683"/>
                  <a:pt x="3499499" y="923905"/>
                </a:cubicBezTo>
                <a:cubicBezTo>
                  <a:pt x="3502000" y="922128"/>
                  <a:pt x="3505570" y="922484"/>
                  <a:pt x="3507358" y="919993"/>
                </a:cubicBezTo>
                <a:cubicBezTo>
                  <a:pt x="3509855" y="919994"/>
                  <a:pt x="3511999" y="919994"/>
                  <a:pt x="3514500" y="919994"/>
                </a:cubicBezTo>
                <a:cubicBezTo>
                  <a:pt x="3514500" y="921061"/>
                  <a:pt x="3514857" y="921417"/>
                  <a:pt x="3515572" y="921416"/>
                </a:cubicBezTo>
                <a:cubicBezTo>
                  <a:pt x="3520927" y="921416"/>
                  <a:pt x="3523787" y="924972"/>
                  <a:pt x="3525570" y="929238"/>
                </a:cubicBezTo>
                <a:cubicBezTo>
                  <a:pt x="3527356" y="933150"/>
                  <a:pt x="3529500" y="936706"/>
                  <a:pt x="3528786" y="941329"/>
                </a:cubicBezTo>
                <a:cubicBezTo>
                  <a:pt x="3527714" y="946306"/>
                  <a:pt x="3528071" y="951640"/>
                  <a:pt x="3523787" y="955551"/>
                </a:cubicBezTo>
                <a:cubicBezTo>
                  <a:pt x="3522355" y="956973"/>
                  <a:pt x="3520928" y="958040"/>
                  <a:pt x="3518427" y="958751"/>
                </a:cubicBezTo>
                <a:cubicBezTo>
                  <a:pt x="3514857" y="959817"/>
                  <a:pt x="3510571" y="961596"/>
                  <a:pt x="3511643" y="967285"/>
                </a:cubicBezTo>
                <a:cubicBezTo>
                  <a:pt x="3511999" y="969418"/>
                  <a:pt x="3509856" y="970129"/>
                  <a:pt x="3509500" y="971196"/>
                </a:cubicBezTo>
                <a:lnTo>
                  <a:pt x="3498899" y="981047"/>
                </a:lnTo>
                <a:lnTo>
                  <a:pt x="3533107" y="982410"/>
                </a:lnTo>
                <a:lnTo>
                  <a:pt x="3537928" y="976449"/>
                </a:lnTo>
                <a:cubicBezTo>
                  <a:pt x="3568996" y="941757"/>
                  <a:pt x="3592755" y="912541"/>
                  <a:pt x="3604814" y="910353"/>
                </a:cubicBezTo>
                <a:cubicBezTo>
                  <a:pt x="3604814" y="910353"/>
                  <a:pt x="3604814" y="910353"/>
                  <a:pt x="3608834" y="909626"/>
                </a:cubicBezTo>
                <a:cubicBezTo>
                  <a:pt x="3608834" y="909626"/>
                  <a:pt x="3608834" y="909626"/>
                  <a:pt x="3612123" y="904878"/>
                </a:cubicBezTo>
                <a:cubicBezTo>
                  <a:pt x="3611395" y="900859"/>
                  <a:pt x="3615414" y="900129"/>
                  <a:pt x="3619433" y="899401"/>
                </a:cubicBezTo>
                <a:cubicBezTo>
                  <a:pt x="3619433" y="899401"/>
                  <a:pt x="3619433" y="899401"/>
                  <a:pt x="3616141" y="904148"/>
                </a:cubicBezTo>
                <a:cubicBezTo>
                  <a:pt x="3616141" y="904148"/>
                  <a:pt x="3616141" y="904148"/>
                  <a:pt x="3612852" y="908897"/>
                </a:cubicBezTo>
                <a:cubicBezTo>
                  <a:pt x="3627470" y="897943"/>
                  <a:pt x="3641362" y="882969"/>
                  <a:pt x="3651961" y="872745"/>
                </a:cubicBezTo>
                <a:cubicBezTo>
                  <a:pt x="3656710" y="876035"/>
                  <a:pt x="3671328" y="865081"/>
                  <a:pt x="3672787" y="873118"/>
                </a:cubicBezTo>
                <a:cubicBezTo>
                  <a:pt x="3722409" y="820533"/>
                  <a:pt x="3768940" y="789521"/>
                  <a:pt x="3805766" y="753267"/>
                </a:cubicBezTo>
                <a:lnTo>
                  <a:pt x="3816255" y="740998"/>
                </a:lnTo>
                <a:lnTo>
                  <a:pt x="3809960" y="740685"/>
                </a:lnTo>
                <a:cubicBezTo>
                  <a:pt x="3805163" y="739064"/>
                  <a:pt x="3800731" y="737064"/>
                  <a:pt x="3796002" y="735218"/>
                </a:cubicBezTo>
                <a:cubicBezTo>
                  <a:pt x="3794653" y="734797"/>
                  <a:pt x="3794787" y="733975"/>
                  <a:pt x="3794989" y="732930"/>
                </a:cubicBezTo>
                <a:cubicBezTo>
                  <a:pt x="3795949" y="728295"/>
                  <a:pt x="3795949" y="728295"/>
                  <a:pt x="3791542" y="727783"/>
                </a:cubicBezTo>
                <a:cubicBezTo>
                  <a:pt x="3787433" y="727117"/>
                  <a:pt x="3786511" y="725719"/>
                  <a:pt x="3787700" y="721527"/>
                </a:cubicBezTo>
                <a:cubicBezTo>
                  <a:pt x="3788262" y="719729"/>
                  <a:pt x="3788747" y="717783"/>
                  <a:pt x="3787224" y="715952"/>
                </a:cubicBezTo>
                <a:cubicBezTo>
                  <a:pt x="3783192" y="711486"/>
                  <a:pt x="3782869" y="706205"/>
                  <a:pt x="3784254" y="700594"/>
                </a:cubicBezTo>
                <a:cubicBezTo>
                  <a:pt x="3785152" y="696928"/>
                  <a:pt x="3786573" y="693177"/>
                  <a:pt x="3786651" y="689379"/>
                </a:cubicBezTo>
                <a:cubicBezTo>
                  <a:pt x="3786637" y="688634"/>
                  <a:pt x="3786771" y="687812"/>
                  <a:pt x="3787585" y="687573"/>
                </a:cubicBezTo>
                <a:cubicBezTo>
                  <a:pt x="3791893" y="686820"/>
                  <a:pt x="3792573" y="683456"/>
                  <a:pt x="3793404" y="680015"/>
                </a:cubicBezTo>
                <a:cubicBezTo>
                  <a:pt x="3793607" y="678969"/>
                  <a:pt x="3793883" y="677698"/>
                  <a:pt x="3795361" y="677297"/>
                </a:cubicBezTo>
                <a:cubicBezTo>
                  <a:pt x="3799517" y="676249"/>
                  <a:pt x="3803121" y="673798"/>
                  <a:pt x="3806963" y="672160"/>
                </a:cubicBezTo>
                <a:cubicBezTo>
                  <a:pt x="3810138" y="670685"/>
                  <a:pt x="3813390" y="669356"/>
                  <a:pt x="3817197" y="669805"/>
                </a:cubicBezTo>
                <a:cubicBezTo>
                  <a:pt x="3818840" y="670070"/>
                  <a:pt x="3819572" y="669312"/>
                  <a:pt x="3819916" y="667817"/>
                </a:cubicBezTo>
                <a:cubicBezTo>
                  <a:pt x="3819973" y="666847"/>
                  <a:pt x="3820107" y="666025"/>
                  <a:pt x="3820387" y="665126"/>
                </a:cubicBezTo>
                <a:cubicBezTo>
                  <a:pt x="3820667" y="664228"/>
                  <a:pt x="3821391" y="663096"/>
                  <a:pt x="3822438" y="663301"/>
                </a:cubicBezTo>
                <a:cubicBezTo>
                  <a:pt x="3823634" y="663426"/>
                  <a:pt x="3823954" y="664760"/>
                  <a:pt x="3823977" y="665877"/>
                </a:cubicBezTo>
                <a:cubicBezTo>
                  <a:pt x="3824062" y="666396"/>
                  <a:pt x="3823921" y="666846"/>
                  <a:pt x="3823857" y="667443"/>
                </a:cubicBezTo>
                <a:cubicBezTo>
                  <a:pt x="3823272" y="672071"/>
                  <a:pt x="3825316" y="673819"/>
                  <a:pt x="3829532" y="672174"/>
                </a:cubicBezTo>
                <a:cubicBezTo>
                  <a:pt x="3830347" y="671935"/>
                  <a:pt x="3831084" y="671549"/>
                  <a:pt x="3831751" y="671387"/>
                </a:cubicBezTo>
                <a:cubicBezTo>
                  <a:pt x="3832939" y="671141"/>
                  <a:pt x="3833965" y="670228"/>
                  <a:pt x="3835110" y="671695"/>
                </a:cubicBezTo>
                <a:cubicBezTo>
                  <a:pt x="3836023" y="672721"/>
                  <a:pt x="3835740" y="673619"/>
                  <a:pt x="3835165" y="674673"/>
                </a:cubicBezTo>
                <a:cubicBezTo>
                  <a:pt x="3834162" y="676702"/>
                  <a:pt x="3834847" y="677658"/>
                  <a:pt x="3837168" y="678135"/>
                </a:cubicBezTo>
                <a:cubicBezTo>
                  <a:pt x="3840082" y="678674"/>
                  <a:pt x="3843082" y="679734"/>
                  <a:pt x="3844479" y="682760"/>
                </a:cubicBezTo>
                <a:cubicBezTo>
                  <a:pt x="3845566" y="685197"/>
                  <a:pt x="3846776" y="686067"/>
                  <a:pt x="3849123" y="684086"/>
                </a:cubicBezTo>
                <a:cubicBezTo>
                  <a:pt x="3849636" y="683630"/>
                  <a:pt x="3850450" y="683390"/>
                  <a:pt x="3851209" y="684120"/>
                </a:cubicBezTo>
                <a:cubicBezTo>
                  <a:pt x="3851889" y="684703"/>
                  <a:pt x="3851383" y="685533"/>
                  <a:pt x="3851173" y="686206"/>
                </a:cubicBezTo>
                <a:cubicBezTo>
                  <a:pt x="3850680" y="687780"/>
                  <a:pt x="3850042" y="689430"/>
                  <a:pt x="3849922" y="690997"/>
                </a:cubicBezTo>
                <a:cubicBezTo>
                  <a:pt x="3849185" y="695329"/>
                  <a:pt x="3850258" y="697021"/>
                  <a:pt x="3854170" y="699105"/>
                </a:cubicBezTo>
                <a:lnTo>
                  <a:pt x="3858072" y="702525"/>
                </a:lnTo>
                <a:lnTo>
                  <a:pt x="3873165" y="693176"/>
                </a:lnTo>
                <a:cubicBezTo>
                  <a:pt x="3889441" y="684192"/>
                  <a:pt x="3904842" y="676827"/>
                  <a:pt x="3920526" y="667804"/>
                </a:cubicBezTo>
                <a:lnTo>
                  <a:pt x="3944641" y="650445"/>
                </a:lnTo>
                <a:lnTo>
                  <a:pt x="3944611" y="650209"/>
                </a:lnTo>
                <a:cubicBezTo>
                  <a:pt x="3940592" y="645928"/>
                  <a:pt x="3940222" y="641154"/>
                  <a:pt x="3942097" y="635914"/>
                </a:cubicBezTo>
                <a:cubicBezTo>
                  <a:pt x="3942759" y="633792"/>
                  <a:pt x="3943571" y="631949"/>
                  <a:pt x="3943106" y="629707"/>
                </a:cubicBezTo>
                <a:cubicBezTo>
                  <a:pt x="3942060" y="626353"/>
                  <a:pt x="3942857" y="623807"/>
                  <a:pt x="3946070" y="622479"/>
                </a:cubicBezTo>
                <a:cubicBezTo>
                  <a:pt x="3948299" y="621310"/>
                  <a:pt x="3949242" y="619042"/>
                  <a:pt x="3949495" y="617490"/>
                </a:cubicBezTo>
                <a:cubicBezTo>
                  <a:pt x="3950734" y="608326"/>
                  <a:pt x="3959599" y="608294"/>
                  <a:pt x="3965014" y="604392"/>
                </a:cubicBezTo>
                <a:cubicBezTo>
                  <a:pt x="3967378" y="602799"/>
                  <a:pt x="3971945" y="598632"/>
                  <a:pt x="3974080" y="599997"/>
                </a:cubicBezTo>
                <a:cubicBezTo>
                  <a:pt x="3980343" y="603812"/>
                  <a:pt x="3987817" y="597059"/>
                  <a:pt x="3993707" y="603553"/>
                </a:cubicBezTo>
                <a:cubicBezTo>
                  <a:pt x="3995430" y="605488"/>
                  <a:pt x="4000062" y="604835"/>
                  <a:pt x="3998044" y="609796"/>
                </a:cubicBezTo>
                <a:lnTo>
                  <a:pt x="3999693" y="612301"/>
                </a:lnTo>
                <a:lnTo>
                  <a:pt x="4025276" y="593333"/>
                </a:lnTo>
                <a:cubicBezTo>
                  <a:pt x="4038572" y="583657"/>
                  <a:pt x="4052369" y="573891"/>
                  <a:pt x="4065343" y="565311"/>
                </a:cubicBezTo>
                <a:cubicBezTo>
                  <a:pt x="4091291" y="548151"/>
                  <a:pt x="4121988" y="534281"/>
                  <a:pt x="4138071" y="531364"/>
                </a:cubicBezTo>
                <a:cubicBezTo>
                  <a:pt x="4135508" y="540132"/>
                  <a:pt x="4120885" y="551086"/>
                  <a:pt x="4102244" y="562767"/>
                </a:cubicBezTo>
                <a:cubicBezTo>
                  <a:pt x="4082878" y="570432"/>
                  <a:pt x="4064239" y="582115"/>
                  <a:pt x="4057658" y="591610"/>
                </a:cubicBezTo>
                <a:cubicBezTo>
                  <a:pt x="4046327" y="597816"/>
                  <a:pt x="4038290" y="599274"/>
                  <a:pt x="4026229" y="601461"/>
                </a:cubicBezTo>
                <a:lnTo>
                  <a:pt x="4003987" y="617789"/>
                </a:lnTo>
                <a:lnTo>
                  <a:pt x="4005112" y="619220"/>
                </a:lnTo>
                <a:cubicBezTo>
                  <a:pt x="4004859" y="620772"/>
                  <a:pt x="4006703" y="621580"/>
                  <a:pt x="4007845" y="622402"/>
                </a:cubicBezTo>
                <a:cubicBezTo>
                  <a:pt x="4009834" y="623488"/>
                  <a:pt x="4010988" y="625012"/>
                  <a:pt x="4010045" y="627280"/>
                </a:cubicBezTo>
                <a:cubicBezTo>
                  <a:pt x="4009102" y="629549"/>
                  <a:pt x="4010257" y="631073"/>
                  <a:pt x="4010574" y="633035"/>
                </a:cubicBezTo>
                <a:cubicBezTo>
                  <a:pt x="4011367" y="637942"/>
                  <a:pt x="4012466" y="644107"/>
                  <a:pt x="4010422" y="647663"/>
                </a:cubicBezTo>
                <a:cubicBezTo>
                  <a:pt x="4005919" y="655343"/>
                  <a:pt x="4001842" y="663156"/>
                  <a:pt x="3997193" y="670559"/>
                </a:cubicBezTo>
                <a:cubicBezTo>
                  <a:pt x="3996637" y="670851"/>
                  <a:pt x="3995521" y="671436"/>
                  <a:pt x="3994950" y="671024"/>
                </a:cubicBezTo>
                <a:cubicBezTo>
                  <a:pt x="3990850" y="669979"/>
                  <a:pt x="3987175" y="669066"/>
                  <a:pt x="3985447" y="674584"/>
                </a:cubicBezTo>
                <a:cubicBezTo>
                  <a:pt x="3985061" y="676561"/>
                  <a:pt x="3983496" y="675606"/>
                  <a:pt x="3982634" y="674639"/>
                </a:cubicBezTo>
                <a:cubicBezTo>
                  <a:pt x="3979317" y="670344"/>
                  <a:pt x="3977088" y="671513"/>
                  <a:pt x="3975201" y="676049"/>
                </a:cubicBezTo>
                <a:cubicBezTo>
                  <a:pt x="3973993" y="679166"/>
                  <a:pt x="3972586" y="679193"/>
                  <a:pt x="3971126" y="676410"/>
                </a:cubicBezTo>
                <a:cubicBezTo>
                  <a:pt x="3970252" y="674739"/>
                  <a:pt x="3969789" y="672499"/>
                  <a:pt x="3967134" y="673534"/>
                </a:cubicBezTo>
                <a:cubicBezTo>
                  <a:pt x="3960976" y="675342"/>
                  <a:pt x="3956702" y="672613"/>
                  <a:pt x="3954358" y="667456"/>
                </a:cubicBezTo>
                <a:cubicBezTo>
                  <a:pt x="3952739" y="663690"/>
                  <a:pt x="3950750" y="662604"/>
                  <a:pt x="3947511" y="662527"/>
                </a:cubicBezTo>
                <a:cubicBezTo>
                  <a:pt x="3946928" y="661413"/>
                  <a:pt x="3946344" y="660299"/>
                  <a:pt x="3945761" y="659185"/>
                </a:cubicBezTo>
                <a:lnTo>
                  <a:pt x="3945691" y="658645"/>
                </a:lnTo>
                <a:lnTo>
                  <a:pt x="3930473" y="668642"/>
                </a:lnTo>
                <a:cubicBezTo>
                  <a:pt x="3927180" y="673390"/>
                  <a:pt x="3917310" y="687633"/>
                  <a:pt x="3931929" y="676680"/>
                </a:cubicBezTo>
                <a:cubicBezTo>
                  <a:pt x="3919318" y="687270"/>
                  <a:pt x="3904882" y="699229"/>
                  <a:pt x="3889029" y="711962"/>
                </a:cubicBezTo>
                <a:lnTo>
                  <a:pt x="3876671" y="721562"/>
                </a:lnTo>
                <a:lnTo>
                  <a:pt x="3882048" y="723964"/>
                </a:lnTo>
                <a:cubicBezTo>
                  <a:pt x="3883234" y="723719"/>
                  <a:pt x="3885245" y="723605"/>
                  <a:pt x="3885651" y="725459"/>
                </a:cubicBezTo>
                <a:cubicBezTo>
                  <a:pt x="3886699" y="729609"/>
                  <a:pt x="3889795" y="731933"/>
                  <a:pt x="3893260" y="733877"/>
                </a:cubicBezTo>
                <a:cubicBezTo>
                  <a:pt x="3895891" y="735316"/>
                  <a:pt x="3897417" y="737149"/>
                  <a:pt x="3897185" y="740653"/>
                </a:cubicBezTo>
                <a:cubicBezTo>
                  <a:pt x="3896882" y="744382"/>
                  <a:pt x="3898763" y="745463"/>
                  <a:pt x="3902614" y="744197"/>
                </a:cubicBezTo>
                <a:cubicBezTo>
                  <a:pt x="3902761" y="744120"/>
                  <a:pt x="3902909" y="744043"/>
                  <a:pt x="3903057" y="743966"/>
                </a:cubicBezTo>
                <a:cubicBezTo>
                  <a:pt x="3904462" y="743417"/>
                  <a:pt x="3905944" y="743017"/>
                  <a:pt x="3906786" y="744267"/>
                </a:cubicBezTo>
                <a:cubicBezTo>
                  <a:pt x="3907778" y="745439"/>
                  <a:pt x="3906077" y="746142"/>
                  <a:pt x="3905572" y="746970"/>
                </a:cubicBezTo>
                <a:cubicBezTo>
                  <a:pt x="3902086" y="751803"/>
                  <a:pt x="3902099" y="756494"/>
                  <a:pt x="3905765" y="761339"/>
                </a:cubicBezTo>
                <a:cubicBezTo>
                  <a:pt x="3906987" y="762954"/>
                  <a:pt x="3906939" y="764295"/>
                  <a:pt x="3905849" y="765805"/>
                </a:cubicBezTo>
                <a:cubicBezTo>
                  <a:pt x="3905197" y="766711"/>
                  <a:pt x="3904466" y="767470"/>
                  <a:pt x="3903812" y="768376"/>
                </a:cubicBezTo>
                <a:cubicBezTo>
                  <a:pt x="3902941" y="769584"/>
                  <a:pt x="3902961" y="770700"/>
                  <a:pt x="3903952" y="771873"/>
                </a:cubicBezTo>
                <a:lnTo>
                  <a:pt x="3905103" y="772465"/>
                </a:lnTo>
                <a:lnTo>
                  <a:pt x="3899579" y="789972"/>
                </a:lnTo>
                <a:lnTo>
                  <a:pt x="3898661" y="787612"/>
                </a:lnTo>
                <a:cubicBezTo>
                  <a:pt x="3898336" y="786278"/>
                  <a:pt x="3898029" y="785688"/>
                  <a:pt x="3896314" y="785647"/>
                </a:cubicBezTo>
                <a:cubicBezTo>
                  <a:pt x="3894531" y="785829"/>
                  <a:pt x="3894326" y="786876"/>
                  <a:pt x="3894199" y="788070"/>
                </a:cubicBezTo>
                <a:cubicBezTo>
                  <a:pt x="3894066" y="788892"/>
                  <a:pt x="3894228" y="789559"/>
                  <a:pt x="3894318" y="790451"/>
                </a:cubicBezTo>
                <a:cubicBezTo>
                  <a:pt x="3894613" y="794243"/>
                  <a:pt x="3893805" y="794854"/>
                  <a:pt x="3890280" y="793506"/>
                </a:cubicBezTo>
                <a:cubicBezTo>
                  <a:pt x="3889529" y="793148"/>
                  <a:pt x="3888551" y="792720"/>
                  <a:pt x="3887666" y="793184"/>
                </a:cubicBezTo>
                <a:cubicBezTo>
                  <a:pt x="3886709" y="793873"/>
                  <a:pt x="3887329" y="795052"/>
                  <a:pt x="3887419" y="795944"/>
                </a:cubicBezTo>
                <a:cubicBezTo>
                  <a:pt x="3887433" y="796689"/>
                  <a:pt x="3887595" y="797355"/>
                  <a:pt x="3887904" y="797945"/>
                </a:cubicBezTo>
                <a:cubicBezTo>
                  <a:pt x="3888338" y="799314"/>
                  <a:pt x="3888168" y="800155"/>
                  <a:pt x="3887609" y="800613"/>
                </a:cubicBezTo>
                <a:cubicBezTo>
                  <a:pt x="3887051" y="801071"/>
                  <a:pt x="3886102" y="801145"/>
                  <a:pt x="3884983" y="800980"/>
                </a:cubicBezTo>
                <a:cubicBezTo>
                  <a:pt x="3882664" y="800503"/>
                  <a:pt x="3880191" y="799731"/>
                  <a:pt x="3877872" y="799255"/>
                </a:cubicBezTo>
                <a:cubicBezTo>
                  <a:pt x="3875104" y="798637"/>
                  <a:pt x="3872273" y="798617"/>
                  <a:pt x="3870609" y="801181"/>
                </a:cubicBezTo>
                <a:cubicBezTo>
                  <a:pt x="3869155" y="803070"/>
                  <a:pt x="3867883" y="802797"/>
                  <a:pt x="3866155" y="802010"/>
                </a:cubicBezTo>
                <a:cubicBezTo>
                  <a:pt x="3862397" y="800221"/>
                  <a:pt x="3858583" y="799401"/>
                  <a:pt x="3854917" y="802449"/>
                </a:cubicBezTo>
                <a:cubicBezTo>
                  <a:pt x="3854037" y="803285"/>
                  <a:pt x="3853511" y="802997"/>
                  <a:pt x="3852822" y="802042"/>
                </a:cubicBezTo>
                <a:cubicBezTo>
                  <a:pt x="3848448" y="795126"/>
                  <a:pt x="3842104" y="790556"/>
                  <a:pt x="3835038" y="787117"/>
                </a:cubicBezTo>
                <a:cubicBezTo>
                  <a:pt x="3833311" y="786332"/>
                  <a:pt x="3833142" y="785292"/>
                  <a:pt x="3833038" y="783656"/>
                </a:cubicBezTo>
                <a:cubicBezTo>
                  <a:pt x="3833121" y="780229"/>
                  <a:pt x="3833199" y="776430"/>
                  <a:pt x="3830623" y="774022"/>
                </a:cubicBezTo>
                <a:cubicBezTo>
                  <a:pt x="3828045" y="771614"/>
                  <a:pt x="3827701" y="769163"/>
                  <a:pt x="3827939" y="766031"/>
                </a:cubicBezTo>
                <a:cubicBezTo>
                  <a:pt x="3827996" y="765062"/>
                  <a:pt x="3827905" y="764170"/>
                  <a:pt x="3827884" y="763054"/>
                </a:cubicBezTo>
                <a:lnTo>
                  <a:pt x="3828883" y="758548"/>
                </a:lnTo>
                <a:lnTo>
                  <a:pt x="3786547" y="790738"/>
                </a:lnTo>
                <a:cubicBezTo>
                  <a:pt x="3769368" y="804750"/>
                  <a:pt x="3752277" y="819265"/>
                  <a:pt x="3736011" y="832593"/>
                </a:cubicBezTo>
                <a:cubicBezTo>
                  <a:pt x="3736011" y="832593"/>
                  <a:pt x="3728702" y="838071"/>
                  <a:pt x="3727244" y="830032"/>
                </a:cubicBezTo>
                <a:cubicBezTo>
                  <a:pt x="3688134" y="866183"/>
                  <a:pt x="3666206" y="882614"/>
                  <a:pt x="3654501" y="909642"/>
                </a:cubicBezTo>
                <a:cubicBezTo>
                  <a:pt x="3632574" y="926072"/>
                  <a:pt x="3622705" y="940315"/>
                  <a:pt x="3608086" y="951270"/>
                </a:cubicBezTo>
                <a:cubicBezTo>
                  <a:pt x="3601504" y="960765"/>
                  <a:pt x="3612102" y="950541"/>
                  <a:pt x="3612834" y="954559"/>
                </a:cubicBezTo>
                <a:lnTo>
                  <a:pt x="3585074" y="984481"/>
                </a:lnTo>
                <a:lnTo>
                  <a:pt x="3763620" y="991597"/>
                </a:lnTo>
                <a:cubicBezTo>
                  <a:pt x="3853135" y="997394"/>
                  <a:pt x="3942448" y="1005762"/>
                  <a:pt x="4031465" y="1017743"/>
                </a:cubicBezTo>
                <a:lnTo>
                  <a:pt x="4096608" y="1029452"/>
                </a:lnTo>
                <a:lnTo>
                  <a:pt x="4112058" y="1014839"/>
                </a:lnTo>
                <a:cubicBezTo>
                  <a:pt x="4117845" y="1008201"/>
                  <a:pt x="4119242" y="1001241"/>
                  <a:pt x="4110781" y="996200"/>
                </a:cubicBezTo>
                <a:cubicBezTo>
                  <a:pt x="4076201" y="974216"/>
                  <a:pt x="4096884" y="957199"/>
                  <a:pt x="4116497" y="942750"/>
                </a:cubicBezTo>
                <a:lnTo>
                  <a:pt x="4195706" y="886832"/>
                </a:lnTo>
                <a:lnTo>
                  <a:pt x="4196782" y="884457"/>
                </a:lnTo>
                <a:cubicBezTo>
                  <a:pt x="4196848" y="882698"/>
                  <a:pt x="4201031" y="881737"/>
                  <a:pt x="4202876" y="881017"/>
                </a:cubicBezTo>
                <a:lnTo>
                  <a:pt x="4207952" y="878186"/>
                </a:lnTo>
                <a:lnTo>
                  <a:pt x="4405262" y="738895"/>
                </a:lnTo>
                <a:cubicBezTo>
                  <a:pt x="4488853" y="683252"/>
                  <a:pt x="4576936" y="638538"/>
                  <a:pt x="4671331" y="604005"/>
                </a:cubicBezTo>
                <a:cubicBezTo>
                  <a:pt x="4679363" y="602832"/>
                  <a:pt x="4686653" y="599838"/>
                  <a:pt x="4693938" y="596844"/>
                </a:cubicBezTo>
                <a:cubicBezTo>
                  <a:pt x="4705615" y="594175"/>
                  <a:pt x="4715474" y="592253"/>
                  <a:pt x="4722531" y="604255"/>
                </a:cubicBezTo>
                <a:cubicBezTo>
                  <a:pt x="4730341" y="618079"/>
                  <a:pt x="4720914" y="626213"/>
                  <a:pt x="4710731" y="632526"/>
                </a:cubicBezTo>
                <a:cubicBezTo>
                  <a:pt x="4686726" y="646650"/>
                  <a:pt x="4661978" y="658950"/>
                  <a:pt x="4637974" y="673072"/>
                </a:cubicBezTo>
                <a:cubicBezTo>
                  <a:pt x="4629611" y="678637"/>
                  <a:pt x="4622001" y="686023"/>
                  <a:pt x="4615136" y="695230"/>
                </a:cubicBezTo>
                <a:cubicBezTo>
                  <a:pt x="4651349" y="695256"/>
                  <a:pt x="4681560" y="680709"/>
                  <a:pt x="4710281" y="662519"/>
                </a:cubicBezTo>
                <a:cubicBezTo>
                  <a:pt x="4850965" y="574888"/>
                  <a:pt x="4998001" y="497439"/>
                  <a:pt x="5153994" y="441847"/>
                </a:cubicBezTo>
                <a:cubicBezTo>
                  <a:pt x="5202553" y="424019"/>
                  <a:pt x="5251646" y="409431"/>
                  <a:pt x="5301185" y="397389"/>
                </a:cubicBezTo>
                <a:lnTo>
                  <a:pt x="5341799" y="389478"/>
                </a:lnTo>
                <a:lnTo>
                  <a:pt x="5346175" y="386241"/>
                </a:lnTo>
                <a:cubicBezTo>
                  <a:pt x="5347667" y="385336"/>
                  <a:pt x="5349056" y="384874"/>
                  <a:pt x="5350126" y="385190"/>
                </a:cubicBezTo>
                <a:lnTo>
                  <a:pt x="5351467" y="387595"/>
                </a:lnTo>
                <a:lnTo>
                  <a:pt x="5451055" y="368198"/>
                </a:lnTo>
                <a:cubicBezTo>
                  <a:pt x="5551745" y="352898"/>
                  <a:pt x="5653871" y="344989"/>
                  <a:pt x="5756740" y="338903"/>
                </a:cubicBezTo>
                <a:lnTo>
                  <a:pt x="6020199" y="331824"/>
                </a:lnTo>
                <a:lnTo>
                  <a:pt x="6022744" y="327651"/>
                </a:lnTo>
                <a:cubicBezTo>
                  <a:pt x="6022903" y="322007"/>
                  <a:pt x="6025769" y="317848"/>
                  <a:pt x="6032125" y="317124"/>
                </a:cubicBezTo>
                <a:cubicBezTo>
                  <a:pt x="6034963" y="317048"/>
                  <a:pt x="6034523" y="314811"/>
                  <a:pt x="6034680" y="312938"/>
                </a:cubicBezTo>
                <a:cubicBezTo>
                  <a:pt x="6034942" y="309817"/>
                  <a:pt x="6036244" y="309298"/>
                  <a:pt x="6038560" y="311692"/>
                </a:cubicBezTo>
                <a:cubicBezTo>
                  <a:pt x="6042047" y="315128"/>
                  <a:pt x="6044548" y="315338"/>
                  <a:pt x="6045932" y="310111"/>
                </a:cubicBezTo>
                <a:cubicBezTo>
                  <a:pt x="6046348" y="308888"/>
                  <a:pt x="6047417" y="307407"/>
                  <a:pt x="6048536" y="309072"/>
                </a:cubicBezTo>
                <a:cubicBezTo>
                  <a:pt x="6052256" y="313471"/>
                  <a:pt x="6055280" y="311210"/>
                  <a:pt x="6058641" y="308663"/>
                </a:cubicBezTo>
                <a:cubicBezTo>
                  <a:pt x="6059005" y="308065"/>
                  <a:pt x="6060256" y="308170"/>
                  <a:pt x="6060879" y="308223"/>
                </a:cubicBezTo>
                <a:close/>
                <a:moveTo>
                  <a:pt x="9985735" y="302455"/>
                </a:moveTo>
                <a:cubicBezTo>
                  <a:pt x="9991557" y="304684"/>
                  <a:pt x="9996930" y="307805"/>
                  <a:pt x="9999170" y="314939"/>
                </a:cubicBezTo>
                <a:cubicBezTo>
                  <a:pt x="9999618" y="316276"/>
                  <a:pt x="10002305" y="317168"/>
                  <a:pt x="10001858" y="319843"/>
                </a:cubicBezTo>
                <a:cubicBezTo>
                  <a:pt x="10000513" y="326976"/>
                  <a:pt x="10005889" y="329206"/>
                  <a:pt x="10010366" y="330544"/>
                </a:cubicBezTo>
                <a:cubicBezTo>
                  <a:pt x="10013502" y="331435"/>
                  <a:pt x="10015293" y="332773"/>
                  <a:pt x="10017084" y="334556"/>
                </a:cubicBezTo>
                <a:cubicBezTo>
                  <a:pt x="10022459" y="339460"/>
                  <a:pt x="10022011" y="346148"/>
                  <a:pt x="10023355" y="352390"/>
                </a:cubicBezTo>
                <a:cubicBezTo>
                  <a:pt x="10024250" y="358186"/>
                  <a:pt x="10021564" y="362645"/>
                  <a:pt x="10019325" y="367549"/>
                </a:cubicBezTo>
                <a:cubicBezTo>
                  <a:pt x="10017084" y="372899"/>
                  <a:pt x="10013502" y="377358"/>
                  <a:pt x="10006783" y="377358"/>
                </a:cubicBezTo>
                <a:cubicBezTo>
                  <a:pt x="10005888" y="377358"/>
                  <a:pt x="10005440" y="377803"/>
                  <a:pt x="10005440" y="379141"/>
                </a:cubicBezTo>
                <a:cubicBezTo>
                  <a:pt x="10002305" y="379142"/>
                  <a:pt x="9999619" y="379141"/>
                  <a:pt x="9996483" y="379142"/>
                </a:cubicBezTo>
                <a:cubicBezTo>
                  <a:pt x="9994243" y="376021"/>
                  <a:pt x="9989765" y="376467"/>
                  <a:pt x="9986630" y="374238"/>
                </a:cubicBezTo>
                <a:cubicBezTo>
                  <a:pt x="9983494" y="372007"/>
                  <a:pt x="9980808" y="370224"/>
                  <a:pt x="9979912" y="366211"/>
                </a:cubicBezTo>
                <a:cubicBezTo>
                  <a:pt x="9979465" y="361753"/>
                  <a:pt x="9977224" y="357740"/>
                  <a:pt x="9974985" y="354173"/>
                </a:cubicBezTo>
                <a:cubicBezTo>
                  <a:pt x="9972747" y="350161"/>
                  <a:pt x="9970954" y="346148"/>
                  <a:pt x="9968716" y="342581"/>
                </a:cubicBezTo>
                <a:cubicBezTo>
                  <a:pt x="9966924" y="338568"/>
                  <a:pt x="9963342" y="335002"/>
                  <a:pt x="9958862" y="332773"/>
                </a:cubicBezTo>
                <a:cubicBezTo>
                  <a:pt x="9958862" y="327423"/>
                  <a:pt x="9958863" y="322072"/>
                  <a:pt x="9958862" y="316722"/>
                </a:cubicBezTo>
                <a:cubicBezTo>
                  <a:pt x="9961549" y="315384"/>
                  <a:pt x="9962893" y="313600"/>
                  <a:pt x="9964236" y="310480"/>
                </a:cubicBezTo>
                <a:cubicBezTo>
                  <a:pt x="9966029" y="306913"/>
                  <a:pt x="9970059" y="304238"/>
                  <a:pt x="9974090" y="304238"/>
                </a:cubicBezTo>
                <a:cubicBezTo>
                  <a:pt x="9978121" y="304238"/>
                  <a:pt x="9981703" y="303346"/>
                  <a:pt x="9985735" y="302455"/>
                </a:cubicBezTo>
                <a:close/>
                <a:moveTo>
                  <a:pt x="9441937" y="300993"/>
                </a:moveTo>
                <a:cubicBezTo>
                  <a:pt x="9445969" y="301885"/>
                  <a:pt x="9449552" y="302776"/>
                  <a:pt x="9453583" y="302777"/>
                </a:cubicBezTo>
                <a:cubicBezTo>
                  <a:pt x="9457612" y="302777"/>
                  <a:pt x="9461643" y="305451"/>
                  <a:pt x="9463435" y="309019"/>
                </a:cubicBezTo>
                <a:cubicBezTo>
                  <a:pt x="9464778" y="312140"/>
                  <a:pt x="9466122" y="313922"/>
                  <a:pt x="9468809" y="315260"/>
                </a:cubicBezTo>
                <a:cubicBezTo>
                  <a:pt x="9468809" y="320611"/>
                  <a:pt x="9468809" y="325960"/>
                  <a:pt x="9468809" y="331311"/>
                </a:cubicBezTo>
                <a:cubicBezTo>
                  <a:pt x="9464330" y="333540"/>
                  <a:pt x="9460747" y="337107"/>
                  <a:pt x="9458956" y="341119"/>
                </a:cubicBezTo>
                <a:cubicBezTo>
                  <a:pt x="9456717" y="344687"/>
                  <a:pt x="9454925" y="348700"/>
                  <a:pt x="9452686" y="352712"/>
                </a:cubicBezTo>
                <a:cubicBezTo>
                  <a:pt x="9450448" y="356279"/>
                  <a:pt x="9448207" y="360292"/>
                  <a:pt x="9447760" y="364750"/>
                </a:cubicBezTo>
                <a:cubicBezTo>
                  <a:pt x="9446864" y="368763"/>
                  <a:pt x="9444177" y="370546"/>
                  <a:pt x="9441041" y="372776"/>
                </a:cubicBezTo>
                <a:cubicBezTo>
                  <a:pt x="9437906" y="375004"/>
                  <a:pt x="9433428" y="374559"/>
                  <a:pt x="9431189" y="377680"/>
                </a:cubicBezTo>
                <a:cubicBezTo>
                  <a:pt x="9428053" y="377680"/>
                  <a:pt x="9425367" y="377680"/>
                  <a:pt x="9422232" y="377680"/>
                </a:cubicBezTo>
                <a:cubicBezTo>
                  <a:pt x="9422232" y="376342"/>
                  <a:pt x="9421783" y="375897"/>
                  <a:pt x="9420888" y="375896"/>
                </a:cubicBezTo>
                <a:cubicBezTo>
                  <a:pt x="9414171" y="375896"/>
                  <a:pt x="9410587" y="371438"/>
                  <a:pt x="9408348" y="366088"/>
                </a:cubicBezTo>
                <a:cubicBezTo>
                  <a:pt x="9406108" y="361183"/>
                  <a:pt x="9403422" y="356725"/>
                  <a:pt x="9404318" y="350929"/>
                </a:cubicBezTo>
                <a:cubicBezTo>
                  <a:pt x="9405660" y="344687"/>
                  <a:pt x="9405212" y="337999"/>
                  <a:pt x="9410587" y="333094"/>
                </a:cubicBezTo>
                <a:cubicBezTo>
                  <a:pt x="9412379" y="331311"/>
                  <a:pt x="9414171" y="329973"/>
                  <a:pt x="9417305" y="329081"/>
                </a:cubicBezTo>
                <a:cubicBezTo>
                  <a:pt x="9421783" y="327744"/>
                  <a:pt x="9427158" y="325515"/>
                  <a:pt x="9425814" y="318382"/>
                </a:cubicBezTo>
                <a:cubicBezTo>
                  <a:pt x="9425366" y="315706"/>
                  <a:pt x="9428053" y="314814"/>
                  <a:pt x="9428501" y="313477"/>
                </a:cubicBezTo>
                <a:cubicBezTo>
                  <a:pt x="9430741" y="306343"/>
                  <a:pt x="9436115" y="303222"/>
                  <a:pt x="9441937" y="300993"/>
                </a:cubicBezTo>
                <a:close/>
                <a:moveTo>
                  <a:pt x="8362030" y="300363"/>
                </a:moveTo>
                <a:cubicBezTo>
                  <a:pt x="8362737" y="300363"/>
                  <a:pt x="8364150" y="300363"/>
                  <a:pt x="8364504" y="301069"/>
                </a:cubicBezTo>
                <a:cubicBezTo>
                  <a:pt x="8368038" y="304245"/>
                  <a:pt x="8371219" y="307069"/>
                  <a:pt x="8375814" y="302481"/>
                </a:cubicBezTo>
                <a:cubicBezTo>
                  <a:pt x="8377228" y="300715"/>
                  <a:pt x="8378287" y="302481"/>
                  <a:pt x="8378641" y="303892"/>
                </a:cubicBezTo>
                <a:cubicBezTo>
                  <a:pt x="8379702" y="309893"/>
                  <a:pt x="8382529" y="309893"/>
                  <a:pt x="8386770" y="306363"/>
                </a:cubicBezTo>
                <a:cubicBezTo>
                  <a:pt x="8389596" y="303892"/>
                  <a:pt x="8391011" y="304599"/>
                  <a:pt x="8391011" y="308128"/>
                </a:cubicBezTo>
                <a:cubicBezTo>
                  <a:pt x="8391010" y="310245"/>
                  <a:pt x="8390303" y="312717"/>
                  <a:pt x="8393484" y="313069"/>
                </a:cubicBezTo>
                <a:cubicBezTo>
                  <a:pt x="8400553" y="314481"/>
                  <a:pt x="8403379" y="319423"/>
                  <a:pt x="8403027" y="325776"/>
                </a:cubicBezTo>
                <a:cubicBezTo>
                  <a:pt x="8402673" y="330364"/>
                  <a:pt x="8404086" y="332483"/>
                  <a:pt x="8407268" y="334247"/>
                </a:cubicBezTo>
                <a:cubicBezTo>
                  <a:pt x="8407268" y="335659"/>
                  <a:pt x="8407268" y="337071"/>
                  <a:pt x="8407268" y="338483"/>
                </a:cubicBezTo>
                <a:cubicBezTo>
                  <a:pt x="8403733" y="340601"/>
                  <a:pt x="8402674" y="344483"/>
                  <a:pt x="8403733" y="348013"/>
                </a:cubicBezTo>
                <a:cubicBezTo>
                  <a:pt x="8405501" y="354366"/>
                  <a:pt x="8403379" y="359308"/>
                  <a:pt x="8398786" y="363543"/>
                </a:cubicBezTo>
                <a:cubicBezTo>
                  <a:pt x="8397019" y="365308"/>
                  <a:pt x="8395252" y="366720"/>
                  <a:pt x="8394544" y="369191"/>
                </a:cubicBezTo>
                <a:cubicBezTo>
                  <a:pt x="8393837" y="373073"/>
                  <a:pt x="8391718" y="375191"/>
                  <a:pt x="8387830" y="374839"/>
                </a:cubicBezTo>
                <a:cubicBezTo>
                  <a:pt x="8385002" y="374838"/>
                  <a:pt x="8382882" y="376603"/>
                  <a:pt x="8381822" y="378015"/>
                </a:cubicBezTo>
                <a:cubicBezTo>
                  <a:pt x="8375813" y="386486"/>
                  <a:pt x="8366978" y="381897"/>
                  <a:pt x="8359556" y="382956"/>
                </a:cubicBezTo>
                <a:cubicBezTo>
                  <a:pt x="8356376" y="383309"/>
                  <a:pt x="8349661" y="385074"/>
                  <a:pt x="8348247" y="382603"/>
                </a:cubicBezTo>
                <a:cubicBezTo>
                  <a:pt x="8344005" y="375544"/>
                  <a:pt x="8333051" y="378368"/>
                  <a:pt x="8330576" y="368838"/>
                </a:cubicBezTo>
                <a:cubicBezTo>
                  <a:pt x="8329869" y="366014"/>
                  <a:pt x="8324921" y="364250"/>
                  <a:pt x="8329516" y="360366"/>
                </a:cubicBezTo>
                <a:cubicBezTo>
                  <a:pt x="8330929" y="359308"/>
                  <a:pt x="8330576" y="357190"/>
                  <a:pt x="8329162" y="356837"/>
                </a:cubicBezTo>
                <a:cubicBezTo>
                  <a:pt x="8323507" y="354719"/>
                  <a:pt x="8323861" y="351542"/>
                  <a:pt x="8327395" y="347307"/>
                </a:cubicBezTo>
                <a:cubicBezTo>
                  <a:pt x="8328456" y="345895"/>
                  <a:pt x="8327041" y="344130"/>
                  <a:pt x="8326335" y="342718"/>
                </a:cubicBezTo>
                <a:cubicBezTo>
                  <a:pt x="8324921" y="340601"/>
                  <a:pt x="8324568" y="338483"/>
                  <a:pt x="8326689" y="336718"/>
                </a:cubicBezTo>
                <a:cubicBezTo>
                  <a:pt x="8328809" y="334953"/>
                  <a:pt x="8328456" y="332835"/>
                  <a:pt x="8329162" y="330718"/>
                </a:cubicBezTo>
                <a:cubicBezTo>
                  <a:pt x="8330930" y="325423"/>
                  <a:pt x="8333050" y="318717"/>
                  <a:pt x="8336937" y="316246"/>
                </a:cubicBezTo>
                <a:cubicBezTo>
                  <a:pt x="8345420" y="310951"/>
                  <a:pt x="8353548" y="305304"/>
                  <a:pt x="8362030" y="300363"/>
                </a:cubicBezTo>
                <a:close/>
                <a:moveTo>
                  <a:pt x="2859275" y="295714"/>
                </a:moveTo>
                <a:cubicBezTo>
                  <a:pt x="2867758" y="300656"/>
                  <a:pt x="2875885" y="306304"/>
                  <a:pt x="2884369" y="311598"/>
                </a:cubicBezTo>
                <a:cubicBezTo>
                  <a:pt x="2888257" y="314069"/>
                  <a:pt x="2890374" y="320775"/>
                  <a:pt x="2892143" y="326070"/>
                </a:cubicBezTo>
                <a:cubicBezTo>
                  <a:pt x="2892850" y="328187"/>
                  <a:pt x="2892496" y="330305"/>
                  <a:pt x="2894617" y="332070"/>
                </a:cubicBezTo>
                <a:cubicBezTo>
                  <a:pt x="2896738" y="333835"/>
                  <a:pt x="2896385" y="335952"/>
                  <a:pt x="2894968" y="338070"/>
                </a:cubicBezTo>
                <a:cubicBezTo>
                  <a:pt x="2894263" y="339482"/>
                  <a:pt x="2892849" y="341247"/>
                  <a:pt x="2893910" y="342659"/>
                </a:cubicBezTo>
                <a:cubicBezTo>
                  <a:pt x="2897445" y="346894"/>
                  <a:pt x="2897799" y="350071"/>
                  <a:pt x="2892143" y="352188"/>
                </a:cubicBezTo>
                <a:cubicBezTo>
                  <a:pt x="2890728" y="352542"/>
                  <a:pt x="2890374" y="354660"/>
                  <a:pt x="2891790" y="355718"/>
                </a:cubicBezTo>
                <a:cubicBezTo>
                  <a:pt x="2896384" y="359601"/>
                  <a:pt x="2891433" y="361366"/>
                  <a:pt x="2890728" y="364190"/>
                </a:cubicBezTo>
                <a:cubicBezTo>
                  <a:pt x="2888257" y="373720"/>
                  <a:pt x="2877299" y="370896"/>
                  <a:pt x="2873057" y="377955"/>
                </a:cubicBezTo>
                <a:cubicBezTo>
                  <a:pt x="2871643" y="380426"/>
                  <a:pt x="2864928" y="378662"/>
                  <a:pt x="2861747" y="378308"/>
                </a:cubicBezTo>
                <a:cubicBezTo>
                  <a:pt x="2854326" y="377249"/>
                  <a:pt x="2845490" y="381838"/>
                  <a:pt x="2839483" y="373367"/>
                </a:cubicBezTo>
                <a:cubicBezTo>
                  <a:pt x="2838422" y="371955"/>
                  <a:pt x="2836301" y="370189"/>
                  <a:pt x="2833474" y="370190"/>
                </a:cubicBezTo>
                <a:cubicBezTo>
                  <a:pt x="2829586" y="370543"/>
                  <a:pt x="2827466" y="368425"/>
                  <a:pt x="2826758" y="364543"/>
                </a:cubicBezTo>
                <a:cubicBezTo>
                  <a:pt x="2826053" y="362072"/>
                  <a:pt x="2824283" y="360660"/>
                  <a:pt x="2822518" y="358895"/>
                </a:cubicBezTo>
                <a:cubicBezTo>
                  <a:pt x="2817923" y="354660"/>
                  <a:pt x="2815802" y="349718"/>
                  <a:pt x="2817570" y="343365"/>
                </a:cubicBezTo>
                <a:cubicBezTo>
                  <a:pt x="2818630" y="339835"/>
                  <a:pt x="2817570" y="335953"/>
                  <a:pt x="2814036" y="333835"/>
                </a:cubicBezTo>
                <a:cubicBezTo>
                  <a:pt x="2814036" y="332423"/>
                  <a:pt x="2814036" y="331011"/>
                  <a:pt x="2814036" y="329599"/>
                </a:cubicBezTo>
                <a:cubicBezTo>
                  <a:pt x="2817216" y="327835"/>
                  <a:pt x="2818630" y="325717"/>
                  <a:pt x="2818277" y="321128"/>
                </a:cubicBezTo>
                <a:cubicBezTo>
                  <a:pt x="2817923" y="314775"/>
                  <a:pt x="2820751" y="309833"/>
                  <a:pt x="2827819" y="308422"/>
                </a:cubicBezTo>
                <a:cubicBezTo>
                  <a:pt x="2830999" y="308068"/>
                  <a:pt x="2830293" y="305598"/>
                  <a:pt x="2830293" y="303480"/>
                </a:cubicBezTo>
                <a:cubicBezTo>
                  <a:pt x="2830293" y="299950"/>
                  <a:pt x="2831706" y="299244"/>
                  <a:pt x="2834534" y="301715"/>
                </a:cubicBezTo>
                <a:cubicBezTo>
                  <a:pt x="2838775" y="305245"/>
                  <a:pt x="2841604" y="305244"/>
                  <a:pt x="2842663" y="299244"/>
                </a:cubicBezTo>
                <a:cubicBezTo>
                  <a:pt x="2843016" y="297833"/>
                  <a:pt x="2844076" y="296067"/>
                  <a:pt x="2845491" y="297833"/>
                </a:cubicBezTo>
                <a:cubicBezTo>
                  <a:pt x="2850086" y="302421"/>
                  <a:pt x="2853264" y="299597"/>
                  <a:pt x="2856800" y="296421"/>
                </a:cubicBezTo>
                <a:cubicBezTo>
                  <a:pt x="2857155" y="295715"/>
                  <a:pt x="2858568" y="295715"/>
                  <a:pt x="2859275" y="295714"/>
                </a:cubicBezTo>
                <a:close/>
                <a:moveTo>
                  <a:pt x="10150282" y="250461"/>
                </a:moveTo>
                <a:cubicBezTo>
                  <a:pt x="10152011" y="250078"/>
                  <a:pt x="10152972" y="251230"/>
                  <a:pt x="10153742" y="252191"/>
                </a:cubicBezTo>
                <a:cubicBezTo>
                  <a:pt x="10156432" y="255264"/>
                  <a:pt x="10158931" y="258337"/>
                  <a:pt x="10163734" y="256801"/>
                </a:cubicBezTo>
                <a:cubicBezTo>
                  <a:pt x="10164696" y="256608"/>
                  <a:pt x="10165272" y="257376"/>
                  <a:pt x="10165656" y="258145"/>
                </a:cubicBezTo>
                <a:cubicBezTo>
                  <a:pt x="10167770" y="261986"/>
                  <a:pt x="10171230" y="265060"/>
                  <a:pt x="10174112" y="268325"/>
                </a:cubicBezTo>
                <a:cubicBezTo>
                  <a:pt x="10178532" y="273319"/>
                  <a:pt x="10181030" y="278890"/>
                  <a:pt x="10179302" y="285613"/>
                </a:cubicBezTo>
                <a:cubicBezTo>
                  <a:pt x="10178725" y="288302"/>
                  <a:pt x="10180263" y="290030"/>
                  <a:pt x="10181799" y="291567"/>
                </a:cubicBezTo>
                <a:cubicBezTo>
                  <a:pt x="10185258" y="295217"/>
                  <a:pt x="10185066" y="297137"/>
                  <a:pt x="10181223" y="300018"/>
                </a:cubicBezTo>
                <a:cubicBezTo>
                  <a:pt x="10176996" y="302900"/>
                  <a:pt x="10176996" y="302900"/>
                  <a:pt x="10180454" y="307125"/>
                </a:cubicBezTo>
                <a:cubicBezTo>
                  <a:pt x="10181224" y="308085"/>
                  <a:pt x="10181799" y="308854"/>
                  <a:pt x="10180646" y="310007"/>
                </a:cubicBezTo>
                <a:cubicBezTo>
                  <a:pt x="10176803" y="314424"/>
                  <a:pt x="10173343" y="318842"/>
                  <a:pt x="10169309" y="323068"/>
                </a:cubicBezTo>
                <a:cubicBezTo>
                  <a:pt x="10166425" y="326333"/>
                  <a:pt x="10162773" y="328446"/>
                  <a:pt x="10158547" y="329406"/>
                </a:cubicBezTo>
                <a:cubicBezTo>
                  <a:pt x="10155855" y="330175"/>
                  <a:pt x="10150667" y="337089"/>
                  <a:pt x="10150474" y="339971"/>
                </a:cubicBezTo>
                <a:cubicBezTo>
                  <a:pt x="10150475" y="340931"/>
                  <a:pt x="10150474" y="341699"/>
                  <a:pt x="10151627" y="342084"/>
                </a:cubicBezTo>
                <a:cubicBezTo>
                  <a:pt x="10157585" y="344773"/>
                  <a:pt x="10160467" y="349959"/>
                  <a:pt x="10162966" y="355529"/>
                </a:cubicBezTo>
                <a:cubicBezTo>
                  <a:pt x="10163542" y="356682"/>
                  <a:pt x="10163927" y="357642"/>
                  <a:pt x="10164504" y="358603"/>
                </a:cubicBezTo>
                <a:cubicBezTo>
                  <a:pt x="10166425" y="361675"/>
                  <a:pt x="10167387" y="364365"/>
                  <a:pt x="10166042" y="368206"/>
                </a:cubicBezTo>
                <a:cubicBezTo>
                  <a:pt x="10164696" y="372048"/>
                  <a:pt x="10166810" y="375889"/>
                  <a:pt x="10168731" y="379347"/>
                </a:cubicBezTo>
                <a:cubicBezTo>
                  <a:pt x="10169500" y="381076"/>
                  <a:pt x="10169884" y="382228"/>
                  <a:pt x="10168539" y="383957"/>
                </a:cubicBezTo>
                <a:cubicBezTo>
                  <a:pt x="10163159" y="391256"/>
                  <a:pt x="10159123" y="399323"/>
                  <a:pt x="10158354" y="408735"/>
                </a:cubicBezTo>
                <a:cubicBezTo>
                  <a:pt x="10158162" y="410080"/>
                  <a:pt x="10157777" y="410656"/>
                  <a:pt x="10156432" y="410272"/>
                </a:cubicBezTo>
                <a:cubicBezTo>
                  <a:pt x="10151051" y="409120"/>
                  <a:pt x="10147591" y="412000"/>
                  <a:pt x="10144709" y="415842"/>
                </a:cubicBezTo>
                <a:cubicBezTo>
                  <a:pt x="10143363" y="417571"/>
                  <a:pt x="10142211" y="418531"/>
                  <a:pt x="10139712" y="417379"/>
                </a:cubicBezTo>
                <a:cubicBezTo>
                  <a:pt x="10136637" y="415650"/>
                  <a:pt x="10133756" y="417186"/>
                  <a:pt x="10131256" y="419300"/>
                </a:cubicBezTo>
                <a:cubicBezTo>
                  <a:pt x="10129142" y="421028"/>
                  <a:pt x="10127028" y="423141"/>
                  <a:pt x="10124914" y="424870"/>
                </a:cubicBezTo>
                <a:cubicBezTo>
                  <a:pt x="10123857" y="425638"/>
                  <a:pt x="10122848" y="426070"/>
                  <a:pt x="10122033" y="425902"/>
                </a:cubicBezTo>
                <a:cubicBezTo>
                  <a:pt x="10121216" y="425734"/>
                  <a:pt x="10120591" y="424966"/>
                  <a:pt x="10120302" y="423333"/>
                </a:cubicBezTo>
                <a:cubicBezTo>
                  <a:pt x="10120303" y="422565"/>
                  <a:pt x="10120110" y="421797"/>
                  <a:pt x="10119726" y="421028"/>
                </a:cubicBezTo>
                <a:cubicBezTo>
                  <a:pt x="10119341" y="420068"/>
                  <a:pt x="10119342" y="418531"/>
                  <a:pt x="10117996" y="418339"/>
                </a:cubicBezTo>
                <a:cubicBezTo>
                  <a:pt x="10116843" y="418340"/>
                  <a:pt x="10116074" y="419300"/>
                  <a:pt x="10115499" y="420068"/>
                </a:cubicBezTo>
                <a:cubicBezTo>
                  <a:pt x="10112615" y="423334"/>
                  <a:pt x="10111462" y="423141"/>
                  <a:pt x="10109733" y="419108"/>
                </a:cubicBezTo>
                <a:cubicBezTo>
                  <a:pt x="10109349" y="418147"/>
                  <a:pt x="10109156" y="417378"/>
                  <a:pt x="10108580" y="416610"/>
                </a:cubicBezTo>
                <a:cubicBezTo>
                  <a:pt x="10107811" y="415458"/>
                  <a:pt x="10107042" y="414497"/>
                  <a:pt x="10105120" y="415265"/>
                </a:cubicBezTo>
                <a:cubicBezTo>
                  <a:pt x="10103391" y="416226"/>
                  <a:pt x="10103390" y="416995"/>
                  <a:pt x="10103775" y="418531"/>
                </a:cubicBezTo>
                <a:lnTo>
                  <a:pt x="10104099" y="421436"/>
                </a:lnTo>
                <a:lnTo>
                  <a:pt x="10089078" y="406498"/>
                </a:lnTo>
                <a:lnTo>
                  <a:pt x="10089938" y="405277"/>
                </a:lnTo>
                <a:cubicBezTo>
                  <a:pt x="10090322" y="403549"/>
                  <a:pt x="10089747" y="402396"/>
                  <a:pt x="10088208" y="401628"/>
                </a:cubicBezTo>
                <a:cubicBezTo>
                  <a:pt x="10087055" y="401052"/>
                  <a:pt x="10085903" y="400668"/>
                  <a:pt x="10084750" y="400091"/>
                </a:cubicBezTo>
                <a:cubicBezTo>
                  <a:pt x="10082827" y="399131"/>
                  <a:pt x="10082059" y="397787"/>
                  <a:pt x="10082443" y="395482"/>
                </a:cubicBezTo>
                <a:cubicBezTo>
                  <a:pt x="10083597" y="388566"/>
                  <a:pt x="10081099" y="383765"/>
                  <a:pt x="10074948" y="380691"/>
                </a:cubicBezTo>
                <a:cubicBezTo>
                  <a:pt x="10073987" y="380115"/>
                  <a:pt x="10071874" y="380307"/>
                  <a:pt x="10072258" y="378579"/>
                </a:cubicBezTo>
                <a:cubicBezTo>
                  <a:pt x="10072451" y="376850"/>
                  <a:pt x="10074179" y="376466"/>
                  <a:pt x="10075909" y="376273"/>
                </a:cubicBezTo>
                <a:cubicBezTo>
                  <a:pt x="10076102" y="376273"/>
                  <a:pt x="10076293" y="376273"/>
                  <a:pt x="10076486" y="376274"/>
                </a:cubicBezTo>
                <a:cubicBezTo>
                  <a:pt x="10081098" y="375506"/>
                  <a:pt x="10082443" y="373393"/>
                  <a:pt x="10080137" y="369743"/>
                </a:cubicBezTo>
                <a:cubicBezTo>
                  <a:pt x="10078023" y="366285"/>
                  <a:pt x="10078600" y="363597"/>
                  <a:pt x="10080522" y="360716"/>
                </a:cubicBezTo>
                <a:cubicBezTo>
                  <a:pt x="10083021" y="356874"/>
                  <a:pt x="10084942" y="352840"/>
                  <a:pt x="10083788" y="348038"/>
                </a:cubicBezTo>
                <a:cubicBezTo>
                  <a:pt x="10083212" y="345925"/>
                  <a:pt x="10085326" y="344964"/>
                  <a:pt x="10086672" y="344580"/>
                </a:cubicBezTo>
                <a:cubicBezTo>
                  <a:pt x="10091669" y="342852"/>
                  <a:pt x="10093974" y="339587"/>
                  <a:pt x="10094551" y="334593"/>
                </a:cubicBezTo>
                <a:cubicBezTo>
                  <a:pt x="10094935" y="331519"/>
                  <a:pt x="10096088" y="330943"/>
                  <a:pt x="10099163" y="332864"/>
                </a:cubicBezTo>
                <a:cubicBezTo>
                  <a:pt x="10105697" y="336898"/>
                  <a:pt x="10115307" y="334017"/>
                  <a:pt x="10118188" y="327293"/>
                </a:cubicBezTo>
                <a:cubicBezTo>
                  <a:pt x="10118766" y="325949"/>
                  <a:pt x="10119533" y="324220"/>
                  <a:pt x="10118189" y="323067"/>
                </a:cubicBezTo>
                <a:cubicBezTo>
                  <a:pt x="10116843" y="321915"/>
                  <a:pt x="10114922" y="321339"/>
                  <a:pt x="10113192" y="322491"/>
                </a:cubicBezTo>
                <a:cubicBezTo>
                  <a:pt x="10112039" y="323068"/>
                  <a:pt x="10110886" y="324028"/>
                  <a:pt x="10109732" y="324796"/>
                </a:cubicBezTo>
                <a:cubicBezTo>
                  <a:pt x="10108579" y="325757"/>
                  <a:pt x="10107427" y="326334"/>
                  <a:pt x="10106466" y="325180"/>
                </a:cubicBezTo>
                <a:cubicBezTo>
                  <a:pt x="10105312" y="323836"/>
                  <a:pt x="10106081" y="322683"/>
                  <a:pt x="10107042" y="321723"/>
                </a:cubicBezTo>
                <a:cubicBezTo>
                  <a:pt x="10107811" y="320763"/>
                  <a:pt x="10108964" y="319994"/>
                  <a:pt x="10109732" y="319227"/>
                </a:cubicBezTo>
                <a:cubicBezTo>
                  <a:pt x="10111462" y="317497"/>
                  <a:pt x="10112423" y="315192"/>
                  <a:pt x="10110694" y="313272"/>
                </a:cubicBezTo>
                <a:cubicBezTo>
                  <a:pt x="10109156" y="311735"/>
                  <a:pt x="10107042" y="313272"/>
                  <a:pt x="10105504" y="314424"/>
                </a:cubicBezTo>
                <a:cubicBezTo>
                  <a:pt x="10104159" y="315385"/>
                  <a:pt x="10103198" y="317114"/>
                  <a:pt x="10101469" y="317690"/>
                </a:cubicBezTo>
                <a:cubicBezTo>
                  <a:pt x="10098971" y="318650"/>
                  <a:pt x="10097434" y="318265"/>
                  <a:pt x="10097625" y="315193"/>
                </a:cubicBezTo>
                <a:cubicBezTo>
                  <a:pt x="10097817" y="310967"/>
                  <a:pt x="10099548" y="307510"/>
                  <a:pt x="10101853" y="304244"/>
                </a:cubicBezTo>
                <a:cubicBezTo>
                  <a:pt x="10104736" y="300018"/>
                  <a:pt x="10104928" y="297713"/>
                  <a:pt x="10101853" y="293680"/>
                </a:cubicBezTo>
                <a:cubicBezTo>
                  <a:pt x="10100893" y="292143"/>
                  <a:pt x="10099356" y="290799"/>
                  <a:pt x="10098009" y="289454"/>
                </a:cubicBezTo>
                <a:cubicBezTo>
                  <a:pt x="10097434" y="288877"/>
                  <a:pt x="10096473" y="288301"/>
                  <a:pt x="10096856" y="287341"/>
                </a:cubicBezTo>
                <a:cubicBezTo>
                  <a:pt x="10097241" y="286188"/>
                  <a:pt x="10098202" y="285997"/>
                  <a:pt x="10098970" y="286189"/>
                </a:cubicBezTo>
                <a:cubicBezTo>
                  <a:pt x="10102431" y="286957"/>
                  <a:pt x="10103198" y="285420"/>
                  <a:pt x="10103006" y="282347"/>
                </a:cubicBezTo>
                <a:cubicBezTo>
                  <a:pt x="10102814" y="278505"/>
                  <a:pt x="10105313" y="275816"/>
                  <a:pt x="10108003" y="273703"/>
                </a:cubicBezTo>
                <a:cubicBezTo>
                  <a:pt x="10110117" y="271974"/>
                  <a:pt x="10110309" y="270630"/>
                  <a:pt x="10108195" y="269093"/>
                </a:cubicBezTo>
                <a:cubicBezTo>
                  <a:pt x="10107042" y="268325"/>
                  <a:pt x="10106273" y="267557"/>
                  <a:pt x="10106657" y="266020"/>
                </a:cubicBezTo>
                <a:cubicBezTo>
                  <a:pt x="10107042" y="263908"/>
                  <a:pt x="10108579" y="264291"/>
                  <a:pt x="10109925" y="263907"/>
                </a:cubicBezTo>
                <a:cubicBezTo>
                  <a:pt x="10110694" y="263715"/>
                  <a:pt x="10111654" y="263715"/>
                  <a:pt x="10112616" y="263523"/>
                </a:cubicBezTo>
                <a:cubicBezTo>
                  <a:pt x="10117804" y="262946"/>
                  <a:pt x="10118957" y="260066"/>
                  <a:pt x="10115883" y="255648"/>
                </a:cubicBezTo>
                <a:cubicBezTo>
                  <a:pt x="10115499" y="255072"/>
                  <a:pt x="10115113" y="254687"/>
                  <a:pt x="10114921" y="254111"/>
                </a:cubicBezTo>
                <a:cubicBezTo>
                  <a:pt x="10114345" y="252959"/>
                  <a:pt x="10113960" y="251423"/>
                  <a:pt x="10115114" y="250654"/>
                </a:cubicBezTo>
                <a:cubicBezTo>
                  <a:pt x="10116074" y="249886"/>
                  <a:pt x="10117419" y="250654"/>
                  <a:pt x="10118188" y="251422"/>
                </a:cubicBezTo>
                <a:cubicBezTo>
                  <a:pt x="10118958" y="252190"/>
                  <a:pt x="10119533" y="252959"/>
                  <a:pt x="10120110" y="253919"/>
                </a:cubicBezTo>
                <a:cubicBezTo>
                  <a:pt x="10121264" y="255264"/>
                  <a:pt x="10122417" y="255648"/>
                  <a:pt x="10123954" y="254495"/>
                </a:cubicBezTo>
                <a:cubicBezTo>
                  <a:pt x="10127605" y="251999"/>
                  <a:pt x="10131641" y="251614"/>
                  <a:pt x="10135677" y="251422"/>
                </a:cubicBezTo>
                <a:cubicBezTo>
                  <a:pt x="10140482" y="251038"/>
                  <a:pt x="10145477" y="251614"/>
                  <a:pt x="10150282" y="250461"/>
                </a:cubicBezTo>
                <a:close/>
                <a:moveTo>
                  <a:pt x="3983166" y="248530"/>
                </a:moveTo>
                <a:cubicBezTo>
                  <a:pt x="3989428" y="252346"/>
                  <a:pt x="3996901" y="245592"/>
                  <a:pt x="4002792" y="252086"/>
                </a:cubicBezTo>
                <a:cubicBezTo>
                  <a:pt x="4004516" y="254021"/>
                  <a:pt x="4009148" y="253368"/>
                  <a:pt x="4007129" y="258329"/>
                </a:cubicBezTo>
                <a:cubicBezTo>
                  <a:pt x="4006452" y="259748"/>
                  <a:pt x="4007605" y="261273"/>
                  <a:pt x="4008865" y="260967"/>
                </a:cubicBezTo>
                <a:cubicBezTo>
                  <a:pt x="4014201" y="260301"/>
                  <a:pt x="4015234" y="262952"/>
                  <a:pt x="4014197" y="267753"/>
                </a:cubicBezTo>
                <a:cubicBezTo>
                  <a:pt x="4013945" y="269305"/>
                  <a:pt x="4015789" y="270114"/>
                  <a:pt x="4016929" y="270935"/>
                </a:cubicBezTo>
                <a:cubicBezTo>
                  <a:pt x="4018920" y="272021"/>
                  <a:pt x="4020074" y="273545"/>
                  <a:pt x="4019130" y="275813"/>
                </a:cubicBezTo>
                <a:cubicBezTo>
                  <a:pt x="4018187" y="278082"/>
                  <a:pt x="4019341" y="279606"/>
                  <a:pt x="4019659" y="281568"/>
                </a:cubicBezTo>
                <a:cubicBezTo>
                  <a:pt x="4020453" y="286475"/>
                  <a:pt x="4021551" y="292640"/>
                  <a:pt x="4019507" y="296196"/>
                </a:cubicBezTo>
                <a:cubicBezTo>
                  <a:pt x="4015005" y="303876"/>
                  <a:pt x="4010926" y="311689"/>
                  <a:pt x="4006277" y="319092"/>
                </a:cubicBezTo>
                <a:cubicBezTo>
                  <a:pt x="4005721" y="319385"/>
                  <a:pt x="4004606" y="319969"/>
                  <a:pt x="4004035" y="319558"/>
                </a:cubicBezTo>
                <a:cubicBezTo>
                  <a:pt x="3999934" y="318513"/>
                  <a:pt x="3996260" y="317600"/>
                  <a:pt x="3994532" y="323118"/>
                </a:cubicBezTo>
                <a:cubicBezTo>
                  <a:pt x="3994147" y="325094"/>
                  <a:pt x="3992581" y="324140"/>
                  <a:pt x="3991719" y="323172"/>
                </a:cubicBezTo>
                <a:cubicBezTo>
                  <a:pt x="3988403" y="318878"/>
                  <a:pt x="3986173" y="320046"/>
                  <a:pt x="3984287" y="324582"/>
                </a:cubicBezTo>
                <a:cubicBezTo>
                  <a:pt x="3983077" y="327700"/>
                  <a:pt x="3981671" y="327728"/>
                  <a:pt x="3980212" y="324943"/>
                </a:cubicBezTo>
                <a:cubicBezTo>
                  <a:pt x="3979337" y="323273"/>
                  <a:pt x="3978874" y="321032"/>
                  <a:pt x="3976220" y="322068"/>
                </a:cubicBezTo>
                <a:cubicBezTo>
                  <a:pt x="3970061" y="323875"/>
                  <a:pt x="3965789" y="321146"/>
                  <a:pt x="3963443" y="315989"/>
                </a:cubicBezTo>
                <a:cubicBezTo>
                  <a:pt x="3961825" y="312223"/>
                  <a:pt x="3959835" y="311137"/>
                  <a:pt x="3956597" y="311060"/>
                </a:cubicBezTo>
                <a:cubicBezTo>
                  <a:pt x="3956013" y="309946"/>
                  <a:pt x="3955431" y="308833"/>
                  <a:pt x="3954846" y="307719"/>
                </a:cubicBezTo>
                <a:cubicBezTo>
                  <a:pt x="3956760" y="304588"/>
                  <a:pt x="3955990" y="301087"/>
                  <a:pt x="3953697" y="298742"/>
                </a:cubicBezTo>
                <a:cubicBezTo>
                  <a:pt x="3949677" y="294461"/>
                  <a:pt x="3949307" y="289687"/>
                  <a:pt x="3951181" y="284448"/>
                </a:cubicBezTo>
                <a:cubicBezTo>
                  <a:pt x="3951845" y="282326"/>
                  <a:pt x="3952656" y="280482"/>
                  <a:pt x="3952192" y="278241"/>
                </a:cubicBezTo>
                <a:cubicBezTo>
                  <a:pt x="3951145" y="274886"/>
                  <a:pt x="3951942" y="272340"/>
                  <a:pt x="3955155" y="271012"/>
                </a:cubicBezTo>
                <a:cubicBezTo>
                  <a:pt x="3957384" y="269843"/>
                  <a:pt x="3958327" y="267575"/>
                  <a:pt x="3958581" y="266023"/>
                </a:cubicBezTo>
                <a:cubicBezTo>
                  <a:pt x="3959820" y="256860"/>
                  <a:pt x="3968685" y="256828"/>
                  <a:pt x="3974100" y="252925"/>
                </a:cubicBezTo>
                <a:cubicBezTo>
                  <a:pt x="3976464" y="251332"/>
                  <a:pt x="3981028" y="247166"/>
                  <a:pt x="3983166" y="248530"/>
                </a:cubicBezTo>
                <a:close/>
                <a:moveTo>
                  <a:pt x="4924823" y="233531"/>
                </a:moveTo>
                <a:cubicBezTo>
                  <a:pt x="4931085" y="237346"/>
                  <a:pt x="4938558" y="230592"/>
                  <a:pt x="4944450" y="237086"/>
                </a:cubicBezTo>
                <a:cubicBezTo>
                  <a:pt x="4946174" y="239021"/>
                  <a:pt x="4950805" y="238369"/>
                  <a:pt x="4948789" y="243330"/>
                </a:cubicBezTo>
                <a:cubicBezTo>
                  <a:pt x="4948114" y="244749"/>
                  <a:pt x="4949262" y="246274"/>
                  <a:pt x="4950522" y="245968"/>
                </a:cubicBezTo>
                <a:cubicBezTo>
                  <a:pt x="4955860" y="245301"/>
                  <a:pt x="4956895" y="247953"/>
                  <a:pt x="4955855" y="252754"/>
                </a:cubicBezTo>
                <a:cubicBezTo>
                  <a:pt x="4955604" y="254306"/>
                  <a:pt x="4957447" y="255113"/>
                  <a:pt x="4958589" y="255936"/>
                </a:cubicBezTo>
                <a:cubicBezTo>
                  <a:pt x="4960581" y="257021"/>
                  <a:pt x="4961732" y="258546"/>
                  <a:pt x="4960788" y="260814"/>
                </a:cubicBezTo>
                <a:cubicBezTo>
                  <a:pt x="4959848" y="263082"/>
                  <a:pt x="4961001" y="264607"/>
                  <a:pt x="4961312" y="266569"/>
                </a:cubicBezTo>
                <a:cubicBezTo>
                  <a:pt x="4962107" y="271476"/>
                  <a:pt x="4963209" y="277641"/>
                  <a:pt x="4961163" y="281196"/>
                </a:cubicBezTo>
                <a:cubicBezTo>
                  <a:pt x="4956661" y="288877"/>
                  <a:pt x="4952586" y="296691"/>
                  <a:pt x="4947938" y="304093"/>
                </a:cubicBezTo>
                <a:cubicBezTo>
                  <a:pt x="4947380" y="304385"/>
                  <a:pt x="4946258" y="304969"/>
                  <a:pt x="4945694" y="304559"/>
                </a:cubicBezTo>
                <a:cubicBezTo>
                  <a:pt x="4941594" y="303513"/>
                  <a:pt x="4937915" y="302600"/>
                  <a:pt x="4936188" y="308118"/>
                </a:cubicBezTo>
                <a:cubicBezTo>
                  <a:pt x="4935804" y="310095"/>
                  <a:pt x="4934235" y="309140"/>
                  <a:pt x="4933376" y="308173"/>
                </a:cubicBezTo>
                <a:cubicBezTo>
                  <a:pt x="4930064" y="303879"/>
                  <a:pt x="4927821" y="305046"/>
                  <a:pt x="4925946" y="309584"/>
                </a:cubicBezTo>
                <a:cubicBezTo>
                  <a:pt x="4924735" y="312700"/>
                  <a:pt x="4923324" y="312728"/>
                  <a:pt x="4921866" y="309943"/>
                </a:cubicBezTo>
                <a:cubicBezTo>
                  <a:pt x="4921000" y="308273"/>
                  <a:pt x="4920535" y="306032"/>
                  <a:pt x="4917878" y="307069"/>
                </a:cubicBezTo>
                <a:cubicBezTo>
                  <a:pt x="4911723" y="308875"/>
                  <a:pt x="4907449" y="306146"/>
                  <a:pt x="4905101" y="300989"/>
                </a:cubicBezTo>
                <a:cubicBezTo>
                  <a:pt x="4903485" y="297224"/>
                  <a:pt x="4901494" y="296138"/>
                  <a:pt x="4898255" y="296060"/>
                </a:cubicBezTo>
                <a:cubicBezTo>
                  <a:pt x="4897675" y="294946"/>
                  <a:pt x="4897087" y="293833"/>
                  <a:pt x="4896509" y="292719"/>
                </a:cubicBezTo>
                <a:cubicBezTo>
                  <a:pt x="4898420" y="289589"/>
                  <a:pt x="4897647" y="286088"/>
                  <a:pt x="4895358" y="283742"/>
                </a:cubicBezTo>
                <a:cubicBezTo>
                  <a:pt x="4891337" y="279462"/>
                  <a:pt x="4890964" y="274688"/>
                  <a:pt x="4892839" y="269449"/>
                </a:cubicBezTo>
                <a:cubicBezTo>
                  <a:pt x="4893506" y="267326"/>
                  <a:pt x="4894312" y="265483"/>
                  <a:pt x="4893850" y="263241"/>
                </a:cubicBezTo>
                <a:cubicBezTo>
                  <a:pt x="4892806" y="259887"/>
                  <a:pt x="4893598" y="257341"/>
                  <a:pt x="4896812" y="256013"/>
                </a:cubicBezTo>
                <a:cubicBezTo>
                  <a:pt x="4899042" y="254844"/>
                  <a:pt x="4899987" y="252576"/>
                  <a:pt x="4900240" y="251024"/>
                </a:cubicBezTo>
                <a:cubicBezTo>
                  <a:pt x="4901474" y="241860"/>
                  <a:pt x="4910344" y="241828"/>
                  <a:pt x="4915756" y="237926"/>
                </a:cubicBezTo>
                <a:cubicBezTo>
                  <a:pt x="4918115" y="236333"/>
                  <a:pt x="4922685" y="232166"/>
                  <a:pt x="4924823" y="233531"/>
                </a:cubicBezTo>
                <a:close/>
                <a:moveTo>
                  <a:pt x="4305991" y="232693"/>
                </a:moveTo>
                <a:cubicBezTo>
                  <a:pt x="4309564" y="230822"/>
                  <a:pt x="4314373" y="231321"/>
                  <a:pt x="4317615" y="233650"/>
                </a:cubicBezTo>
                <a:cubicBezTo>
                  <a:pt x="4320254" y="235791"/>
                  <a:pt x="4322273" y="236747"/>
                  <a:pt x="4325271" y="236685"/>
                </a:cubicBezTo>
                <a:cubicBezTo>
                  <a:pt x="4327755" y="241424"/>
                  <a:pt x="4330236" y="246163"/>
                  <a:pt x="4332720" y="250903"/>
                </a:cubicBezTo>
                <a:cubicBezTo>
                  <a:pt x="4329790" y="254956"/>
                  <a:pt x="4328272" y="259778"/>
                  <a:pt x="4328547" y="264163"/>
                </a:cubicBezTo>
                <a:cubicBezTo>
                  <a:pt x="4328218" y="268362"/>
                  <a:pt x="4328496" y="272748"/>
                  <a:pt x="4328372" y="277342"/>
                </a:cubicBezTo>
                <a:cubicBezTo>
                  <a:pt x="4328043" y="281541"/>
                  <a:pt x="4327924" y="286134"/>
                  <a:pt x="4329595" y="290291"/>
                </a:cubicBezTo>
                <a:cubicBezTo>
                  <a:pt x="4330665" y="294262"/>
                  <a:pt x="4329108" y="297088"/>
                  <a:pt x="4327368" y="300518"/>
                </a:cubicBezTo>
                <a:cubicBezTo>
                  <a:pt x="4325624" y="303947"/>
                  <a:pt x="4321453" y="305631"/>
                  <a:pt x="4320912" y="309434"/>
                </a:cubicBezTo>
                <a:cubicBezTo>
                  <a:pt x="4318138" y="310889"/>
                  <a:pt x="4315761" y="312137"/>
                  <a:pt x="4312983" y="313591"/>
                </a:cubicBezTo>
                <a:cubicBezTo>
                  <a:pt x="4312363" y="312406"/>
                  <a:pt x="4311759" y="312219"/>
                  <a:pt x="4310965" y="312635"/>
                </a:cubicBezTo>
                <a:cubicBezTo>
                  <a:pt x="4305015" y="315753"/>
                  <a:pt x="4299770" y="313466"/>
                  <a:pt x="4295305" y="309766"/>
                </a:cubicBezTo>
                <a:cubicBezTo>
                  <a:pt x="4291049" y="306461"/>
                  <a:pt x="4286598" y="303759"/>
                  <a:pt x="4284700" y="298209"/>
                </a:cubicBezTo>
                <a:cubicBezTo>
                  <a:pt x="4282993" y="292057"/>
                  <a:pt x="4279495" y="286340"/>
                  <a:pt x="4281977" y="279502"/>
                </a:cubicBezTo>
                <a:cubicBezTo>
                  <a:pt x="4282737" y="277091"/>
                  <a:pt x="4283703" y="275074"/>
                  <a:pt x="4286065" y="272830"/>
                </a:cubicBezTo>
                <a:cubicBezTo>
                  <a:pt x="4289410" y="269566"/>
                  <a:pt x="4293138" y="265098"/>
                  <a:pt x="4288636" y="259402"/>
                </a:cubicBezTo>
                <a:cubicBezTo>
                  <a:pt x="4286997" y="257240"/>
                  <a:pt x="4288965" y="255204"/>
                  <a:pt x="4288740" y="253811"/>
                </a:cubicBezTo>
                <a:cubicBezTo>
                  <a:pt x="4287414" y="246453"/>
                  <a:pt x="4290728" y="241194"/>
                  <a:pt x="4294847" y="236517"/>
                </a:cubicBezTo>
                <a:cubicBezTo>
                  <a:pt x="4298833" y="235437"/>
                  <a:pt x="4302422" y="234564"/>
                  <a:pt x="4305991" y="232693"/>
                </a:cubicBezTo>
                <a:close/>
                <a:moveTo>
                  <a:pt x="6694336" y="218355"/>
                </a:moveTo>
                <a:lnTo>
                  <a:pt x="6699318" y="220475"/>
                </a:lnTo>
                <a:cubicBezTo>
                  <a:pt x="6695739" y="221947"/>
                  <a:pt x="6695739" y="221947"/>
                  <a:pt x="6695739" y="221947"/>
                </a:cubicBezTo>
                <a:cubicBezTo>
                  <a:pt x="6695739" y="221947"/>
                  <a:pt x="6692161" y="223417"/>
                  <a:pt x="6692161" y="223417"/>
                </a:cubicBezTo>
                <a:cubicBezTo>
                  <a:pt x="6690687" y="219837"/>
                  <a:pt x="6690687" y="219837"/>
                  <a:pt x="6694267" y="218365"/>
                </a:cubicBezTo>
                <a:close/>
                <a:moveTo>
                  <a:pt x="9139815" y="166396"/>
                </a:moveTo>
                <a:cubicBezTo>
                  <a:pt x="9143275" y="166356"/>
                  <a:pt x="9146894" y="167142"/>
                  <a:pt x="9150198" y="166671"/>
                </a:cubicBezTo>
                <a:cubicBezTo>
                  <a:pt x="9153031" y="166356"/>
                  <a:pt x="9159011" y="164785"/>
                  <a:pt x="9160269" y="166985"/>
                </a:cubicBezTo>
                <a:cubicBezTo>
                  <a:pt x="9164046" y="173271"/>
                  <a:pt x="9173800" y="170757"/>
                  <a:pt x="9176003" y="179243"/>
                </a:cubicBezTo>
                <a:cubicBezTo>
                  <a:pt x="9176633" y="181757"/>
                  <a:pt x="9181038" y="183328"/>
                  <a:pt x="9176947" y="186785"/>
                </a:cubicBezTo>
                <a:cubicBezTo>
                  <a:pt x="9175688" y="187728"/>
                  <a:pt x="9176004" y="189614"/>
                  <a:pt x="9177263" y="189928"/>
                </a:cubicBezTo>
                <a:cubicBezTo>
                  <a:pt x="9182298" y="191814"/>
                  <a:pt x="9181983" y="194643"/>
                  <a:pt x="9178835" y="198414"/>
                </a:cubicBezTo>
                <a:cubicBezTo>
                  <a:pt x="9177891" y="199671"/>
                  <a:pt x="9179150" y="201243"/>
                  <a:pt x="9179779" y="202500"/>
                </a:cubicBezTo>
                <a:cubicBezTo>
                  <a:pt x="9181039" y="204386"/>
                  <a:pt x="9181353" y="206272"/>
                  <a:pt x="9179465" y="207842"/>
                </a:cubicBezTo>
                <a:cubicBezTo>
                  <a:pt x="9177577" y="209414"/>
                  <a:pt x="9177891" y="211300"/>
                  <a:pt x="9177262" y="213186"/>
                </a:cubicBezTo>
                <a:cubicBezTo>
                  <a:pt x="9175688" y="217900"/>
                  <a:pt x="9173800" y="223872"/>
                  <a:pt x="9170339" y="226072"/>
                </a:cubicBezTo>
                <a:cubicBezTo>
                  <a:pt x="9162786" y="230786"/>
                  <a:pt x="9155548" y="235815"/>
                  <a:pt x="9147996" y="240215"/>
                </a:cubicBezTo>
                <a:cubicBezTo>
                  <a:pt x="9147367" y="240215"/>
                  <a:pt x="9146107" y="240215"/>
                  <a:pt x="9145794" y="239586"/>
                </a:cubicBezTo>
                <a:cubicBezTo>
                  <a:pt x="9142646" y="236757"/>
                  <a:pt x="9139815" y="234243"/>
                  <a:pt x="9135724" y="238329"/>
                </a:cubicBezTo>
                <a:cubicBezTo>
                  <a:pt x="9134465" y="239901"/>
                  <a:pt x="9133520" y="238329"/>
                  <a:pt x="9133205" y="237071"/>
                </a:cubicBezTo>
                <a:cubicBezTo>
                  <a:pt x="9132262" y="231729"/>
                  <a:pt x="9129744" y="231729"/>
                  <a:pt x="9125968" y="234871"/>
                </a:cubicBezTo>
                <a:cubicBezTo>
                  <a:pt x="9123451" y="237072"/>
                  <a:pt x="9122191" y="236443"/>
                  <a:pt x="9122192" y="233300"/>
                </a:cubicBezTo>
                <a:cubicBezTo>
                  <a:pt x="9122192" y="231414"/>
                  <a:pt x="9122821" y="229214"/>
                  <a:pt x="9119988" y="228900"/>
                </a:cubicBezTo>
                <a:cubicBezTo>
                  <a:pt x="9113694" y="227643"/>
                  <a:pt x="9111177" y="223243"/>
                  <a:pt x="9111492" y="217586"/>
                </a:cubicBezTo>
                <a:cubicBezTo>
                  <a:pt x="9111807" y="213500"/>
                  <a:pt x="9110547" y="211614"/>
                  <a:pt x="9107715" y="210043"/>
                </a:cubicBezTo>
                <a:cubicBezTo>
                  <a:pt x="9107716" y="208785"/>
                  <a:pt x="9107716" y="207529"/>
                  <a:pt x="9107715" y="206271"/>
                </a:cubicBezTo>
                <a:cubicBezTo>
                  <a:pt x="9110863" y="204386"/>
                  <a:pt x="9111806" y="200929"/>
                  <a:pt x="9110863" y="197786"/>
                </a:cubicBezTo>
                <a:cubicBezTo>
                  <a:pt x="9109288" y="192128"/>
                  <a:pt x="9111177" y="187728"/>
                  <a:pt x="9115268" y="183957"/>
                </a:cubicBezTo>
                <a:cubicBezTo>
                  <a:pt x="9116842" y="182385"/>
                  <a:pt x="9118415" y="181128"/>
                  <a:pt x="9119045" y="178928"/>
                </a:cubicBezTo>
                <a:cubicBezTo>
                  <a:pt x="9119673" y="175471"/>
                  <a:pt x="9121561" y="173585"/>
                  <a:pt x="9125023" y="173900"/>
                </a:cubicBezTo>
                <a:cubicBezTo>
                  <a:pt x="9127541" y="173899"/>
                  <a:pt x="9129429" y="172328"/>
                  <a:pt x="9130374" y="171070"/>
                </a:cubicBezTo>
                <a:cubicBezTo>
                  <a:pt x="9133048" y="167300"/>
                  <a:pt x="9136352" y="166435"/>
                  <a:pt x="9139815" y="166396"/>
                </a:cubicBezTo>
                <a:close/>
                <a:moveTo>
                  <a:pt x="5831207" y="160660"/>
                </a:moveTo>
                <a:cubicBezTo>
                  <a:pt x="5837845" y="165311"/>
                  <a:pt x="5844143" y="170519"/>
                  <a:pt x="5850755" y="175462"/>
                </a:cubicBezTo>
                <a:cubicBezTo>
                  <a:pt x="5853784" y="177764"/>
                  <a:pt x="5855064" y="183428"/>
                  <a:pt x="5856154" y="187907"/>
                </a:cubicBezTo>
                <a:cubicBezTo>
                  <a:pt x="5856590" y="189699"/>
                  <a:pt x="5856153" y="191416"/>
                  <a:pt x="5857775" y="193015"/>
                </a:cubicBezTo>
                <a:cubicBezTo>
                  <a:pt x="5859397" y="194614"/>
                  <a:pt x="5858961" y="196332"/>
                  <a:pt x="5857652" y="197976"/>
                </a:cubicBezTo>
                <a:cubicBezTo>
                  <a:pt x="5856971" y="199089"/>
                  <a:pt x="5855688" y="200445"/>
                  <a:pt x="5856462" y="201679"/>
                </a:cubicBezTo>
                <a:cubicBezTo>
                  <a:pt x="5859078" y="205409"/>
                  <a:pt x="5859149" y="208047"/>
                  <a:pt x="5854349" y="209399"/>
                </a:cubicBezTo>
                <a:cubicBezTo>
                  <a:pt x="5853164" y="209592"/>
                  <a:pt x="5852724" y="211310"/>
                  <a:pt x="5853816" y="212279"/>
                </a:cubicBezTo>
                <a:cubicBezTo>
                  <a:pt x="5857328" y="215791"/>
                  <a:pt x="5853137" y="216901"/>
                  <a:pt x="5852359" y="219176"/>
                </a:cubicBezTo>
                <a:cubicBezTo>
                  <a:pt x="5849664" y="226846"/>
                  <a:pt x="5840844" y="223767"/>
                  <a:pt x="5836868" y="229283"/>
                </a:cubicBezTo>
                <a:cubicBezTo>
                  <a:pt x="5835534" y="231218"/>
                  <a:pt x="5830129" y="229302"/>
                  <a:pt x="5827537" y="228791"/>
                </a:cubicBezTo>
                <a:cubicBezTo>
                  <a:pt x="5821503" y="227408"/>
                  <a:pt x="5813918" y="230574"/>
                  <a:pt x="5809556" y="223188"/>
                </a:cubicBezTo>
                <a:cubicBezTo>
                  <a:pt x="5808783" y="221953"/>
                  <a:pt x="5807160" y="220355"/>
                  <a:pt x="5804833" y="220159"/>
                </a:cubicBezTo>
                <a:cubicBezTo>
                  <a:pt x="5801610" y="220181"/>
                  <a:pt x="5800012" y="218292"/>
                  <a:pt x="5799699" y="215049"/>
                </a:cubicBezTo>
                <a:cubicBezTo>
                  <a:pt x="5799289" y="212966"/>
                  <a:pt x="5797931" y="211683"/>
                  <a:pt x="5796598" y="210108"/>
                </a:cubicBezTo>
                <a:cubicBezTo>
                  <a:pt x="5793112" y="206306"/>
                  <a:pt x="5791707" y="202094"/>
                  <a:pt x="5793601" y="196987"/>
                </a:cubicBezTo>
                <a:cubicBezTo>
                  <a:pt x="5794716" y="194157"/>
                  <a:pt x="5794112" y="190889"/>
                  <a:pt x="5791350" y="188902"/>
                </a:cubicBezTo>
                <a:cubicBezTo>
                  <a:pt x="5791448" y="187740"/>
                  <a:pt x="5791546" y="186578"/>
                  <a:pt x="5791641" y="185417"/>
                </a:cubicBezTo>
                <a:cubicBezTo>
                  <a:pt x="5794382" y="184184"/>
                  <a:pt x="5795691" y="182540"/>
                  <a:pt x="5795718" y="178740"/>
                </a:cubicBezTo>
                <a:cubicBezTo>
                  <a:pt x="5795866" y="173487"/>
                  <a:pt x="5798532" y="169616"/>
                  <a:pt x="5804447" y="168942"/>
                </a:cubicBezTo>
                <a:cubicBezTo>
                  <a:pt x="5807090" y="168872"/>
                  <a:pt x="5806679" y="166791"/>
                  <a:pt x="5806824" y="165048"/>
                </a:cubicBezTo>
                <a:cubicBezTo>
                  <a:pt x="5807067" y="162143"/>
                  <a:pt x="5808279" y="161660"/>
                  <a:pt x="5810437" y="163888"/>
                </a:cubicBezTo>
                <a:cubicBezTo>
                  <a:pt x="5813681" y="167085"/>
                  <a:pt x="5816007" y="167281"/>
                  <a:pt x="5817294" y="162417"/>
                </a:cubicBezTo>
                <a:cubicBezTo>
                  <a:pt x="5817685" y="161279"/>
                  <a:pt x="5818677" y="159900"/>
                  <a:pt x="5819718" y="161450"/>
                </a:cubicBezTo>
                <a:cubicBezTo>
                  <a:pt x="5823182" y="165543"/>
                  <a:pt x="5825994" y="163439"/>
                  <a:pt x="5829121" y="161070"/>
                </a:cubicBezTo>
                <a:cubicBezTo>
                  <a:pt x="5829459" y="160513"/>
                  <a:pt x="5830625" y="160611"/>
                  <a:pt x="5831207" y="160660"/>
                </a:cubicBezTo>
                <a:close/>
                <a:moveTo>
                  <a:pt x="6357103" y="130850"/>
                </a:moveTo>
                <a:cubicBezTo>
                  <a:pt x="6362154" y="132959"/>
                  <a:pt x="6370784" y="133600"/>
                  <a:pt x="6379414" y="134241"/>
                </a:cubicBezTo>
                <a:cubicBezTo>
                  <a:pt x="6379414" y="134241"/>
                  <a:pt x="6384464" y="136351"/>
                  <a:pt x="6384464" y="136351"/>
                </a:cubicBezTo>
                <a:cubicBezTo>
                  <a:pt x="6384464" y="136351"/>
                  <a:pt x="6388044" y="134880"/>
                  <a:pt x="6393094" y="136991"/>
                </a:cubicBezTo>
                <a:cubicBezTo>
                  <a:pt x="6393094" y="136991"/>
                  <a:pt x="6396673" y="135521"/>
                  <a:pt x="6398145" y="139102"/>
                </a:cubicBezTo>
                <a:cubicBezTo>
                  <a:pt x="6394566" y="140573"/>
                  <a:pt x="6394566" y="140573"/>
                  <a:pt x="6389516" y="138462"/>
                </a:cubicBezTo>
                <a:cubicBezTo>
                  <a:pt x="6389516" y="138462"/>
                  <a:pt x="6385937" y="139933"/>
                  <a:pt x="6380885" y="137822"/>
                </a:cubicBezTo>
                <a:cubicBezTo>
                  <a:pt x="6390987" y="142044"/>
                  <a:pt x="6399617" y="142683"/>
                  <a:pt x="6406139" y="148377"/>
                </a:cubicBezTo>
                <a:cubicBezTo>
                  <a:pt x="6404033" y="153429"/>
                  <a:pt x="6391824" y="154260"/>
                  <a:pt x="6399820" y="163534"/>
                </a:cubicBezTo>
                <a:lnTo>
                  <a:pt x="6477439" y="167593"/>
                </a:lnTo>
                <a:lnTo>
                  <a:pt x="6478503" y="166108"/>
                </a:lnTo>
                <a:cubicBezTo>
                  <a:pt x="6478921" y="164886"/>
                  <a:pt x="6479989" y="163404"/>
                  <a:pt x="6481108" y="165070"/>
                </a:cubicBezTo>
                <a:cubicBezTo>
                  <a:pt x="6484830" y="169469"/>
                  <a:pt x="6487852" y="167207"/>
                  <a:pt x="6491213" y="164661"/>
                </a:cubicBezTo>
                <a:cubicBezTo>
                  <a:pt x="6491578" y="164063"/>
                  <a:pt x="6492827" y="164168"/>
                  <a:pt x="6493452" y="164220"/>
                </a:cubicBezTo>
                <a:lnTo>
                  <a:pt x="6501170" y="170064"/>
                </a:lnTo>
                <a:lnTo>
                  <a:pt x="6578935" y="182030"/>
                </a:lnTo>
                <a:cubicBezTo>
                  <a:pt x="6582514" y="180559"/>
                  <a:pt x="6582514" y="180559"/>
                  <a:pt x="6587565" y="182670"/>
                </a:cubicBezTo>
                <a:cubicBezTo>
                  <a:pt x="6591143" y="181199"/>
                  <a:pt x="6592616" y="184781"/>
                  <a:pt x="6592616" y="184781"/>
                </a:cubicBezTo>
                <a:cubicBezTo>
                  <a:pt x="6613455" y="184590"/>
                  <a:pt x="6640815" y="190092"/>
                  <a:pt x="6664597" y="197066"/>
                </a:cubicBezTo>
                <a:lnTo>
                  <a:pt x="6682597" y="198204"/>
                </a:lnTo>
                <a:lnTo>
                  <a:pt x="6678219" y="194887"/>
                </a:lnTo>
                <a:cubicBezTo>
                  <a:pt x="6677197" y="191831"/>
                  <a:pt x="6676069" y="190040"/>
                  <a:pt x="6673637" y="188563"/>
                </a:cubicBezTo>
                <a:cubicBezTo>
                  <a:pt x="6674060" y="183509"/>
                  <a:pt x="6674485" y="178454"/>
                  <a:pt x="6674908" y="173399"/>
                </a:cubicBezTo>
                <a:cubicBezTo>
                  <a:pt x="6679316" y="171648"/>
                  <a:pt x="6682984" y="168563"/>
                  <a:pt x="6684995" y="164913"/>
                </a:cubicBezTo>
                <a:cubicBezTo>
                  <a:pt x="6687394" y="161722"/>
                  <a:pt x="6689404" y="158073"/>
                  <a:pt x="6691838" y="154459"/>
                </a:cubicBezTo>
                <a:cubicBezTo>
                  <a:pt x="6694236" y="151267"/>
                  <a:pt x="6696670" y="147653"/>
                  <a:pt x="6697447" y="143477"/>
                </a:cubicBezTo>
                <a:cubicBezTo>
                  <a:pt x="6698611" y="139757"/>
                  <a:pt x="6701292" y="138285"/>
                  <a:pt x="6704430" y="136428"/>
                </a:cubicBezTo>
                <a:cubicBezTo>
                  <a:pt x="6707569" y="134570"/>
                  <a:pt x="6711764" y="135347"/>
                  <a:pt x="6714127" y="132576"/>
                </a:cubicBezTo>
                <a:cubicBezTo>
                  <a:pt x="6717089" y="132824"/>
                  <a:pt x="6719628" y="133037"/>
                  <a:pt x="6722590" y="133286"/>
                </a:cubicBezTo>
                <a:cubicBezTo>
                  <a:pt x="6722484" y="134550"/>
                  <a:pt x="6722872" y="135007"/>
                  <a:pt x="6723718" y="135078"/>
                </a:cubicBezTo>
                <a:cubicBezTo>
                  <a:pt x="6730064" y="135610"/>
                  <a:pt x="6733096" y="140107"/>
                  <a:pt x="6734787" y="145339"/>
                </a:cubicBezTo>
                <a:cubicBezTo>
                  <a:pt x="6736514" y="150150"/>
                  <a:pt x="6738699" y="154575"/>
                  <a:pt x="6737393" y="159980"/>
                </a:cubicBezTo>
                <a:cubicBezTo>
                  <a:pt x="6735628" y="165770"/>
                  <a:pt x="6735521" y="172124"/>
                  <a:pt x="6730055" y="176331"/>
                </a:cubicBezTo>
                <a:cubicBezTo>
                  <a:pt x="6728221" y="177874"/>
                  <a:pt x="6726423" y="178996"/>
                  <a:pt x="6723390" y="179589"/>
                </a:cubicBezTo>
                <a:cubicBezTo>
                  <a:pt x="6719053" y="180498"/>
                  <a:pt x="6713798" y="182178"/>
                  <a:pt x="6714502" y="189024"/>
                </a:cubicBezTo>
                <a:cubicBezTo>
                  <a:pt x="6714714" y="191587"/>
                  <a:pt x="6712104" y="192216"/>
                  <a:pt x="6711575" y="193445"/>
                </a:cubicBezTo>
                <a:lnTo>
                  <a:pt x="6703795" y="199545"/>
                </a:lnTo>
                <a:lnTo>
                  <a:pt x="6704325" y="199579"/>
                </a:lnTo>
                <a:cubicBezTo>
                  <a:pt x="6719795" y="201594"/>
                  <a:pt x="6736896" y="205032"/>
                  <a:pt x="6753838" y="210630"/>
                </a:cubicBezTo>
                <a:cubicBezTo>
                  <a:pt x="6789829" y="216773"/>
                  <a:pt x="6823712" y="227967"/>
                  <a:pt x="6843916" y="236411"/>
                </a:cubicBezTo>
                <a:cubicBezTo>
                  <a:pt x="6886429" y="248247"/>
                  <a:pt x="6933992" y="262192"/>
                  <a:pt x="6976507" y="274027"/>
                </a:cubicBezTo>
                <a:cubicBezTo>
                  <a:pt x="6995975" y="280680"/>
                  <a:pt x="7014548" y="287700"/>
                  <a:pt x="7030883" y="295640"/>
                </a:cubicBezTo>
                <a:lnTo>
                  <a:pt x="7056575" y="312658"/>
                </a:lnTo>
                <a:lnTo>
                  <a:pt x="7058402" y="309661"/>
                </a:lnTo>
                <a:cubicBezTo>
                  <a:pt x="7059787" y="309108"/>
                  <a:pt x="7061154" y="308777"/>
                  <a:pt x="7062539" y="308224"/>
                </a:cubicBezTo>
                <a:cubicBezTo>
                  <a:pt x="7064387" y="307487"/>
                  <a:pt x="7065163" y="306214"/>
                  <a:pt x="7064887" y="304184"/>
                </a:cubicBezTo>
                <a:lnTo>
                  <a:pt x="7064013" y="302694"/>
                </a:lnTo>
                <a:lnTo>
                  <a:pt x="7082777" y="286924"/>
                </a:lnTo>
                <a:lnTo>
                  <a:pt x="7082122" y="290242"/>
                </a:lnTo>
                <a:cubicBezTo>
                  <a:pt x="7081531" y="291977"/>
                  <a:pt x="7081457" y="292862"/>
                  <a:pt x="7083358" y="294137"/>
                </a:cubicBezTo>
                <a:cubicBezTo>
                  <a:pt x="7085499" y="295209"/>
                  <a:pt x="7086478" y="294176"/>
                  <a:pt x="7087476" y="292921"/>
                </a:cubicBezTo>
                <a:cubicBezTo>
                  <a:pt x="7088216" y="292091"/>
                  <a:pt x="7088511" y="291224"/>
                  <a:pt x="7089048" y="290154"/>
                </a:cubicBezTo>
                <a:cubicBezTo>
                  <a:pt x="7091432" y="285671"/>
                  <a:pt x="7092780" y="285561"/>
                  <a:pt x="7095787" y="289605"/>
                </a:cubicBezTo>
                <a:cubicBezTo>
                  <a:pt x="7096378" y="290546"/>
                  <a:pt x="7097172" y="291728"/>
                  <a:pt x="7098501" y="291840"/>
                </a:cubicBezTo>
                <a:cubicBezTo>
                  <a:pt x="7100071" y="291749"/>
                  <a:pt x="7100219" y="289977"/>
                  <a:pt x="7100755" y="288907"/>
                </a:cubicBezTo>
                <a:cubicBezTo>
                  <a:pt x="7101273" y="288058"/>
                  <a:pt x="7101568" y="287191"/>
                  <a:pt x="7101643" y="286305"/>
                </a:cubicBezTo>
                <a:cubicBezTo>
                  <a:pt x="7102134" y="284450"/>
                  <a:pt x="7102927" y="283625"/>
                  <a:pt x="7103886" y="283510"/>
                </a:cubicBezTo>
                <a:cubicBezTo>
                  <a:pt x="7104843" y="283395"/>
                  <a:pt x="7105965" y="283991"/>
                  <a:pt x="7107110" y="284980"/>
                </a:cubicBezTo>
                <a:cubicBezTo>
                  <a:pt x="7109380" y="287177"/>
                  <a:pt x="7111613" y="289818"/>
                  <a:pt x="7113883" y="292016"/>
                </a:cubicBezTo>
                <a:cubicBezTo>
                  <a:pt x="7116558" y="294694"/>
                  <a:pt x="7119734" y="296745"/>
                  <a:pt x="7123446" y="295048"/>
                </a:cubicBezTo>
                <a:cubicBezTo>
                  <a:pt x="7126438" y="293962"/>
                  <a:pt x="7127675" y="295180"/>
                  <a:pt x="7129058" y="297304"/>
                </a:cubicBezTo>
                <a:cubicBezTo>
                  <a:pt x="7132010" y="302012"/>
                  <a:pt x="7135720" y="305669"/>
                  <a:pt x="7142035" y="304861"/>
                </a:cubicBezTo>
                <a:cubicBezTo>
                  <a:pt x="7143624" y="304548"/>
                  <a:pt x="7144011" y="305249"/>
                  <a:pt x="7144102" y="306818"/>
                </a:cubicBezTo>
                <a:cubicBezTo>
                  <a:pt x="7144078" y="317745"/>
                  <a:pt x="7147950" y="327436"/>
                  <a:pt x="7153448" y="336374"/>
                </a:cubicBezTo>
                <a:cubicBezTo>
                  <a:pt x="7154832" y="338497"/>
                  <a:pt x="7154277" y="339788"/>
                  <a:pt x="7153224" y="341707"/>
                </a:cubicBezTo>
                <a:cubicBezTo>
                  <a:pt x="7150673" y="345507"/>
                  <a:pt x="7147863" y="349732"/>
                  <a:pt x="7149043" y="354291"/>
                </a:cubicBezTo>
                <a:lnTo>
                  <a:pt x="7147775" y="359417"/>
                </a:lnTo>
                <a:lnTo>
                  <a:pt x="7169275" y="366458"/>
                </a:lnTo>
                <a:cubicBezTo>
                  <a:pt x="7190316" y="387118"/>
                  <a:pt x="7235773" y="406117"/>
                  <a:pt x="7270495" y="429527"/>
                </a:cubicBezTo>
                <a:cubicBezTo>
                  <a:pt x="7243033" y="413600"/>
                  <a:pt x="7211833" y="401302"/>
                  <a:pt x="7180185" y="389188"/>
                </a:cubicBezTo>
                <a:lnTo>
                  <a:pt x="7140461" y="372428"/>
                </a:lnTo>
                <a:lnTo>
                  <a:pt x="7129896" y="383016"/>
                </a:lnTo>
                <a:cubicBezTo>
                  <a:pt x="7128530" y="383347"/>
                  <a:pt x="7128456" y="384233"/>
                  <a:pt x="7128363" y="385340"/>
                </a:cubicBezTo>
                <a:cubicBezTo>
                  <a:pt x="7128306" y="388681"/>
                  <a:pt x="7133619" y="397156"/>
                  <a:pt x="7136647" y="398302"/>
                </a:cubicBezTo>
                <a:cubicBezTo>
                  <a:pt x="7141428" y="399819"/>
                  <a:pt x="7145433" y="402607"/>
                  <a:pt x="7148441" y="406652"/>
                </a:cubicBezTo>
                <a:cubicBezTo>
                  <a:pt x="7152685" y="411915"/>
                  <a:pt x="7156247" y="417343"/>
                  <a:pt x="7160250" y="422808"/>
                </a:cubicBezTo>
                <a:cubicBezTo>
                  <a:pt x="7161468" y="424249"/>
                  <a:pt x="7160729" y="425080"/>
                  <a:pt x="7159749" y="426112"/>
                </a:cubicBezTo>
                <a:cubicBezTo>
                  <a:pt x="7155352" y="430649"/>
                  <a:pt x="7155352" y="430649"/>
                  <a:pt x="7159948" y="434381"/>
                </a:cubicBezTo>
                <a:cubicBezTo>
                  <a:pt x="7164101" y="438074"/>
                  <a:pt x="7164136" y="440308"/>
                  <a:pt x="7159795" y="444180"/>
                </a:cubicBezTo>
                <a:cubicBezTo>
                  <a:pt x="7157874" y="445803"/>
                  <a:pt x="7155934" y="447648"/>
                  <a:pt x="7156338" y="450804"/>
                </a:cubicBezTo>
                <a:cubicBezTo>
                  <a:pt x="7157682" y="458724"/>
                  <a:pt x="7154262" y="464904"/>
                  <a:pt x="7148683" y="470234"/>
                </a:cubicBezTo>
                <a:cubicBezTo>
                  <a:pt x="7145043" y="473720"/>
                  <a:pt x="7140757" y="476929"/>
                  <a:pt x="7137948" y="481154"/>
                </a:cubicBezTo>
                <a:cubicBezTo>
                  <a:pt x="7137430" y="482002"/>
                  <a:pt x="7136691" y="482832"/>
                  <a:pt x="7135602" y="482517"/>
                </a:cubicBezTo>
                <a:cubicBezTo>
                  <a:pt x="7130212" y="480281"/>
                  <a:pt x="7127034" y="483582"/>
                  <a:pt x="7123634" y="486865"/>
                </a:cubicBezTo>
                <a:cubicBezTo>
                  <a:pt x="7122654" y="487899"/>
                  <a:pt x="7121436" y="489134"/>
                  <a:pt x="7119479" y="488523"/>
                </a:cubicBezTo>
                <a:cubicBezTo>
                  <a:pt x="7114051" y="486730"/>
                  <a:pt x="7108233" y="486911"/>
                  <a:pt x="7102732" y="486003"/>
                </a:cubicBezTo>
                <a:cubicBezTo>
                  <a:pt x="7098097" y="485391"/>
                  <a:pt x="7093481" y="484558"/>
                  <a:pt x="7089513" y="481325"/>
                </a:cubicBezTo>
                <a:cubicBezTo>
                  <a:pt x="7087852" y="479848"/>
                  <a:pt x="7086485" y="480179"/>
                  <a:pt x="7085026" y="481617"/>
                </a:cubicBezTo>
                <a:cubicBezTo>
                  <a:pt x="7084268" y="482669"/>
                  <a:pt x="7083528" y="483499"/>
                  <a:pt x="7082568" y="484310"/>
                </a:cubicBezTo>
                <a:cubicBezTo>
                  <a:pt x="7081608" y="485122"/>
                  <a:pt x="7079982" y="485877"/>
                  <a:pt x="7078949" y="484899"/>
                </a:cubicBezTo>
                <a:cubicBezTo>
                  <a:pt x="7077694" y="483901"/>
                  <a:pt x="7078285" y="482167"/>
                  <a:pt x="7079061" y="480894"/>
                </a:cubicBezTo>
                <a:cubicBezTo>
                  <a:pt x="7079339" y="480248"/>
                  <a:pt x="7079819" y="479843"/>
                  <a:pt x="7080318" y="479215"/>
                </a:cubicBezTo>
                <a:cubicBezTo>
                  <a:pt x="7084291" y="474419"/>
                  <a:pt x="7083241" y="470986"/>
                  <a:pt x="7077314" y="469819"/>
                </a:cubicBezTo>
                <a:cubicBezTo>
                  <a:pt x="7076224" y="469505"/>
                  <a:pt x="7075117" y="469412"/>
                  <a:pt x="7074249" y="469116"/>
                </a:cubicBezTo>
                <a:cubicBezTo>
                  <a:pt x="7072735" y="468543"/>
                  <a:pt x="7070925" y="468837"/>
                  <a:pt x="7070686" y="466364"/>
                </a:cubicBezTo>
                <a:cubicBezTo>
                  <a:pt x="7070392" y="464555"/>
                  <a:pt x="7071353" y="463743"/>
                  <a:pt x="7072757" y="462969"/>
                </a:cubicBezTo>
                <a:cubicBezTo>
                  <a:pt x="7075343" y="461402"/>
                  <a:pt x="7075251" y="459833"/>
                  <a:pt x="7072982" y="457635"/>
                </a:cubicBezTo>
                <a:cubicBezTo>
                  <a:pt x="7070083" y="454938"/>
                  <a:pt x="7067463" y="451596"/>
                  <a:pt x="7068056" y="447185"/>
                </a:cubicBezTo>
                <a:cubicBezTo>
                  <a:pt x="7068576" y="443660"/>
                  <a:pt x="7067838" y="441814"/>
                  <a:pt x="7063776" y="442365"/>
                </a:cubicBezTo>
                <a:cubicBezTo>
                  <a:pt x="7062870" y="442513"/>
                  <a:pt x="7061782" y="442198"/>
                  <a:pt x="7061450" y="440833"/>
                </a:cubicBezTo>
                <a:cubicBezTo>
                  <a:pt x="7061099" y="439688"/>
                  <a:pt x="7062263" y="439117"/>
                  <a:pt x="7062983" y="438508"/>
                </a:cubicBezTo>
                <a:cubicBezTo>
                  <a:pt x="7064665" y="437087"/>
                  <a:pt x="7066567" y="435687"/>
                  <a:pt x="7067824" y="434008"/>
                </a:cubicBezTo>
                <a:cubicBezTo>
                  <a:pt x="7071760" y="429655"/>
                  <a:pt x="7071762" y="426978"/>
                  <a:pt x="7068846" y="421828"/>
                </a:cubicBezTo>
                <a:cubicBezTo>
                  <a:pt x="7066504" y="417839"/>
                  <a:pt x="7064843" y="413685"/>
                  <a:pt x="7065031" y="408795"/>
                </a:cubicBezTo>
                <a:cubicBezTo>
                  <a:pt x="7065107" y="405233"/>
                  <a:pt x="7066916" y="404938"/>
                  <a:pt x="7069704" y="406287"/>
                </a:cubicBezTo>
                <a:cubicBezTo>
                  <a:pt x="7071642" y="407119"/>
                  <a:pt x="7072583" y="409205"/>
                  <a:pt x="7074042" y="410443"/>
                </a:cubicBezTo>
                <a:cubicBezTo>
                  <a:pt x="7075703" y="411920"/>
                  <a:pt x="7077992" y="413897"/>
                  <a:pt x="7079913" y="412274"/>
                </a:cubicBezTo>
                <a:cubicBezTo>
                  <a:pt x="7082093" y="410227"/>
                  <a:pt x="7081208" y="407476"/>
                  <a:pt x="7079381" y="405315"/>
                </a:cubicBezTo>
                <a:cubicBezTo>
                  <a:pt x="7078569" y="404355"/>
                  <a:pt x="7077314" y="403358"/>
                  <a:pt x="7076521" y="402176"/>
                </a:cubicBezTo>
                <a:cubicBezTo>
                  <a:pt x="7075506" y="400976"/>
                  <a:pt x="7074730" y="399573"/>
                  <a:pt x="7076190" y="398134"/>
                </a:cubicBezTo>
                <a:cubicBezTo>
                  <a:pt x="7077409" y="396899"/>
                  <a:pt x="7078684" y="397674"/>
                  <a:pt x="7079920" y="398893"/>
                </a:cubicBezTo>
                <a:cubicBezTo>
                  <a:pt x="7081175" y="399890"/>
                  <a:pt x="7082412" y="401110"/>
                  <a:pt x="7083685" y="401885"/>
                </a:cubicBezTo>
                <a:cubicBezTo>
                  <a:pt x="7085568" y="403382"/>
                  <a:pt x="7087840" y="402903"/>
                  <a:pt x="7089502" y="401705"/>
                </a:cubicBezTo>
                <a:cubicBezTo>
                  <a:pt x="7091165" y="400506"/>
                  <a:pt x="7090445" y="398438"/>
                  <a:pt x="7089911" y="396832"/>
                </a:cubicBezTo>
                <a:cubicBezTo>
                  <a:pt x="7087238" y="388802"/>
                  <a:pt x="7076438" y="384550"/>
                  <a:pt x="7068514" y="388568"/>
                </a:cubicBezTo>
                <a:cubicBezTo>
                  <a:pt x="7064782" y="390486"/>
                  <a:pt x="7063509" y="389710"/>
                  <a:pt x="7063364" y="386129"/>
                </a:cubicBezTo>
                <a:cubicBezTo>
                  <a:pt x="7063182" y="380315"/>
                  <a:pt x="7060839" y="376327"/>
                  <a:pt x="7055246" y="373850"/>
                </a:cubicBezTo>
                <a:cubicBezTo>
                  <a:pt x="7053731" y="373277"/>
                  <a:pt x="7051387" y="371965"/>
                  <a:pt x="7052257" y="369585"/>
                </a:cubicBezTo>
                <a:cubicBezTo>
                  <a:pt x="7054051" y="364160"/>
                  <a:pt x="7052225" y="359323"/>
                  <a:pt x="7049717" y="354652"/>
                </a:cubicBezTo>
                <a:cubicBezTo>
                  <a:pt x="7047780" y="351144"/>
                  <a:pt x="7047375" y="347988"/>
                  <a:pt x="7050147" y="344206"/>
                </a:cubicBezTo>
                <a:lnTo>
                  <a:pt x="7049251" y="342233"/>
                </a:lnTo>
                <a:lnTo>
                  <a:pt x="7031973" y="333919"/>
                </a:lnTo>
                <a:cubicBezTo>
                  <a:pt x="7024476" y="329673"/>
                  <a:pt x="7018689" y="325772"/>
                  <a:pt x="7012902" y="321870"/>
                </a:cubicBezTo>
                <a:cubicBezTo>
                  <a:pt x="6992699" y="313427"/>
                  <a:pt x="6987013" y="319950"/>
                  <a:pt x="6968282" y="315088"/>
                </a:cubicBezTo>
                <a:cubicBezTo>
                  <a:pt x="6951657" y="305174"/>
                  <a:pt x="6935032" y="295258"/>
                  <a:pt x="6918409" y="285344"/>
                </a:cubicBezTo>
                <a:cubicBezTo>
                  <a:pt x="6918409" y="285344"/>
                  <a:pt x="6918409" y="285344"/>
                  <a:pt x="6922621" y="275239"/>
                </a:cubicBezTo>
                <a:cubicBezTo>
                  <a:pt x="6912521" y="271016"/>
                  <a:pt x="6897368" y="264684"/>
                  <a:pt x="6883688" y="261933"/>
                </a:cubicBezTo>
                <a:cubicBezTo>
                  <a:pt x="6883688" y="261933"/>
                  <a:pt x="6883688" y="261933"/>
                  <a:pt x="6885159" y="265514"/>
                </a:cubicBezTo>
                <a:cubicBezTo>
                  <a:pt x="6888739" y="264044"/>
                  <a:pt x="6893790" y="266155"/>
                  <a:pt x="6890211" y="267625"/>
                </a:cubicBezTo>
                <a:cubicBezTo>
                  <a:pt x="6890211" y="267625"/>
                  <a:pt x="6886632" y="269096"/>
                  <a:pt x="6886632" y="269096"/>
                </a:cubicBezTo>
                <a:cubicBezTo>
                  <a:pt x="6888104" y="272678"/>
                  <a:pt x="6901784" y="275429"/>
                  <a:pt x="6894627" y="278370"/>
                </a:cubicBezTo>
                <a:cubicBezTo>
                  <a:pt x="6877367" y="277091"/>
                  <a:pt x="6879474" y="272038"/>
                  <a:pt x="6865794" y="269287"/>
                </a:cubicBezTo>
                <a:cubicBezTo>
                  <a:pt x="6865794" y="269287"/>
                  <a:pt x="6865794" y="269287"/>
                  <a:pt x="6862214" y="270758"/>
                </a:cubicBezTo>
                <a:cubicBezTo>
                  <a:pt x="6862214" y="270758"/>
                  <a:pt x="6862214" y="270758"/>
                  <a:pt x="6860742" y="267177"/>
                </a:cubicBezTo>
                <a:cubicBezTo>
                  <a:pt x="6857163" y="268648"/>
                  <a:pt x="6852112" y="266536"/>
                  <a:pt x="6852112" y="266536"/>
                </a:cubicBezTo>
                <a:cubicBezTo>
                  <a:pt x="6850641" y="262954"/>
                  <a:pt x="6850641" y="262954"/>
                  <a:pt x="6850641" y="262954"/>
                </a:cubicBezTo>
                <a:cubicBezTo>
                  <a:pt x="6838433" y="263785"/>
                  <a:pt x="6816123" y="260394"/>
                  <a:pt x="6797391" y="255532"/>
                </a:cubicBezTo>
                <a:cubicBezTo>
                  <a:pt x="6777187" y="247088"/>
                  <a:pt x="6762034" y="240755"/>
                  <a:pt x="6759091" y="233591"/>
                </a:cubicBezTo>
                <a:cubicBezTo>
                  <a:pt x="6755512" y="235061"/>
                  <a:pt x="6754039" y="231481"/>
                  <a:pt x="6754039" y="231481"/>
                </a:cubicBezTo>
                <a:cubicBezTo>
                  <a:pt x="6750461" y="232952"/>
                  <a:pt x="6745411" y="230841"/>
                  <a:pt x="6743938" y="227258"/>
                </a:cubicBezTo>
                <a:cubicBezTo>
                  <a:pt x="6743938" y="227258"/>
                  <a:pt x="6743938" y="227258"/>
                  <a:pt x="6747517" y="225787"/>
                </a:cubicBezTo>
                <a:cubicBezTo>
                  <a:pt x="6752569" y="227899"/>
                  <a:pt x="6752569" y="227899"/>
                  <a:pt x="6752569" y="227899"/>
                </a:cubicBezTo>
                <a:cubicBezTo>
                  <a:pt x="6752569" y="227899"/>
                  <a:pt x="6752569" y="227899"/>
                  <a:pt x="6756147" y="226428"/>
                </a:cubicBezTo>
                <a:cubicBezTo>
                  <a:pt x="6737415" y="221567"/>
                  <a:pt x="6738888" y="225148"/>
                  <a:pt x="6725207" y="222396"/>
                </a:cubicBezTo>
                <a:cubicBezTo>
                  <a:pt x="6725207" y="222396"/>
                  <a:pt x="6730257" y="224508"/>
                  <a:pt x="6730257" y="224508"/>
                </a:cubicBezTo>
                <a:cubicBezTo>
                  <a:pt x="6730257" y="224508"/>
                  <a:pt x="6730257" y="224508"/>
                  <a:pt x="6726678" y="225979"/>
                </a:cubicBezTo>
                <a:cubicBezTo>
                  <a:pt x="6726678" y="225979"/>
                  <a:pt x="6726678" y="225979"/>
                  <a:pt x="6723099" y="227450"/>
                </a:cubicBezTo>
                <a:cubicBezTo>
                  <a:pt x="6723099" y="227450"/>
                  <a:pt x="6731731" y="228089"/>
                  <a:pt x="6729623" y="233141"/>
                </a:cubicBezTo>
                <a:cubicBezTo>
                  <a:pt x="6715943" y="230391"/>
                  <a:pt x="6702261" y="227640"/>
                  <a:pt x="6704369" y="222588"/>
                </a:cubicBezTo>
                <a:cubicBezTo>
                  <a:pt x="6704369" y="222588"/>
                  <a:pt x="6700790" y="224059"/>
                  <a:pt x="6699318" y="220475"/>
                </a:cubicBezTo>
                <a:cubicBezTo>
                  <a:pt x="6698582" y="218685"/>
                  <a:pt x="6697319" y="218158"/>
                  <a:pt x="6696241" y="218077"/>
                </a:cubicBezTo>
                <a:lnTo>
                  <a:pt x="6694336" y="218355"/>
                </a:lnTo>
                <a:lnTo>
                  <a:pt x="6650520" y="199711"/>
                </a:lnTo>
                <a:cubicBezTo>
                  <a:pt x="6632236" y="194664"/>
                  <a:pt x="6612083" y="191433"/>
                  <a:pt x="6590509" y="189832"/>
                </a:cubicBezTo>
                <a:cubicBezTo>
                  <a:pt x="6590509" y="189832"/>
                  <a:pt x="6586929" y="191304"/>
                  <a:pt x="6585459" y="187722"/>
                </a:cubicBezTo>
                <a:cubicBezTo>
                  <a:pt x="6581879" y="189193"/>
                  <a:pt x="6576828" y="187083"/>
                  <a:pt x="6576828" y="187083"/>
                </a:cubicBezTo>
                <a:cubicBezTo>
                  <a:pt x="6576828" y="187083"/>
                  <a:pt x="6576828" y="187083"/>
                  <a:pt x="6580406" y="185612"/>
                </a:cubicBezTo>
                <a:cubicBezTo>
                  <a:pt x="6568198" y="186442"/>
                  <a:pt x="6547360" y="186633"/>
                  <a:pt x="6540202" y="189575"/>
                </a:cubicBezTo>
                <a:cubicBezTo>
                  <a:pt x="6543781" y="188105"/>
                  <a:pt x="6543781" y="188105"/>
                  <a:pt x="6548832" y="190215"/>
                </a:cubicBezTo>
                <a:cubicBezTo>
                  <a:pt x="6548832" y="190215"/>
                  <a:pt x="6550305" y="193795"/>
                  <a:pt x="6550305" y="193795"/>
                </a:cubicBezTo>
                <a:cubicBezTo>
                  <a:pt x="6546725" y="195267"/>
                  <a:pt x="6546725" y="195267"/>
                  <a:pt x="6541676" y="193156"/>
                </a:cubicBezTo>
                <a:lnTo>
                  <a:pt x="6540373" y="193691"/>
                </a:lnTo>
                <a:lnTo>
                  <a:pt x="6537992" y="193100"/>
                </a:lnTo>
                <a:cubicBezTo>
                  <a:pt x="6536096" y="192309"/>
                  <a:pt x="6534834" y="191781"/>
                  <a:pt x="6533044" y="192516"/>
                </a:cubicBezTo>
                <a:cubicBezTo>
                  <a:pt x="6536624" y="191045"/>
                  <a:pt x="6538096" y="194627"/>
                  <a:pt x="6538096" y="194627"/>
                </a:cubicBezTo>
                <a:lnTo>
                  <a:pt x="6540373" y="193691"/>
                </a:lnTo>
                <a:lnTo>
                  <a:pt x="6546725" y="195267"/>
                </a:lnTo>
                <a:lnTo>
                  <a:pt x="6520793" y="195174"/>
                </a:lnTo>
                <a:lnTo>
                  <a:pt x="6522004" y="198989"/>
                </a:lnTo>
                <a:cubicBezTo>
                  <a:pt x="6523747" y="200707"/>
                  <a:pt x="6523278" y="202553"/>
                  <a:pt x="6521871" y="204322"/>
                </a:cubicBezTo>
                <a:cubicBezTo>
                  <a:pt x="6521141" y="205517"/>
                  <a:pt x="6519760" y="206973"/>
                  <a:pt x="6520592" y="208300"/>
                </a:cubicBezTo>
                <a:cubicBezTo>
                  <a:pt x="6523403" y="212308"/>
                  <a:pt x="6523480" y="215142"/>
                  <a:pt x="6518324" y="216595"/>
                </a:cubicBezTo>
                <a:cubicBezTo>
                  <a:pt x="6517047" y="216803"/>
                  <a:pt x="6516578" y="218649"/>
                  <a:pt x="6517749" y="219690"/>
                </a:cubicBezTo>
                <a:cubicBezTo>
                  <a:pt x="6521522" y="223465"/>
                  <a:pt x="6517017" y="224658"/>
                  <a:pt x="6516182" y="227102"/>
                </a:cubicBezTo>
                <a:cubicBezTo>
                  <a:pt x="6513287" y="235346"/>
                  <a:pt x="6503809" y="232035"/>
                  <a:pt x="6499535" y="237963"/>
                </a:cubicBezTo>
                <a:cubicBezTo>
                  <a:pt x="6498102" y="240042"/>
                  <a:pt x="6492296" y="237983"/>
                  <a:pt x="6489509" y="237435"/>
                </a:cubicBezTo>
                <a:cubicBezTo>
                  <a:pt x="6483026" y="235949"/>
                  <a:pt x="6474873" y="239350"/>
                  <a:pt x="6470189" y="231413"/>
                </a:cubicBezTo>
                <a:cubicBezTo>
                  <a:pt x="6469356" y="230087"/>
                  <a:pt x="6467613" y="228369"/>
                  <a:pt x="6465113" y="228159"/>
                </a:cubicBezTo>
                <a:cubicBezTo>
                  <a:pt x="6461649" y="228182"/>
                  <a:pt x="6459931" y="226152"/>
                  <a:pt x="6459594" y="222667"/>
                </a:cubicBezTo>
                <a:cubicBezTo>
                  <a:pt x="6459152" y="220429"/>
                  <a:pt x="6457695" y="219049"/>
                  <a:pt x="6456263" y="217358"/>
                </a:cubicBezTo>
                <a:cubicBezTo>
                  <a:pt x="6452516" y="213272"/>
                  <a:pt x="6451007" y="208745"/>
                  <a:pt x="6453041" y="203259"/>
                </a:cubicBezTo>
                <a:cubicBezTo>
                  <a:pt x="6454241" y="200217"/>
                  <a:pt x="6453591" y="196704"/>
                  <a:pt x="6450624" y="194569"/>
                </a:cubicBezTo>
                <a:cubicBezTo>
                  <a:pt x="6450728" y="193321"/>
                  <a:pt x="6450833" y="192072"/>
                  <a:pt x="6450938" y="190824"/>
                </a:cubicBezTo>
                <a:lnTo>
                  <a:pt x="6452001" y="189082"/>
                </a:lnTo>
                <a:lnTo>
                  <a:pt x="6416463" y="184627"/>
                </a:lnTo>
                <a:cubicBezTo>
                  <a:pt x="6401850" y="183110"/>
                  <a:pt x="6387604" y="182162"/>
                  <a:pt x="6374133" y="182465"/>
                </a:cubicBezTo>
                <a:cubicBezTo>
                  <a:pt x="6372661" y="178882"/>
                  <a:pt x="6355401" y="177602"/>
                  <a:pt x="6350350" y="175491"/>
                </a:cubicBezTo>
                <a:cubicBezTo>
                  <a:pt x="6351822" y="179073"/>
                  <a:pt x="6351822" y="179073"/>
                  <a:pt x="6344663" y="182014"/>
                </a:cubicBezTo>
                <a:cubicBezTo>
                  <a:pt x="6344663" y="182014"/>
                  <a:pt x="6343193" y="178433"/>
                  <a:pt x="6339613" y="179903"/>
                </a:cubicBezTo>
                <a:cubicBezTo>
                  <a:pt x="6336034" y="181374"/>
                  <a:pt x="6334562" y="177793"/>
                  <a:pt x="6330985" y="179264"/>
                </a:cubicBezTo>
                <a:cubicBezTo>
                  <a:pt x="6310147" y="179455"/>
                  <a:pt x="6296833" y="177599"/>
                  <a:pt x="6285942" y="175272"/>
                </a:cubicBezTo>
                <a:lnTo>
                  <a:pt x="6258708" y="169184"/>
                </a:lnTo>
                <a:lnTo>
                  <a:pt x="6257397" y="168162"/>
                </a:lnTo>
                <a:cubicBezTo>
                  <a:pt x="6256318" y="168083"/>
                  <a:pt x="6255423" y="168449"/>
                  <a:pt x="6255423" y="168449"/>
                </a:cubicBezTo>
                <a:lnTo>
                  <a:pt x="6258708" y="169184"/>
                </a:lnTo>
                <a:lnTo>
                  <a:pt x="6260474" y="170560"/>
                </a:lnTo>
                <a:cubicBezTo>
                  <a:pt x="6260474" y="170560"/>
                  <a:pt x="6261946" y="174142"/>
                  <a:pt x="6258366" y="175613"/>
                </a:cubicBezTo>
                <a:cubicBezTo>
                  <a:pt x="6258366" y="175613"/>
                  <a:pt x="6253317" y="173503"/>
                  <a:pt x="6253317" y="173503"/>
                </a:cubicBezTo>
                <a:cubicBezTo>
                  <a:pt x="6249737" y="174973"/>
                  <a:pt x="6249737" y="174973"/>
                  <a:pt x="6249737" y="174973"/>
                </a:cubicBezTo>
                <a:cubicBezTo>
                  <a:pt x="6231844" y="182327"/>
                  <a:pt x="6180067" y="178486"/>
                  <a:pt x="6179229" y="166270"/>
                </a:cubicBezTo>
                <a:cubicBezTo>
                  <a:pt x="6151233" y="169402"/>
                  <a:pt x="6107450" y="174836"/>
                  <a:pt x="6080101" y="169334"/>
                </a:cubicBezTo>
                <a:cubicBezTo>
                  <a:pt x="6099454" y="165561"/>
                  <a:pt x="6129557" y="157377"/>
                  <a:pt x="6162606" y="156356"/>
                </a:cubicBezTo>
                <a:cubicBezTo>
                  <a:pt x="6195652" y="155335"/>
                  <a:pt x="6221540" y="157255"/>
                  <a:pt x="6229534" y="166529"/>
                </a:cubicBezTo>
                <a:cubicBezTo>
                  <a:pt x="6228062" y="162947"/>
                  <a:pt x="6228062" y="162947"/>
                  <a:pt x="6231641" y="161476"/>
                </a:cubicBezTo>
                <a:cubicBezTo>
                  <a:pt x="6236692" y="163588"/>
                  <a:pt x="6243851" y="160647"/>
                  <a:pt x="6245322" y="164228"/>
                </a:cubicBezTo>
                <a:cubicBezTo>
                  <a:pt x="6245322" y="164228"/>
                  <a:pt x="6248902" y="162758"/>
                  <a:pt x="6250372" y="166338"/>
                </a:cubicBezTo>
                <a:cubicBezTo>
                  <a:pt x="6250372" y="166338"/>
                  <a:pt x="6250372" y="166338"/>
                  <a:pt x="6248902" y="162758"/>
                </a:cubicBezTo>
                <a:cubicBezTo>
                  <a:pt x="6253114" y="152652"/>
                  <a:pt x="6280476" y="158156"/>
                  <a:pt x="6311415" y="162187"/>
                </a:cubicBezTo>
                <a:cubicBezTo>
                  <a:pt x="6311415" y="162187"/>
                  <a:pt x="6311415" y="162187"/>
                  <a:pt x="6314994" y="160715"/>
                </a:cubicBezTo>
                <a:cubicBezTo>
                  <a:pt x="6313523" y="157132"/>
                  <a:pt x="6313523" y="157132"/>
                  <a:pt x="6318574" y="159244"/>
                </a:cubicBezTo>
                <a:cubicBezTo>
                  <a:pt x="6318574" y="159244"/>
                  <a:pt x="6322152" y="157773"/>
                  <a:pt x="6322152" y="157773"/>
                </a:cubicBezTo>
                <a:cubicBezTo>
                  <a:pt x="6323624" y="161354"/>
                  <a:pt x="6323624" y="161354"/>
                  <a:pt x="6323624" y="161354"/>
                </a:cubicBezTo>
                <a:cubicBezTo>
                  <a:pt x="6323624" y="161354"/>
                  <a:pt x="6323624" y="161354"/>
                  <a:pt x="6325732" y="156303"/>
                </a:cubicBezTo>
                <a:cubicBezTo>
                  <a:pt x="6334361" y="156942"/>
                  <a:pt x="6336467" y="151890"/>
                  <a:pt x="6357306" y="151700"/>
                </a:cubicBezTo>
                <a:cubicBezTo>
                  <a:pt x="6354361" y="144536"/>
                  <a:pt x="6329945" y="146197"/>
                  <a:pt x="6339209" y="138202"/>
                </a:cubicBezTo>
                <a:cubicBezTo>
                  <a:pt x="6343523" y="138523"/>
                  <a:pt x="6345314" y="137788"/>
                  <a:pt x="6347102" y="137053"/>
                </a:cubicBezTo>
                <a:lnTo>
                  <a:pt x="6351049" y="136477"/>
                </a:lnTo>
                <a:lnTo>
                  <a:pt x="6351417" y="137372"/>
                </a:lnTo>
                <a:cubicBezTo>
                  <a:pt x="6354996" y="135902"/>
                  <a:pt x="6354996" y="135902"/>
                  <a:pt x="6354996" y="135902"/>
                </a:cubicBezTo>
                <a:lnTo>
                  <a:pt x="6351049" y="136477"/>
                </a:lnTo>
                <a:lnTo>
                  <a:pt x="6349946" y="133791"/>
                </a:lnTo>
                <a:cubicBezTo>
                  <a:pt x="6349946" y="133791"/>
                  <a:pt x="6353524" y="132319"/>
                  <a:pt x="6353524" y="132319"/>
                </a:cubicBezTo>
                <a:cubicBezTo>
                  <a:pt x="6357103" y="130850"/>
                  <a:pt x="6357103" y="130850"/>
                  <a:pt x="6357103" y="130850"/>
                </a:cubicBezTo>
                <a:close/>
                <a:moveTo>
                  <a:pt x="4601331" y="127244"/>
                </a:moveTo>
                <a:cubicBezTo>
                  <a:pt x="4602391" y="127749"/>
                  <a:pt x="4604184" y="128134"/>
                  <a:pt x="4605849" y="127261"/>
                </a:cubicBezTo>
                <a:cubicBezTo>
                  <a:pt x="4608032" y="125855"/>
                  <a:pt x="4609931" y="126448"/>
                  <a:pt x="4611546" y="128515"/>
                </a:cubicBezTo>
                <a:cubicBezTo>
                  <a:pt x="4612723" y="129752"/>
                  <a:pt x="4614198" y="130038"/>
                  <a:pt x="4615784" y="130533"/>
                </a:cubicBezTo>
                <a:cubicBezTo>
                  <a:pt x="4619795" y="131609"/>
                  <a:pt x="4622569" y="133864"/>
                  <a:pt x="4623485" y="138148"/>
                </a:cubicBezTo>
                <a:cubicBezTo>
                  <a:pt x="4623951" y="140554"/>
                  <a:pt x="4625773" y="142513"/>
                  <a:pt x="4628508" y="142669"/>
                </a:cubicBezTo>
                <a:cubicBezTo>
                  <a:pt x="4628943" y="143501"/>
                  <a:pt x="4629377" y="144332"/>
                  <a:pt x="4629814" y="145163"/>
                </a:cubicBezTo>
                <a:cubicBezTo>
                  <a:pt x="4628483" y="147183"/>
                  <a:pt x="4628308" y="148867"/>
                  <a:pt x="4629927" y="151458"/>
                </a:cubicBezTo>
                <a:cubicBezTo>
                  <a:pt x="4632097" y="155090"/>
                  <a:pt x="4631957" y="158871"/>
                  <a:pt x="4628233" y="161882"/>
                </a:cubicBezTo>
                <a:cubicBezTo>
                  <a:pt x="4626467" y="163071"/>
                  <a:pt x="4627646" y="164308"/>
                  <a:pt x="4628297" y="165555"/>
                </a:cubicBezTo>
                <a:cubicBezTo>
                  <a:pt x="4629386" y="167632"/>
                  <a:pt x="4628774" y="168484"/>
                  <a:pt x="4626345" y="167902"/>
                </a:cubicBezTo>
                <a:cubicBezTo>
                  <a:pt x="4622759" y="167131"/>
                  <a:pt x="4621097" y="168003"/>
                  <a:pt x="4622322" y="171863"/>
                </a:cubicBezTo>
                <a:cubicBezTo>
                  <a:pt x="4622553" y="172804"/>
                  <a:pt x="4622468" y="174170"/>
                  <a:pt x="4621095" y="173567"/>
                </a:cubicBezTo>
                <a:cubicBezTo>
                  <a:pt x="4616972" y="172282"/>
                  <a:pt x="4615971" y="174926"/>
                  <a:pt x="4614871" y="177886"/>
                </a:cubicBezTo>
                <a:cubicBezTo>
                  <a:pt x="4614883" y="178411"/>
                  <a:pt x="4614048" y="178847"/>
                  <a:pt x="4613634" y="179065"/>
                </a:cubicBezTo>
                <a:cubicBezTo>
                  <a:pt x="4607114" y="178771"/>
                  <a:pt x="4600585" y="177953"/>
                  <a:pt x="4593960" y="177454"/>
                </a:cubicBezTo>
                <a:cubicBezTo>
                  <a:pt x="4590909" y="177197"/>
                  <a:pt x="4587592" y="173904"/>
                  <a:pt x="4584917" y="171332"/>
                </a:cubicBezTo>
                <a:cubicBezTo>
                  <a:pt x="4583851" y="170303"/>
                  <a:pt x="4583405" y="168947"/>
                  <a:pt x="4581612" y="168563"/>
                </a:cubicBezTo>
                <a:cubicBezTo>
                  <a:pt x="4579819" y="168177"/>
                  <a:pt x="4579372" y="166821"/>
                  <a:pt x="4579551" y="165138"/>
                </a:cubicBezTo>
                <a:cubicBezTo>
                  <a:pt x="4579532" y="164089"/>
                  <a:pt x="4579823" y="162614"/>
                  <a:pt x="4578762" y="162111"/>
                </a:cubicBezTo>
                <a:cubicBezTo>
                  <a:pt x="4575372" y="160707"/>
                  <a:pt x="4574188" y="158946"/>
                  <a:pt x="4576863" y="155955"/>
                </a:cubicBezTo>
                <a:cubicBezTo>
                  <a:pt x="4577587" y="155310"/>
                  <a:pt x="4577141" y="153955"/>
                  <a:pt x="4575983" y="153768"/>
                </a:cubicBezTo>
                <a:cubicBezTo>
                  <a:pt x="4572078" y="152899"/>
                  <a:pt x="4574448" y="150333"/>
                  <a:pt x="4573994" y="148454"/>
                </a:cubicBezTo>
                <a:cubicBezTo>
                  <a:pt x="4572510" y="142079"/>
                  <a:pt x="4579831" y="140363"/>
                  <a:pt x="4580151" y="134899"/>
                </a:cubicBezTo>
                <a:cubicBezTo>
                  <a:pt x="4580221" y="133009"/>
                  <a:pt x="4584719" y="131976"/>
                  <a:pt x="4586698" y="131203"/>
                </a:cubicBezTo>
                <a:cubicBezTo>
                  <a:pt x="4591394" y="129537"/>
                  <a:pt x="4595183" y="124111"/>
                  <a:pt x="4601331" y="127244"/>
                </a:cubicBezTo>
                <a:close/>
                <a:moveTo>
                  <a:pt x="3331871" y="114564"/>
                </a:moveTo>
                <a:cubicBezTo>
                  <a:pt x="3332576" y="114564"/>
                  <a:pt x="3333990" y="114565"/>
                  <a:pt x="3334345" y="115271"/>
                </a:cubicBezTo>
                <a:cubicBezTo>
                  <a:pt x="3337879" y="118447"/>
                  <a:pt x="3341058" y="121271"/>
                  <a:pt x="3345653" y="116683"/>
                </a:cubicBezTo>
                <a:cubicBezTo>
                  <a:pt x="3347065" y="114918"/>
                  <a:pt x="3348127" y="116683"/>
                  <a:pt x="3348480" y="118094"/>
                </a:cubicBezTo>
                <a:cubicBezTo>
                  <a:pt x="3349540" y="124095"/>
                  <a:pt x="3352367" y="124095"/>
                  <a:pt x="3356610" y="120565"/>
                </a:cubicBezTo>
                <a:cubicBezTo>
                  <a:pt x="3359436" y="118094"/>
                  <a:pt x="3360850" y="118800"/>
                  <a:pt x="3360850" y="122331"/>
                </a:cubicBezTo>
                <a:cubicBezTo>
                  <a:pt x="3360850" y="124448"/>
                  <a:pt x="3360143" y="126918"/>
                  <a:pt x="3363325" y="127272"/>
                </a:cubicBezTo>
                <a:cubicBezTo>
                  <a:pt x="3370394" y="128683"/>
                  <a:pt x="3373220" y="133625"/>
                  <a:pt x="3372868" y="139979"/>
                </a:cubicBezTo>
                <a:cubicBezTo>
                  <a:pt x="3372516" y="144567"/>
                  <a:pt x="3373928" y="146685"/>
                  <a:pt x="3377109" y="148449"/>
                </a:cubicBezTo>
                <a:cubicBezTo>
                  <a:pt x="3377109" y="149861"/>
                  <a:pt x="3377109" y="151273"/>
                  <a:pt x="3377109" y="152685"/>
                </a:cubicBezTo>
                <a:cubicBezTo>
                  <a:pt x="3373575" y="154803"/>
                  <a:pt x="3372515" y="158686"/>
                  <a:pt x="3373575" y="162215"/>
                </a:cubicBezTo>
                <a:cubicBezTo>
                  <a:pt x="3375341" y="168569"/>
                  <a:pt x="3373221" y="173510"/>
                  <a:pt x="3368627" y="177745"/>
                </a:cubicBezTo>
                <a:cubicBezTo>
                  <a:pt x="3366859" y="179511"/>
                  <a:pt x="3365090" y="180923"/>
                  <a:pt x="3364383" y="183393"/>
                </a:cubicBezTo>
                <a:cubicBezTo>
                  <a:pt x="3363678" y="187276"/>
                  <a:pt x="3361556" y="189394"/>
                  <a:pt x="3357668" y="189040"/>
                </a:cubicBezTo>
                <a:cubicBezTo>
                  <a:pt x="3354840" y="189041"/>
                  <a:pt x="3352720" y="190805"/>
                  <a:pt x="3351661" y="192217"/>
                </a:cubicBezTo>
                <a:cubicBezTo>
                  <a:pt x="3345653" y="200688"/>
                  <a:pt x="3336818" y="196100"/>
                  <a:pt x="3329396" y="197159"/>
                </a:cubicBezTo>
                <a:cubicBezTo>
                  <a:pt x="3326216" y="197512"/>
                  <a:pt x="3319499" y="199276"/>
                  <a:pt x="3318086" y="196806"/>
                </a:cubicBezTo>
                <a:cubicBezTo>
                  <a:pt x="3313845" y="189746"/>
                  <a:pt x="3302888" y="192570"/>
                  <a:pt x="3300414" y="183040"/>
                </a:cubicBezTo>
                <a:cubicBezTo>
                  <a:pt x="3299707" y="180216"/>
                  <a:pt x="3294760" y="178451"/>
                  <a:pt x="3299353" y="174569"/>
                </a:cubicBezTo>
                <a:cubicBezTo>
                  <a:pt x="3300769" y="173510"/>
                  <a:pt x="3300413" y="171392"/>
                  <a:pt x="3299001" y="171039"/>
                </a:cubicBezTo>
                <a:cubicBezTo>
                  <a:pt x="3293346" y="168921"/>
                  <a:pt x="3293700" y="165745"/>
                  <a:pt x="3297234" y="161509"/>
                </a:cubicBezTo>
                <a:cubicBezTo>
                  <a:pt x="3298293" y="160097"/>
                  <a:pt x="3296879" y="158333"/>
                  <a:pt x="3296172" y="156921"/>
                </a:cubicBezTo>
                <a:cubicBezTo>
                  <a:pt x="3294760" y="154803"/>
                  <a:pt x="3294406" y="152685"/>
                  <a:pt x="3296527" y="150920"/>
                </a:cubicBezTo>
                <a:cubicBezTo>
                  <a:pt x="3298647" y="149156"/>
                  <a:pt x="3298294" y="147038"/>
                  <a:pt x="3299000" y="144919"/>
                </a:cubicBezTo>
                <a:cubicBezTo>
                  <a:pt x="3300769" y="139625"/>
                  <a:pt x="3302889" y="132919"/>
                  <a:pt x="3306776" y="130448"/>
                </a:cubicBezTo>
                <a:cubicBezTo>
                  <a:pt x="3315260" y="125154"/>
                  <a:pt x="3323387" y="119506"/>
                  <a:pt x="3331871" y="114564"/>
                </a:cubicBezTo>
                <a:close/>
                <a:moveTo>
                  <a:pt x="5553602" y="83367"/>
                </a:moveTo>
                <a:cubicBezTo>
                  <a:pt x="5554441" y="83437"/>
                  <a:pt x="5556115" y="83578"/>
                  <a:pt x="5556463" y="84449"/>
                </a:cubicBezTo>
                <a:cubicBezTo>
                  <a:pt x="5560334" y="88564"/>
                  <a:pt x="5563821" y="92226"/>
                  <a:pt x="5569720" y="87246"/>
                </a:cubicBezTo>
                <a:cubicBezTo>
                  <a:pt x="5571571" y="85296"/>
                  <a:pt x="5572652" y="87493"/>
                  <a:pt x="5572930" y="89200"/>
                </a:cubicBezTo>
                <a:cubicBezTo>
                  <a:pt x="5573588" y="96414"/>
                  <a:pt x="5576938" y="96695"/>
                  <a:pt x="5582313" y="92936"/>
                </a:cubicBezTo>
                <a:cubicBezTo>
                  <a:pt x="5585907" y="90289"/>
                  <a:pt x="5587513" y="91267"/>
                  <a:pt x="5587161" y="95448"/>
                </a:cubicBezTo>
                <a:cubicBezTo>
                  <a:pt x="5586950" y="97956"/>
                  <a:pt x="5585869" y="100813"/>
                  <a:pt x="5589602" y="101548"/>
                </a:cubicBezTo>
                <a:cubicBezTo>
                  <a:pt x="5597834" y="103922"/>
                  <a:pt x="5600693" y="110058"/>
                  <a:pt x="5599642" y="117549"/>
                </a:cubicBezTo>
                <a:cubicBezTo>
                  <a:pt x="5598767" y="122950"/>
                  <a:pt x="5600232" y="125599"/>
                  <a:pt x="5603822" y="128007"/>
                </a:cubicBezTo>
                <a:cubicBezTo>
                  <a:pt x="5603683" y="129679"/>
                  <a:pt x="5603542" y="131351"/>
                  <a:pt x="5603403" y="133024"/>
                </a:cubicBezTo>
                <a:cubicBezTo>
                  <a:pt x="5599004" y="135181"/>
                  <a:pt x="5597363" y="139675"/>
                  <a:pt x="5598268" y="143962"/>
                </a:cubicBezTo>
                <a:cubicBezTo>
                  <a:pt x="5599730" y="151664"/>
                  <a:pt x="5596726" y="157308"/>
                  <a:pt x="5590861" y="161868"/>
                </a:cubicBezTo>
                <a:cubicBezTo>
                  <a:pt x="5588593" y="163783"/>
                  <a:pt x="5586360" y="165280"/>
                  <a:pt x="5585277" y="168136"/>
                </a:cubicBezTo>
                <a:cubicBezTo>
                  <a:pt x="5584053" y="172666"/>
                  <a:pt x="5581330" y="174964"/>
                  <a:pt x="5576761" y="174159"/>
                </a:cubicBezTo>
                <a:cubicBezTo>
                  <a:pt x="5573410" y="173878"/>
                  <a:pt x="5570723" y="175757"/>
                  <a:pt x="5569326" y="177325"/>
                </a:cubicBezTo>
                <a:cubicBezTo>
                  <a:pt x="5561367" y="186762"/>
                  <a:pt x="5551356" y="180448"/>
                  <a:pt x="5542459" y="180965"/>
                </a:cubicBezTo>
                <a:cubicBezTo>
                  <a:pt x="5538657" y="181067"/>
                  <a:pt x="5530525" y="182490"/>
                  <a:pt x="5529097" y="179423"/>
                </a:cubicBezTo>
                <a:cubicBezTo>
                  <a:pt x="5524775" y="170637"/>
                  <a:pt x="5511515" y="172893"/>
                  <a:pt x="5509533" y="161358"/>
                </a:cubicBezTo>
                <a:cubicBezTo>
                  <a:pt x="5508975" y="157942"/>
                  <a:pt x="5503291" y="155360"/>
                  <a:pt x="5509117" y="151217"/>
                </a:cubicBezTo>
                <a:cubicBezTo>
                  <a:pt x="5510899" y="150103"/>
                  <a:pt x="5510691" y="147559"/>
                  <a:pt x="5509051" y="147000"/>
                </a:cubicBezTo>
                <a:cubicBezTo>
                  <a:pt x="5502562" y="143930"/>
                  <a:pt x="5503296" y="140201"/>
                  <a:pt x="5507906" y="135535"/>
                </a:cubicBezTo>
                <a:cubicBezTo>
                  <a:pt x="5509301" y="133968"/>
                  <a:pt x="5507801" y="131736"/>
                  <a:pt x="5507106" y="129994"/>
                </a:cubicBezTo>
                <a:cubicBezTo>
                  <a:pt x="5505641" y="127344"/>
                  <a:pt x="5505432" y="124801"/>
                  <a:pt x="5508121" y="122921"/>
                </a:cubicBezTo>
                <a:cubicBezTo>
                  <a:pt x="5510808" y="121041"/>
                  <a:pt x="5510600" y="118497"/>
                  <a:pt x="5511647" y="116059"/>
                </a:cubicBezTo>
                <a:cubicBezTo>
                  <a:pt x="5514268" y="109962"/>
                  <a:pt x="5517446" y="102229"/>
                  <a:pt x="5522297" y="99688"/>
                </a:cubicBezTo>
                <a:cubicBezTo>
                  <a:pt x="5532873" y="94259"/>
                  <a:pt x="5543064" y="88378"/>
                  <a:pt x="5553602" y="83367"/>
                </a:cubicBezTo>
                <a:close/>
                <a:moveTo>
                  <a:pt x="6247844" y="64951"/>
                </a:moveTo>
                <a:cubicBezTo>
                  <a:pt x="6254977" y="69950"/>
                  <a:pt x="6261744" y="75547"/>
                  <a:pt x="6268852" y="80858"/>
                </a:cubicBezTo>
                <a:cubicBezTo>
                  <a:pt x="6272106" y="83330"/>
                  <a:pt x="6273483" y="89418"/>
                  <a:pt x="6274653" y="94231"/>
                </a:cubicBezTo>
                <a:cubicBezTo>
                  <a:pt x="6275120" y="96156"/>
                  <a:pt x="6274650" y="98002"/>
                  <a:pt x="6276395" y="99720"/>
                </a:cubicBezTo>
                <a:cubicBezTo>
                  <a:pt x="6278139" y="101438"/>
                  <a:pt x="6277669" y="103285"/>
                  <a:pt x="6276261" y="105052"/>
                </a:cubicBezTo>
                <a:cubicBezTo>
                  <a:pt x="6275532" y="106248"/>
                  <a:pt x="6274151" y="107704"/>
                  <a:pt x="6274984" y="109030"/>
                </a:cubicBezTo>
                <a:cubicBezTo>
                  <a:pt x="6277795" y="113038"/>
                  <a:pt x="6277871" y="115874"/>
                  <a:pt x="6272714" y="117327"/>
                </a:cubicBezTo>
                <a:cubicBezTo>
                  <a:pt x="6271437" y="117533"/>
                  <a:pt x="6270968" y="119380"/>
                  <a:pt x="6272139" y="120421"/>
                </a:cubicBezTo>
                <a:cubicBezTo>
                  <a:pt x="6275914" y="124195"/>
                  <a:pt x="6271407" y="125388"/>
                  <a:pt x="6270573" y="127833"/>
                </a:cubicBezTo>
                <a:cubicBezTo>
                  <a:pt x="6267678" y="136076"/>
                  <a:pt x="6258201" y="132767"/>
                  <a:pt x="6253927" y="138694"/>
                </a:cubicBezTo>
                <a:cubicBezTo>
                  <a:pt x="6252494" y="140773"/>
                  <a:pt x="6246687" y="138714"/>
                  <a:pt x="6243901" y="138166"/>
                </a:cubicBezTo>
                <a:cubicBezTo>
                  <a:pt x="6237417" y="136679"/>
                  <a:pt x="6229265" y="140081"/>
                  <a:pt x="6224580" y="132144"/>
                </a:cubicBezTo>
                <a:cubicBezTo>
                  <a:pt x="6223748" y="130817"/>
                  <a:pt x="6222004" y="129099"/>
                  <a:pt x="6219503" y="128889"/>
                </a:cubicBezTo>
                <a:cubicBezTo>
                  <a:pt x="6216040" y="128913"/>
                  <a:pt x="6214322" y="126883"/>
                  <a:pt x="6213985" y="123397"/>
                </a:cubicBezTo>
                <a:cubicBezTo>
                  <a:pt x="6213544" y="121161"/>
                  <a:pt x="6212086" y="119781"/>
                  <a:pt x="6210655" y="118089"/>
                </a:cubicBezTo>
                <a:cubicBezTo>
                  <a:pt x="6206907" y="114002"/>
                  <a:pt x="6205398" y="109475"/>
                  <a:pt x="6207432" y="103989"/>
                </a:cubicBezTo>
                <a:cubicBezTo>
                  <a:pt x="6208632" y="100947"/>
                  <a:pt x="6207983" y="97435"/>
                  <a:pt x="6205014" y="95301"/>
                </a:cubicBezTo>
                <a:cubicBezTo>
                  <a:pt x="6205120" y="94052"/>
                  <a:pt x="6205224" y="92803"/>
                  <a:pt x="6205329" y="91555"/>
                </a:cubicBezTo>
                <a:cubicBezTo>
                  <a:pt x="6208273" y="90230"/>
                  <a:pt x="6209679" y="88463"/>
                  <a:pt x="6209707" y="84379"/>
                </a:cubicBezTo>
                <a:cubicBezTo>
                  <a:pt x="6209867" y="78735"/>
                  <a:pt x="6212734" y="74576"/>
                  <a:pt x="6219088" y="73852"/>
                </a:cubicBezTo>
                <a:cubicBezTo>
                  <a:pt x="6221927" y="73776"/>
                  <a:pt x="6221486" y="71538"/>
                  <a:pt x="6221643" y="69666"/>
                </a:cubicBezTo>
                <a:cubicBezTo>
                  <a:pt x="6221905" y="66545"/>
                  <a:pt x="6223207" y="66026"/>
                  <a:pt x="6225523" y="68420"/>
                </a:cubicBezTo>
                <a:cubicBezTo>
                  <a:pt x="6229011" y="71856"/>
                  <a:pt x="6231512" y="72066"/>
                  <a:pt x="6232895" y="66839"/>
                </a:cubicBezTo>
                <a:cubicBezTo>
                  <a:pt x="6233311" y="65616"/>
                  <a:pt x="6234380" y="64135"/>
                  <a:pt x="6235500" y="65800"/>
                </a:cubicBezTo>
                <a:cubicBezTo>
                  <a:pt x="6239221" y="70199"/>
                  <a:pt x="6242242" y="67938"/>
                  <a:pt x="6245603" y="65391"/>
                </a:cubicBezTo>
                <a:cubicBezTo>
                  <a:pt x="6245968" y="64793"/>
                  <a:pt x="6247218" y="64898"/>
                  <a:pt x="6247844" y="64951"/>
                </a:cubicBezTo>
                <a:close/>
                <a:moveTo>
                  <a:pt x="4865142" y="13187"/>
                </a:moveTo>
                <a:lnTo>
                  <a:pt x="4865119" y="13581"/>
                </a:lnTo>
                <a:lnTo>
                  <a:pt x="4864801" y="13483"/>
                </a:lnTo>
                <a:close/>
                <a:moveTo>
                  <a:pt x="7040995" y="826"/>
                </a:moveTo>
                <a:lnTo>
                  <a:pt x="7048109" y="826"/>
                </a:lnTo>
                <a:lnTo>
                  <a:pt x="7048895" y="1190"/>
                </a:lnTo>
                <a:lnTo>
                  <a:pt x="7049531" y="826"/>
                </a:lnTo>
                <a:lnTo>
                  <a:pt x="7059070" y="826"/>
                </a:lnTo>
                <a:lnTo>
                  <a:pt x="7075105" y="12968"/>
                </a:lnTo>
                <a:cubicBezTo>
                  <a:pt x="7078133" y="15270"/>
                  <a:pt x="7079415" y="20935"/>
                  <a:pt x="7080503" y="25413"/>
                </a:cubicBezTo>
                <a:cubicBezTo>
                  <a:pt x="7080939" y="27204"/>
                  <a:pt x="7080501" y="28923"/>
                  <a:pt x="7082124" y="30521"/>
                </a:cubicBezTo>
                <a:cubicBezTo>
                  <a:pt x="7083747" y="32120"/>
                  <a:pt x="7083310" y="33838"/>
                  <a:pt x="7082001" y="35483"/>
                </a:cubicBezTo>
                <a:cubicBezTo>
                  <a:pt x="7081321" y="36596"/>
                  <a:pt x="7080037" y="37950"/>
                  <a:pt x="7080812" y="39186"/>
                </a:cubicBezTo>
                <a:cubicBezTo>
                  <a:pt x="7083427" y="42914"/>
                  <a:pt x="7083498" y="45553"/>
                  <a:pt x="7078699" y="46905"/>
                </a:cubicBezTo>
                <a:cubicBezTo>
                  <a:pt x="7077512" y="47098"/>
                  <a:pt x="7077074" y="48816"/>
                  <a:pt x="7078164" y="49785"/>
                </a:cubicBezTo>
                <a:cubicBezTo>
                  <a:pt x="7081677" y="53297"/>
                  <a:pt x="7077483" y="54408"/>
                  <a:pt x="7076707" y="56683"/>
                </a:cubicBezTo>
                <a:cubicBezTo>
                  <a:pt x="7074013" y="64353"/>
                  <a:pt x="7065193" y="61273"/>
                  <a:pt x="7061217" y="66788"/>
                </a:cubicBezTo>
                <a:cubicBezTo>
                  <a:pt x="7059882" y="68724"/>
                  <a:pt x="7054478" y="66808"/>
                  <a:pt x="7051886" y="66298"/>
                </a:cubicBezTo>
                <a:cubicBezTo>
                  <a:pt x="7045852" y="64915"/>
                  <a:pt x="7038265" y="68079"/>
                  <a:pt x="7033907" y="60695"/>
                </a:cubicBezTo>
                <a:cubicBezTo>
                  <a:pt x="7033131" y="59459"/>
                  <a:pt x="7031508" y="57860"/>
                  <a:pt x="7029182" y="57666"/>
                </a:cubicBezTo>
                <a:cubicBezTo>
                  <a:pt x="7025959" y="57687"/>
                  <a:pt x="7024361" y="55798"/>
                  <a:pt x="7024047" y="52554"/>
                </a:cubicBezTo>
                <a:cubicBezTo>
                  <a:pt x="7023637" y="50473"/>
                  <a:pt x="7022279" y="49189"/>
                  <a:pt x="7020947" y="47615"/>
                </a:cubicBezTo>
                <a:cubicBezTo>
                  <a:pt x="7017460" y="43812"/>
                  <a:pt x="7016056" y="39600"/>
                  <a:pt x="7017949" y="34494"/>
                </a:cubicBezTo>
                <a:cubicBezTo>
                  <a:pt x="7019065" y="31662"/>
                  <a:pt x="7018461" y="28394"/>
                  <a:pt x="7015699" y="26408"/>
                </a:cubicBezTo>
                <a:cubicBezTo>
                  <a:pt x="7015796" y="25247"/>
                  <a:pt x="7015894" y="24085"/>
                  <a:pt x="7015991" y="22923"/>
                </a:cubicBezTo>
                <a:cubicBezTo>
                  <a:pt x="7018731" y="21691"/>
                  <a:pt x="7020040" y="20045"/>
                  <a:pt x="7020067" y="16245"/>
                </a:cubicBezTo>
                <a:cubicBezTo>
                  <a:pt x="7020215" y="10993"/>
                  <a:pt x="7022882" y="7123"/>
                  <a:pt x="7028796" y="6449"/>
                </a:cubicBezTo>
                <a:cubicBezTo>
                  <a:pt x="7031437" y="6378"/>
                  <a:pt x="7031027" y="4296"/>
                  <a:pt x="7031172" y="2553"/>
                </a:cubicBezTo>
                <a:cubicBezTo>
                  <a:pt x="7031417" y="-351"/>
                  <a:pt x="7032629" y="-834"/>
                  <a:pt x="7034784" y="1394"/>
                </a:cubicBezTo>
                <a:cubicBezTo>
                  <a:pt x="7036407" y="2993"/>
                  <a:pt x="7037800" y="3841"/>
                  <a:pt x="7038948" y="3682"/>
                </a:cubicBezTo>
                <a:close/>
                <a:moveTo>
                  <a:pt x="5922866" y="826"/>
                </a:moveTo>
                <a:lnTo>
                  <a:pt x="5990306" y="826"/>
                </a:lnTo>
                <a:lnTo>
                  <a:pt x="5990219" y="1170"/>
                </a:lnTo>
                <a:cubicBezTo>
                  <a:pt x="5989383" y="2050"/>
                  <a:pt x="5988188" y="2711"/>
                  <a:pt x="5987369" y="3402"/>
                </a:cubicBezTo>
                <a:cubicBezTo>
                  <a:pt x="5985528" y="4958"/>
                  <a:pt x="5984394" y="7144"/>
                  <a:pt x="5985934" y="9174"/>
                </a:cubicBezTo>
                <a:cubicBezTo>
                  <a:pt x="5987316" y="10811"/>
                  <a:pt x="5989520" y="9475"/>
                  <a:pt x="5991128" y="8470"/>
                </a:cubicBezTo>
                <a:cubicBezTo>
                  <a:pt x="5992529" y="7637"/>
                  <a:pt x="5993617" y="6017"/>
                  <a:pt x="5995364" y="5594"/>
                </a:cubicBezTo>
                <a:cubicBezTo>
                  <a:pt x="5997898" y="4856"/>
                  <a:pt x="5999376" y="5361"/>
                  <a:pt x="5998935" y="8364"/>
                </a:cubicBezTo>
                <a:cubicBezTo>
                  <a:pt x="5998398" y="12501"/>
                  <a:pt x="5996413" y="15755"/>
                  <a:pt x="5993876" y="18775"/>
                </a:cubicBezTo>
                <a:cubicBezTo>
                  <a:pt x="5990695" y="22689"/>
                  <a:pt x="5990315" y="24939"/>
                  <a:pt x="5993006" y="29155"/>
                </a:cubicBezTo>
                <a:cubicBezTo>
                  <a:pt x="5993822" y="30745"/>
                  <a:pt x="5995222" y="32193"/>
                  <a:pt x="5996433" y="33625"/>
                </a:cubicBezTo>
                <a:cubicBezTo>
                  <a:pt x="5996952" y="34239"/>
                  <a:pt x="5997849" y="34885"/>
                  <a:pt x="5997393" y="35797"/>
                </a:cubicBezTo>
                <a:cubicBezTo>
                  <a:pt x="5996921" y="36897"/>
                  <a:pt x="5995960" y="37007"/>
                  <a:pt x="5995220" y="36754"/>
                </a:cubicBezTo>
                <a:cubicBezTo>
                  <a:pt x="5991885" y="35715"/>
                  <a:pt x="5991000" y="37161"/>
                  <a:pt x="5990936" y="40197"/>
                </a:cubicBezTo>
                <a:cubicBezTo>
                  <a:pt x="5990809" y="43988"/>
                  <a:pt x="5988132" y="46424"/>
                  <a:pt x="5985312" y="48278"/>
                </a:cubicBezTo>
                <a:cubicBezTo>
                  <a:pt x="5983095" y="49803"/>
                  <a:pt x="5982794" y="51108"/>
                  <a:pt x="5984744" y="52792"/>
                </a:cubicBezTo>
                <a:cubicBezTo>
                  <a:pt x="5985814" y="53643"/>
                  <a:pt x="5986506" y="54461"/>
                  <a:pt x="5986003" y="55939"/>
                </a:cubicBezTo>
                <a:cubicBezTo>
                  <a:pt x="5985450" y="57983"/>
                  <a:pt x="5983970" y="57480"/>
                  <a:pt x="5982618" y="57746"/>
                </a:cubicBezTo>
                <a:cubicBezTo>
                  <a:pt x="5981846" y="57872"/>
                  <a:pt x="5980902" y="57792"/>
                  <a:pt x="5979941" y="57901"/>
                </a:cubicBezTo>
                <a:cubicBezTo>
                  <a:pt x="5974798" y="58040"/>
                  <a:pt x="5973423" y="60776"/>
                  <a:pt x="5976083" y="65371"/>
                </a:cubicBezTo>
                <a:cubicBezTo>
                  <a:pt x="5976414" y="65969"/>
                  <a:pt x="5976759" y="66378"/>
                  <a:pt x="5976900" y="66960"/>
                </a:cubicBezTo>
                <a:cubicBezTo>
                  <a:pt x="5977370" y="68140"/>
                  <a:pt x="5977622" y="69682"/>
                  <a:pt x="5976425" y="70342"/>
                </a:cubicBezTo>
                <a:cubicBezTo>
                  <a:pt x="5975417" y="71018"/>
                  <a:pt x="5974159" y="70152"/>
                  <a:pt x="5973467" y="69333"/>
                </a:cubicBezTo>
                <a:cubicBezTo>
                  <a:pt x="5972775" y="68515"/>
                  <a:pt x="5972271" y="67712"/>
                  <a:pt x="5971785" y="66721"/>
                </a:cubicBezTo>
                <a:cubicBezTo>
                  <a:pt x="5970763" y="65305"/>
                  <a:pt x="5969662" y="64832"/>
                  <a:pt x="5968055" y="65837"/>
                </a:cubicBezTo>
                <a:cubicBezTo>
                  <a:pt x="5964261" y="67990"/>
                  <a:pt x="5960264" y="68035"/>
                  <a:pt x="5956282" y="67890"/>
                </a:cubicBezTo>
                <a:cubicBezTo>
                  <a:pt x="5951529" y="67872"/>
                  <a:pt x="5946668" y="66894"/>
                  <a:pt x="5941851" y="67629"/>
                </a:cubicBezTo>
                <a:cubicBezTo>
                  <a:pt x="5940119" y="67864"/>
                  <a:pt x="5939271" y="66653"/>
                  <a:pt x="5938595" y="65645"/>
                </a:cubicBezTo>
                <a:cubicBezTo>
                  <a:pt x="5936205" y="62404"/>
                  <a:pt x="5934002" y="59177"/>
                  <a:pt x="5929154" y="60292"/>
                </a:cubicBezTo>
                <a:cubicBezTo>
                  <a:pt x="5928195" y="60401"/>
                  <a:pt x="5927692" y="59598"/>
                  <a:pt x="5927377" y="58812"/>
                </a:cubicBezTo>
                <a:cubicBezTo>
                  <a:pt x="5925616" y="54863"/>
                  <a:pt x="5922470" y="51557"/>
                  <a:pt x="5919907" y="48110"/>
                </a:cubicBezTo>
                <a:cubicBezTo>
                  <a:pt x="5915976" y="42838"/>
                  <a:pt x="5913981" y="37158"/>
                  <a:pt x="5916235" y="30695"/>
                </a:cubicBezTo>
                <a:cubicBezTo>
                  <a:pt x="5917022" y="28100"/>
                  <a:pt x="5915654" y="26274"/>
                  <a:pt x="5914270" y="24638"/>
                </a:cubicBezTo>
                <a:cubicBezTo>
                  <a:pt x="5911172" y="20766"/>
                  <a:pt x="5911520" y="18895"/>
                  <a:pt x="5915534" y="16380"/>
                </a:cubicBezTo>
                <a:cubicBezTo>
                  <a:pt x="5919927" y="13898"/>
                  <a:pt x="5919927" y="13898"/>
                  <a:pt x="5916876" y="9459"/>
                </a:cubicBezTo>
                <a:cubicBezTo>
                  <a:pt x="5916200" y="8453"/>
                  <a:pt x="5915697" y="7651"/>
                  <a:pt x="5916924" y="6613"/>
                </a:cubicBezTo>
                <a:close/>
                <a:moveTo>
                  <a:pt x="4891881" y="826"/>
                </a:moveTo>
                <a:lnTo>
                  <a:pt x="4978869" y="826"/>
                </a:lnTo>
                <a:lnTo>
                  <a:pt x="4978468" y="1736"/>
                </a:lnTo>
                <a:cubicBezTo>
                  <a:pt x="4973163" y="3212"/>
                  <a:pt x="4971435" y="7370"/>
                  <a:pt x="4970670" y="12111"/>
                </a:cubicBezTo>
                <a:cubicBezTo>
                  <a:pt x="4970279" y="14267"/>
                  <a:pt x="4969708" y="15652"/>
                  <a:pt x="4966957" y="15790"/>
                </a:cubicBezTo>
                <a:cubicBezTo>
                  <a:pt x="4963431" y="15686"/>
                  <a:pt x="4961585" y="18385"/>
                  <a:pt x="4960358" y="21416"/>
                </a:cubicBezTo>
                <a:cubicBezTo>
                  <a:pt x="4959286" y="23928"/>
                  <a:pt x="4958390" y="26781"/>
                  <a:pt x="4957319" y="29293"/>
                </a:cubicBezTo>
                <a:cubicBezTo>
                  <a:pt x="4956743" y="30464"/>
                  <a:pt x="4956054" y="31316"/>
                  <a:pt x="4955248" y="31546"/>
                </a:cubicBezTo>
                <a:cubicBezTo>
                  <a:pt x="4954448" y="31776"/>
                  <a:pt x="4953538" y="31385"/>
                  <a:pt x="4952524" y="30073"/>
                </a:cubicBezTo>
                <a:cubicBezTo>
                  <a:pt x="4952172" y="29392"/>
                  <a:pt x="4951637" y="28800"/>
                  <a:pt x="4950941" y="28298"/>
                </a:cubicBezTo>
                <a:cubicBezTo>
                  <a:pt x="4950153" y="27626"/>
                  <a:pt x="4949446" y="26265"/>
                  <a:pt x="4948162" y="26719"/>
                </a:cubicBezTo>
                <a:cubicBezTo>
                  <a:pt x="4947143" y="27254"/>
                  <a:pt x="4946909" y="28462"/>
                  <a:pt x="4946751" y="29410"/>
                </a:cubicBezTo>
                <a:cubicBezTo>
                  <a:pt x="4945716" y="33640"/>
                  <a:pt x="4944605" y="34006"/>
                  <a:pt x="4941199" y="31235"/>
                </a:cubicBezTo>
                <a:cubicBezTo>
                  <a:pt x="4940409" y="30562"/>
                  <a:pt x="4939885" y="29971"/>
                  <a:pt x="4939020" y="29558"/>
                </a:cubicBezTo>
                <a:cubicBezTo>
                  <a:pt x="4937805" y="28894"/>
                  <a:pt x="4936671" y="28400"/>
                  <a:pt x="4935334" y="29973"/>
                </a:cubicBezTo>
                <a:cubicBezTo>
                  <a:pt x="4934239" y="31626"/>
                  <a:pt x="4934601" y="32307"/>
                  <a:pt x="4935655" y="33489"/>
                </a:cubicBezTo>
                <a:lnTo>
                  <a:pt x="4937289" y="35912"/>
                </a:lnTo>
                <a:lnTo>
                  <a:pt x="4917059" y="29651"/>
                </a:lnTo>
                <a:lnTo>
                  <a:pt x="4917252" y="28171"/>
                </a:lnTo>
                <a:cubicBezTo>
                  <a:pt x="4916789" y="26461"/>
                  <a:pt x="4915746" y="25707"/>
                  <a:pt x="4914027" y="25741"/>
                </a:cubicBezTo>
                <a:cubicBezTo>
                  <a:pt x="4912735" y="25766"/>
                  <a:pt x="4911535" y="25960"/>
                  <a:pt x="4910246" y="25984"/>
                </a:cubicBezTo>
                <a:cubicBezTo>
                  <a:pt x="4908102" y="26026"/>
                  <a:pt x="4906798" y="25191"/>
                  <a:pt x="4906068" y="22971"/>
                </a:cubicBezTo>
                <a:cubicBezTo>
                  <a:pt x="4903877" y="16312"/>
                  <a:pt x="4899437" y="13217"/>
                  <a:pt x="4892564" y="13349"/>
                </a:cubicBezTo>
                <a:cubicBezTo>
                  <a:pt x="4891446" y="13284"/>
                  <a:pt x="4889661" y="14435"/>
                  <a:pt x="4889200" y="12725"/>
                </a:cubicBezTo>
                <a:cubicBezTo>
                  <a:pt x="4888565" y="11106"/>
                  <a:pt x="4889921" y="9962"/>
                  <a:pt x="4891362" y="8989"/>
                </a:cubicBezTo>
                <a:cubicBezTo>
                  <a:pt x="4891537" y="8901"/>
                  <a:pt x="4891704" y="8811"/>
                  <a:pt x="4891873" y="8722"/>
                </a:cubicBezTo>
                <a:cubicBezTo>
                  <a:pt x="4895604" y="5901"/>
                  <a:pt x="4895816" y="3405"/>
                  <a:pt x="4892077" y="1243"/>
                </a:cubicBezTo>
                <a:close/>
                <a:moveTo>
                  <a:pt x="4762897" y="826"/>
                </a:moveTo>
                <a:lnTo>
                  <a:pt x="4821498" y="826"/>
                </a:lnTo>
                <a:lnTo>
                  <a:pt x="4833729" y="12222"/>
                </a:lnTo>
                <a:cubicBezTo>
                  <a:pt x="4837212" y="16941"/>
                  <a:pt x="4836901" y="22137"/>
                  <a:pt x="4837193" y="27520"/>
                </a:cubicBezTo>
                <a:cubicBezTo>
                  <a:pt x="4837695" y="33300"/>
                  <a:pt x="4836589" y="38912"/>
                  <a:pt x="4830637" y="42029"/>
                </a:cubicBezTo>
                <a:cubicBezTo>
                  <a:pt x="4829844" y="42445"/>
                  <a:pt x="4829653" y="43047"/>
                  <a:pt x="4830277" y="44232"/>
                </a:cubicBezTo>
                <a:cubicBezTo>
                  <a:pt x="4827495" y="45687"/>
                  <a:pt x="4825117" y="46934"/>
                  <a:pt x="4822340" y="48389"/>
                </a:cubicBezTo>
                <a:cubicBezTo>
                  <a:pt x="4818909" y="46664"/>
                  <a:pt x="4815148" y="49137"/>
                  <a:pt x="4811337" y="48617"/>
                </a:cubicBezTo>
                <a:cubicBezTo>
                  <a:pt x="4807524" y="48098"/>
                  <a:pt x="4804315" y="47765"/>
                  <a:pt x="4801662" y="44626"/>
                </a:cubicBezTo>
                <a:cubicBezTo>
                  <a:pt x="4799195" y="40885"/>
                  <a:pt x="4795351" y="38369"/>
                  <a:pt x="4791709" y="36249"/>
                </a:cubicBezTo>
                <a:cubicBezTo>
                  <a:pt x="4787865" y="33734"/>
                  <a:pt x="4784413" y="31011"/>
                  <a:pt x="4780778" y="28890"/>
                </a:cubicBezTo>
                <a:cubicBezTo>
                  <a:pt x="4777328" y="26167"/>
                  <a:pt x="4772497" y="24671"/>
                  <a:pt x="4767497" y="24775"/>
                </a:cubicBezTo>
                <a:cubicBezTo>
                  <a:pt x="4765013" y="20036"/>
                  <a:pt x="4762530" y="15296"/>
                  <a:pt x="4760048" y="10557"/>
                </a:cubicBezTo>
                <a:cubicBezTo>
                  <a:pt x="4761808" y="8125"/>
                  <a:pt x="4762172" y="5921"/>
                  <a:pt x="4761911" y="2534"/>
                </a:cubicBez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2165724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IMAGE AND CONTENTS LAYOUT_22">
    <p:spTree>
      <p:nvGrpSpPr>
        <p:cNvPr id="1" name=""/>
        <p:cNvGrpSpPr/>
        <p:nvPr/>
      </p:nvGrpSpPr>
      <p:grpSpPr>
        <a:xfrm>
          <a:off x="0" y="0"/>
          <a:ext cx="0" cy="0"/>
          <a:chOff x="0" y="0"/>
          <a:chExt cx="0" cy="0"/>
        </a:xfrm>
      </p:grpSpPr>
      <p:sp>
        <p:nvSpPr>
          <p:cNvPr id="14" name="자유형: 도형 13">
            <a:extLst>
              <a:ext uri="{FF2B5EF4-FFF2-40B4-BE49-F238E27FC236}">
                <a16:creationId xmlns:a16="http://schemas.microsoft.com/office/drawing/2014/main" id="{36AA1D92-0DDF-43FB-A699-69EC63AB661D}"/>
              </a:ext>
            </a:extLst>
          </p:cNvPr>
          <p:cNvSpPr>
            <a:spLocks noGrp="1"/>
          </p:cNvSpPr>
          <p:nvPr>
            <p:ph type="pic" sz="quarter" idx="46" hasCustomPrompt="1"/>
          </p:nvPr>
        </p:nvSpPr>
        <p:spPr>
          <a:xfrm>
            <a:off x="215733" y="1148862"/>
            <a:ext cx="11760532" cy="5509311"/>
          </a:xfrm>
          <a:custGeom>
            <a:avLst/>
            <a:gdLst>
              <a:gd name="connsiteX0" fmla="*/ 3069819 w 11760532"/>
              <a:gd name="connsiteY0" fmla="*/ 3916044 h 5509311"/>
              <a:gd name="connsiteX1" fmla="*/ 3056432 w 11760532"/>
              <a:gd name="connsiteY1" fmla="*/ 3920289 h 5509311"/>
              <a:gd name="connsiteX2" fmla="*/ 2999318 w 11760532"/>
              <a:gd name="connsiteY2" fmla="*/ 3929226 h 5509311"/>
              <a:gd name="connsiteX3" fmla="*/ 2964208 w 11760532"/>
              <a:gd name="connsiteY3" fmla="*/ 3918314 h 5509311"/>
              <a:gd name="connsiteX4" fmla="*/ 2928536 w 11760532"/>
              <a:gd name="connsiteY4" fmla="*/ 3919303 h 5509311"/>
              <a:gd name="connsiteX5" fmla="*/ 2926139 w 11760532"/>
              <a:gd name="connsiteY5" fmla="*/ 3923863 h 5509311"/>
              <a:gd name="connsiteX6" fmla="*/ 2911860 w 11760532"/>
              <a:gd name="connsiteY6" fmla="*/ 3938163 h 5509311"/>
              <a:gd name="connsiteX7" fmla="*/ 2892674 w 11760532"/>
              <a:gd name="connsiteY7" fmla="*/ 3933024 h 5509311"/>
              <a:gd name="connsiteX8" fmla="*/ 2892388 w 11760532"/>
              <a:gd name="connsiteY8" fmla="*/ 3920306 h 5509311"/>
              <a:gd name="connsiteX9" fmla="*/ 2847897 w 11760532"/>
              <a:gd name="connsiteY9" fmla="*/ 3921540 h 5509311"/>
              <a:gd name="connsiteX10" fmla="*/ 2616678 w 11760532"/>
              <a:gd name="connsiteY10" fmla="*/ 3924790 h 5509311"/>
              <a:gd name="connsiteX11" fmla="*/ 2508340 w 11760532"/>
              <a:gd name="connsiteY11" fmla="*/ 3918893 h 5509311"/>
              <a:gd name="connsiteX12" fmla="*/ 2422190 w 11760532"/>
              <a:gd name="connsiteY12" fmla="*/ 3924882 h 5509311"/>
              <a:gd name="connsiteX13" fmla="*/ 2431740 w 11760532"/>
              <a:gd name="connsiteY13" fmla="*/ 3945313 h 5509311"/>
              <a:gd name="connsiteX14" fmla="*/ 2549538 w 11760532"/>
              <a:gd name="connsiteY14" fmla="*/ 3986423 h 5509311"/>
              <a:gd name="connsiteX15" fmla="*/ 2587020 w 11760532"/>
              <a:gd name="connsiteY15" fmla="*/ 3979273 h 5509311"/>
              <a:gd name="connsiteX16" fmla="*/ 2599514 w 11760532"/>
              <a:gd name="connsiteY16" fmla="*/ 3989999 h 5509311"/>
              <a:gd name="connsiteX17" fmla="*/ 2622717 w 11760532"/>
              <a:gd name="connsiteY17" fmla="*/ 4006085 h 5509311"/>
              <a:gd name="connsiteX18" fmla="*/ 2711959 w 11760532"/>
              <a:gd name="connsiteY18" fmla="*/ 3997148 h 5509311"/>
              <a:gd name="connsiteX19" fmla="*/ 2842252 w 11760532"/>
              <a:gd name="connsiteY19" fmla="*/ 3952462 h 5509311"/>
              <a:gd name="connsiteX20" fmla="*/ 2844037 w 11760532"/>
              <a:gd name="connsiteY20" fmla="*/ 3956037 h 5509311"/>
              <a:gd name="connsiteX21" fmla="*/ 2836897 w 11760532"/>
              <a:gd name="connsiteY21" fmla="*/ 3973912 h 5509311"/>
              <a:gd name="connsiteX22" fmla="*/ 2852961 w 11760532"/>
              <a:gd name="connsiteY22" fmla="*/ 4000723 h 5509311"/>
              <a:gd name="connsiteX23" fmla="*/ 2879734 w 11760532"/>
              <a:gd name="connsiteY23" fmla="*/ 3981062 h 5509311"/>
              <a:gd name="connsiteX24" fmla="*/ 2886873 w 11760532"/>
              <a:gd name="connsiteY24" fmla="*/ 3964974 h 5509311"/>
              <a:gd name="connsiteX25" fmla="*/ 2906507 w 11760532"/>
              <a:gd name="connsiteY25" fmla="*/ 3991786 h 5509311"/>
              <a:gd name="connsiteX26" fmla="*/ 2913646 w 11760532"/>
              <a:gd name="connsiteY26" fmla="*/ 4009660 h 5509311"/>
              <a:gd name="connsiteX27" fmla="*/ 2981469 w 11760532"/>
              <a:gd name="connsiteY27" fmla="*/ 4043621 h 5509311"/>
              <a:gd name="connsiteX28" fmla="*/ 3038584 w 11760532"/>
              <a:gd name="connsiteY28" fmla="*/ 4043621 h 5509311"/>
              <a:gd name="connsiteX29" fmla="*/ 3060002 w 11760532"/>
              <a:gd name="connsiteY29" fmla="*/ 4036472 h 5509311"/>
              <a:gd name="connsiteX30" fmla="*/ 3102838 w 11760532"/>
              <a:gd name="connsiteY30" fmla="*/ 4041834 h 5509311"/>
              <a:gd name="connsiteX31" fmla="*/ 3126041 w 11760532"/>
              <a:gd name="connsiteY31" fmla="*/ 4059708 h 5509311"/>
              <a:gd name="connsiteX32" fmla="*/ 3145674 w 11760532"/>
              <a:gd name="connsiteY32" fmla="*/ 4070432 h 5509311"/>
              <a:gd name="connsiteX33" fmla="*/ 3174232 w 11760532"/>
              <a:gd name="connsiteY33" fmla="*/ 4065071 h 5509311"/>
              <a:gd name="connsiteX34" fmla="*/ 3211714 w 11760532"/>
              <a:gd name="connsiteY34" fmla="*/ 4025746 h 5509311"/>
              <a:gd name="connsiteX35" fmla="*/ 3215283 w 11760532"/>
              <a:gd name="connsiteY35" fmla="*/ 4004298 h 5509311"/>
              <a:gd name="connsiteX36" fmla="*/ 3300955 w 11760532"/>
              <a:gd name="connsiteY36" fmla="*/ 4074008 h 5509311"/>
              <a:gd name="connsiteX37" fmla="*/ 3331298 w 11760532"/>
              <a:gd name="connsiteY37" fmla="*/ 4065071 h 5509311"/>
              <a:gd name="connsiteX38" fmla="*/ 3340221 w 11760532"/>
              <a:gd name="connsiteY38" fmla="*/ 4038259 h 5509311"/>
              <a:gd name="connsiteX39" fmla="*/ 3320589 w 11760532"/>
              <a:gd name="connsiteY39" fmla="*/ 4034684 h 5509311"/>
              <a:gd name="connsiteX40" fmla="*/ 3304525 w 11760532"/>
              <a:gd name="connsiteY40" fmla="*/ 4027535 h 5509311"/>
              <a:gd name="connsiteX41" fmla="*/ 3313449 w 11760532"/>
              <a:gd name="connsiteY41" fmla="*/ 4007872 h 5509311"/>
              <a:gd name="connsiteX42" fmla="*/ 3336652 w 11760532"/>
              <a:gd name="connsiteY42" fmla="*/ 4002510 h 5509311"/>
              <a:gd name="connsiteX43" fmla="*/ 3359855 w 11760532"/>
              <a:gd name="connsiteY43" fmla="*/ 3995360 h 5509311"/>
              <a:gd name="connsiteX44" fmla="*/ 3324159 w 11760532"/>
              <a:gd name="connsiteY44" fmla="*/ 3977486 h 5509311"/>
              <a:gd name="connsiteX45" fmla="*/ 3218853 w 11760532"/>
              <a:gd name="connsiteY45" fmla="*/ 3948887 h 5509311"/>
              <a:gd name="connsiteX46" fmla="*/ 3149244 w 11760532"/>
              <a:gd name="connsiteY46" fmla="*/ 3954250 h 5509311"/>
              <a:gd name="connsiteX47" fmla="*/ 3127825 w 11760532"/>
              <a:gd name="connsiteY47" fmla="*/ 3950675 h 5509311"/>
              <a:gd name="connsiteX48" fmla="*/ 3083205 w 11760532"/>
              <a:gd name="connsiteY48" fmla="*/ 3918501 h 5509311"/>
              <a:gd name="connsiteX49" fmla="*/ 3069819 w 11760532"/>
              <a:gd name="connsiteY49" fmla="*/ 3916044 h 5509311"/>
              <a:gd name="connsiteX50" fmla="*/ 8790902 w 11760532"/>
              <a:gd name="connsiteY50" fmla="*/ 309425 h 5509311"/>
              <a:gd name="connsiteX51" fmla="*/ 8748735 w 11760532"/>
              <a:gd name="connsiteY51" fmla="*/ 342728 h 5509311"/>
              <a:gd name="connsiteX52" fmla="*/ 8719385 w 11760532"/>
              <a:gd name="connsiteY52" fmla="*/ 335753 h 5509311"/>
              <a:gd name="connsiteX53" fmla="*/ 8601811 w 11760532"/>
              <a:gd name="connsiteY53" fmla="*/ 405946 h 5509311"/>
              <a:gd name="connsiteX54" fmla="*/ 8593088 w 11760532"/>
              <a:gd name="connsiteY54" fmla="*/ 382249 h 5509311"/>
              <a:gd name="connsiteX55" fmla="*/ 8584719 w 11760532"/>
              <a:gd name="connsiteY55" fmla="*/ 385330 h 5509311"/>
              <a:gd name="connsiteX56" fmla="*/ 8432201 w 11760532"/>
              <a:gd name="connsiteY56" fmla="*/ 479798 h 5509311"/>
              <a:gd name="connsiteX57" fmla="*/ 8398509 w 11760532"/>
              <a:gd name="connsiteY57" fmla="*/ 493584 h 5509311"/>
              <a:gd name="connsiteX58" fmla="*/ 8393009 w 11760532"/>
              <a:gd name="connsiteY58" fmla="*/ 511059 h 5509311"/>
              <a:gd name="connsiteX59" fmla="*/ 8380663 w 11760532"/>
              <a:gd name="connsiteY59" fmla="*/ 546540 h 5509311"/>
              <a:gd name="connsiteX60" fmla="*/ 8434283 w 11760532"/>
              <a:gd name="connsiteY60" fmla="*/ 544380 h 5509311"/>
              <a:gd name="connsiteX61" fmla="*/ 8421422 w 11760532"/>
              <a:gd name="connsiteY61" fmla="*/ 558061 h 5509311"/>
              <a:gd name="connsiteX62" fmla="*/ 8435639 w 11760532"/>
              <a:gd name="connsiteY62" fmla="*/ 552109 h 5509311"/>
              <a:gd name="connsiteX63" fmla="*/ 8554171 w 11760532"/>
              <a:gd name="connsiteY63" fmla="*/ 522948 h 5509311"/>
              <a:gd name="connsiteX64" fmla="*/ 8665251 w 11760532"/>
              <a:gd name="connsiteY64" fmla="*/ 482055 h 5509311"/>
              <a:gd name="connsiteX65" fmla="*/ 8682343 w 11760532"/>
              <a:gd name="connsiteY65" fmla="*/ 502671 h 5509311"/>
              <a:gd name="connsiteX66" fmla="*/ 8826307 w 11760532"/>
              <a:gd name="connsiteY66" fmla="*/ 431413 h 5509311"/>
              <a:gd name="connsiteX67" fmla="*/ 8822994 w 11760532"/>
              <a:gd name="connsiteY67" fmla="*/ 396596 h 5509311"/>
              <a:gd name="connsiteX68" fmla="*/ 8756885 w 11760532"/>
              <a:gd name="connsiteY68" fmla="*/ 411803 h 5509311"/>
              <a:gd name="connsiteX69" fmla="*/ 8773591 w 11760532"/>
              <a:gd name="connsiteY69" fmla="*/ 360966 h 5509311"/>
              <a:gd name="connsiteX70" fmla="*/ 8820252 w 11760532"/>
              <a:gd name="connsiteY70" fmla="*/ 316400 h 5509311"/>
              <a:gd name="connsiteX71" fmla="*/ 8790902 w 11760532"/>
              <a:gd name="connsiteY71" fmla="*/ 309425 h 5509311"/>
              <a:gd name="connsiteX72" fmla="*/ 9547630 w 11760532"/>
              <a:gd name="connsiteY72" fmla="*/ 141460 h 5509311"/>
              <a:gd name="connsiteX73" fmla="*/ 9545650 w 11760532"/>
              <a:gd name="connsiteY73" fmla="*/ 145445 h 5509311"/>
              <a:gd name="connsiteX74" fmla="*/ 9542557 w 11760532"/>
              <a:gd name="connsiteY74" fmla="*/ 149661 h 5509311"/>
              <a:gd name="connsiteX75" fmla="*/ 9545266 w 11760532"/>
              <a:gd name="connsiteY75" fmla="*/ 143191 h 5509311"/>
              <a:gd name="connsiteX76" fmla="*/ 9547630 w 11760532"/>
              <a:gd name="connsiteY76" fmla="*/ 141460 h 5509311"/>
              <a:gd name="connsiteX77" fmla="*/ 9361233 w 11760532"/>
              <a:gd name="connsiteY77" fmla="*/ 0 h 5509311"/>
              <a:gd name="connsiteX78" fmla="*/ 9408186 w 11760532"/>
              <a:gd name="connsiteY78" fmla="*/ 54791 h 5509311"/>
              <a:gd name="connsiteX79" fmla="*/ 9396439 w 11760532"/>
              <a:gd name="connsiteY79" fmla="*/ 95633 h 5509311"/>
              <a:gd name="connsiteX80" fmla="*/ 9410926 w 11760532"/>
              <a:gd name="connsiteY80" fmla="*/ 134987 h 5509311"/>
              <a:gd name="connsiteX81" fmla="*/ 9461057 w 11760532"/>
              <a:gd name="connsiteY81" fmla="*/ 125661 h 5509311"/>
              <a:gd name="connsiteX82" fmla="*/ 9481110 w 11760532"/>
              <a:gd name="connsiteY82" fmla="*/ 154317 h 5509311"/>
              <a:gd name="connsiteX83" fmla="*/ 9468447 w 11760532"/>
              <a:gd name="connsiteY83" fmla="*/ 195017 h 5509311"/>
              <a:gd name="connsiteX84" fmla="*/ 9500402 w 11760532"/>
              <a:gd name="connsiteY84" fmla="*/ 183253 h 5509311"/>
              <a:gd name="connsiteX85" fmla="*/ 9532788 w 11760532"/>
              <a:gd name="connsiteY85" fmla="*/ 162981 h 5509311"/>
              <a:gd name="connsiteX86" fmla="*/ 9542557 w 11760532"/>
              <a:gd name="connsiteY86" fmla="*/ 149661 h 5509311"/>
              <a:gd name="connsiteX87" fmla="*/ 9541913 w 11760532"/>
              <a:gd name="connsiteY87" fmla="*/ 151201 h 5509311"/>
              <a:gd name="connsiteX88" fmla="*/ 9487046 w 11760532"/>
              <a:gd name="connsiteY88" fmla="*/ 273699 h 5509311"/>
              <a:gd name="connsiteX89" fmla="*/ 9465561 w 11760532"/>
              <a:gd name="connsiteY89" fmla="*/ 358489 h 5509311"/>
              <a:gd name="connsiteX90" fmla="*/ 9548761 w 11760532"/>
              <a:gd name="connsiteY90" fmla="*/ 363898 h 5509311"/>
              <a:gd name="connsiteX91" fmla="*/ 9544487 w 11760532"/>
              <a:gd name="connsiteY91" fmla="*/ 303005 h 5509311"/>
              <a:gd name="connsiteX92" fmla="*/ 9552096 w 11760532"/>
              <a:gd name="connsiteY92" fmla="*/ 300205 h 5509311"/>
              <a:gd name="connsiteX93" fmla="*/ 9554900 w 11760532"/>
              <a:gd name="connsiteY93" fmla="*/ 307822 h 5509311"/>
              <a:gd name="connsiteX94" fmla="*/ 9620571 w 11760532"/>
              <a:gd name="connsiteY94" fmla="*/ 436926 h 5509311"/>
              <a:gd name="connsiteX95" fmla="*/ 9604594 w 11760532"/>
              <a:gd name="connsiteY95" fmla="*/ 442808 h 5509311"/>
              <a:gd name="connsiteX96" fmla="*/ 9583967 w 11760532"/>
              <a:gd name="connsiteY96" fmla="*/ 459530 h 5509311"/>
              <a:gd name="connsiteX97" fmla="*/ 9592847 w 11760532"/>
              <a:gd name="connsiteY97" fmla="*/ 483650 h 5509311"/>
              <a:gd name="connsiteX98" fmla="*/ 9459942 w 11760532"/>
              <a:gd name="connsiteY98" fmla="*/ 685859 h 5509311"/>
              <a:gd name="connsiteX99" fmla="*/ 9491898 w 11760532"/>
              <a:gd name="connsiteY99" fmla="*/ 674094 h 5509311"/>
              <a:gd name="connsiteX100" fmla="*/ 9616151 w 11760532"/>
              <a:gd name="connsiteY100" fmla="*/ 619703 h 5509311"/>
              <a:gd name="connsiteX101" fmla="*/ 9630639 w 11760532"/>
              <a:gd name="connsiteY101" fmla="*/ 659055 h 5509311"/>
              <a:gd name="connsiteX102" fmla="*/ 9700822 w 11760532"/>
              <a:gd name="connsiteY102" fmla="*/ 678385 h 5509311"/>
              <a:gd name="connsiteX103" fmla="*/ 9852040 w 11760532"/>
              <a:gd name="connsiteY103" fmla="*/ 577550 h 5509311"/>
              <a:gd name="connsiteX104" fmla="*/ 9874000 w 11760532"/>
              <a:gd name="connsiteY104" fmla="*/ 515168 h 5509311"/>
              <a:gd name="connsiteX105" fmla="*/ 9924287 w 11760532"/>
              <a:gd name="connsiteY105" fmla="*/ 506266 h 5509311"/>
              <a:gd name="connsiteX106" fmla="*/ 9923777 w 11760532"/>
              <a:gd name="connsiteY106" fmla="*/ 479065 h 5509311"/>
              <a:gd name="connsiteX107" fmla="*/ 10046542 w 11760532"/>
              <a:gd name="connsiteY107" fmla="*/ 469908 h 5509311"/>
              <a:gd name="connsiteX108" fmla="*/ 10064634 w 11760532"/>
              <a:gd name="connsiteY108" fmla="*/ 643435 h 5509311"/>
              <a:gd name="connsiteX109" fmla="*/ 10032262 w 11760532"/>
              <a:gd name="connsiteY109" fmla="*/ 701002 h 5509311"/>
              <a:gd name="connsiteX110" fmla="*/ 10040987 w 11760532"/>
              <a:gd name="connsiteY110" fmla="*/ 724698 h 5509311"/>
              <a:gd name="connsiteX111" fmla="*/ 10274831 w 11760532"/>
              <a:gd name="connsiteY111" fmla="*/ 674648 h 5509311"/>
              <a:gd name="connsiteX112" fmla="*/ 10346558 w 11760532"/>
              <a:gd name="connsiteY112" fmla="*/ 918766 h 5509311"/>
              <a:gd name="connsiteX113" fmla="*/ 10372885 w 11760532"/>
              <a:gd name="connsiteY113" fmla="*/ 990279 h 5509311"/>
              <a:gd name="connsiteX114" fmla="*/ 10352259 w 11760532"/>
              <a:gd name="connsiteY114" fmla="*/ 1007002 h 5509311"/>
              <a:gd name="connsiteX115" fmla="*/ 10365787 w 11760532"/>
              <a:gd name="connsiteY115" fmla="*/ 1020280 h 5509311"/>
              <a:gd name="connsiteX116" fmla="*/ 10356334 w 11760532"/>
              <a:gd name="connsiteY116" fmla="*/ 1041539 h 5509311"/>
              <a:gd name="connsiteX117" fmla="*/ 10495806 w 11760532"/>
              <a:gd name="connsiteY117" fmla="*/ 981546 h 5509311"/>
              <a:gd name="connsiteX118" fmla="*/ 10589930 w 11760532"/>
              <a:gd name="connsiteY118" fmla="*/ 1018970 h 5509311"/>
              <a:gd name="connsiteX119" fmla="*/ 10690442 w 11760532"/>
              <a:gd name="connsiteY119" fmla="*/ 972838 h 5509311"/>
              <a:gd name="connsiteX120" fmla="*/ 10693402 w 11760532"/>
              <a:gd name="connsiteY120" fmla="*/ 980878 h 5509311"/>
              <a:gd name="connsiteX121" fmla="*/ 10701771 w 11760532"/>
              <a:gd name="connsiteY121" fmla="*/ 977797 h 5509311"/>
              <a:gd name="connsiteX122" fmla="*/ 10732746 w 11760532"/>
              <a:gd name="connsiteY122" fmla="*/ 1038470 h 5509311"/>
              <a:gd name="connsiteX123" fmla="*/ 10753528 w 11760532"/>
              <a:gd name="connsiteY123" fmla="*/ 1022169 h 5509311"/>
              <a:gd name="connsiteX124" fmla="*/ 10757885 w 11760532"/>
              <a:gd name="connsiteY124" fmla="*/ 911972 h 5509311"/>
              <a:gd name="connsiteX125" fmla="*/ 10806172 w 11760532"/>
              <a:gd name="connsiteY125" fmla="*/ 921104 h 5509311"/>
              <a:gd name="connsiteX126" fmla="*/ 10790837 w 11760532"/>
              <a:gd name="connsiteY126" fmla="*/ 830168 h 5509311"/>
              <a:gd name="connsiteX127" fmla="*/ 10834207 w 11760532"/>
              <a:gd name="connsiteY127" fmla="*/ 875227 h 5509311"/>
              <a:gd name="connsiteX128" fmla="*/ 10869321 w 11760532"/>
              <a:gd name="connsiteY128" fmla="*/ 897856 h 5509311"/>
              <a:gd name="connsiteX129" fmla="*/ 10930063 w 11760532"/>
              <a:gd name="connsiteY129" fmla="*/ 919702 h 5509311"/>
              <a:gd name="connsiteX130" fmla="*/ 10946540 w 11760532"/>
              <a:gd name="connsiteY130" fmla="*/ 959764 h 5509311"/>
              <a:gd name="connsiteX131" fmla="*/ 10964143 w 11760532"/>
              <a:gd name="connsiteY131" fmla="*/ 1007581 h 5509311"/>
              <a:gd name="connsiteX132" fmla="*/ 11073752 w 11760532"/>
              <a:gd name="connsiteY132" fmla="*/ 1014317 h 5509311"/>
              <a:gd name="connsiteX133" fmla="*/ 11033381 w 11760532"/>
              <a:gd name="connsiteY133" fmla="*/ 1050743 h 5509311"/>
              <a:gd name="connsiteX134" fmla="*/ 11022270 w 11760532"/>
              <a:gd name="connsiteY134" fmla="*/ 1058633 h 5509311"/>
              <a:gd name="connsiteX135" fmla="*/ 11012511 w 11760532"/>
              <a:gd name="connsiteY135" fmla="*/ 1062991 h 5509311"/>
              <a:gd name="connsiteX136" fmla="*/ 11009793 w 11760532"/>
              <a:gd name="connsiteY136" fmla="*/ 1067571 h 5509311"/>
              <a:gd name="connsiteX137" fmla="*/ 10998078 w 11760532"/>
              <a:gd name="connsiteY137" fmla="*/ 1076293 h 5509311"/>
              <a:gd name="connsiteX138" fmla="*/ 11006446 w 11760532"/>
              <a:gd name="connsiteY138" fmla="*/ 1073212 h 5509311"/>
              <a:gd name="connsiteX139" fmla="*/ 11009793 w 11760532"/>
              <a:gd name="connsiteY139" fmla="*/ 1067571 h 5509311"/>
              <a:gd name="connsiteX140" fmla="*/ 11012064 w 11760532"/>
              <a:gd name="connsiteY140" fmla="*/ 1065881 h 5509311"/>
              <a:gd name="connsiteX141" fmla="*/ 11022270 w 11760532"/>
              <a:gd name="connsiteY141" fmla="*/ 1058633 h 5509311"/>
              <a:gd name="connsiteX142" fmla="*/ 11027073 w 11760532"/>
              <a:gd name="connsiteY142" fmla="*/ 1056489 h 5509311"/>
              <a:gd name="connsiteX143" fmla="*/ 11044519 w 11760532"/>
              <a:gd name="connsiteY143" fmla="*/ 1103883 h 5509311"/>
              <a:gd name="connsiteX144" fmla="*/ 11027009 w 11760532"/>
              <a:gd name="connsiteY144" fmla="*/ 1129068 h 5509311"/>
              <a:gd name="connsiteX145" fmla="*/ 11004957 w 11760532"/>
              <a:gd name="connsiteY145" fmla="*/ 1118447 h 5509311"/>
              <a:gd name="connsiteX146" fmla="*/ 11009578 w 11760532"/>
              <a:gd name="connsiteY146" fmla="*/ 1184977 h 5509311"/>
              <a:gd name="connsiteX147" fmla="*/ 10979077 w 11760532"/>
              <a:gd name="connsiteY147" fmla="*/ 1146714 h 5509311"/>
              <a:gd name="connsiteX148" fmla="*/ 10943370 w 11760532"/>
              <a:gd name="connsiteY148" fmla="*/ 1267972 h 5509311"/>
              <a:gd name="connsiteX149" fmla="*/ 11020725 w 11760532"/>
              <a:gd name="connsiteY149" fmla="*/ 1428813 h 5509311"/>
              <a:gd name="connsiteX150" fmla="*/ 10911489 w 11760532"/>
              <a:gd name="connsiteY150" fmla="*/ 1451249 h 5509311"/>
              <a:gd name="connsiteX151" fmla="*/ 10892819 w 11760532"/>
              <a:gd name="connsiteY151" fmla="*/ 1524912 h 5509311"/>
              <a:gd name="connsiteX152" fmla="*/ 10968280 w 11760532"/>
              <a:gd name="connsiteY152" fmla="*/ 1556234 h 5509311"/>
              <a:gd name="connsiteX153" fmla="*/ 11016212 w 11760532"/>
              <a:gd name="connsiteY153" fmla="*/ 1538587 h 5509311"/>
              <a:gd name="connsiteX154" fmla="*/ 11019173 w 11760532"/>
              <a:gd name="connsiteY154" fmla="*/ 1546628 h 5509311"/>
              <a:gd name="connsiteX155" fmla="*/ 10946477 w 11760532"/>
              <a:gd name="connsiteY155" fmla="*/ 1619038 h 5509311"/>
              <a:gd name="connsiteX156" fmla="*/ 10947436 w 11760532"/>
              <a:gd name="connsiteY156" fmla="*/ 1645112 h 5509311"/>
              <a:gd name="connsiteX157" fmla="*/ 11076474 w 11760532"/>
              <a:gd name="connsiteY157" fmla="*/ 1678813 h 5509311"/>
              <a:gd name="connsiteX158" fmla="*/ 11107251 w 11760532"/>
              <a:gd name="connsiteY158" fmla="*/ 1713132 h 5509311"/>
              <a:gd name="connsiteX159" fmla="*/ 11230370 w 11760532"/>
              <a:gd name="connsiteY159" fmla="*/ 1730752 h 5509311"/>
              <a:gd name="connsiteX160" fmla="*/ 11262553 w 11760532"/>
              <a:gd name="connsiteY160" fmla="*/ 1890924 h 5509311"/>
              <a:gd name="connsiteX161" fmla="*/ 11340408 w 11760532"/>
              <a:gd name="connsiteY161" fmla="*/ 1834873 h 5509311"/>
              <a:gd name="connsiteX162" fmla="*/ 11331529 w 11760532"/>
              <a:gd name="connsiteY162" fmla="*/ 1810755 h 5509311"/>
              <a:gd name="connsiteX163" fmla="*/ 11306828 w 11760532"/>
              <a:gd name="connsiteY163" fmla="*/ 1792939 h 5509311"/>
              <a:gd name="connsiteX164" fmla="*/ 11330413 w 11760532"/>
              <a:gd name="connsiteY164" fmla="*/ 1784256 h 5509311"/>
              <a:gd name="connsiteX165" fmla="*/ 11406007 w 11760532"/>
              <a:gd name="connsiteY165" fmla="*/ 1792466 h 5509311"/>
              <a:gd name="connsiteX166" fmla="*/ 11539116 w 11760532"/>
              <a:gd name="connsiteY166" fmla="*/ 1738658 h 5509311"/>
              <a:gd name="connsiteX167" fmla="*/ 11614743 w 11760532"/>
              <a:gd name="connsiteY167" fmla="*/ 1852565 h 5509311"/>
              <a:gd name="connsiteX168" fmla="*/ 11713132 w 11760532"/>
              <a:gd name="connsiteY168" fmla="*/ 1868719 h 5509311"/>
              <a:gd name="connsiteX169" fmla="*/ 11760532 w 11760532"/>
              <a:gd name="connsiteY169" fmla="*/ 2023290 h 5509311"/>
              <a:gd name="connsiteX170" fmla="*/ 11708757 w 11760532"/>
              <a:gd name="connsiteY170" fmla="*/ 1976520 h 5509311"/>
              <a:gd name="connsiteX171" fmla="*/ 11578184 w 11760532"/>
              <a:gd name="connsiteY171" fmla="*/ 2063030 h 5509311"/>
              <a:gd name="connsiteX172" fmla="*/ 11521246 w 11760532"/>
              <a:gd name="connsiteY172" fmla="*/ 2039785 h 5509311"/>
              <a:gd name="connsiteX173" fmla="*/ 11334906 w 11760532"/>
              <a:gd name="connsiteY173" fmla="*/ 2197758 h 5509311"/>
              <a:gd name="connsiteX174" fmla="*/ 11328214 w 11760532"/>
              <a:gd name="connsiteY174" fmla="*/ 2362631 h 5509311"/>
              <a:gd name="connsiteX175" fmla="*/ 11302180 w 11760532"/>
              <a:gd name="connsiteY175" fmla="*/ 2390474 h 5509311"/>
              <a:gd name="connsiteX176" fmla="*/ 11366517 w 11760532"/>
              <a:gd name="connsiteY176" fmla="*/ 2565237 h 5509311"/>
              <a:gd name="connsiteX177" fmla="*/ 11451407 w 11760532"/>
              <a:gd name="connsiteY177" fmla="*/ 2551765 h 5509311"/>
              <a:gd name="connsiteX178" fmla="*/ 11449717 w 11760532"/>
              <a:gd name="connsiteY178" fmla="*/ 2570646 h 5509311"/>
              <a:gd name="connsiteX179" fmla="*/ 11394250 w 11760532"/>
              <a:gd name="connsiteY179" fmla="*/ 2762605 h 5509311"/>
              <a:gd name="connsiteX180" fmla="*/ 11427612 w 11760532"/>
              <a:gd name="connsiteY180" fmla="*/ 2876696 h 5509311"/>
              <a:gd name="connsiteX181" fmla="*/ 11480485 w 11760532"/>
              <a:gd name="connsiteY181" fmla="*/ 2947566 h 5509311"/>
              <a:gd name="connsiteX182" fmla="*/ 11449645 w 11760532"/>
              <a:gd name="connsiteY182" fmla="*/ 2985827 h 5509311"/>
              <a:gd name="connsiteX183" fmla="*/ 11340471 w 11760532"/>
              <a:gd name="connsiteY183" fmla="*/ 2935684 h 5509311"/>
              <a:gd name="connsiteX184" fmla="*/ 11183199 w 11760532"/>
              <a:gd name="connsiteY184" fmla="*/ 2921507 h 5509311"/>
              <a:gd name="connsiteX185" fmla="*/ 11177435 w 11760532"/>
              <a:gd name="connsiteY185" fmla="*/ 2905850 h 5509311"/>
              <a:gd name="connsiteX186" fmla="*/ 11208630 w 11760532"/>
              <a:gd name="connsiteY186" fmla="*/ 2894367 h 5509311"/>
              <a:gd name="connsiteX187" fmla="*/ 11205669 w 11760532"/>
              <a:gd name="connsiteY187" fmla="*/ 2886326 h 5509311"/>
              <a:gd name="connsiteX188" fmla="*/ 11189691 w 11760532"/>
              <a:gd name="connsiteY188" fmla="*/ 2892208 h 5509311"/>
              <a:gd name="connsiteX189" fmla="*/ 11145479 w 11760532"/>
              <a:gd name="connsiteY189" fmla="*/ 2917614 h 5509311"/>
              <a:gd name="connsiteX190" fmla="*/ 11173140 w 11760532"/>
              <a:gd name="connsiteY190" fmla="*/ 2943469 h 5509311"/>
              <a:gd name="connsiteX191" fmla="*/ 11144146 w 11760532"/>
              <a:gd name="connsiteY191" fmla="*/ 2963272 h 5509311"/>
              <a:gd name="connsiteX192" fmla="*/ 11267047 w 11760532"/>
              <a:gd name="connsiteY192" fmla="*/ 3053049 h 5509311"/>
              <a:gd name="connsiteX193" fmla="*/ 11299293 w 11760532"/>
              <a:gd name="connsiteY193" fmla="*/ 3140642 h 5509311"/>
              <a:gd name="connsiteX194" fmla="*/ 11269568 w 11760532"/>
              <a:gd name="connsiteY194" fmla="*/ 3205402 h 5509311"/>
              <a:gd name="connsiteX195" fmla="*/ 11132098 w 11760532"/>
              <a:gd name="connsiteY195" fmla="*/ 3247361 h 5509311"/>
              <a:gd name="connsiteX196" fmla="*/ 11070283 w 11760532"/>
              <a:gd name="connsiteY196" fmla="*/ 3224950 h 5509311"/>
              <a:gd name="connsiteX197" fmla="*/ 11030469 w 11760532"/>
              <a:gd name="connsiteY197" fmla="*/ 3266996 h 5509311"/>
              <a:gd name="connsiteX198" fmla="*/ 11124408 w 11760532"/>
              <a:gd name="connsiteY198" fmla="*/ 3421251 h 5509311"/>
              <a:gd name="connsiteX199" fmla="*/ 11112505 w 11760532"/>
              <a:gd name="connsiteY199" fmla="*/ 3461671 h 5509311"/>
              <a:gd name="connsiteX200" fmla="*/ 10964215 w 11760532"/>
              <a:gd name="connsiteY200" fmla="*/ 3525872 h 5509311"/>
              <a:gd name="connsiteX201" fmla="*/ 10786442 w 11760532"/>
              <a:gd name="connsiteY201" fmla="*/ 3383260 h 5509311"/>
              <a:gd name="connsiteX202" fmla="*/ 10740063 w 11760532"/>
              <a:gd name="connsiteY202" fmla="*/ 3283091 h 5509311"/>
              <a:gd name="connsiteX203" fmla="*/ 10708869 w 11760532"/>
              <a:gd name="connsiteY203" fmla="*/ 3294575 h 5509311"/>
              <a:gd name="connsiteX204" fmla="*/ 10573441 w 11760532"/>
              <a:gd name="connsiteY204" fmla="*/ 3344431 h 5509311"/>
              <a:gd name="connsiteX205" fmla="*/ 10459264 w 11760532"/>
              <a:gd name="connsiteY205" fmla="*/ 3278350 h 5509311"/>
              <a:gd name="connsiteX206" fmla="*/ 10379023 w 11760532"/>
              <a:gd name="connsiteY206" fmla="*/ 3280981 h 5509311"/>
              <a:gd name="connsiteX207" fmla="*/ 10343536 w 11760532"/>
              <a:gd name="connsiteY207" fmla="*/ 3330084 h 5509311"/>
              <a:gd name="connsiteX208" fmla="*/ 10400837 w 11760532"/>
              <a:gd name="connsiteY208" fmla="*/ 3462270 h 5509311"/>
              <a:gd name="connsiteX209" fmla="*/ 10416377 w 11760532"/>
              <a:gd name="connsiteY209" fmla="*/ 3600700 h 5509311"/>
              <a:gd name="connsiteX210" fmla="*/ 10372322 w 11760532"/>
              <a:gd name="connsiteY210" fmla="*/ 3626529 h 5509311"/>
              <a:gd name="connsiteX211" fmla="*/ 10357814 w 11760532"/>
              <a:gd name="connsiteY211" fmla="*/ 3685685 h 5509311"/>
              <a:gd name="connsiteX212" fmla="*/ 10350206 w 11760532"/>
              <a:gd name="connsiteY212" fmla="*/ 3688487 h 5509311"/>
              <a:gd name="connsiteX213" fmla="*/ 10341326 w 11760532"/>
              <a:gd name="connsiteY213" fmla="*/ 3664367 h 5509311"/>
              <a:gd name="connsiteX214" fmla="*/ 10347975 w 11760532"/>
              <a:gd name="connsiteY214" fmla="*/ 3635491 h 5509311"/>
              <a:gd name="connsiteX215" fmla="*/ 10175298 w 11760532"/>
              <a:gd name="connsiteY215" fmla="*/ 3581818 h 5509311"/>
              <a:gd name="connsiteX216" fmla="*/ 10073003 w 11760532"/>
              <a:gd name="connsiteY216" fmla="*/ 3573828 h 5509311"/>
              <a:gd name="connsiteX217" fmla="*/ 10034711 w 11760532"/>
              <a:gd name="connsiteY217" fmla="*/ 3615314 h 5509311"/>
              <a:gd name="connsiteX218" fmla="*/ 10002247 w 11760532"/>
              <a:gd name="connsiteY218" fmla="*/ 3599876 h 5509311"/>
              <a:gd name="connsiteX219" fmla="*/ 9999224 w 11760532"/>
              <a:gd name="connsiteY219" fmla="*/ 3664415 h 5509311"/>
              <a:gd name="connsiteX220" fmla="*/ 10160509 w 11760532"/>
              <a:gd name="connsiteY220" fmla="*/ 3785710 h 5509311"/>
              <a:gd name="connsiteX221" fmla="*/ 10070950 w 11760532"/>
              <a:gd name="connsiteY221" fmla="*/ 3908533 h 5509311"/>
              <a:gd name="connsiteX222" fmla="*/ 9932207 w 11760532"/>
              <a:gd name="connsiteY222" fmla="*/ 3923572 h 5509311"/>
              <a:gd name="connsiteX223" fmla="*/ 9908559 w 11760532"/>
              <a:gd name="connsiteY223" fmla="*/ 4004835 h 5509311"/>
              <a:gd name="connsiteX224" fmla="*/ 9893187 w 11760532"/>
              <a:gd name="connsiteY224" fmla="*/ 4019187 h 5509311"/>
              <a:gd name="connsiteX225" fmla="*/ 9895036 w 11760532"/>
              <a:gd name="connsiteY225" fmla="*/ 4019491 h 5509311"/>
              <a:gd name="connsiteX226" fmla="*/ 9954828 w 11760532"/>
              <a:gd name="connsiteY226" fmla="*/ 4023959 h 5509311"/>
              <a:gd name="connsiteX227" fmla="*/ 9961967 w 11760532"/>
              <a:gd name="connsiteY227" fmla="*/ 4038259 h 5509311"/>
              <a:gd name="connsiteX228" fmla="*/ 9956612 w 11760532"/>
              <a:gd name="connsiteY228" fmla="*/ 4065071 h 5509311"/>
              <a:gd name="connsiteX229" fmla="*/ 9954382 w 11760532"/>
              <a:gd name="connsiteY229" fmla="*/ 4113096 h 5509311"/>
              <a:gd name="connsiteX230" fmla="*/ 9989902 w 11760532"/>
              <a:gd name="connsiteY230" fmla="*/ 4101848 h 5509311"/>
              <a:gd name="connsiteX231" fmla="*/ 10039069 w 11760532"/>
              <a:gd name="connsiteY231" fmla="*/ 4091811 h 5509311"/>
              <a:gd name="connsiteX232" fmla="*/ 10047792 w 11760532"/>
              <a:gd name="connsiteY232" fmla="*/ 4115508 h 5509311"/>
              <a:gd name="connsiteX233" fmla="*/ 10046176 w 11760532"/>
              <a:gd name="connsiteY233" fmla="*/ 4305901 h 5509311"/>
              <a:gd name="connsiteX234" fmla="*/ 10030199 w 11760532"/>
              <a:gd name="connsiteY234" fmla="*/ 4311784 h 5509311"/>
              <a:gd name="connsiteX235" fmla="*/ 10006103 w 11760532"/>
              <a:gd name="connsiteY235" fmla="*/ 4293265 h 5509311"/>
              <a:gd name="connsiteX236" fmla="*/ 9825347 w 11760532"/>
              <a:gd name="connsiteY236" fmla="*/ 4342029 h 5509311"/>
              <a:gd name="connsiteX237" fmla="*/ 9769809 w 11760532"/>
              <a:gd name="connsiteY237" fmla="*/ 4362476 h 5509311"/>
              <a:gd name="connsiteX238" fmla="*/ 9730989 w 11760532"/>
              <a:gd name="connsiteY238" fmla="*/ 4354423 h 5509311"/>
              <a:gd name="connsiteX239" fmla="*/ 9730614 w 11760532"/>
              <a:gd name="connsiteY239" fmla="*/ 4354346 h 5509311"/>
              <a:gd name="connsiteX240" fmla="*/ 9721014 w 11760532"/>
              <a:gd name="connsiteY240" fmla="*/ 4363571 h 5509311"/>
              <a:gd name="connsiteX241" fmla="*/ 9638912 w 11760532"/>
              <a:gd name="connsiteY241" fmla="*/ 4413618 h 5509311"/>
              <a:gd name="connsiteX242" fmla="*/ 9580012 w 11760532"/>
              <a:gd name="connsiteY242" fmla="*/ 4449367 h 5509311"/>
              <a:gd name="connsiteX243" fmla="*/ 9451504 w 11760532"/>
              <a:gd name="connsiteY243" fmla="*/ 4497628 h 5509311"/>
              <a:gd name="connsiteX244" fmla="*/ 9356907 w 11760532"/>
              <a:gd name="connsiteY244" fmla="*/ 4545888 h 5509311"/>
              <a:gd name="connsiteX245" fmla="*/ 9310502 w 11760532"/>
              <a:gd name="connsiteY245" fmla="*/ 4612023 h 5509311"/>
              <a:gd name="connsiteX246" fmla="*/ 9300821 w 11760532"/>
              <a:gd name="connsiteY246" fmla="*/ 4624255 h 5509311"/>
              <a:gd name="connsiteX247" fmla="*/ 9285128 w 11760532"/>
              <a:gd name="connsiteY247" fmla="*/ 4658148 h 5509311"/>
              <a:gd name="connsiteX248" fmla="*/ 9230704 w 11760532"/>
              <a:gd name="connsiteY248" fmla="*/ 4705092 h 5509311"/>
              <a:gd name="connsiteX249" fmla="*/ 9174339 w 11760532"/>
              <a:gd name="connsiteY249" fmla="*/ 4798399 h 5509311"/>
              <a:gd name="connsiteX250" fmla="*/ 8651713 w 11760532"/>
              <a:gd name="connsiteY250" fmla="*/ 4918241 h 5509311"/>
              <a:gd name="connsiteX251" fmla="*/ 8581757 w 11760532"/>
              <a:gd name="connsiteY251" fmla="*/ 4943994 h 5509311"/>
              <a:gd name="connsiteX252" fmla="*/ 8566224 w 11760532"/>
              <a:gd name="connsiteY252" fmla="*/ 4953422 h 5509311"/>
              <a:gd name="connsiteX253" fmla="*/ 8396665 w 11760532"/>
              <a:gd name="connsiteY253" fmla="*/ 5051730 h 5509311"/>
              <a:gd name="connsiteX254" fmla="*/ 8327056 w 11760532"/>
              <a:gd name="connsiteY254" fmla="*/ 5078541 h 5509311"/>
              <a:gd name="connsiteX255" fmla="*/ 8214611 w 11760532"/>
              <a:gd name="connsiteY255" fmla="*/ 5130377 h 5509311"/>
              <a:gd name="connsiteX256" fmla="*/ 8169991 w 11760532"/>
              <a:gd name="connsiteY256" fmla="*/ 5150038 h 5509311"/>
              <a:gd name="connsiteX257" fmla="*/ 8152142 w 11760532"/>
              <a:gd name="connsiteY257" fmla="*/ 5157188 h 5509311"/>
              <a:gd name="connsiteX258" fmla="*/ 8021849 w 11760532"/>
              <a:gd name="connsiteY258" fmla="*/ 5217961 h 5509311"/>
              <a:gd name="connsiteX259" fmla="*/ 7987937 w 11760532"/>
              <a:gd name="connsiteY259" fmla="*/ 5209024 h 5509311"/>
              <a:gd name="connsiteX260" fmla="*/ 8000431 w 11760532"/>
              <a:gd name="connsiteY260" fmla="*/ 5184000 h 5509311"/>
              <a:gd name="connsiteX261" fmla="*/ 8028988 w 11760532"/>
              <a:gd name="connsiteY261" fmla="*/ 5175063 h 5509311"/>
              <a:gd name="connsiteX262" fmla="*/ 8064686 w 11760532"/>
              <a:gd name="connsiteY262" fmla="*/ 5164338 h 5509311"/>
              <a:gd name="connsiteX263" fmla="*/ 8078964 w 11760532"/>
              <a:gd name="connsiteY263" fmla="*/ 5142888 h 5509311"/>
              <a:gd name="connsiteX264" fmla="*/ 8078964 w 11760532"/>
              <a:gd name="connsiteY264" fmla="*/ 5130377 h 5509311"/>
              <a:gd name="connsiteX265" fmla="*/ 8066470 w 11760532"/>
              <a:gd name="connsiteY265" fmla="*/ 5126802 h 5509311"/>
              <a:gd name="connsiteX266" fmla="*/ 8030773 w 11760532"/>
              <a:gd name="connsiteY266" fmla="*/ 5123227 h 5509311"/>
              <a:gd name="connsiteX267" fmla="*/ 7998646 w 11760532"/>
              <a:gd name="connsiteY267" fmla="*/ 5125014 h 5509311"/>
              <a:gd name="connsiteX268" fmla="*/ 7834442 w 11760532"/>
              <a:gd name="connsiteY268" fmla="*/ 5169700 h 5509311"/>
              <a:gd name="connsiteX269" fmla="*/ 7795175 w 11760532"/>
              <a:gd name="connsiteY269" fmla="*/ 5191150 h 5509311"/>
              <a:gd name="connsiteX270" fmla="*/ 7773757 w 11760532"/>
              <a:gd name="connsiteY270" fmla="*/ 5192937 h 5509311"/>
              <a:gd name="connsiteX271" fmla="*/ 7748769 w 11760532"/>
              <a:gd name="connsiteY271" fmla="*/ 5182212 h 5509311"/>
              <a:gd name="connsiteX272" fmla="*/ 7714858 w 11760532"/>
              <a:gd name="connsiteY272" fmla="*/ 5210811 h 5509311"/>
              <a:gd name="connsiteX273" fmla="*/ 7689869 w 11760532"/>
              <a:gd name="connsiteY273" fmla="*/ 5225110 h 5509311"/>
              <a:gd name="connsiteX274" fmla="*/ 7673807 w 11760532"/>
              <a:gd name="connsiteY274" fmla="*/ 5226898 h 5509311"/>
              <a:gd name="connsiteX275" fmla="*/ 7570285 w 11760532"/>
              <a:gd name="connsiteY275" fmla="*/ 5251922 h 5509311"/>
              <a:gd name="connsiteX276" fmla="*/ 7534589 w 11760532"/>
              <a:gd name="connsiteY276" fmla="*/ 5269796 h 5509311"/>
              <a:gd name="connsiteX277" fmla="*/ 7511386 w 11760532"/>
              <a:gd name="connsiteY277" fmla="*/ 5273371 h 5509311"/>
              <a:gd name="connsiteX278" fmla="*/ 7438208 w 11760532"/>
              <a:gd name="connsiteY278" fmla="*/ 5264434 h 5509311"/>
              <a:gd name="connsiteX279" fmla="*/ 7236521 w 11760532"/>
              <a:gd name="connsiteY279" fmla="*/ 5268009 h 5509311"/>
              <a:gd name="connsiteX280" fmla="*/ 7161558 w 11760532"/>
              <a:gd name="connsiteY280" fmla="*/ 5264434 h 5509311"/>
              <a:gd name="connsiteX281" fmla="*/ 7038404 w 11760532"/>
              <a:gd name="connsiteY281" fmla="*/ 5278733 h 5509311"/>
              <a:gd name="connsiteX282" fmla="*/ 6872414 w 11760532"/>
              <a:gd name="connsiteY282" fmla="*/ 5296607 h 5509311"/>
              <a:gd name="connsiteX283" fmla="*/ 6733197 w 11760532"/>
              <a:gd name="connsiteY283" fmla="*/ 5321632 h 5509311"/>
              <a:gd name="connsiteX284" fmla="*/ 6599335 w 11760532"/>
              <a:gd name="connsiteY284" fmla="*/ 5335931 h 5509311"/>
              <a:gd name="connsiteX285" fmla="*/ 6502952 w 11760532"/>
              <a:gd name="connsiteY285" fmla="*/ 5352018 h 5509311"/>
              <a:gd name="connsiteX286" fmla="*/ 6106719 w 11760532"/>
              <a:gd name="connsiteY286" fmla="*/ 5393129 h 5509311"/>
              <a:gd name="connsiteX287" fmla="*/ 5674788 w 11760532"/>
              <a:gd name="connsiteY287" fmla="*/ 5444964 h 5509311"/>
              <a:gd name="connsiteX288" fmla="*/ 5262491 w 11760532"/>
              <a:gd name="connsiteY288" fmla="*/ 5468201 h 5509311"/>
              <a:gd name="connsiteX289" fmla="*/ 4946575 w 11760532"/>
              <a:gd name="connsiteY289" fmla="*/ 5482500 h 5509311"/>
              <a:gd name="connsiteX290" fmla="*/ 4705623 w 11760532"/>
              <a:gd name="connsiteY290" fmla="*/ 5500374 h 5509311"/>
              <a:gd name="connsiteX291" fmla="*/ 4532493 w 11760532"/>
              <a:gd name="connsiteY291" fmla="*/ 5507524 h 5509311"/>
              <a:gd name="connsiteX292" fmla="*/ 4423618 w 11760532"/>
              <a:gd name="connsiteY292" fmla="*/ 5509311 h 5509311"/>
              <a:gd name="connsiteX293" fmla="*/ 4389706 w 11760532"/>
              <a:gd name="connsiteY293" fmla="*/ 5509311 h 5509311"/>
              <a:gd name="connsiteX294" fmla="*/ 4382566 w 11760532"/>
              <a:gd name="connsiteY294" fmla="*/ 5507524 h 5509311"/>
              <a:gd name="connsiteX295" fmla="*/ 3873888 w 11760532"/>
              <a:gd name="connsiteY295" fmla="*/ 5493224 h 5509311"/>
              <a:gd name="connsiteX296" fmla="*/ 3740025 w 11760532"/>
              <a:gd name="connsiteY296" fmla="*/ 5484287 h 5509311"/>
              <a:gd name="connsiteX297" fmla="*/ 3447312 w 11760532"/>
              <a:gd name="connsiteY297" fmla="*/ 5461051 h 5509311"/>
              <a:gd name="connsiteX298" fmla="*/ 3217067 w 11760532"/>
              <a:gd name="connsiteY298" fmla="*/ 5439602 h 5509311"/>
              <a:gd name="connsiteX299" fmla="*/ 3002887 w 11760532"/>
              <a:gd name="connsiteY299" fmla="*/ 5418152 h 5509311"/>
              <a:gd name="connsiteX300" fmla="*/ 2985039 w 11760532"/>
              <a:gd name="connsiteY300" fmla="*/ 5412791 h 5509311"/>
              <a:gd name="connsiteX301" fmla="*/ 2874379 w 11760532"/>
              <a:gd name="connsiteY301" fmla="*/ 5382404 h 5509311"/>
              <a:gd name="connsiteX302" fmla="*/ 2756580 w 11760532"/>
              <a:gd name="connsiteY302" fmla="*/ 5377042 h 5509311"/>
              <a:gd name="connsiteX303" fmla="*/ 2558463 w 11760532"/>
              <a:gd name="connsiteY303" fmla="*/ 5346655 h 5509311"/>
              <a:gd name="connsiteX304" fmla="*/ 2479930 w 11760532"/>
              <a:gd name="connsiteY304" fmla="*/ 5314482 h 5509311"/>
              <a:gd name="connsiteX305" fmla="*/ 2460297 w 11760532"/>
              <a:gd name="connsiteY305" fmla="*/ 5312695 h 5509311"/>
              <a:gd name="connsiteX306" fmla="*/ 2413892 w 11760532"/>
              <a:gd name="connsiteY306" fmla="*/ 5312695 h 5509311"/>
              <a:gd name="connsiteX307" fmla="*/ 2347851 w 11760532"/>
              <a:gd name="connsiteY307" fmla="*/ 5294820 h 5509311"/>
              <a:gd name="connsiteX308" fmla="*/ 2246116 w 11760532"/>
              <a:gd name="connsiteY308" fmla="*/ 5264434 h 5509311"/>
              <a:gd name="connsiteX309" fmla="*/ 2185432 w 11760532"/>
              <a:gd name="connsiteY309" fmla="*/ 5253709 h 5509311"/>
              <a:gd name="connsiteX310" fmla="*/ 2097974 w 11760532"/>
              <a:gd name="connsiteY310" fmla="*/ 5250134 h 5509311"/>
              <a:gd name="connsiteX311" fmla="*/ 2049784 w 11760532"/>
              <a:gd name="connsiteY311" fmla="*/ 5239410 h 5509311"/>
              <a:gd name="connsiteX312" fmla="*/ 2037290 w 11760532"/>
              <a:gd name="connsiteY312" fmla="*/ 5230473 h 5509311"/>
              <a:gd name="connsiteX313" fmla="*/ 2037290 w 11760532"/>
              <a:gd name="connsiteY313" fmla="*/ 5217961 h 5509311"/>
              <a:gd name="connsiteX314" fmla="*/ 2021227 w 11760532"/>
              <a:gd name="connsiteY314" fmla="*/ 5207236 h 5509311"/>
              <a:gd name="connsiteX315" fmla="*/ 1965897 w 11760532"/>
              <a:gd name="connsiteY315" fmla="*/ 5228686 h 5509311"/>
              <a:gd name="connsiteX316" fmla="*/ 1946264 w 11760532"/>
              <a:gd name="connsiteY316" fmla="*/ 5226898 h 5509311"/>
              <a:gd name="connsiteX317" fmla="*/ 1948048 w 11760532"/>
              <a:gd name="connsiteY317" fmla="*/ 5209024 h 5509311"/>
              <a:gd name="connsiteX318" fmla="*/ 1937339 w 11760532"/>
              <a:gd name="connsiteY318" fmla="*/ 5185787 h 5509311"/>
              <a:gd name="connsiteX319" fmla="*/ 1921275 w 11760532"/>
              <a:gd name="connsiteY319" fmla="*/ 5180424 h 5509311"/>
              <a:gd name="connsiteX320" fmla="*/ 1914137 w 11760532"/>
              <a:gd name="connsiteY320" fmla="*/ 5164338 h 5509311"/>
              <a:gd name="connsiteX321" fmla="*/ 1915921 w 11760532"/>
              <a:gd name="connsiteY321" fmla="*/ 5151826 h 5509311"/>
              <a:gd name="connsiteX322" fmla="*/ 1901643 w 11760532"/>
              <a:gd name="connsiteY322" fmla="*/ 5150038 h 5509311"/>
              <a:gd name="connsiteX323" fmla="*/ 1857022 w 11760532"/>
              <a:gd name="connsiteY323" fmla="*/ 5150038 h 5509311"/>
              <a:gd name="connsiteX324" fmla="*/ 1724943 w 11760532"/>
              <a:gd name="connsiteY324" fmla="*/ 5173275 h 5509311"/>
              <a:gd name="connsiteX325" fmla="*/ 1705310 w 11760532"/>
              <a:gd name="connsiteY325" fmla="*/ 5187574 h 5509311"/>
              <a:gd name="connsiteX326" fmla="*/ 1710665 w 11760532"/>
              <a:gd name="connsiteY326" fmla="*/ 5162551 h 5509311"/>
              <a:gd name="connsiteX327" fmla="*/ 1691031 w 11760532"/>
              <a:gd name="connsiteY327" fmla="*/ 5130377 h 5509311"/>
              <a:gd name="connsiteX328" fmla="*/ 1530396 w 11760532"/>
              <a:gd name="connsiteY328" fmla="*/ 5092841 h 5509311"/>
              <a:gd name="connsiteX329" fmla="*/ 1471497 w 11760532"/>
              <a:gd name="connsiteY329" fmla="*/ 5083904 h 5509311"/>
              <a:gd name="connsiteX330" fmla="*/ 1455433 w 11760532"/>
              <a:gd name="connsiteY330" fmla="*/ 5057092 h 5509311"/>
              <a:gd name="connsiteX331" fmla="*/ 1425092 w 11760532"/>
              <a:gd name="connsiteY331" fmla="*/ 5035643 h 5509311"/>
              <a:gd name="connsiteX332" fmla="*/ 1387610 w 11760532"/>
              <a:gd name="connsiteY332" fmla="*/ 5033856 h 5509311"/>
              <a:gd name="connsiteX333" fmla="*/ 1364407 w 11760532"/>
              <a:gd name="connsiteY333" fmla="*/ 5033856 h 5509311"/>
              <a:gd name="connsiteX334" fmla="*/ 1334064 w 11760532"/>
              <a:gd name="connsiteY334" fmla="*/ 5039218 h 5509311"/>
              <a:gd name="connsiteX335" fmla="*/ 1310861 w 11760532"/>
              <a:gd name="connsiteY335" fmla="*/ 5032068 h 5509311"/>
              <a:gd name="connsiteX336" fmla="*/ 1294798 w 11760532"/>
              <a:gd name="connsiteY336" fmla="*/ 5017769 h 5509311"/>
              <a:gd name="connsiteX337" fmla="*/ 1268025 w 11760532"/>
              <a:gd name="connsiteY337" fmla="*/ 5008832 h 5509311"/>
              <a:gd name="connsiteX338" fmla="*/ 1234113 w 11760532"/>
              <a:gd name="connsiteY338" fmla="*/ 5028493 h 5509311"/>
              <a:gd name="connsiteX339" fmla="*/ 1232328 w 11760532"/>
              <a:gd name="connsiteY339" fmla="*/ 5024919 h 5509311"/>
              <a:gd name="connsiteX340" fmla="*/ 1234113 w 11760532"/>
              <a:gd name="connsiteY340" fmla="*/ 4976658 h 5509311"/>
              <a:gd name="connsiteX341" fmla="*/ 1228759 w 11760532"/>
              <a:gd name="connsiteY341" fmla="*/ 4967721 h 5509311"/>
              <a:gd name="connsiteX342" fmla="*/ 1162720 w 11760532"/>
              <a:gd name="connsiteY342" fmla="*/ 4946272 h 5509311"/>
              <a:gd name="connsiteX343" fmla="*/ 1134163 w 11760532"/>
              <a:gd name="connsiteY343" fmla="*/ 4931973 h 5509311"/>
              <a:gd name="connsiteX344" fmla="*/ 1134163 w 11760532"/>
              <a:gd name="connsiteY344" fmla="*/ 4905161 h 5509311"/>
              <a:gd name="connsiteX345" fmla="*/ 1180568 w 11760532"/>
              <a:gd name="connsiteY345" fmla="*/ 4889074 h 5509311"/>
              <a:gd name="connsiteX346" fmla="*/ 1225189 w 11760532"/>
              <a:gd name="connsiteY346" fmla="*/ 4910523 h 5509311"/>
              <a:gd name="connsiteX347" fmla="*/ 1266240 w 11760532"/>
              <a:gd name="connsiteY347" fmla="*/ 4930185 h 5509311"/>
              <a:gd name="connsiteX348" fmla="*/ 1310861 w 11760532"/>
              <a:gd name="connsiteY348" fmla="*/ 4935547 h 5509311"/>
              <a:gd name="connsiteX349" fmla="*/ 1355482 w 11760532"/>
              <a:gd name="connsiteY349" fmla="*/ 4924823 h 5509311"/>
              <a:gd name="connsiteX350" fmla="*/ 1448293 w 11760532"/>
              <a:gd name="connsiteY350" fmla="*/ 4951634 h 5509311"/>
              <a:gd name="connsiteX351" fmla="*/ 1525042 w 11760532"/>
              <a:gd name="connsiteY351" fmla="*/ 4942697 h 5509311"/>
              <a:gd name="connsiteX352" fmla="*/ 1555384 w 11760532"/>
              <a:gd name="connsiteY352" fmla="*/ 4946272 h 5509311"/>
              <a:gd name="connsiteX353" fmla="*/ 1732083 w 11760532"/>
              <a:gd name="connsiteY353" fmla="*/ 4990958 h 5509311"/>
              <a:gd name="connsiteX354" fmla="*/ 1760641 w 11760532"/>
              <a:gd name="connsiteY354" fmla="*/ 4992745 h 5509311"/>
              <a:gd name="connsiteX355" fmla="*/ 1780273 w 11760532"/>
              <a:gd name="connsiteY355" fmla="*/ 4998107 h 5509311"/>
              <a:gd name="connsiteX356" fmla="*/ 1780273 w 11760532"/>
              <a:gd name="connsiteY356" fmla="*/ 4976658 h 5509311"/>
              <a:gd name="connsiteX357" fmla="*/ 1790983 w 11760532"/>
              <a:gd name="connsiteY357" fmla="*/ 4962359 h 5509311"/>
              <a:gd name="connsiteX358" fmla="*/ 1823110 w 11760532"/>
              <a:gd name="connsiteY358" fmla="*/ 4967721 h 5509311"/>
              <a:gd name="connsiteX359" fmla="*/ 1890934 w 11760532"/>
              <a:gd name="connsiteY359" fmla="*/ 4978446 h 5509311"/>
              <a:gd name="connsiteX360" fmla="*/ 1898073 w 11760532"/>
              <a:gd name="connsiteY360" fmla="*/ 4985595 h 5509311"/>
              <a:gd name="connsiteX361" fmla="*/ 1930200 w 11760532"/>
              <a:gd name="connsiteY361" fmla="*/ 5005256 h 5509311"/>
              <a:gd name="connsiteX362" fmla="*/ 2089050 w 11760532"/>
              <a:gd name="connsiteY362" fmla="*/ 5030281 h 5509311"/>
              <a:gd name="connsiteX363" fmla="*/ 2103329 w 11760532"/>
              <a:gd name="connsiteY363" fmla="*/ 5030281 h 5509311"/>
              <a:gd name="connsiteX364" fmla="*/ 2139026 w 11760532"/>
              <a:gd name="connsiteY364" fmla="*/ 5044581 h 5509311"/>
              <a:gd name="connsiteX365" fmla="*/ 2174723 w 11760532"/>
              <a:gd name="connsiteY365" fmla="*/ 5049942 h 5509311"/>
              <a:gd name="connsiteX366" fmla="*/ 2194356 w 11760532"/>
              <a:gd name="connsiteY366" fmla="*/ 5032068 h 5509311"/>
              <a:gd name="connsiteX367" fmla="*/ 2221128 w 11760532"/>
              <a:gd name="connsiteY367" fmla="*/ 5053518 h 5509311"/>
              <a:gd name="connsiteX368" fmla="*/ 2262179 w 11760532"/>
              <a:gd name="connsiteY368" fmla="*/ 5055305 h 5509311"/>
              <a:gd name="connsiteX369" fmla="*/ 2322864 w 11760532"/>
              <a:gd name="connsiteY369" fmla="*/ 5010619 h 5509311"/>
              <a:gd name="connsiteX370" fmla="*/ 2324649 w 11760532"/>
              <a:gd name="connsiteY370" fmla="*/ 5008832 h 5509311"/>
              <a:gd name="connsiteX371" fmla="*/ 2354991 w 11760532"/>
              <a:gd name="connsiteY371" fmla="*/ 4990958 h 5509311"/>
              <a:gd name="connsiteX372" fmla="*/ 2592375 w 11760532"/>
              <a:gd name="connsiteY372" fmla="*/ 5030281 h 5509311"/>
              <a:gd name="connsiteX373" fmla="*/ 2744086 w 11760532"/>
              <a:gd name="connsiteY373" fmla="*/ 5048155 h 5509311"/>
              <a:gd name="connsiteX374" fmla="*/ 2920785 w 11760532"/>
              <a:gd name="connsiteY374" fmla="*/ 5089266 h 5509311"/>
              <a:gd name="connsiteX375" fmla="*/ 3052863 w 11760532"/>
              <a:gd name="connsiteY375" fmla="*/ 5091054 h 5509311"/>
              <a:gd name="connsiteX376" fmla="*/ 3104623 w 11760532"/>
              <a:gd name="connsiteY376" fmla="*/ 5096415 h 5509311"/>
              <a:gd name="connsiteX377" fmla="*/ 3215283 w 11760532"/>
              <a:gd name="connsiteY377" fmla="*/ 5117865 h 5509311"/>
              <a:gd name="connsiteX378" fmla="*/ 3318804 w 11760532"/>
              <a:gd name="connsiteY378" fmla="*/ 5125014 h 5509311"/>
              <a:gd name="connsiteX379" fmla="*/ 3475869 w 11760532"/>
              <a:gd name="connsiteY379" fmla="*/ 5141101 h 5509311"/>
              <a:gd name="connsiteX380" fmla="*/ 3574035 w 11760532"/>
              <a:gd name="connsiteY380" fmla="*/ 5148251 h 5509311"/>
              <a:gd name="connsiteX381" fmla="*/ 3786431 w 11760532"/>
              <a:gd name="connsiteY381" fmla="*/ 5166125 h 5509311"/>
              <a:gd name="connsiteX382" fmla="*/ 3998827 w 11760532"/>
              <a:gd name="connsiteY382" fmla="*/ 5171488 h 5509311"/>
              <a:gd name="connsiteX383" fmla="*/ 4143398 w 11760532"/>
              <a:gd name="connsiteY383" fmla="*/ 5180424 h 5509311"/>
              <a:gd name="connsiteX384" fmla="*/ 4370073 w 11760532"/>
              <a:gd name="connsiteY384" fmla="*/ 5180424 h 5509311"/>
              <a:gd name="connsiteX385" fmla="*/ 4484302 w 11760532"/>
              <a:gd name="connsiteY385" fmla="*/ 5187574 h 5509311"/>
              <a:gd name="connsiteX386" fmla="*/ 4619949 w 11760532"/>
              <a:gd name="connsiteY386" fmla="*/ 5180424 h 5509311"/>
              <a:gd name="connsiteX387" fmla="*/ 4703838 w 11760532"/>
              <a:gd name="connsiteY387" fmla="*/ 5180424 h 5509311"/>
              <a:gd name="connsiteX388" fmla="*/ 4793079 w 11760532"/>
              <a:gd name="connsiteY388" fmla="*/ 5184000 h 5509311"/>
              <a:gd name="connsiteX389" fmla="*/ 4903739 w 11760532"/>
              <a:gd name="connsiteY389" fmla="*/ 5169700 h 5509311"/>
              <a:gd name="connsiteX390" fmla="*/ 5055449 w 11760532"/>
              <a:gd name="connsiteY390" fmla="*/ 5160763 h 5509311"/>
              <a:gd name="connsiteX391" fmla="*/ 5258922 w 11760532"/>
              <a:gd name="connsiteY391" fmla="*/ 5144677 h 5509311"/>
              <a:gd name="connsiteX392" fmla="*/ 5378506 w 11760532"/>
              <a:gd name="connsiteY392" fmla="*/ 5135739 h 5509311"/>
              <a:gd name="connsiteX393" fmla="*/ 5564129 w 11760532"/>
              <a:gd name="connsiteY393" fmla="*/ 5132164 h 5509311"/>
              <a:gd name="connsiteX394" fmla="*/ 5576623 w 11760532"/>
              <a:gd name="connsiteY394" fmla="*/ 5121440 h 5509311"/>
              <a:gd name="connsiteX395" fmla="*/ 5558774 w 11760532"/>
              <a:gd name="connsiteY395" fmla="*/ 5101778 h 5509311"/>
              <a:gd name="connsiteX396" fmla="*/ 5521293 w 11760532"/>
              <a:gd name="connsiteY396" fmla="*/ 5103565 h 5509311"/>
              <a:gd name="connsiteX397" fmla="*/ 4716330 w 11760532"/>
              <a:gd name="connsiteY397" fmla="*/ 5125014 h 5509311"/>
              <a:gd name="connsiteX398" fmla="*/ 3977408 w 11760532"/>
              <a:gd name="connsiteY398" fmla="*/ 5116078 h 5509311"/>
              <a:gd name="connsiteX399" fmla="*/ 3504426 w 11760532"/>
              <a:gd name="connsiteY399" fmla="*/ 5083904 h 5509311"/>
              <a:gd name="connsiteX400" fmla="*/ 3092129 w 11760532"/>
              <a:gd name="connsiteY400" fmla="*/ 5039218 h 5509311"/>
              <a:gd name="connsiteX401" fmla="*/ 2588805 w 11760532"/>
              <a:gd name="connsiteY401" fmla="*/ 4948059 h 5509311"/>
              <a:gd name="connsiteX402" fmla="*/ 2428170 w 11760532"/>
              <a:gd name="connsiteY402" fmla="*/ 4923036 h 5509311"/>
              <a:gd name="connsiteX403" fmla="*/ 2260395 w 11760532"/>
              <a:gd name="connsiteY403" fmla="*/ 4880137 h 5509311"/>
              <a:gd name="connsiteX404" fmla="*/ 2190786 w 11760532"/>
              <a:gd name="connsiteY404" fmla="*/ 4871200 h 5509311"/>
              <a:gd name="connsiteX405" fmla="*/ 2140811 w 11760532"/>
              <a:gd name="connsiteY405" fmla="*/ 4871200 h 5509311"/>
              <a:gd name="connsiteX406" fmla="*/ 2058708 w 11760532"/>
              <a:gd name="connsiteY406" fmla="*/ 4862263 h 5509311"/>
              <a:gd name="connsiteX407" fmla="*/ 1999808 w 11760532"/>
              <a:gd name="connsiteY407" fmla="*/ 4840814 h 5509311"/>
              <a:gd name="connsiteX408" fmla="*/ 1978390 w 11760532"/>
              <a:gd name="connsiteY408" fmla="*/ 4835451 h 5509311"/>
              <a:gd name="connsiteX409" fmla="*/ 1937339 w 11760532"/>
              <a:gd name="connsiteY409" fmla="*/ 4837239 h 5509311"/>
              <a:gd name="connsiteX410" fmla="*/ 1803476 w 11760532"/>
              <a:gd name="connsiteY410" fmla="*/ 4801490 h 5509311"/>
              <a:gd name="connsiteX411" fmla="*/ 1760641 w 11760532"/>
              <a:gd name="connsiteY411" fmla="*/ 4799703 h 5509311"/>
              <a:gd name="connsiteX412" fmla="*/ 1701740 w 11760532"/>
              <a:gd name="connsiteY412" fmla="*/ 4783616 h 5509311"/>
              <a:gd name="connsiteX413" fmla="*/ 1674969 w 11760532"/>
              <a:gd name="connsiteY413" fmla="*/ 4765742 h 5509311"/>
              <a:gd name="connsiteX414" fmla="*/ 1569663 w 11760532"/>
              <a:gd name="connsiteY414" fmla="*/ 4738931 h 5509311"/>
              <a:gd name="connsiteX415" fmla="*/ 1476851 w 11760532"/>
              <a:gd name="connsiteY415" fmla="*/ 4724631 h 5509311"/>
              <a:gd name="connsiteX416" fmla="*/ 1451863 w 11760532"/>
              <a:gd name="connsiteY416" fmla="*/ 4713906 h 5509311"/>
              <a:gd name="connsiteX417" fmla="*/ 1421521 w 11760532"/>
              <a:gd name="connsiteY417" fmla="*/ 4694245 h 5509311"/>
              <a:gd name="connsiteX418" fmla="*/ 1344773 w 11760532"/>
              <a:gd name="connsiteY418" fmla="*/ 4667433 h 5509311"/>
              <a:gd name="connsiteX419" fmla="*/ 1230544 w 11760532"/>
              <a:gd name="connsiteY419" fmla="*/ 4638835 h 5509311"/>
              <a:gd name="connsiteX420" fmla="*/ 1209125 w 11760532"/>
              <a:gd name="connsiteY420" fmla="*/ 4622747 h 5509311"/>
              <a:gd name="connsiteX421" fmla="*/ 1207341 w 11760532"/>
              <a:gd name="connsiteY421" fmla="*/ 4608448 h 5509311"/>
              <a:gd name="connsiteX422" fmla="*/ 1112744 w 11760532"/>
              <a:gd name="connsiteY422" fmla="*/ 4526227 h 5509311"/>
              <a:gd name="connsiteX423" fmla="*/ 1107390 w 11760532"/>
              <a:gd name="connsiteY423" fmla="*/ 4511927 h 5509311"/>
              <a:gd name="connsiteX424" fmla="*/ 1116314 w 11760532"/>
              <a:gd name="connsiteY424" fmla="*/ 4501203 h 5509311"/>
              <a:gd name="connsiteX425" fmla="*/ 1123453 w 11760532"/>
              <a:gd name="connsiteY425" fmla="*/ 4477966 h 5509311"/>
              <a:gd name="connsiteX426" fmla="*/ 1100251 w 11760532"/>
              <a:gd name="connsiteY426" fmla="*/ 4476178 h 5509311"/>
              <a:gd name="connsiteX427" fmla="*/ 1048490 w 11760532"/>
              <a:gd name="connsiteY427" fmla="*/ 4476178 h 5509311"/>
              <a:gd name="connsiteX428" fmla="*/ 1009224 w 11760532"/>
              <a:gd name="connsiteY428" fmla="*/ 4483328 h 5509311"/>
              <a:gd name="connsiteX429" fmla="*/ 996730 w 11760532"/>
              <a:gd name="connsiteY429" fmla="*/ 4492265 h 5509311"/>
              <a:gd name="connsiteX430" fmla="*/ 978881 w 11760532"/>
              <a:gd name="connsiteY430" fmla="*/ 4492265 h 5509311"/>
              <a:gd name="connsiteX431" fmla="*/ 978881 w 11760532"/>
              <a:gd name="connsiteY431" fmla="*/ 4474391 h 5509311"/>
              <a:gd name="connsiteX432" fmla="*/ 993160 w 11760532"/>
              <a:gd name="connsiteY432" fmla="*/ 4454730 h 5509311"/>
              <a:gd name="connsiteX433" fmla="*/ 998515 w 11760532"/>
              <a:gd name="connsiteY433" fmla="*/ 4445792 h 5509311"/>
              <a:gd name="connsiteX434" fmla="*/ 987806 w 11760532"/>
              <a:gd name="connsiteY434" fmla="*/ 4444005 h 5509311"/>
              <a:gd name="connsiteX435" fmla="*/ 975312 w 11760532"/>
              <a:gd name="connsiteY435" fmla="*/ 4447580 h 5509311"/>
              <a:gd name="connsiteX436" fmla="*/ 964603 w 11760532"/>
              <a:gd name="connsiteY436" fmla="*/ 4447580 h 5509311"/>
              <a:gd name="connsiteX437" fmla="*/ 894995 w 11760532"/>
              <a:gd name="connsiteY437" fmla="*/ 4420768 h 5509311"/>
              <a:gd name="connsiteX438" fmla="*/ 857513 w 11760532"/>
              <a:gd name="connsiteY438" fmla="*/ 4420768 h 5509311"/>
              <a:gd name="connsiteX439" fmla="*/ 836094 w 11760532"/>
              <a:gd name="connsiteY439" fmla="*/ 4411831 h 5509311"/>
              <a:gd name="connsiteX440" fmla="*/ 848588 w 11760532"/>
              <a:gd name="connsiteY440" fmla="*/ 4393957 h 5509311"/>
              <a:gd name="connsiteX441" fmla="*/ 859297 w 11760532"/>
              <a:gd name="connsiteY441" fmla="*/ 4385019 h 5509311"/>
              <a:gd name="connsiteX442" fmla="*/ 868222 w 11760532"/>
              <a:gd name="connsiteY442" fmla="*/ 4370721 h 5509311"/>
              <a:gd name="connsiteX443" fmla="*/ 850373 w 11760532"/>
              <a:gd name="connsiteY443" fmla="*/ 4365358 h 5509311"/>
              <a:gd name="connsiteX444" fmla="*/ 805753 w 11760532"/>
              <a:gd name="connsiteY444" fmla="*/ 4354633 h 5509311"/>
              <a:gd name="connsiteX445" fmla="*/ 736143 w 11760532"/>
              <a:gd name="connsiteY445" fmla="*/ 4381445 h 5509311"/>
              <a:gd name="connsiteX446" fmla="*/ 707587 w 11760532"/>
              <a:gd name="connsiteY446" fmla="*/ 4401107 h 5509311"/>
              <a:gd name="connsiteX447" fmla="*/ 707587 w 11760532"/>
              <a:gd name="connsiteY447" fmla="*/ 4301010 h 5509311"/>
              <a:gd name="connsiteX448" fmla="*/ 730789 w 11760532"/>
              <a:gd name="connsiteY448" fmla="*/ 4274199 h 5509311"/>
              <a:gd name="connsiteX449" fmla="*/ 725435 w 11760532"/>
              <a:gd name="connsiteY449" fmla="*/ 4259900 h 5509311"/>
              <a:gd name="connsiteX450" fmla="*/ 743283 w 11760532"/>
              <a:gd name="connsiteY450" fmla="*/ 4258113 h 5509311"/>
              <a:gd name="connsiteX451" fmla="*/ 755777 w 11760532"/>
              <a:gd name="connsiteY451" fmla="*/ 4261687 h 5509311"/>
              <a:gd name="connsiteX452" fmla="*/ 773625 w 11760532"/>
              <a:gd name="connsiteY452" fmla="*/ 4250963 h 5509311"/>
              <a:gd name="connsiteX453" fmla="*/ 789689 w 11760532"/>
              <a:gd name="connsiteY453" fmla="*/ 4238450 h 5509311"/>
              <a:gd name="connsiteX454" fmla="*/ 827171 w 11760532"/>
              <a:gd name="connsiteY454" fmla="*/ 4245600 h 5509311"/>
              <a:gd name="connsiteX455" fmla="*/ 862867 w 11760532"/>
              <a:gd name="connsiteY455" fmla="*/ 4247388 h 5509311"/>
              <a:gd name="connsiteX456" fmla="*/ 877146 w 11760532"/>
              <a:gd name="connsiteY456" fmla="*/ 4222364 h 5509311"/>
              <a:gd name="connsiteX457" fmla="*/ 884286 w 11760532"/>
              <a:gd name="connsiteY457" fmla="*/ 4211640 h 5509311"/>
              <a:gd name="connsiteX458" fmla="*/ 921767 w 11760532"/>
              <a:gd name="connsiteY458" fmla="*/ 4245600 h 5509311"/>
              <a:gd name="connsiteX459" fmla="*/ 930691 w 11760532"/>
              <a:gd name="connsiteY459" fmla="*/ 4265262 h 5509311"/>
              <a:gd name="connsiteX460" fmla="*/ 969957 w 11760532"/>
              <a:gd name="connsiteY460" fmla="*/ 4270625 h 5509311"/>
              <a:gd name="connsiteX461" fmla="*/ 973527 w 11760532"/>
              <a:gd name="connsiteY461" fmla="*/ 4259900 h 5509311"/>
              <a:gd name="connsiteX462" fmla="*/ 977097 w 11760532"/>
              <a:gd name="connsiteY462" fmla="*/ 4243813 h 5509311"/>
              <a:gd name="connsiteX463" fmla="*/ 994945 w 11760532"/>
              <a:gd name="connsiteY463" fmla="*/ 4236663 h 5509311"/>
              <a:gd name="connsiteX464" fmla="*/ 1046705 w 11760532"/>
              <a:gd name="connsiteY464" fmla="*/ 4256325 h 5509311"/>
              <a:gd name="connsiteX465" fmla="*/ 1077048 w 11760532"/>
              <a:gd name="connsiteY465" fmla="*/ 4268837 h 5509311"/>
              <a:gd name="connsiteX466" fmla="*/ 1162720 w 11760532"/>
              <a:gd name="connsiteY466" fmla="*/ 4259900 h 5509311"/>
              <a:gd name="connsiteX467" fmla="*/ 1187707 w 11760532"/>
              <a:gd name="connsiteY467" fmla="*/ 4256325 h 5509311"/>
              <a:gd name="connsiteX468" fmla="*/ 1264456 w 11760532"/>
              <a:gd name="connsiteY468" fmla="*/ 4286712 h 5509311"/>
              <a:gd name="connsiteX469" fmla="*/ 1309077 w 11760532"/>
              <a:gd name="connsiteY469" fmla="*/ 4288499 h 5509311"/>
              <a:gd name="connsiteX470" fmla="*/ 1369761 w 11760532"/>
              <a:gd name="connsiteY470" fmla="*/ 4259900 h 5509311"/>
              <a:gd name="connsiteX471" fmla="*/ 1373331 w 11760532"/>
              <a:gd name="connsiteY471" fmla="*/ 4292073 h 5509311"/>
              <a:gd name="connsiteX472" fmla="*/ 1403672 w 11760532"/>
              <a:gd name="connsiteY472" fmla="*/ 4311735 h 5509311"/>
              <a:gd name="connsiteX473" fmla="*/ 1410812 w 11760532"/>
              <a:gd name="connsiteY473" fmla="*/ 4290286 h 5509311"/>
              <a:gd name="connsiteX474" fmla="*/ 1430445 w 11760532"/>
              <a:gd name="connsiteY474" fmla="*/ 4277774 h 5509311"/>
              <a:gd name="connsiteX475" fmla="*/ 1473282 w 11760532"/>
              <a:gd name="connsiteY475" fmla="*/ 4283136 h 5509311"/>
              <a:gd name="connsiteX476" fmla="*/ 1530396 w 11760532"/>
              <a:gd name="connsiteY476" fmla="*/ 4292073 h 5509311"/>
              <a:gd name="connsiteX477" fmla="*/ 1560739 w 11760532"/>
              <a:gd name="connsiteY477" fmla="*/ 4290286 h 5509311"/>
              <a:gd name="connsiteX478" fmla="*/ 1575017 w 11760532"/>
              <a:gd name="connsiteY478" fmla="*/ 4275987 h 5509311"/>
              <a:gd name="connsiteX479" fmla="*/ 1600005 w 11760532"/>
              <a:gd name="connsiteY479" fmla="*/ 4259900 h 5509311"/>
              <a:gd name="connsiteX480" fmla="*/ 1608929 w 11760532"/>
              <a:gd name="connsiteY480" fmla="*/ 4284923 h 5509311"/>
              <a:gd name="connsiteX481" fmla="*/ 1621423 w 11760532"/>
              <a:gd name="connsiteY481" fmla="*/ 4292073 h 5509311"/>
              <a:gd name="connsiteX482" fmla="*/ 1630348 w 11760532"/>
              <a:gd name="connsiteY482" fmla="*/ 4284923 h 5509311"/>
              <a:gd name="connsiteX483" fmla="*/ 1653550 w 11760532"/>
              <a:gd name="connsiteY483" fmla="*/ 4258113 h 5509311"/>
              <a:gd name="connsiteX484" fmla="*/ 1660689 w 11760532"/>
              <a:gd name="connsiteY484" fmla="*/ 4236663 h 5509311"/>
              <a:gd name="connsiteX485" fmla="*/ 1648196 w 11760532"/>
              <a:gd name="connsiteY485" fmla="*/ 4229513 h 5509311"/>
              <a:gd name="connsiteX486" fmla="*/ 1500054 w 11760532"/>
              <a:gd name="connsiteY486" fmla="*/ 4191977 h 5509311"/>
              <a:gd name="connsiteX487" fmla="*/ 1387610 w 11760532"/>
              <a:gd name="connsiteY487" fmla="*/ 4150867 h 5509311"/>
              <a:gd name="connsiteX488" fmla="*/ 1341203 w 11760532"/>
              <a:gd name="connsiteY488" fmla="*/ 4090094 h 5509311"/>
              <a:gd name="connsiteX489" fmla="*/ 1301938 w 11760532"/>
              <a:gd name="connsiteY489" fmla="*/ 4095457 h 5509311"/>
              <a:gd name="connsiteX490" fmla="*/ 1294798 w 11760532"/>
              <a:gd name="connsiteY490" fmla="*/ 4072220 h 5509311"/>
              <a:gd name="connsiteX491" fmla="*/ 1271595 w 11760532"/>
              <a:gd name="connsiteY491" fmla="*/ 4048983 h 5509311"/>
              <a:gd name="connsiteX492" fmla="*/ 1248392 w 11760532"/>
              <a:gd name="connsiteY492" fmla="*/ 4063282 h 5509311"/>
              <a:gd name="connsiteX493" fmla="*/ 1234113 w 11760532"/>
              <a:gd name="connsiteY493" fmla="*/ 4093669 h 5509311"/>
              <a:gd name="connsiteX494" fmla="*/ 1214480 w 11760532"/>
              <a:gd name="connsiteY494" fmla="*/ 4063282 h 5509311"/>
              <a:gd name="connsiteX495" fmla="*/ 1189493 w 11760532"/>
              <a:gd name="connsiteY495" fmla="*/ 4041834 h 5509311"/>
              <a:gd name="connsiteX496" fmla="*/ 1207341 w 11760532"/>
              <a:gd name="connsiteY496" fmla="*/ 3986423 h 5509311"/>
              <a:gd name="connsiteX497" fmla="*/ 1234113 w 11760532"/>
              <a:gd name="connsiteY497" fmla="*/ 3977486 h 5509311"/>
              <a:gd name="connsiteX498" fmla="*/ 1244823 w 11760532"/>
              <a:gd name="connsiteY498" fmla="*/ 3995360 h 5509311"/>
              <a:gd name="connsiteX499" fmla="*/ 1255531 w 11760532"/>
              <a:gd name="connsiteY499" fmla="*/ 4006085 h 5509311"/>
              <a:gd name="connsiteX500" fmla="*/ 1301938 w 11760532"/>
              <a:gd name="connsiteY500" fmla="*/ 4027535 h 5509311"/>
              <a:gd name="connsiteX501" fmla="*/ 1341203 w 11760532"/>
              <a:gd name="connsiteY501" fmla="*/ 4029322 h 5509311"/>
              <a:gd name="connsiteX502" fmla="*/ 1351912 w 11760532"/>
              <a:gd name="connsiteY502" fmla="*/ 4034684 h 5509311"/>
              <a:gd name="connsiteX503" fmla="*/ 1362621 w 11760532"/>
              <a:gd name="connsiteY503" fmla="*/ 4047196 h 5509311"/>
              <a:gd name="connsiteX504" fmla="*/ 1455433 w 11760532"/>
              <a:gd name="connsiteY504" fmla="*/ 4047196 h 5509311"/>
              <a:gd name="connsiteX505" fmla="*/ 1503623 w 11760532"/>
              <a:gd name="connsiteY505" fmla="*/ 4043621 h 5509311"/>
              <a:gd name="connsiteX506" fmla="*/ 1541106 w 11760532"/>
              <a:gd name="connsiteY506" fmla="*/ 4065071 h 5509311"/>
              <a:gd name="connsiteX507" fmla="*/ 1558954 w 11760532"/>
              <a:gd name="connsiteY507" fmla="*/ 4072220 h 5509311"/>
              <a:gd name="connsiteX508" fmla="*/ 1566093 w 11760532"/>
              <a:gd name="connsiteY508" fmla="*/ 4050771 h 5509311"/>
              <a:gd name="connsiteX509" fmla="*/ 1562524 w 11760532"/>
              <a:gd name="connsiteY509" fmla="*/ 4031109 h 5509311"/>
              <a:gd name="connsiteX510" fmla="*/ 1535751 w 11760532"/>
              <a:gd name="connsiteY510" fmla="*/ 3998936 h 5509311"/>
              <a:gd name="connsiteX511" fmla="*/ 1444724 w 11760532"/>
              <a:gd name="connsiteY511" fmla="*/ 3972124 h 5509311"/>
              <a:gd name="connsiteX512" fmla="*/ 1437585 w 11760532"/>
              <a:gd name="connsiteY512" fmla="*/ 3939950 h 5509311"/>
              <a:gd name="connsiteX513" fmla="*/ 1439370 w 11760532"/>
              <a:gd name="connsiteY513" fmla="*/ 3936376 h 5509311"/>
              <a:gd name="connsiteX514" fmla="*/ 1467927 w 11760532"/>
              <a:gd name="connsiteY514" fmla="*/ 3898840 h 5509311"/>
              <a:gd name="connsiteX515" fmla="*/ 1482205 w 11760532"/>
              <a:gd name="connsiteY515" fmla="*/ 3902414 h 5509311"/>
              <a:gd name="connsiteX516" fmla="*/ 1462573 w 11760532"/>
              <a:gd name="connsiteY516" fmla="*/ 3927439 h 5509311"/>
              <a:gd name="connsiteX517" fmla="*/ 1480421 w 11760532"/>
              <a:gd name="connsiteY517" fmla="*/ 3943525 h 5509311"/>
              <a:gd name="connsiteX518" fmla="*/ 1489345 w 11760532"/>
              <a:gd name="connsiteY518" fmla="*/ 3931013 h 5509311"/>
              <a:gd name="connsiteX519" fmla="*/ 1530396 w 11760532"/>
              <a:gd name="connsiteY519" fmla="*/ 3900627 h 5509311"/>
              <a:gd name="connsiteX520" fmla="*/ 1607145 w 11760532"/>
              <a:gd name="connsiteY520" fmla="*/ 3900627 h 5509311"/>
              <a:gd name="connsiteX521" fmla="*/ 1642841 w 11760532"/>
              <a:gd name="connsiteY521" fmla="*/ 3936376 h 5509311"/>
              <a:gd name="connsiteX522" fmla="*/ 1642841 w 11760532"/>
              <a:gd name="connsiteY522" fmla="*/ 3941737 h 5509311"/>
              <a:gd name="connsiteX523" fmla="*/ 1644626 w 11760532"/>
              <a:gd name="connsiteY523" fmla="*/ 3957825 h 5509311"/>
              <a:gd name="connsiteX524" fmla="*/ 1667829 w 11760532"/>
              <a:gd name="connsiteY524" fmla="*/ 3952462 h 5509311"/>
              <a:gd name="connsiteX525" fmla="*/ 1676753 w 11760532"/>
              <a:gd name="connsiteY525" fmla="*/ 3932800 h 5509311"/>
              <a:gd name="connsiteX526" fmla="*/ 1701740 w 11760532"/>
              <a:gd name="connsiteY526" fmla="*/ 3927439 h 5509311"/>
              <a:gd name="connsiteX527" fmla="*/ 1703526 w 11760532"/>
              <a:gd name="connsiteY527" fmla="*/ 3948887 h 5509311"/>
              <a:gd name="connsiteX528" fmla="*/ 1698171 w 11760532"/>
              <a:gd name="connsiteY528" fmla="*/ 3957825 h 5509311"/>
              <a:gd name="connsiteX529" fmla="*/ 1698171 w 11760532"/>
              <a:gd name="connsiteY529" fmla="*/ 3970336 h 5509311"/>
              <a:gd name="connsiteX530" fmla="*/ 1708879 w 11760532"/>
              <a:gd name="connsiteY530" fmla="*/ 3966762 h 5509311"/>
              <a:gd name="connsiteX531" fmla="*/ 1724943 w 11760532"/>
              <a:gd name="connsiteY531" fmla="*/ 3945313 h 5509311"/>
              <a:gd name="connsiteX532" fmla="*/ 1771349 w 11760532"/>
              <a:gd name="connsiteY532" fmla="*/ 3931013 h 5509311"/>
              <a:gd name="connsiteX533" fmla="*/ 1803476 w 11760532"/>
              <a:gd name="connsiteY533" fmla="*/ 3948887 h 5509311"/>
              <a:gd name="connsiteX534" fmla="*/ 1826679 w 11760532"/>
              <a:gd name="connsiteY534" fmla="*/ 3945313 h 5509311"/>
              <a:gd name="connsiteX535" fmla="*/ 1858806 w 11760532"/>
              <a:gd name="connsiteY535" fmla="*/ 3923863 h 5509311"/>
              <a:gd name="connsiteX536" fmla="*/ 1885579 w 11760532"/>
              <a:gd name="connsiteY536" fmla="*/ 3929226 h 5509311"/>
              <a:gd name="connsiteX537" fmla="*/ 2035505 w 11760532"/>
              <a:gd name="connsiteY537" fmla="*/ 3964974 h 5509311"/>
              <a:gd name="connsiteX538" fmla="*/ 2058708 w 11760532"/>
              <a:gd name="connsiteY538" fmla="*/ 3970336 h 5509311"/>
              <a:gd name="connsiteX539" fmla="*/ 2115823 w 11760532"/>
              <a:gd name="connsiteY539" fmla="*/ 3984636 h 5509311"/>
              <a:gd name="connsiteX540" fmla="*/ 2199710 w 11760532"/>
              <a:gd name="connsiteY540" fmla="*/ 3954250 h 5509311"/>
              <a:gd name="connsiteX541" fmla="*/ 2238976 w 11760532"/>
              <a:gd name="connsiteY541" fmla="*/ 3941737 h 5509311"/>
              <a:gd name="connsiteX542" fmla="*/ 2378194 w 11760532"/>
              <a:gd name="connsiteY542" fmla="*/ 3975699 h 5509311"/>
              <a:gd name="connsiteX543" fmla="*/ 2403182 w 11760532"/>
              <a:gd name="connsiteY543" fmla="*/ 3972124 h 5509311"/>
              <a:gd name="connsiteX544" fmla="*/ 2413892 w 11760532"/>
              <a:gd name="connsiteY544" fmla="*/ 3963187 h 5509311"/>
              <a:gd name="connsiteX545" fmla="*/ 2419245 w 11760532"/>
              <a:gd name="connsiteY545" fmla="*/ 3952462 h 5509311"/>
              <a:gd name="connsiteX546" fmla="*/ 2397828 w 11760532"/>
              <a:gd name="connsiteY546" fmla="*/ 3936376 h 5509311"/>
              <a:gd name="connsiteX547" fmla="*/ 2384441 w 11760532"/>
              <a:gd name="connsiteY547" fmla="*/ 3929673 h 5509311"/>
              <a:gd name="connsiteX548" fmla="*/ 2383219 w 11760532"/>
              <a:gd name="connsiteY548" fmla="*/ 3922944 h 5509311"/>
              <a:gd name="connsiteX549" fmla="*/ 2383113 w 11760532"/>
              <a:gd name="connsiteY549" fmla="*/ 3922898 h 5509311"/>
              <a:gd name="connsiteX550" fmla="*/ 2269842 w 11760532"/>
              <a:gd name="connsiteY550" fmla="*/ 3904498 h 5509311"/>
              <a:gd name="connsiteX551" fmla="*/ 2152143 w 11760532"/>
              <a:gd name="connsiteY551" fmla="*/ 3911739 h 5509311"/>
              <a:gd name="connsiteX552" fmla="*/ 1951915 w 11760532"/>
              <a:gd name="connsiteY552" fmla="*/ 3902673 h 5509311"/>
              <a:gd name="connsiteX553" fmla="*/ 1870396 w 11760532"/>
              <a:gd name="connsiteY553" fmla="*/ 3879067 h 5509311"/>
              <a:gd name="connsiteX554" fmla="*/ 1850685 w 11760532"/>
              <a:gd name="connsiteY554" fmla="*/ 3879385 h 5509311"/>
              <a:gd name="connsiteX555" fmla="*/ 1804543 w 11760532"/>
              <a:gd name="connsiteY555" fmla="*/ 3884338 h 5509311"/>
              <a:gd name="connsiteX556" fmla="*/ 1736974 w 11760532"/>
              <a:gd name="connsiteY556" fmla="*/ 3873616 h 5509311"/>
              <a:gd name="connsiteX557" fmla="*/ 1632577 w 11760532"/>
              <a:gd name="connsiteY557" fmla="*/ 3854262 h 5509311"/>
              <a:gd name="connsiteX558" fmla="*/ 1571094 w 11760532"/>
              <a:gd name="connsiteY558" fmla="*/ 3850076 h 5509311"/>
              <a:gd name="connsiteX559" fmla="*/ 1483755 w 11760532"/>
              <a:gd name="connsiteY559" fmla="*/ 3855857 h 5509311"/>
              <a:gd name="connsiteX560" fmla="*/ 1434695 w 11760532"/>
              <a:gd name="connsiteY560" fmla="*/ 3850337 h 5509311"/>
              <a:gd name="connsiteX561" fmla="*/ 1421318 w 11760532"/>
              <a:gd name="connsiteY561" fmla="*/ 3842785 h 5509311"/>
              <a:gd name="connsiteX562" fmla="*/ 1419983 w 11760532"/>
              <a:gd name="connsiteY562" fmla="*/ 3830345 h 5509311"/>
              <a:gd name="connsiteX563" fmla="*/ 1402866 w 11760532"/>
              <a:gd name="connsiteY563" fmla="*/ 3821396 h 5509311"/>
              <a:gd name="connsiteX564" fmla="*/ 1350142 w 11760532"/>
              <a:gd name="connsiteY564" fmla="*/ 3848628 h 5509311"/>
              <a:gd name="connsiteX565" fmla="*/ 1330430 w 11760532"/>
              <a:gd name="connsiteY565" fmla="*/ 3848947 h 5509311"/>
              <a:gd name="connsiteX566" fmla="*/ 1330297 w 11760532"/>
              <a:gd name="connsiteY566" fmla="*/ 3830984 h 5509311"/>
              <a:gd name="connsiteX567" fmla="*/ 1317169 w 11760532"/>
              <a:gd name="connsiteY567" fmla="*/ 3809024 h 5509311"/>
              <a:gd name="connsiteX568" fmla="*/ 1300624 w 11760532"/>
              <a:gd name="connsiteY568" fmla="*/ 3805406 h 5509311"/>
              <a:gd name="connsiteX569" fmla="*/ 1291809 w 11760532"/>
              <a:gd name="connsiteY569" fmla="*/ 3790174 h 5509311"/>
              <a:gd name="connsiteX570" fmla="*/ 1292248 w 11760532"/>
              <a:gd name="connsiteY570" fmla="*/ 3777542 h 5509311"/>
              <a:gd name="connsiteX571" fmla="*/ 1277860 w 11760532"/>
              <a:gd name="connsiteY571" fmla="*/ 3777290 h 5509311"/>
              <a:gd name="connsiteX572" fmla="*/ 1233494 w 11760532"/>
              <a:gd name="connsiteY572" fmla="*/ 3782052 h 5509311"/>
              <a:gd name="connsiteX573" fmla="*/ 1104651 w 11760532"/>
              <a:gd name="connsiteY573" fmla="*/ 3819254 h 5509311"/>
              <a:gd name="connsiteX574" fmla="*/ 1086656 w 11760532"/>
              <a:gd name="connsiteY574" fmla="*/ 3835568 h 5509311"/>
              <a:gd name="connsiteX575" fmla="*/ 1089309 w 11760532"/>
              <a:gd name="connsiteY575" fmla="*/ 3810115 h 5509311"/>
              <a:gd name="connsiteX576" fmla="*/ 1066354 w 11760532"/>
              <a:gd name="connsiteY576" fmla="*/ 3780221 h 5509311"/>
              <a:gd name="connsiteX577" fmla="*/ 902629 w 11760532"/>
              <a:gd name="connsiteY577" fmla="*/ 3760045 h 5509311"/>
              <a:gd name="connsiteX578" fmla="*/ 843113 w 11760532"/>
              <a:gd name="connsiteY578" fmla="*/ 3757446 h 5509311"/>
              <a:gd name="connsiteX579" fmla="*/ 824279 w 11760532"/>
              <a:gd name="connsiteY579" fmla="*/ 3732503 h 5509311"/>
              <a:gd name="connsiteX580" fmla="*/ 791821 w 11760532"/>
              <a:gd name="connsiteY580" fmla="*/ 3714415 h 5509311"/>
              <a:gd name="connsiteX581" fmla="*/ 754362 w 11760532"/>
              <a:gd name="connsiteY581" fmla="*/ 3716638 h 5509311"/>
              <a:gd name="connsiteX582" fmla="*/ 731292 w 11760532"/>
              <a:gd name="connsiteY582" fmla="*/ 3719115 h 5509311"/>
              <a:gd name="connsiteX583" fmla="*/ 701696 w 11760532"/>
              <a:gd name="connsiteY583" fmla="*/ 3727686 h 5509311"/>
              <a:gd name="connsiteX584" fmla="*/ 677862 w 11760532"/>
              <a:gd name="connsiteY584" fmla="*/ 3723053 h 5509311"/>
              <a:gd name="connsiteX585" fmla="*/ 660364 w 11760532"/>
              <a:gd name="connsiteY585" fmla="*/ 3710550 h 5509311"/>
              <a:gd name="connsiteX586" fmla="*/ 632790 w 11760532"/>
              <a:gd name="connsiteY586" fmla="*/ 3704522 h 5509311"/>
              <a:gd name="connsiteX587" fmla="*/ 601171 w 11760532"/>
              <a:gd name="connsiteY587" fmla="*/ 3727691 h 5509311"/>
              <a:gd name="connsiteX588" fmla="*/ 599014 w 11760532"/>
              <a:gd name="connsiteY588" fmla="*/ 3724327 h 5509311"/>
              <a:gd name="connsiteX589" fmla="*/ 595638 w 11760532"/>
              <a:gd name="connsiteY589" fmla="*/ 3676151 h 5509311"/>
              <a:gd name="connsiteX590" fmla="*/ 589360 w 11760532"/>
              <a:gd name="connsiteY590" fmla="*/ 3667837 h 5509311"/>
              <a:gd name="connsiteX591" fmla="*/ 521409 w 11760532"/>
              <a:gd name="connsiteY591" fmla="*/ 3653560 h 5509311"/>
              <a:gd name="connsiteX592" fmla="*/ 491489 w 11760532"/>
              <a:gd name="connsiteY592" fmla="*/ 3642390 h 5509311"/>
              <a:gd name="connsiteX593" fmla="*/ 488627 w 11760532"/>
              <a:gd name="connsiteY593" fmla="*/ 3615731 h 5509311"/>
              <a:gd name="connsiteX594" fmla="*/ 533050 w 11760532"/>
              <a:gd name="connsiteY594" fmla="*/ 3594784 h 5509311"/>
              <a:gd name="connsiteX595" fmla="*/ 579706 w 11760532"/>
              <a:gd name="connsiteY595" fmla="*/ 3611347 h 5509311"/>
              <a:gd name="connsiteX596" fmla="*/ 622621 w 11760532"/>
              <a:gd name="connsiteY596" fmla="*/ 3626515 h 5509311"/>
              <a:gd name="connsiteX597" fmla="*/ 667559 w 11760532"/>
              <a:gd name="connsiteY597" fmla="*/ 3627084 h 5509311"/>
              <a:gd name="connsiteX598" fmla="*/ 710781 w 11760532"/>
              <a:gd name="connsiteY598" fmla="*/ 3611657 h 5509311"/>
              <a:gd name="connsiteX599" fmla="*/ 805924 w 11760532"/>
              <a:gd name="connsiteY599" fmla="*/ 3628408 h 5509311"/>
              <a:gd name="connsiteX600" fmla="*/ 881280 w 11760532"/>
              <a:gd name="connsiteY600" fmla="*/ 3611331 h 5509311"/>
              <a:gd name="connsiteX601" fmla="*/ 911830 w 11760532"/>
              <a:gd name="connsiteY601" fmla="*/ 3611646 h 5509311"/>
              <a:gd name="connsiteX602" fmla="*/ 1092289 w 11760532"/>
              <a:gd name="connsiteY602" fmla="*/ 3637216 h 5509311"/>
              <a:gd name="connsiteX603" fmla="*/ 1120874 w 11760532"/>
              <a:gd name="connsiteY603" fmla="*/ 3635944 h 5509311"/>
              <a:gd name="connsiteX604" fmla="*/ 1140968 w 11760532"/>
              <a:gd name="connsiteY604" fmla="*/ 3639181 h 5509311"/>
              <a:gd name="connsiteX605" fmla="*/ 1138678 w 11760532"/>
              <a:gd name="connsiteY605" fmla="*/ 3617854 h 5509311"/>
              <a:gd name="connsiteX606" fmla="*/ 1147799 w 11760532"/>
              <a:gd name="connsiteY606" fmla="*/ 3602493 h 5509311"/>
              <a:gd name="connsiteX607" fmla="*/ 1180315 w 11760532"/>
              <a:gd name="connsiteY607" fmla="*/ 3604396 h 5509311"/>
              <a:gd name="connsiteX608" fmla="*/ 1248897 w 11760532"/>
              <a:gd name="connsiteY608" fmla="*/ 3607820 h 5509311"/>
              <a:gd name="connsiteX609" fmla="*/ 1256758 w 11760532"/>
              <a:gd name="connsiteY609" fmla="*/ 3614166 h 5509311"/>
              <a:gd name="connsiteX610" fmla="*/ 1290800 w 11760532"/>
              <a:gd name="connsiteY610" fmla="*/ 3630287 h 5509311"/>
              <a:gd name="connsiteX611" fmla="*/ 1451414 w 11760532"/>
              <a:gd name="connsiteY611" fmla="*/ 3638211 h 5509311"/>
              <a:gd name="connsiteX612" fmla="*/ 1465611 w 11760532"/>
              <a:gd name="connsiteY612" fmla="*/ 3636688 h 5509311"/>
              <a:gd name="connsiteX613" fmla="*/ 1502631 w 11760532"/>
              <a:gd name="connsiteY613" fmla="*/ 3647095 h 5509311"/>
              <a:gd name="connsiteX614" fmla="*/ 1538696 w 11760532"/>
              <a:gd name="connsiteY614" fmla="*/ 3648616 h 5509311"/>
              <a:gd name="connsiteX615" fmla="*/ 1556309 w 11760532"/>
              <a:gd name="connsiteY615" fmla="*/ 3628749 h 5509311"/>
              <a:gd name="connsiteX616" fmla="*/ 1585218 w 11760532"/>
              <a:gd name="connsiteY616" fmla="*/ 3647218 h 5509311"/>
              <a:gd name="connsiteX617" fmla="*/ 1626226 w 11760532"/>
              <a:gd name="connsiteY617" fmla="*/ 3644613 h 5509311"/>
              <a:gd name="connsiteX618" fmla="*/ 1653958 w 11760532"/>
              <a:gd name="connsiteY618" fmla="*/ 3642451 h 5509311"/>
              <a:gd name="connsiteX619" fmla="*/ 1663302 w 11760532"/>
              <a:gd name="connsiteY619" fmla="*/ 3639280 h 5509311"/>
              <a:gd name="connsiteX620" fmla="*/ 1642423 w 11760532"/>
              <a:gd name="connsiteY620" fmla="*/ 3628380 h 5509311"/>
              <a:gd name="connsiteX621" fmla="*/ 1624993 w 11760532"/>
              <a:gd name="connsiteY621" fmla="*/ 3605702 h 5509311"/>
              <a:gd name="connsiteX622" fmla="*/ 1591081 w 11760532"/>
              <a:gd name="connsiteY622" fmla="*/ 3564590 h 5509311"/>
              <a:gd name="connsiteX623" fmla="*/ 1553599 w 11760532"/>
              <a:gd name="connsiteY623" fmla="*/ 3527054 h 5509311"/>
              <a:gd name="connsiteX624" fmla="*/ 1542890 w 11760532"/>
              <a:gd name="connsiteY624" fmla="*/ 3584253 h 5509311"/>
              <a:gd name="connsiteX625" fmla="*/ 1501839 w 11760532"/>
              <a:gd name="connsiteY625" fmla="*/ 3573527 h 5509311"/>
              <a:gd name="connsiteX626" fmla="*/ 1473282 w 11760532"/>
              <a:gd name="connsiteY626" fmla="*/ 3573527 h 5509311"/>
              <a:gd name="connsiteX627" fmla="*/ 1387610 w 11760532"/>
              <a:gd name="connsiteY627" fmla="*/ 3543141 h 5509311"/>
              <a:gd name="connsiteX628" fmla="*/ 1125238 w 11760532"/>
              <a:gd name="connsiteY628" fmla="*/ 3462707 h 5509311"/>
              <a:gd name="connsiteX629" fmla="*/ 1107390 w 11760532"/>
              <a:gd name="connsiteY629" fmla="*/ 3451983 h 5509311"/>
              <a:gd name="connsiteX630" fmla="*/ 1110960 w 11760532"/>
              <a:gd name="connsiteY630" fmla="*/ 3441705 h 5509311"/>
              <a:gd name="connsiteX631" fmla="*/ 1113146 w 11760532"/>
              <a:gd name="connsiteY631" fmla="*/ 3439843 h 5509311"/>
              <a:gd name="connsiteX632" fmla="*/ 1100269 w 11760532"/>
              <a:gd name="connsiteY632" fmla="*/ 3444006 h 5509311"/>
              <a:gd name="connsiteX633" fmla="*/ 1039988 w 11760532"/>
              <a:gd name="connsiteY633" fmla="*/ 3434297 h 5509311"/>
              <a:gd name="connsiteX634" fmla="*/ 1011461 w 11760532"/>
              <a:gd name="connsiteY634" fmla="*/ 3419384 h 5509311"/>
              <a:gd name="connsiteX635" fmla="*/ 903895 w 11760532"/>
              <a:gd name="connsiteY635" fmla="*/ 3403965 h 5509311"/>
              <a:gd name="connsiteX636" fmla="*/ 810088 w 11760532"/>
              <a:gd name="connsiteY636" fmla="*/ 3399655 h 5509311"/>
              <a:gd name="connsiteX637" fmla="*/ 784098 w 11760532"/>
              <a:gd name="connsiteY637" fmla="*/ 3391658 h 5509311"/>
              <a:gd name="connsiteX638" fmla="*/ 751830 w 11760532"/>
              <a:gd name="connsiteY638" fmla="*/ 3375348 h 5509311"/>
              <a:gd name="connsiteX639" fmla="*/ 672659 w 11760532"/>
              <a:gd name="connsiteY639" fmla="*/ 3356881 h 5509311"/>
              <a:gd name="connsiteX640" fmla="*/ 556029 w 11760532"/>
              <a:gd name="connsiteY640" fmla="*/ 3340639 h 5509311"/>
              <a:gd name="connsiteX641" fmla="*/ 533017 w 11760532"/>
              <a:gd name="connsiteY641" fmla="*/ 3326930 h 5509311"/>
              <a:gd name="connsiteX642" fmla="*/ 529715 w 11760532"/>
              <a:gd name="connsiteY642" fmla="*/ 3312903 h 5509311"/>
              <a:gd name="connsiteX643" fmla="*/ 426883 w 11760532"/>
              <a:gd name="connsiteY643" fmla="*/ 3241248 h 5509311"/>
              <a:gd name="connsiteX644" fmla="*/ 420033 w 11760532"/>
              <a:gd name="connsiteY644" fmla="*/ 3227602 h 5509311"/>
              <a:gd name="connsiteX645" fmla="*/ 427761 w 11760532"/>
              <a:gd name="connsiteY645" fmla="*/ 3215986 h 5509311"/>
              <a:gd name="connsiteX646" fmla="*/ 432379 w 11760532"/>
              <a:gd name="connsiteY646" fmla="*/ 3192120 h 5509311"/>
              <a:gd name="connsiteX647" fmla="*/ 409118 w 11760532"/>
              <a:gd name="connsiteY647" fmla="*/ 3192820 h 5509311"/>
              <a:gd name="connsiteX648" fmla="*/ 357654 w 11760532"/>
              <a:gd name="connsiteY648" fmla="*/ 3198345 h 5509311"/>
              <a:gd name="connsiteX649" fmla="*/ 319375 w 11760532"/>
              <a:gd name="connsiteY649" fmla="*/ 3209645 h 5509311"/>
              <a:gd name="connsiteX650" fmla="*/ 307906 w 11760532"/>
              <a:gd name="connsiteY650" fmla="*/ 3219865 h 5509311"/>
              <a:gd name="connsiteX651" fmla="*/ 290160 w 11760532"/>
              <a:gd name="connsiteY651" fmla="*/ 3221770 h 5509311"/>
              <a:gd name="connsiteX652" fmla="*/ 288252 w 11760532"/>
              <a:gd name="connsiteY652" fmla="*/ 3203997 h 5509311"/>
              <a:gd name="connsiteX653" fmla="*/ 300350 w 11760532"/>
              <a:gd name="connsiteY653" fmla="*/ 3182924 h 5509311"/>
              <a:gd name="connsiteX654" fmla="*/ 304720 w 11760532"/>
              <a:gd name="connsiteY654" fmla="*/ 3173466 h 5509311"/>
              <a:gd name="connsiteX655" fmla="*/ 293882 w 11760532"/>
              <a:gd name="connsiteY655" fmla="*/ 3172832 h 5509311"/>
              <a:gd name="connsiteX656" fmla="*/ 281841 w 11760532"/>
              <a:gd name="connsiteY656" fmla="*/ 3177720 h 5509311"/>
              <a:gd name="connsiteX657" fmla="*/ 271193 w 11760532"/>
              <a:gd name="connsiteY657" fmla="*/ 3178863 h 5509311"/>
              <a:gd name="connsiteX658" fmla="*/ 199120 w 11760532"/>
              <a:gd name="connsiteY658" fmla="*/ 3159635 h 5509311"/>
              <a:gd name="connsiteX659" fmla="*/ 161853 w 11760532"/>
              <a:gd name="connsiteY659" fmla="*/ 3163635 h 5509311"/>
              <a:gd name="connsiteX660" fmla="*/ 139603 w 11760532"/>
              <a:gd name="connsiteY660" fmla="*/ 3157036 h 5509311"/>
              <a:gd name="connsiteX661" fmla="*/ 150118 w 11760532"/>
              <a:gd name="connsiteY661" fmla="*/ 3137930 h 5509311"/>
              <a:gd name="connsiteX662" fmla="*/ 159812 w 11760532"/>
              <a:gd name="connsiteY662" fmla="*/ 3127901 h 5509311"/>
              <a:gd name="connsiteX663" fmla="*/ 167159 w 11760532"/>
              <a:gd name="connsiteY663" fmla="*/ 3112731 h 5509311"/>
              <a:gd name="connsiteX664" fmla="*/ 148840 w 11760532"/>
              <a:gd name="connsiteY664" fmla="*/ 3109304 h 5509311"/>
              <a:gd name="connsiteX665" fmla="*/ 103329 w 11760532"/>
              <a:gd name="connsiteY665" fmla="*/ 3103403 h 5509311"/>
              <a:gd name="connsiteX666" fmla="*/ 36980 w 11760532"/>
              <a:gd name="connsiteY666" fmla="*/ 3137492 h 5509311"/>
              <a:gd name="connsiteX667" fmla="*/ 10684 w 11760532"/>
              <a:gd name="connsiteY667" fmla="*/ 3160090 h 5509311"/>
              <a:gd name="connsiteX668" fmla="*/ 0 w 11760532"/>
              <a:gd name="connsiteY668" fmla="*/ 3060566 h 5509311"/>
              <a:gd name="connsiteX669" fmla="*/ 20209 w 11760532"/>
              <a:gd name="connsiteY669" fmla="*/ 3031431 h 5509311"/>
              <a:gd name="connsiteX670" fmla="*/ 13359 w 11760532"/>
              <a:gd name="connsiteY670" fmla="*/ 3017784 h 5509311"/>
              <a:gd name="connsiteX671" fmla="*/ 30914 w 11760532"/>
              <a:gd name="connsiteY671" fmla="*/ 3014102 h 5509311"/>
              <a:gd name="connsiteX672" fmla="*/ 43719 w 11760532"/>
              <a:gd name="connsiteY672" fmla="*/ 3016323 h 5509311"/>
              <a:gd name="connsiteX673" fmla="*/ 60320 w 11760532"/>
              <a:gd name="connsiteY673" fmla="*/ 3003755 h 5509311"/>
              <a:gd name="connsiteX674" fmla="*/ 74956 w 11760532"/>
              <a:gd name="connsiteY674" fmla="*/ 2989600 h 5509311"/>
              <a:gd name="connsiteX675" fmla="*/ 112987 w 11760532"/>
              <a:gd name="connsiteY675" fmla="*/ 2992707 h 5509311"/>
              <a:gd name="connsiteX676" fmla="*/ 148670 w 11760532"/>
              <a:gd name="connsiteY676" fmla="*/ 2990674 h 5509311"/>
              <a:gd name="connsiteX677" fmla="*/ 160196 w 11760532"/>
              <a:gd name="connsiteY677" fmla="*/ 2964270 h 5509311"/>
              <a:gd name="connsiteX678" fmla="*/ 166150 w 11760532"/>
              <a:gd name="connsiteY678" fmla="*/ 2952844 h 5509311"/>
              <a:gd name="connsiteX679" fmla="*/ 207043 w 11760532"/>
              <a:gd name="connsiteY679" fmla="*/ 2982610 h 5509311"/>
              <a:gd name="connsiteX680" fmla="*/ 218014 w 11760532"/>
              <a:gd name="connsiteY680" fmla="*/ 3001207 h 5509311"/>
              <a:gd name="connsiteX681" fmla="*/ 257629 w 11760532"/>
              <a:gd name="connsiteY681" fmla="*/ 3002347 h 5509311"/>
              <a:gd name="connsiteX682" fmla="*/ 260034 w 11760532"/>
              <a:gd name="connsiteY682" fmla="*/ 2991303 h 5509311"/>
              <a:gd name="connsiteX683" fmla="*/ 261866 w 11760532"/>
              <a:gd name="connsiteY683" fmla="*/ 2974927 h 5509311"/>
              <a:gd name="connsiteX684" fmla="*/ 278849 w 11760532"/>
              <a:gd name="connsiteY684" fmla="*/ 2965914 h 5509311"/>
              <a:gd name="connsiteX685" fmla="*/ 332412 w 11760532"/>
              <a:gd name="connsiteY685" fmla="*/ 2979938 h 5509311"/>
              <a:gd name="connsiteX686" fmla="*/ 363917 w 11760532"/>
              <a:gd name="connsiteY686" fmla="*/ 2989140 h 5509311"/>
              <a:gd name="connsiteX687" fmla="*/ 448145 w 11760532"/>
              <a:gd name="connsiteY687" fmla="*/ 2971109 h 5509311"/>
              <a:gd name="connsiteX688" fmla="*/ 472609 w 11760532"/>
              <a:gd name="connsiteY688" fmla="*/ 2964887 h 5509311"/>
              <a:gd name="connsiteX689" fmla="*/ 552161 w 11760532"/>
              <a:gd name="connsiteY689" fmla="*/ 2986908 h 5509311"/>
              <a:gd name="connsiteX690" fmla="*/ 596719 w 11760532"/>
              <a:gd name="connsiteY690" fmla="*/ 2983922 h 5509311"/>
              <a:gd name="connsiteX691" fmla="*/ 654003 w 11760532"/>
              <a:gd name="connsiteY691" fmla="*/ 2949009 h 5509311"/>
              <a:gd name="connsiteX692" fmla="*/ 660987 w 11760532"/>
              <a:gd name="connsiteY692" fmla="*/ 2980618 h 5509311"/>
              <a:gd name="connsiteX693" fmla="*/ 693255 w 11760532"/>
              <a:gd name="connsiteY693" fmla="*/ 2996929 h 5509311"/>
              <a:gd name="connsiteX694" fmla="*/ 698064 w 11760532"/>
              <a:gd name="connsiteY694" fmla="*/ 2974840 h 5509311"/>
              <a:gd name="connsiteX695" fmla="*/ 716249 w 11760532"/>
              <a:gd name="connsiteY695" fmla="*/ 2960304 h 5509311"/>
              <a:gd name="connsiteX696" fmla="*/ 759413 w 11760532"/>
              <a:gd name="connsiteY696" fmla="*/ 2961063 h 5509311"/>
              <a:gd name="connsiteX697" fmla="*/ 817155 w 11760532"/>
              <a:gd name="connsiteY697" fmla="*/ 2963853 h 5509311"/>
              <a:gd name="connsiteX698" fmla="*/ 847134 w 11760532"/>
              <a:gd name="connsiteY698" fmla="*/ 2958837 h 5509311"/>
              <a:gd name="connsiteX699" fmla="*/ 859804 w 11760532"/>
              <a:gd name="connsiteY699" fmla="*/ 2943095 h 5509311"/>
              <a:gd name="connsiteX700" fmla="*/ 882932 w 11760532"/>
              <a:gd name="connsiteY700" fmla="*/ 2924432 h 5509311"/>
              <a:gd name="connsiteX701" fmla="*/ 894476 w 11760532"/>
              <a:gd name="connsiteY701" fmla="*/ 2948362 h 5509311"/>
              <a:gd name="connsiteX702" fmla="*/ 907662 w 11760532"/>
              <a:gd name="connsiteY702" fmla="*/ 2954136 h 5509311"/>
              <a:gd name="connsiteX703" fmla="*/ 915772 w 11760532"/>
              <a:gd name="connsiteY703" fmla="*/ 2946075 h 5509311"/>
              <a:gd name="connsiteX704" fmla="*/ 917841 w 11760532"/>
              <a:gd name="connsiteY704" fmla="*/ 2925629 h 5509311"/>
              <a:gd name="connsiteX705" fmla="*/ 932848 w 11760532"/>
              <a:gd name="connsiteY705" fmla="*/ 2918441 h 5509311"/>
              <a:gd name="connsiteX706" fmla="*/ 921767 w 11760532"/>
              <a:gd name="connsiteY706" fmla="*/ 2908605 h 5509311"/>
              <a:gd name="connsiteX707" fmla="*/ 915297 w 11760532"/>
              <a:gd name="connsiteY707" fmla="*/ 2896763 h 5509311"/>
              <a:gd name="connsiteX708" fmla="*/ 917496 w 11760532"/>
              <a:gd name="connsiteY708" fmla="*/ 2886768 h 5509311"/>
              <a:gd name="connsiteX709" fmla="*/ 853305 w 11760532"/>
              <a:gd name="connsiteY709" fmla="*/ 2872110 h 5509311"/>
              <a:gd name="connsiteX710" fmla="*/ 776303 w 11760532"/>
              <a:gd name="connsiteY710" fmla="*/ 2867567 h 5509311"/>
              <a:gd name="connsiteX711" fmla="*/ 660112 w 11760532"/>
              <a:gd name="connsiteY711" fmla="*/ 2838694 h 5509311"/>
              <a:gd name="connsiteX712" fmla="*/ 607484 w 11760532"/>
              <a:gd name="connsiteY712" fmla="*/ 2783222 h 5509311"/>
              <a:gd name="connsiteX713" fmla="*/ 569014 w 11760532"/>
              <a:gd name="connsiteY713" fmla="*/ 2792745 h 5509311"/>
              <a:gd name="connsiteX714" fmla="*/ 559436 w 11760532"/>
              <a:gd name="connsiteY714" fmla="*/ 2770403 h 5509311"/>
              <a:gd name="connsiteX715" fmla="*/ 533885 w 11760532"/>
              <a:gd name="connsiteY715" fmla="*/ 2749776 h 5509311"/>
              <a:gd name="connsiteX716" fmla="*/ 512342 w 11760532"/>
              <a:gd name="connsiteY716" fmla="*/ 2766470 h 5509311"/>
              <a:gd name="connsiteX717" fmla="*/ 501388 w 11760532"/>
              <a:gd name="connsiteY717" fmla="*/ 2798207 h 5509311"/>
              <a:gd name="connsiteX718" fmla="*/ 478623 w 11760532"/>
              <a:gd name="connsiteY718" fmla="*/ 2770090 h 5509311"/>
              <a:gd name="connsiteX719" fmla="*/ 451489 w 11760532"/>
              <a:gd name="connsiteY719" fmla="*/ 2751431 h 5509311"/>
              <a:gd name="connsiteX720" fmla="*/ 463321 w 11760532"/>
              <a:gd name="connsiteY720" fmla="*/ 2694432 h 5509311"/>
              <a:gd name="connsiteX721" fmla="*/ 488986 w 11760532"/>
              <a:gd name="connsiteY721" fmla="*/ 2682688 h 5509311"/>
              <a:gd name="connsiteX722" fmla="*/ 501542 w 11760532"/>
              <a:gd name="connsiteY722" fmla="*/ 2699317 h 5509311"/>
              <a:gd name="connsiteX723" fmla="*/ 513334 w 11760532"/>
              <a:gd name="connsiteY723" fmla="*/ 2708837 h 5509311"/>
              <a:gd name="connsiteX724" fmla="*/ 561765 w 11760532"/>
              <a:gd name="connsiteY724" fmla="*/ 2725211 h 5509311"/>
              <a:gd name="connsiteX725" fmla="*/ 600998 w 11760532"/>
              <a:gd name="connsiteY725" fmla="*/ 2722797 h 5509311"/>
              <a:gd name="connsiteX726" fmla="*/ 612218 w 11760532"/>
              <a:gd name="connsiteY726" fmla="*/ 2726985 h 5509311"/>
              <a:gd name="connsiteX727" fmla="*/ 624201 w 11760532"/>
              <a:gd name="connsiteY727" fmla="*/ 2738283 h 5509311"/>
              <a:gd name="connsiteX728" fmla="*/ 716483 w 11760532"/>
              <a:gd name="connsiteY728" fmla="*/ 2728376 h 5509311"/>
              <a:gd name="connsiteX729" fmla="*/ 764016 w 11760532"/>
              <a:gd name="connsiteY729" fmla="*/ 2719678 h 5509311"/>
              <a:gd name="connsiteX730" fmla="*/ 803573 w 11760532"/>
              <a:gd name="connsiteY730" fmla="*/ 2737003 h 5509311"/>
              <a:gd name="connsiteX731" fmla="*/ 822083 w 11760532"/>
              <a:gd name="connsiteY731" fmla="*/ 2742207 h 5509311"/>
              <a:gd name="connsiteX732" fmla="*/ 826892 w 11760532"/>
              <a:gd name="connsiteY732" fmla="*/ 2720119 h 5509311"/>
              <a:gd name="connsiteX733" fmla="*/ 821244 w 11760532"/>
              <a:gd name="connsiteY733" fmla="*/ 2700950 h 5509311"/>
              <a:gd name="connsiteX734" fmla="*/ 791190 w 11760532"/>
              <a:gd name="connsiteY734" fmla="*/ 2671818 h 5509311"/>
              <a:gd name="connsiteX735" fmla="*/ 697822 w 11760532"/>
              <a:gd name="connsiteY735" fmla="*/ 2654876 h 5509311"/>
              <a:gd name="connsiteX736" fmla="*/ 687288 w 11760532"/>
              <a:gd name="connsiteY736" fmla="*/ 2623648 h 5509311"/>
              <a:gd name="connsiteX737" fmla="*/ 688682 w 11760532"/>
              <a:gd name="connsiteY737" fmla="*/ 2619903 h 5509311"/>
              <a:gd name="connsiteX738" fmla="*/ 713069 w 11760532"/>
              <a:gd name="connsiteY738" fmla="*/ 2579533 h 5509311"/>
              <a:gd name="connsiteX739" fmla="*/ 727648 w 11760532"/>
              <a:gd name="connsiteY739" fmla="*/ 2581563 h 5509311"/>
              <a:gd name="connsiteX740" fmla="*/ 710798 w 11760532"/>
              <a:gd name="connsiteY740" fmla="*/ 2608541 h 5509311"/>
              <a:gd name="connsiteX741" fmla="*/ 730261 w 11760532"/>
              <a:gd name="connsiteY741" fmla="*/ 2622630 h 5509311"/>
              <a:gd name="connsiteX742" fmla="*/ 737799 w 11760532"/>
              <a:gd name="connsiteY742" fmla="*/ 2609237 h 5509311"/>
              <a:gd name="connsiteX743" fmla="*/ 775373 w 11760532"/>
              <a:gd name="connsiteY743" fmla="*/ 2574642 h 5509311"/>
              <a:gd name="connsiteX744" fmla="*/ 851682 w 11760532"/>
              <a:gd name="connsiteY744" fmla="*/ 2566450 h 5509311"/>
              <a:gd name="connsiteX745" fmla="*/ 890991 w 11760532"/>
              <a:gd name="connsiteY745" fmla="*/ 2598184 h 5509311"/>
              <a:gd name="connsiteX746" fmla="*/ 891563 w 11760532"/>
              <a:gd name="connsiteY746" fmla="*/ 2603516 h 5509311"/>
              <a:gd name="connsiteX747" fmla="*/ 895055 w 11760532"/>
              <a:gd name="connsiteY747" fmla="*/ 2619321 h 5509311"/>
              <a:gd name="connsiteX748" fmla="*/ 917553 w 11760532"/>
              <a:gd name="connsiteY748" fmla="*/ 2611512 h 5509311"/>
              <a:gd name="connsiteX749" fmla="*/ 924328 w 11760532"/>
              <a:gd name="connsiteY749" fmla="*/ 2591010 h 5509311"/>
              <a:gd name="connsiteX750" fmla="*/ 948600 w 11760532"/>
              <a:gd name="connsiteY750" fmla="*/ 2583011 h 5509311"/>
              <a:gd name="connsiteX751" fmla="*/ 952664 w 11760532"/>
              <a:gd name="connsiteY751" fmla="*/ 2604147 h 5509311"/>
              <a:gd name="connsiteX752" fmla="*/ 948295 w 11760532"/>
              <a:gd name="connsiteY752" fmla="*/ 2613605 h 5509311"/>
              <a:gd name="connsiteX753" fmla="*/ 949629 w 11760532"/>
              <a:gd name="connsiteY753" fmla="*/ 2626046 h 5509311"/>
              <a:gd name="connsiteX754" fmla="*/ 959895 w 11760532"/>
              <a:gd name="connsiteY754" fmla="*/ 2621348 h 5509311"/>
              <a:gd name="connsiteX755" fmla="*/ 973578 w 11760532"/>
              <a:gd name="connsiteY755" fmla="*/ 2598307 h 5509311"/>
              <a:gd name="connsiteX756" fmla="*/ 1018193 w 11760532"/>
              <a:gd name="connsiteY756" fmla="*/ 2579135 h 5509311"/>
              <a:gd name="connsiteX757" fmla="*/ 1052044 w 11760532"/>
              <a:gd name="connsiteY757" fmla="*/ 2593478 h 5509311"/>
              <a:gd name="connsiteX758" fmla="*/ 1074732 w 11760532"/>
              <a:gd name="connsiteY758" fmla="*/ 2587447 h 5509311"/>
              <a:gd name="connsiteX759" fmla="*/ 1104387 w 11760532"/>
              <a:gd name="connsiteY759" fmla="*/ 2562692 h 5509311"/>
              <a:gd name="connsiteX760" fmla="*/ 1131579 w 11760532"/>
              <a:gd name="connsiteY760" fmla="*/ 2565166 h 5509311"/>
              <a:gd name="connsiteX761" fmla="*/ 1284464 w 11760532"/>
              <a:gd name="connsiteY761" fmla="*/ 2584707 h 5509311"/>
              <a:gd name="connsiteX762" fmla="*/ 1308107 w 11760532"/>
              <a:gd name="connsiteY762" fmla="*/ 2587561 h 5509311"/>
              <a:gd name="connsiteX763" fmla="*/ 1366422 w 11760532"/>
              <a:gd name="connsiteY763" fmla="*/ 2595683 h 5509311"/>
              <a:gd name="connsiteX764" fmla="*/ 1446586 w 11760532"/>
              <a:gd name="connsiteY764" fmla="*/ 2556516 h 5509311"/>
              <a:gd name="connsiteX765" fmla="*/ 1484293 w 11760532"/>
              <a:gd name="connsiteY765" fmla="*/ 2539884 h 5509311"/>
              <a:gd name="connsiteX766" fmla="*/ 1626340 w 11760532"/>
              <a:gd name="connsiteY766" fmla="*/ 2558792 h 5509311"/>
              <a:gd name="connsiteX767" fmla="*/ 1650803 w 11760532"/>
              <a:gd name="connsiteY767" fmla="*/ 2552570 h 5509311"/>
              <a:gd name="connsiteX768" fmla="*/ 1660497 w 11760532"/>
              <a:gd name="connsiteY768" fmla="*/ 2542541 h 5509311"/>
              <a:gd name="connsiteX769" fmla="*/ 1664676 w 11760532"/>
              <a:gd name="connsiteY769" fmla="*/ 2531306 h 5509311"/>
              <a:gd name="connsiteX770" fmla="*/ 1641663 w 11760532"/>
              <a:gd name="connsiteY770" fmla="*/ 2517597 h 5509311"/>
              <a:gd name="connsiteX771" fmla="*/ 1623403 w 11760532"/>
              <a:gd name="connsiteY771" fmla="*/ 2497985 h 5509311"/>
              <a:gd name="connsiteX772" fmla="*/ 1642542 w 11760532"/>
              <a:gd name="connsiteY772" fmla="*/ 2492335 h 5509311"/>
              <a:gd name="connsiteX773" fmla="*/ 1676335 w 11760532"/>
              <a:gd name="connsiteY773" fmla="*/ 2522863 h 5509311"/>
              <a:gd name="connsiteX774" fmla="*/ 1797850 w 11760532"/>
              <a:gd name="connsiteY774" fmla="*/ 2551166 h 5509311"/>
              <a:gd name="connsiteX775" fmla="*/ 1834354 w 11760532"/>
              <a:gd name="connsiteY775" fmla="*/ 2540055 h 5509311"/>
              <a:gd name="connsiteX776" fmla="*/ 1847922 w 11760532"/>
              <a:gd name="connsiteY776" fmla="*/ 2549386 h 5509311"/>
              <a:gd name="connsiteX777" fmla="*/ 1872709 w 11760532"/>
              <a:gd name="connsiteY777" fmla="*/ 2562903 h 5509311"/>
              <a:gd name="connsiteX778" fmla="*/ 1960487 w 11760532"/>
              <a:gd name="connsiteY778" fmla="*/ 2544492 h 5509311"/>
              <a:gd name="connsiteX779" fmla="*/ 2085266 w 11760532"/>
              <a:gd name="connsiteY779" fmla="*/ 2486154 h 5509311"/>
              <a:gd name="connsiteX780" fmla="*/ 2087423 w 11760532"/>
              <a:gd name="connsiteY780" fmla="*/ 2489518 h 5509311"/>
              <a:gd name="connsiteX781" fmla="*/ 2082232 w 11760532"/>
              <a:gd name="connsiteY781" fmla="*/ 2508052 h 5509311"/>
              <a:gd name="connsiteX782" fmla="*/ 2101066 w 11760532"/>
              <a:gd name="connsiteY782" fmla="*/ 2532995 h 5509311"/>
              <a:gd name="connsiteX783" fmla="*/ 2125587 w 11760532"/>
              <a:gd name="connsiteY783" fmla="*/ 2510589 h 5509311"/>
              <a:gd name="connsiteX784" fmla="*/ 2130967 w 11760532"/>
              <a:gd name="connsiteY784" fmla="*/ 2493831 h 5509311"/>
              <a:gd name="connsiteX785" fmla="*/ 2153350 w 11760532"/>
              <a:gd name="connsiteY785" fmla="*/ 2518394 h 5509311"/>
              <a:gd name="connsiteX786" fmla="*/ 2162357 w 11760532"/>
              <a:gd name="connsiteY786" fmla="*/ 2535404 h 5509311"/>
              <a:gd name="connsiteX787" fmla="*/ 2233418 w 11760532"/>
              <a:gd name="connsiteY787" fmla="*/ 2561932 h 5509311"/>
              <a:gd name="connsiteX788" fmla="*/ 2290207 w 11760532"/>
              <a:gd name="connsiteY788" fmla="*/ 2555835 h 5509311"/>
              <a:gd name="connsiteX789" fmla="*/ 2310739 w 11760532"/>
              <a:gd name="connsiteY789" fmla="*/ 2546440 h 5509311"/>
              <a:gd name="connsiteX790" fmla="*/ 2353903 w 11760532"/>
              <a:gd name="connsiteY790" fmla="*/ 2547200 h 5509311"/>
              <a:gd name="connsiteX791" fmla="*/ 2378882 w 11760532"/>
              <a:gd name="connsiteY791" fmla="*/ 2562495 h 5509311"/>
              <a:gd name="connsiteX792" fmla="*/ 2399548 w 11760532"/>
              <a:gd name="connsiteY792" fmla="*/ 2571063 h 5509311"/>
              <a:gd name="connsiteX793" fmla="*/ 2427370 w 11760532"/>
              <a:gd name="connsiteY793" fmla="*/ 2562683 h 5509311"/>
              <a:gd name="connsiteX794" fmla="*/ 2460439 w 11760532"/>
              <a:gd name="connsiteY794" fmla="*/ 2519584 h 5509311"/>
              <a:gd name="connsiteX795" fmla="*/ 2461699 w 11760532"/>
              <a:gd name="connsiteY795" fmla="*/ 2497876 h 5509311"/>
              <a:gd name="connsiteX796" fmla="*/ 2554323 w 11760532"/>
              <a:gd name="connsiteY796" fmla="*/ 2558043 h 5509311"/>
              <a:gd name="connsiteX797" fmla="*/ 2583537 w 11760532"/>
              <a:gd name="connsiteY797" fmla="*/ 2545917 h 5509311"/>
              <a:gd name="connsiteX798" fmla="*/ 2589549 w 11760532"/>
              <a:gd name="connsiteY798" fmla="*/ 2518308 h 5509311"/>
              <a:gd name="connsiteX799" fmla="*/ 2569646 w 11760532"/>
              <a:gd name="connsiteY799" fmla="*/ 2516848 h 5509311"/>
              <a:gd name="connsiteX800" fmla="*/ 2552911 w 11760532"/>
              <a:gd name="connsiteY800" fmla="*/ 2511454 h 5509311"/>
              <a:gd name="connsiteX801" fmla="*/ 2559686 w 11760532"/>
              <a:gd name="connsiteY801" fmla="*/ 2490952 h 5509311"/>
              <a:gd name="connsiteX802" fmla="*/ 2582184 w 11760532"/>
              <a:gd name="connsiteY802" fmla="*/ 2483144 h 5509311"/>
              <a:gd name="connsiteX803" fmla="*/ 2604491 w 11760532"/>
              <a:gd name="connsiteY803" fmla="*/ 2473558 h 5509311"/>
              <a:gd name="connsiteX804" fmla="*/ 2567090 w 11760532"/>
              <a:gd name="connsiteY804" fmla="*/ 2459596 h 5509311"/>
              <a:gd name="connsiteX805" fmla="*/ 2459334 w 11760532"/>
              <a:gd name="connsiteY805" fmla="*/ 2442401 h 5509311"/>
              <a:gd name="connsiteX806" fmla="*/ 2390695 w 11760532"/>
              <a:gd name="connsiteY806" fmla="*/ 2455163 h 5509311"/>
              <a:gd name="connsiteX807" fmla="*/ 2369018 w 11760532"/>
              <a:gd name="connsiteY807" fmla="*/ 2453895 h 5509311"/>
              <a:gd name="connsiteX808" fmla="*/ 2321218 w 11760532"/>
              <a:gd name="connsiteY808" fmla="*/ 2426667 h 5509311"/>
              <a:gd name="connsiteX809" fmla="*/ 2294789 w 11760532"/>
              <a:gd name="connsiteY809" fmla="*/ 2431303 h 5509311"/>
              <a:gd name="connsiteX810" fmla="*/ 2238954 w 11760532"/>
              <a:gd name="connsiteY810" fmla="*/ 2446285 h 5509311"/>
              <a:gd name="connsiteX811" fmla="*/ 2185773 w 11760532"/>
              <a:gd name="connsiteY811" fmla="*/ 2435815 h 5509311"/>
              <a:gd name="connsiteX812" fmla="*/ 2165622 w 11760532"/>
              <a:gd name="connsiteY812" fmla="*/ 2448764 h 5509311"/>
              <a:gd name="connsiteX813" fmla="*/ 2152951 w 11760532"/>
              <a:gd name="connsiteY813" fmla="*/ 2464506 h 5509311"/>
              <a:gd name="connsiteX814" fmla="*/ 2130759 w 11760532"/>
              <a:gd name="connsiteY814" fmla="*/ 2441721 h 5509311"/>
              <a:gd name="connsiteX815" fmla="*/ 2104445 w 11760532"/>
              <a:gd name="connsiteY815" fmla="*/ 2413985 h 5509311"/>
              <a:gd name="connsiteX816" fmla="*/ 2058686 w 11760532"/>
              <a:gd name="connsiteY816" fmla="*/ 2422493 h 5509311"/>
              <a:gd name="connsiteX817" fmla="*/ 1992452 w 11760532"/>
              <a:gd name="connsiteY817" fmla="*/ 2424210 h 5509311"/>
              <a:gd name="connsiteX818" fmla="*/ 1971843 w 11760532"/>
              <a:gd name="connsiteY818" fmla="*/ 2399457 h 5509311"/>
              <a:gd name="connsiteX819" fmla="*/ 1951617 w 11760532"/>
              <a:gd name="connsiteY819" fmla="*/ 2378258 h 5509311"/>
              <a:gd name="connsiteX820" fmla="*/ 1825351 w 11760532"/>
              <a:gd name="connsiteY820" fmla="*/ 2355859 h 5509311"/>
              <a:gd name="connsiteX821" fmla="*/ 1759632 w 11760532"/>
              <a:gd name="connsiteY821" fmla="*/ 2379094 h 5509311"/>
              <a:gd name="connsiteX822" fmla="*/ 1756082 w 11760532"/>
              <a:gd name="connsiteY822" fmla="*/ 2379475 h 5509311"/>
              <a:gd name="connsiteX823" fmla="*/ 1744920 w 11760532"/>
              <a:gd name="connsiteY823" fmla="*/ 2359101 h 5509311"/>
              <a:gd name="connsiteX824" fmla="*/ 1725723 w 11760532"/>
              <a:gd name="connsiteY824" fmla="*/ 2380937 h 5509311"/>
              <a:gd name="connsiteX825" fmla="*/ 1721162 w 11760532"/>
              <a:gd name="connsiteY825" fmla="*/ 2388617 h 5509311"/>
              <a:gd name="connsiteX826" fmla="*/ 1709197 w 11760532"/>
              <a:gd name="connsiteY826" fmla="*/ 2427653 h 5509311"/>
              <a:gd name="connsiteX827" fmla="*/ 1690439 w 11760532"/>
              <a:gd name="connsiteY827" fmla="*/ 2436857 h 5509311"/>
              <a:gd name="connsiteX828" fmla="*/ 1679849 w 11760532"/>
              <a:gd name="connsiteY828" fmla="*/ 2421815 h 5509311"/>
              <a:gd name="connsiteX829" fmla="*/ 1672789 w 11760532"/>
              <a:gd name="connsiteY829" fmla="*/ 2356058 h 5509311"/>
              <a:gd name="connsiteX830" fmla="*/ 1654280 w 11760532"/>
              <a:gd name="connsiteY830" fmla="*/ 2350855 h 5509311"/>
              <a:gd name="connsiteX831" fmla="*/ 1597815 w 11760532"/>
              <a:gd name="connsiteY831" fmla="*/ 2376691 h 5509311"/>
              <a:gd name="connsiteX832" fmla="*/ 1583236 w 11760532"/>
              <a:gd name="connsiteY832" fmla="*/ 2374661 h 5509311"/>
              <a:gd name="connsiteX833" fmla="*/ 1530494 w 11760532"/>
              <a:gd name="connsiteY833" fmla="*/ 2351559 h 5509311"/>
              <a:gd name="connsiteX834" fmla="*/ 1483457 w 11760532"/>
              <a:gd name="connsiteY834" fmla="*/ 2331441 h 5509311"/>
              <a:gd name="connsiteX835" fmla="*/ 1466722 w 11760532"/>
              <a:gd name="connsiteY835" fmla="*/ 2326047 h 5509311"/>
              <a:gd name="connsiteX836" fmla="*/ 1376845 w 11760532"/>
              <a:gd name="connsiteY836" fmla="*/ 2324909 h 5509311"/>
              <a:gd name="connsiteX837" fmla="*/ 1348260 w 11760532"/>
              <a:gd name="connsiteY837" fmla="*/ 2326181 h 5509311"/>
              <a:gd name="connsiteX838" fmla="*/ 1278477 w 11760532"/>
              <a:gd name="connsiteY838" fmla="*/ 2328278 h 5509311"/>
              <a:gd name="connsiteX839" fmla="*/ 1260349 w 11760532"/>
              <a:gd name="connsiteY839" fmla="*/ 2326630 h 5509311"/>
              <a:gd name="connsiteX840" fmla="*/ 1159118 w 11760532"/>
              <a:gd name="connsiteY840" fmla="*/ 2303341 h 5509311"/>
              <a:gd name="connsiteX841" fmla="*/ 1112348 w 11760532"/>
              <a:gd name="connsiteY841" fmla="*/ 2319148 h 5509311"/>
              <a:gd name="connsiteX842" fmla="*/ 1038252 w 11760532"/>
              <a:gd name="connsiteY842" fmla="*/ 2314519 h 5509311"/>
              <a:gd name="connsiteX843" fmla="*/ 970607 w 11760532"/>
              <a:gd name="connsiteY843" fmla="*/ 2269647 h 5509311"/>
              <a:gd name="connsiteX844" fmla="*/ 967879 w 11760532"/>
              <a:gd name="connsiteY844" fmla="*/ 2260952 h 5509311"/>
              <a:gd name="connsiteX845" fmla="*/ 947785 w 11760532"/>
              <a:gd name="connsiteY845" fmla="*/ 2257716 h 5509311"/>
              <a:gd name="connsiteX846" fmla="*/ 927004 w 11760532"/>
              <a:gd name="connsiteY846" fmla="*/ 2281519 h 5509311"/>
              <a:gd name="connsiteX847" fmla="*/ 837948 w 11760532"/>
              <a:gd name="connsiteY847" fmla="*/ 2271305 h 5509311"/>
              <a:gd name="connsiteX848" fmla="*/ 799842 w 11760532"/>
              <a:gd name="connsiteY848" fmla="*/ 2234048 h 5509311"/>
              <a:gd name="connsiteX849" fmla="*/ 758568 w 11760532"/>
              <a:gd name="connsiteY849" fmla="*/ 2200728 h 5509311"/>
              <a:gd name="connsiteX850" fmla="*/ 754025 w 11760532"/>
              <a:gd name="connsiteY850" fmla="*/ 2258742 h 5509311"/>
              <a:gd name="connsiteX851" fmla="*/ 712064 w 11760532"/>
              <a:gd name="connsiteY851" fmla="*/ 2252461 h 5509311"/>
              <a:gd name="connsiteX852" fmla="*/ 683670 w 11760532"/>
              <a:gd name="connsiteY852" fmla="*/ 2255509 h 5509311"/>
              <a:gd name="connsiteX853" fmla="*/ 595244 w 11760532"/>
              <a:gd name="connsiteY853" fmla="*/ 2234441 h 5509311"/>
              <a:gd name="connsiteX854" fmla="*/ 325785 w 11760532"/>
              <a:gd name="connsiteY854" fmla="*/ 2182472 h 5509311"/>
              <a:gd name="connsiteX855" fmla="*/ 306894 w 11760532"/>
              <a:gd name="connsiteY855" fmla="*/ 2173713 h 5509311"/>
              <a:gd name="connsiteX856" fmla="*/ 317409 w 11760532"/>
              <a:gd name="connsiteY856" fmla="*/ 2154607 h 5509311"/>
              <a:gd name="connsiteX857" fmla="*/ 324756 w 11760532"/>
              <a:gd name="connsiteY857" fmla="*/ 2139437 h 5509311"/>
              <a:gd name="connsiteX858" fmla="*/ 307257 w 11760532"/>
              <a:gd name="connsiteY858" fmla="*/ 2126933 h 5509311"/>
              <a:gd name="connsiteX859" fmla="*/ 291286 w 11760532"/>
              <a:gd name="connsiteY859" fmla="*/ 2128649 h 5509311"/>
              <a:gd name="connsiteX860" fmla="*/ 247856 w 11760532"/>
              <a:gd name="connsiteY860" fmla="*/ 2091964 h 5509311"/>
              <a:gd name="connsiteX861" fmla="*/ 248544 w 11760532"/>
              <a:gd name="connsiteY861" fmla="*/ 2064925 h 5509311"/>
              <a:gd name="connsiteX862" fmla="*/ 231235 w 11760532"/>
              <a:gd name="connsiteY862" fmla="*/ 2054199 h 5509311"/>
              <a:gd name="connsiteX863" fmla="*/ 209386 w 11760532"/>
              <a:gd name="connsiteY863" fmla="*/ 2101487 h 5509311"/>
              <a:gd name="connsiteX864" fmla="*/ 178378 w 11760532"/>
              <a:gd name="connsiteY864" fmla="*/ 2063469 h 5509311"/>
              <a:gd name="connsiteX865" fmla="*/ 184696 w 11760532"/>
              <a:gd name="connsiteY865" fmla="*/ 2005264 h 5509311"/>
              <a:gd name="connsiteX866" fmla="*/ 229443 w 11760532"/>
              <a:gd name="connsiteY866" fmla="*/ 2004056 h 5509311"/>
              <a:gd name="connsiteX867" fmla="*/ 289914 w 11760532"/>
              <a:gd name="connsiteY867" fmla="*/ 2015541 h 5509311"/>
              <a:gd name="connsiteX868" fmla="*/ 330731 w 11760532"/>
              <a:gd name="connsiteY868" fmla="*/ 2011159 h 5509311"/>
              <a:gd name="connsiteX869" fmla="*/ 497756 w 11760532"/>
              <a:gd name="connsiteY869" fmla="*/ 2045362 h 5509311"/>
              <a:gd name="connsiteX870" fmla="*/ 533879 w 11760532"/>
              <a:gd name="connsiteY870" fmla="*/ 2030697 h 5509311"/>
              <a:gd name="connsiteX871" fmla="*/ 536283 w 11760532"/>
              <a:gd name="connsiteY871" fmla="*/ 2019653 h 5509311"/>
              <a:gd name="connsiteX872" fmla="*/ 547694 w 11760532"/>
              <a:gd name="connsiteY872" fmla="*/ 2025619 h 5509311"/>
              <a:gd name="connsiteX873" fmla="*/ 553972 w 11760532"/>
              <a:gd name="connsiteY873" fmla="*/ 2033933 h 5509311"/>
              <a:gd name="connsiteX874" fmla="*/ 576031 w 11760532"/>
              <a:gd name="connsiteY874" fmla="*/ 2038756 h 5509311"/>
              <a:gd name="connsiteX875" fmla="*/ 567216 w 11760532"/>
              <a:gd name="connsiteY875" fmla="*/ 2023523 h 5509311"/>
              <a:gd name="connsiteX876" fmla="*/ 565059 w 11760532"/>
              <a:gd name="connsiteY876" fmla="*/ 2020159 h 5509311"/>
              <a:gd name="connsiteX877" fmla="*/ 561949 w 11760532"/>
              <a:gd name="connsiteY877" fmla="*/ 2007909 h 5509311"/>
              <a:gd name="connsiteX878" fmla="*/ 574181 w 11760532"/>
              <a:gd name="connsiteY878" fmla="*/ 2004798 h 5509311"/>
              <a:gd name="connsiteX879" fmla="*/ 627477 w 11760532"/>
              <a:gd name="connsiteY879" fmla="*/ 1982898 h 5509311"/>
              <a:gd name="connsiteX880" fmla="*/ 636790 w 11760532"/>
              <a:gd name="connsiteY880" fmla="*/ 1969314 h 5509311"/>
              <a:gd name="connsiteX881" fmla="*/ 595706 w 11760532"/>
              <a:gd name="connsiteY881" fmla="*/ 1937771 h 5509311"/>
              <a:gd name="connsiteX882" fmla="*/ 491251 w 11760532"/>
              <a:gd name="connsiteY882" fmla="*/ 1934602 h 5509311"/>
              <a:gd name="connsiteX883" fmla="*/ 455949 w 11760532"/>
              <a:gd name="connsiteY883" fmla="*/ 1940190 h 5509311"/>
              <a:gd name="connsiteX884" fmla="*/ 440988 w 11760532"/>
              <a:gd name="connsiteY884" fmla="*/ 1934605 h 5509311"/>
              <a:gd name="connsiteX885" fmla="*/ 413281 w 11760532"/>
              <a:gd name="connsiteY885" fmla="*/ 1910615 h 5509311"/>
              <a:gd name="connsiteX886" fmla="*/ 365424 w 11760532"/>
              <a:gd name="connsiteY886" fmla="*/ 1899573 h 5509311"/>
              <a:gd name="connsiteX887" fmla="*/ 344625 w 11760532"/>
              <a:gd name="connsiteY887" fmla="*/ 1873043 h 5509311"/>
              <a:gd name="connsiteX888" fmla="*/ 345446 w 11760532"/>
              <a:gd name="connsiteY888" fmla="*/ 1863966 h 5509311"/>
              <a:gd name="connsiteX889" fmla="*/ 329531 w 11760532"/>
              <a:gd name="connsiteY889" fmla="*/ 1849496 h 5509311"/>
              <a:gd name="connsiteX890" fmla="*/ 323959 w 11760532"/>
              <a:gd name="connsiteY890" fmla="*/ 1864475 h 5509311"/>
              <a:gd name="connsiteX891" fmla="*/ 313254 w 11760532"/>
              <a:gd name="connsiteY891" fmla="*/ 1881804 h 5509311"/>
              <a:gd name="connsiteX892" fmla="*/ 283009 w 11760532"/>
              <a:gd name="connsiteY892" fmla="*/ 1850894 h 5509311"/>
              <a:gd name="connsiteX893" fmla="*/ 281483 w 11760532"/>
              <a:gd name="connsiteY893" fmla="*/ 1836676 h 5509311"/>
              <a:gd name="connsiteX894" fmla="*/ 273372 w 11760532"/>
              <a:gd name="connsiteY894" fmla="*/ 1844738 h 5509311"/>
              <a:gd name="connsiteX895" fmla="*/ 250112 w 11760532"/>
              <a:gd name="connsiteY895" fmla="*/ 1845437 h 5509311"/>
              <a:gd name="connsiteX896" fmla="*/ 207884 w 11760532"/>
              <a:gd name="connsiteY896" fmla="*/ 1803230 h 5509311"/>
              <a:gd name="connsiteX897" fmla="*/ 169644 w 11760532"/>
              <a:gd name="connsiteY897" fmla="*/ 1748012 h 5509311"/>
              <a:gd name="connsiteX898" fmla="*/ 152967 w 11760532"/>
              <a:gd name="connsiteY898" fmla="*/ 1726432 h 5509311"/>
              <a:gd name="connsiteX899" fmla="*/ 64331 w 11760532"/>
              <a:gd name="connsiteY899" fmla="*/ 1653253 h 5509311"/>
              <a:gd name="connsiteX900" fmla="*/ 58111 w 11760532"/>
              <a:gd name="connsiteY900" fmla="*/ 1628754 h 5509311"/>
              <a:gd name="connsiteX901" fmla="*/ 77823 w 11760532"/>
              <a:gd name="connsiteY901" fmla="*/ 1628435 h 5509311"/>
              <a:gd name="connsiteX902" fmla="*/ 109766 w 11760532"/>
              <a:gd name="connsiteY902" fmla="*/ 1625005 h 5509311"/>
              <a:gd name="connsiteX903" fmla="*/ 151022 w 11760532"/>
              <a:gd name="connsiteY903" fmla="*/ 1607993 h 5509311"/>
              <a:gd name="connsiteX904" fmla="*/ 189701 w 11760532"/>
              <a:gd name="connsiteY904" fmla="*/ 1650580 h 5509311"/>
              <a:gd name="connsiteX905" fmla="*/ 188060 w 11760532"/>
              <a:gd name="connsiteY905" fmla="*/ 1668734 h 5509311"/>
              <a:gd name="connsiteX906" fmla="*/ 186666 w 11760532"/>
              <a:gd name="connsiteY906" fmla="*/ 1672479 h 5509311"/>
              <a:gd name="connsiteX907" fmla="*/ 190025 w 11760532"/>
              <a:gd name="connsiteY907" fmla="*/ 1670320 h 5509311"/>
              <a:gd name="connsiteX908" fmla="*/ 209737 w 11760532"/>
              <a:gd name="connsiteY908" fmla="*/ 1670002 h 5509311"/>
              <a:gd name="connsiteX909" fmla="*/ 261507 w 11760532"/>
              <a:gd name="connsiteY909" fmla="*/ 1633883 h 5509311"/>
              <a:gd name="connsiteX910" fmla="*/ 289959 w 11760532"/>
              <a:gd name="connsiteY910" fmla="*/ 1614650 h 5509311"/>
              <a:gd name="connsiteX911" fmla="*/ 318868 w 11760532"/>
              <a:gd name="connsiteY911" fmla="*/ 1633119 h 5509311"/>
              <a:gd name="connsiteX912" fmla="*/ 416624 w 11760532"/>
              <a:gd name="connsiteY912" fmla="*/ 1690937 h 5509311"/>
              <a:gd name="connsiteX913" fmla="*/ 440573 w 11760532"/>
              <a:gd name="connsiteY913" fmla="*/ 1663198 h 5509311"/>
              <a:gd name="connsiteX914" fmla="*/ 452730 w 11760532"/>
              <a:gd name="connsiteY914" fmla="*/ 1625939 h 5509311"/>
              <a:gd name="connsiteX915" fmla="*/ 493622 w 11760532"/>
              <a:gd name="connsiteY915" fmla="*/ 1655705 h 5509311"/>
              <a:gd name="connsiteX916" fmla="*/ 544647 w 11760532"/>
              <a:gd name="connsiteY916" fmla="*/ 1662811 h 5509311"/>
              <a:gd name="connsiteX917" fmla="*/ 548387 w 11760532"/>
              <a:gd name="connsiteY917" fmla="*/ 1664208 h 5509311"/>
              <a:gd name="connsiteX918" fmla="*/ 577145 w 11760532"/>
              <a:gd name="connsiteY918" fmla="*/ 1614380 h 5509311"/>
              <a:gd name="connsiteX919" fmla="*/ 588099 w 11760532"/>
              <a:gd name="connsiteY919" fmla="*/ 1582643 h 5509311"/>
              <a:gd name="connsiteX920" fmla="*/ 595198 w 11760532"/>
              <a:gd name="connsiteY920" fmla="*/ 1581882 h 5509311"/>
              <a:gd name="connsiteX921" fmla="*/ 622331 w 11760532"/>
              <a:gd name="connsiteY921" fmla="*/ 1600541 h 5509311"/>
              <a:gd name="connsiteX922" fmla="*/ 643130 w 11760532"/>
              <a:gd name="connsiteY922" fmla="*/ 1627071 h 5509311"/>
              <a:gd name="connsiteX923" fmla="*/ 666467 w 11760532"/>
              <a:gd name="connsiteY923" fmla="*/ 1660520 h 5509311"/>
              <a:gd name="connsiteX924" fmla="*/ 703163 w 11760532"/>
              <a:gd name="connsiteY924" fmla="*/ 1651188 h 5509311"/>
              <a:gd name="connsiteX925" fmla="*/ 718123 w 11760532"/>
              <a:gd name="connsiteY925" fmla="*/ 1656772 h 5509311"/>
              <a:gd name="connsiteX926" fmla="*/ 743101 w 11760532"/>
              <a:gd name="connsiteY926" fmla="*/ 1672068 h 5509311"/>
              <a:gd name="connsiteX927" fmla="*/ 753559 w 11760532"/>
              <a:gd name="connsiteY927" fmla="*/ 1669148 h 5509311"/>
              <a:gd name="connsiteX928" fmla="*/ 790768 w 11760532"/>
              <a:gd name="connsiteY928" fmla="*/ 1681332 h 5509311"/>
              <a:gd name="connsiteX929" fmla="*/ 834447 w 11760532"/>
              <a:gd name="connsiteY929" fmla="*/ 1703608 h 5509311"/>
              <a:gd name="connsiteX930" fmla="*/ 855800 w 11760532"/>
              <a:gd name="connsiteY930" fmla="*/ 1685137 h 5509311"/>
              <a:gd name="connsiteX931" fmla="*/ 857442 w 11760532"/>
              <a:gd name="connsiteY931" fmla="*/ 1666983 h 5509311"/>
              <a:gd name="connsiteX932" fmla="*/ 851851 w 11760532"/>
              <a:gd name="connsiteY932" fmla="*/ 1631630 h 5509311"/>
              <a:gd name="connsiteX933" fmla="*/ 826283 w 11760532"/>
              <a:gd name="connsiteY933" fmla="*/ 1560669 h 5509311"/>
              <a:gd name="connsiteX934" fmla="*/ 866850 w 11760532"/>
              <a:gd name="connsiteY934" fmla="*/ 1570696 h 5509311"/>
              <a:gd name="connsiteX935" fmla="*/ 916292 w 11760532"/>
              <a:gd name="connsiteY935" fmla="*/ 1579770 h 5509311"/>
              <a:gd name="connsiteX936" fmla="*/ 959589 w 11760532"/>
              <a:gd name="connsiteY936" fmla="*/ 1598492 h 5509311"/>
              <a:gd name="connsiteX937" fmla="*/ 1090053 w 11760532"/>
              <a:gd name="connsiteY937" fmla="*/ 1659989 h 5509311"/>
              <a:gd name="connsiteX938" fmla="*/ 1107227 w 11760532"/>
              <a:gd name="connsiteY938" fmla="*/ 1652752 h 5509311"/>
              <a:gd name="connsiteX939" fmla="*/ 1116921 w 11760532"/>
              <a:gd name="connsiteY939" fmla="*/ 1642723 h 5509311"/>
              <a:gd name="connsiteX940" fmla="*/ 1123579 w 11760532"/>
              <a:gd name="connsiteY940" fmla="*/ 1654592 h 5509311"/>
              <a:gd name="connsiteX941" fmla="*/ 1136136 w 11760532"/>
              <a:gd name="connsiteY941" fmla="*/ 1671221 h 5509311"/>
              <a:gd name="connsiteX942" fmla="*/ 1162125 w 11760532"/>
              <a:gd name="connsiteY942" fmla="*/ 1679217 h 5509311"/>
              <a:gd name="connsiteX943" fmla="*/ 1173288 w 11760532"/>
              <a:gd name="connsiteY943" fmla="*/ 1699591 h 5509311"/>
              <a:gd name="connsiteX944" fmla="*/ 1188572 w 11760532"/>
              <a:gd name="connsiteY944" fmla="*/ 1724916 h 5509311"/>
              <a:gd name="connsiteX945" fmla="*/ 1204983 w 11760532"/>
              <a:gd name="connsiteY945" fmla="*/ 1710570 h 5509311"/>
              <a:gd name="connsiteX946" fmla="*/ 1211319 w 11760532"/>
              <a:gd name="connsiteY946" fmla="*/ 1702700 h 5509311"/>
              <a:gd name="connsiteX947" fmla="*/ 1225019 w 11760532"/>
              <a:gd name="connsiteY947" fmla="*/ 1729992 h 5509311"/>
              <a:gd name="connsiteX948" fmla="*/ 1242326 w 11760532"/>
              <a:gd name="connsiteY948" fmla="*/ 1740718 h 5509311"/>
              <a:gd name="connsiteX949" fmla="*/ 1251448 w 11760532"/>
              <a:gd name="connsiteY949" fmla="*/ 1725356 h 5509311"/>
              <a:gd name="connsiteX950" fmla="*/ 1319190 w 11760532"/>
              <a:gd name="connsiteY950" fmla="*/ 1687523 h 5509311"/>
              <a:gd name="connsiteX951" fmla="*/ 1339856 w 11760532"/>
              <a:gd name="connsiteY951" fmla="*/ 1696091 h 5509311"/>
              <a:gd name="connsiteX952" fmla="*/ 1420535 w 11760532"/>
              <a:gd name="connsiteY952" fmla="*/ 1678441 h 5509311"/>
              <a:gd name="connsiteX953" fmla="*/ 1422119 w 11760532"/>
              <a:gd name="connsiteY953" fmla="*/ 1676474 h 5509311"/>
              <a:gd name="connsiteX954" fmla="*/ 1446964 w 11760532"/>
              <a:gd name="connsiteY954" fmla="*/ 1673806 h 5509311"/>
              <a:gd name="connsiteX955" fmla="*/ 1453433 w 11760532"/>
              <a:gd name="connsiteY955" fmla="*/ 1683898 h 5509311"/>
              <a:gd name="connsiteX956" fmla="*/ 1437023 w 11760532"/>
              <a:gd name="connsiteY956" fmla="*/ 1698244 h 5509311"/>
              <a:gd name="connsiteX957" fmla="*/ 1425362 w 11760532"/>
              <a:gd name="connsiteY957" fmla="*/ 1706686 h 5509311"/>
              <a:gd name="connsiteX958" fmla="*/ 1436964 w 11760532"/>
              <a:gd name="connsiteY958" fmla="*/ 1714429 h 5509311"/>
              <a:gd name="connsiteX959" fmla="*/ 1464538 w 11760532"/>
              <a:gd name="connsiteY959" fmla="*/ 1720458 h 5509311"/>
              <a:gd name="connsiteX960" fmla="*/ 1496806 w 11760532"/>
              <a:gd name="connsiteY960" fmla="*/ 1736768 h 5509311"/>
              <a:gd name="connsiteX961" fmla="*/ 1516708 w 11760532"/>
              <a:gd name="connsiteY961" fmla="*/ 1738227 h 5509311"/>
              <a:gd name="connsiteX962" fmla="*/ 1575405 w 11760532"/>
              <a:gd name="connsiteY962" fmla="*/ 1749903 h 5509311"/>
              <a:gd name="connsiteX963" fmla="*/ 1600516 w 11760532"/>
              <a:gd name="connsiteY963" fmla="*/ 1783161 h 5509311"/>
              <a:gd name="connsiteX964" fmla="*/ 1640836 w 11760532"/>
              <a:gd name="connsiteY964" fmla="*/ 1807596 h 5509311"/>
              <a:gd name="connsiteX965" fmla="*/ 1674421 w 11760532"/>
              <a:gd name="connsiteY965" fmla="*/ 1786013 h 5509311"/>
              <a:gd name="connsiteX966" fmla="*/ 1714094 w 11760532"/>
              <a:gd name="connsiteY966" fmla="*/ 1770968 h 5509311"/>
              <a:gd name="connsiteX967" fmla="*/ 1734186 w 11760532"/>
              <a:gd name="connsiteY967" fmla="*/ 1774204 h 5509311"/>
              <a:gd name="connsiteX968" fmla="*/ 1757199 w 11760532"/>
              <a:gd name="connsiteY968" fmla="*/ 1787913 h 5509311"/>
              <a:gd name="connsiteX969" fmla="*/ 1758153 w 11760532"/>
              <a:gd name="connsiteY969" fmla="*/ 1796799 h 5509311"/>
              <a:gd name="connsiteX970" fmla="*/ 1780975 w 11760532"/>
              <a:gd name="connsiteY970" fmla="*/ 1808731 h 5509311"/>
              <a:gd name="connsiteX971" fmla="*/ 1811584 w 11760532"/>
              <a:gd name="connsiteY971" fmla="*/ 1792861 h 5509311"/>
              <a:gd name="connsiteX972" fmla="*/ 1922202 w 11760532"/>
              <a:gd name="connsiteY972" fmla="*/ 1836714 h 5509311"/>
              <a:gd name="connsiteX973" fmla="*/ 1923613 w 11760532"/>
              <a:gd name="connsiteY973" fmla="*/ 1883302 h 5509311"/>
              <a:gd name="connsiteX974" fmla="*/ 1956395 w 11760532"/>
              <a:gd name="connsiteY974" fmla="*/ 1921130 h 5509311"/>
              <a:gd name="connsiteX975" fmla="*/ 1989293 w 11760532"/>
              <a:gd name="connsiteY975" fmla="*/ 1926587 h 5509311"/>
              <a:gd name="connsiteX976" fmla="*/ 2029977 w 11760532"/>
              <a:gd name="connsiteY976" fmla="*/ 1904243 h 5509311"/>
              <a:gd name="connsiteX977" fmla="*/ 2051081 w 11760532"/>
              <a:gd name="connsiteY977" fmla="*/ 1900179 h 5509311"/>
              <a:gd name="connsiteX978" fmla="*/ 2094303 w 11760532"/>
              <a:gd name="connsiteY978" fmla="*/ 1884753 h 5509311"/>
              <a:gd name="connsiteX979" fmla="*/ 2087071 w 11760532"/>
              <a:gd name="connsiteY979" fmla="*/ 1867552 h 5509311"/>
              <a:gd name="connsiteX980" fmla="*/ 2075793 w 11760532"/>
              <a:gd name="connsiteY980" fmla="*/ 1879549 h 5509311"/>
              <a:gd name="connsiteX981" fmla="*/ 2066099 w 11760532"/>
              <a:gd name="connsiteY981" fmla="*/ 1889578 h 5509311"/>
              <a:gd name="connsiteX982" fmla="*/ 2054115 w 11760532"/>
              <a:gd name="connsiteY982" fmla="*/ 1878281 h 5509311"/>
              <a:gd name="connsiteX983" fmla="*/ 2049403 w 11760532"/>
              <a:gd name="connsiteY983" fmla="*/ 1817665 h 5509311"/>
              <a:gd name="connsiteX984" fmla="*/ 2059421 w 11760532"/>
              <a:gd name="connsiteY984" fmla="*/ 1827376 h 5509311"/>
              <a:gd name="connsiteX985" fmla="*/ 2098216 w 11760532"/>
              <a:gd name="connsiteY985" fmla="*/ 1837593 h 5509311"/>
              <a:gd name="connsiteX986" fmla="*/ 2111077 w 11760532"/>
              <a:gd name="connsiteY986" fmla="*/ 1823629 h 5509311"/>
              <a:gd name="connsiteX987" fmla="*/ 2140673 w 11760532"/>
              <a:gd name="connsiteY987" fmla="*/ 1815058 h 5509311"/>
              <a:gd name="connsiteX988" fmla="*/ 2176739 w 11760532"/>
              <a:gd name="connsiteY988" fmla="*/ 1816579 h 5509311"/>
              <a:gd name="connsiteX989" fmla="*/ 2162847 w 11760532"/>
              <a:gd name="connsiteY989" fmla="*/ 1787510 h 5509311"/>
              <a:gd name="connsiteX990" fmla="*/ 2193837 w 11760532"/>
              <a:gd name="connsiteY990" fmla="*/ 1775195 h 5509311"/>
              <a:gd name="connsiteX991" fmla="*/ 2197005 w 11760532"/>
              <a:gd name="connsiteY991" fmla="*/ 1771259 h 5509311"/>
              <a:gd name="connsiteX992" fmla="*/ 2187807 w 11760532"/>
              <a:gd name="connsiteY992" fmla="*/ 1752472 h 5509311"/>
              <a:gd name="connsiteX993" fmla="*/ 2148823 w 11760532"/>
              <a:gd name="connsiteY993" fmla="*/ 1740477 h 5509311"/>
              <a:gd name="connsiteX994" fmla="*/ 2115868 w 11760532"/>
              <a:gd name="connsiteY994" fmla="*/ 1751206 h 5509311"/>
              <a:gd name="connsiteX995" fmla="*/ 2094762 w 11760532"/>
              <a:gd name="connsiteY995" fmla="*/ 1755270 h 5509311"/>
              <a:gd name="connsiteX996" fmla="*/ 2049367 w 11760532"/>
              <a:gd name="connsiteY996" fmla="*/ 1716998 h 5509311"/>
              <a:gd name="connsiteX997" fmla="*/ 2022366 w 11760532"/>
              <a:gd name="connsiteY997" fmla="*/ 1716302 h 5509311"/>
              <a:gd name="connsiteX998" fmla="*/ 1996700 w 11760532"/>
              <a:gd name="connsiteY998" fmla="*/ 1728045 h 5509311"/>
              <a:gd name="connsiteX999" fmla="*/ 1976855 w 11760532"/>
              <a:gd name="connsiteY999" fmla="*/ 1710401 h 5509311"/>
              <a:gd name="connsiteX1000" fmla="*/ 1940160 w 11760532"/>
              <a:gd name="connsiteY1000" fmla="*/ 1719733 h 5509311"/>
              <a:gd name="connsiteX1001" fmla="*/ 1909419 w 11760532"/>
              <a:gd name="connsiteY1001" fmla="*/ 1717641 h 5509311"/>
              <a:gd name="connsiteX1002" fmla="*/ 1861561 w 11760532"/>
              <a:gd name="connsiteY1002" fmla="*/ 1706599 h 5509311"/>
              <a:gd name="connsiteX1003" fmla="*/ 1835056 w 11760532"/>
              <a:gd name="connsiteY1003" fmla="*/ 1677086 h 5509311"/>
              <a:gd name="connsiteX1004" fmla="*/ 1785176 w 11760532"/>
              <a:gd name="connsiteY1004" fmla="*/ 1680643 h 5509311"/>
              <a:gd name="connsiteX1005" fmla="*/ 1771303 w 11760532"/>
              <a:gd name="connsiteY1005" fmla="*/ 1701907 h 5509311"/>
              <a:gd name="connsiteX1006" fmla="*/ 1756458 w 11760532"/>
              <a:gd name="connsiteY1006" fmla="*/ 1663951 h 5509311"/>
              <a:gd name="connsiteX1007" fmla="*/ 1751897 w 11760532"/>
              <a:gd name="connsiteY1007" fmla="*/ 1671632 h 5509311"/>
              <a:gd name="connsiteX1008" fmla="*/ 1699039 w 11760532"/>
              <a:gd name="connsiteY1008" fmla="*/ 1680902 h 5509311"/>
              <a:gd name="connsiteX1009" fmla="*/ 1686483 w 11760532"/>
              <a:gd name="connsiteY1009" fmla="*/ 1664273 h 5509311"/>
              <a:gd name="connsiteX1010" fmla="*/ 1685148 w 11760532"/>
              <a:gd name="connsiteY1010" fmla="*/ 1651832 h 5509311"/>
              <a:gd name="connsiteX1011" fmla="*/ 1676580 w 11760532"/>
              <a:gd name="connsiteY1011" fmla="*/ 1622191 h 5509311"/>
              <a:gd name="connsiteX1012" fmla="*/ 1581877 w 11760532"/>
              <a:gd name="connsiteY1012" fmla="*/ 1592809 h 5509311"/>
              <a:gd name="connsiteX1013" fmla="*/ 1426892 w 11760532"/>
              <a:gd name="connsiteY1013" fmla="*/ 1553718 h 5509311"/>
              <a:gd name="connsiteX1014" fmla="*/ 1377641 w 11760532"/>
              <a:gd name="connsiteY1014" fmla="*/ 1546421 h 5509311"/>
              <a:gd name="connsiteX1015" fmla="*/ 1340813 w 11760532"/>
              <a:gd name="connsiteY1015" fmla="*/ 1537791 h 5509311"/>
              <a:gd name="connsiteX1016" fmla="*/ 1277423 w 11760532"/>
              <a:gd name="connsiteY1016" fmla="*/ 1515833 h 5509311"/>
              <a:gd name="connsiteX1017" fmla="*/ 1211437 w 11760532"/>
              <a:gd name="connsiteY1017" fmla="*/ 1503142 h 5509311"/>
              <a:gd name="connsiteX1018" fmla="*/ 1156614 w 11760532"/>
              <a:gd name="connsiteY1018" fmla="*/ 1510825 h 5509311"/>
              <a:gd name="connsiteX1019" fmla="*/ 1110397 w 11760532"/>
              <a:gd name="connsiteY1019" fmla="*/ 1481630 h 5509311"/>
              <a:gd name="connsiteX1020" fmla="*/ 1064505 w 11760532"/>
              <a:gd name="connsiteY1020" fmla="*/ 1472175 h 5509311"/>
              <a:gd name="connsiteX1021" fmla="*/ 998386 w 11760532"/>
              <a:gd name="connsiteY1021" fmla="*/ 1441522 h 5509311"/>
              <a:gd name="connsiteX1022" fmla="*/ 872560 w 11760532"/>
              <a:gd name="connsiteY1022" fmla="*/ 1406493 h 5509311"/>
              <a:gd name="connsiteX1023" fmla="*/ 771329 w 11760532"/>
              <a:gd name="connsiteY1023" fmla="*/ 1383203 h 5509311"/>
              <a:gd name="connsiteX1024" fmla="*/ 748316 w 11760532"/>
              <a:gd name="connsiteY1024" fmla="*/ 1369495 h 5509311"/>
              <a:gd name="connsiteX1025" fmla="*/ 691643 w 11760532"/>
              <a:gd name="connsiteY1025" fmla="*/ 1343221 h 5509311"/>
              <a:gd name="connsiteX1026" fmla="*/ 679220 w 11760532"/>
              <a:gd name="connsiteY1026" fmla="*/ 1344554 h 5509311"/>
              <a:gd name="connsiteX1027" fmla="*/ 691948 w 11760532"/>
              <a:gd name="connsiteY1027" fmla="*/ 1312627 h 5509311"/>
              <a:gd name="connsiteX1028" fmla="*/ 728510 w 11760532"/>
              <a:gd name="connsiteY1028" fmla="*/ 1285331 h 5509311"/>
              <a:gd name="connsiteX1029" fmla="*/ 758870 w 11760532"/>
              <a:gd name="connsiteY1029" fmla="*/ 1283870 h 5509311"/>
              <a:gd name="connsiteX1030" fmla="*/ 787398 w 11760532"/>
              <a:gd name="connsiteY1030" fmla="*/ 1298784 h 5509311"/>
              <a:gd name="connsiteX1031" fmla="*/ 789687 w 11760532"/>
              <a:gd name="connsiteY1031" fmla="*/ 1320110 h 5509311"/>
              <a:gd name="connsiteX1032" fmla="*/ 803445 w 11760532"/>
              <a:gd name="connsiteY1032" fmla="*/ 1331217 h 5509311"/>
              <a:gd name="connsiteX1033" fmla="*/ 847487 w 11760532"/>
              <a:gd name="connsiteY1033" fmla="*/ 1306715 h 5509311"/>
              <a:gd name="connsiteX1034" fmla="*/ 857562 w 11760532"/>
              <a:gd name="connsiteY1034" fmla="*/ 1300240 h 5509311"/>
              <a:gd name="connsiteX1035" fmla="*/ 864031 w 11760532"/>
              <a:gd name="connsiteY1035" fmla="*/ 1310332 h 5509311"/>
              <a:gd name="connsiteX1036" fmla="*/ 864985 w 11760532"/>
              <a:gd name="connsiteY1036" fmla="*/ 1319219 h 5509311"/>
              <a:gd name="connsiteX1037" fmla="*/ 882292 w 11760532"/>
              <a:gd name="connsiteY1037" fmla="*/ 1329944 h 5509311"/>
              <a:gd name="connsiteX1038" fmla="*/ 904542 w 11760532"/>
              <a:gd name="connsiteY1038" fmla="*/ 1336544 h 5509311"/>
              <a:gd name="connsiteX1039" fmla="*/ 904866 w 11760532"/>
              <a:gd name="connsiteY1039" fmla="*/ 1356284 h 5509311"/>
              <a:gd name="connsiteX1040" fmla="*/ 883379 w 11760532"/>
              <a:gd name="connsiteY1040" fmla="*/ 1356792 h 5509311"/>
              <a:gd name="connsiteX1041" fmla="*/ 869373 w 11760532"/>
              <a:gd name="connsiteY1041" fmla="*/ 1360094 h 5509311"/>
              <a:gd name="connsiteX1042" fmla="*/ 872864 w 11760532"/>
              <a:gd name="connsiteY1042" fmla="*/ 1375899 h 5509311"/>
              <a:gd name="connsiteX1043" fmla="*/ 915895 w 11760532"/>
              <a:gd name="connsiteY1043" fmla="*/ 1358695 h 5509311"/>
              <a:gd name="connsiteX1044" fmla="*/ 953220 w 11760532"/>
              <a:gd name="connsiteY1044" fmla="*/ 1338509 h 5509311"/>
              <a:gd name="connsiteX1045" fmla="*/ 1054069 w 11760532"/>
              <a:gd name="connsiteY1045" fmla="*/ 1358243 h 5509311"/>
              <a:gd name="connsiteX1046" fmla="*/ 1061301 w 11760532"/>
              <a:gd name="connsiteY1046" fmla="*/ 1375444 h 5509311"/>
              <a:gd name="connsiteX1047" fmla="*/ 1055480 w 11760532"/>
              <a:gd name="connsiteY1047" fmla="*/ 1404832 h 5509311"/>
              <a:gd name="connsiteX1048" fmla="*/ 1071585 w 11760532"/>
              <a:gd name="connsiteY1048" fmla="*/ 1421080 h 5509311"/>
              <a:gd name="connsiteX1049" fmla="*/ 1081470 w 11760532"/>
              <a:gd name="connsiteY1049" fmla="*/ 1412828 h 5509311"/>
              <a:gd name="connsiteX1050" fmla="*/ 1105857 w 11760532"/>
              <a:gd name="connsiteY1050" fmla="*/ 1372458 h 5509311"/>
              <a:gd name="connsiteX1051" fmla="*/ 1108396 w 11760532"/>
              <a:gd name="connsiteY1051" fmla="*/ 1379377 h 5509311"/>
              <a:gd name="connsiteX1052" fmla="*/ 1130836 w 11760532"/>
              <a:gd name="connsiteY1052" fmla="*/ 1387754 h 5509311"/>
              <a:gd name="connsiteX1053" fmla="*/ 1141865 w 11760532"/>
              <a:gd name="connsiteY1053" fmla="*/ 1390165 h 5509311"/>
              <a:gd name="connsiteX1054" fmla="*/ 1171977 w 11760532"/>
              <a:gd name="connsiteY1054" fmla="*/ 1403111 h 5509311"/>
              <a:gd name="connsiteX1055" fmla="*/ 1229777 w 11760532"/>
              <a:gd name="connsiteY1055" fmla="*/ 1389716 h 5509311"/>
              <a:gd name="connsiteX1056" fmla="*/ 1237314 w 11760532"/>
              <a:gd name="connsiteY1056" fmla="*/ 1376323 h 5509311"/>
              <a:gd name="connsiteX1057" fmla="*/ 1243516 w 11760532"/>
              <a:gd name="connsiteY1057" fmla="*/ 1350489 h 5509311"/>
              <a:gd name="connsiteX1058" fmla="*/ 1195658 w 11760532"/>
              <a:gd name="connsiteY1058" fmla="*/ 1339448 h 5509311"/>
              <a:gd name="connsiteX1059" fmla="*/ 1153946 w 11760532"/>
              <a:gd name="connsiteY1059" fmla="*/ 1318758 h 5509311"/>
              <a:gd name="connsiteX1060" fmla="*/ 1211878 w 11760532"/>
              <a:gd name="connsiteY1060" fmla="*/ 1323325 h 5509311"/>
              <a:gd name="connsiteX1061" fmla="*/ 1255481 w 11760532"/>
              <a:gd name="connsiteY1061" fmla="*/ 1311453 h 5509311"/>
              <a:gd name="connsiteX1062" fmla="*/ 1278743 w 11760532"/>
              <a:gd name="connsiteY1062" fmla="*/ 1310754 h 5509311"/>
              <a:gd name="connsiteX1063" fmla="*/ 1281090 w 11760532"/>
              <a:gd name="connsiteY1063" fmla="*/ 1315895 h 5509311"/>
              <a:gd name="connsiteX1064" fmla="*/ 1365452 w 11760532"/>
              <a:gd name="connsiteY1064" fmla="*/ 1315827 h 5509311"/>
              <a:gd name="connsiteX1065" fmla="*/ 1411899 w 11760532"/>
              <a:gd name="connsiteY1065" fmla="*/ 1280280 h 5509311"/>
              <a:gd name="connsiteX1066" fmla="*/ 1471797 w 11760532"/>
              <a:gd name="connsiteY1066" fmla="*/ 1286433 h 5509311"/>
              <a:gd name="connsiteX1067" fmla="*/ 1547229 w 11760532"/>
              <a:gd name="connsiteY1067" fmla="*/ 1303503 h 5509311"/>
              <a:gd name="connsiteX1068" fmla="*/ 1603959 w 11760532"/>
              <a:gd name="connsiteY1068" fmla="*/ 1313592 h 5509311"/>
              <a:gd name="connsiteX1069" fmla="*/ 1647505 w 11760532"/>
              <a:gd name="connsiteY1069" fmla="*/ 1317906 h 5509311"/>
              <a:gd name="connsiteX1070" fmla="*/ 1684524 w 11760532"/>
              <a:gd name="connsiteY1070" fmla="*/ 1328313 h 5509311"/>
              <a:gd name="connsiteX1071" fmla="*/ 1717954 w 11760532"/>
              <a:gd name="connsiteY1071" fmla="*/ 1405620 h 5509311"/>
              <a:gd name="connsiteX1072" fmla="*/ 1730510 w 11760532"/>
              <a:gd name="connsiteY1072" fmla="*/ 1422250 h 5509311"/>
              <a:gd name="connsiteX1073" fmla="*/ 1749077 w 11760532"/>
              <a:gd name="connsiteY1073" fmla="*/ 1411268 h 5509311"/>
              <a:gd name="connsiteX1074" fmla="*/ 1758198 w 11760532"/>
              <a:gd name="connsiteY1074" fmla="*/ 1395908 h 5509311"/>
              <a:gd name="connsiteX1075" fmla="*/ 1809148 w 11760532"/>
              <a:gd name="connsiteY1075" fmla="*/ 1368866 h 5509311"/>
              <a:gd name="connsiteX1076" fmla="*/ 1834699 w 11760532"/>
              <a:gd name="connsiteY1076" fmla="*/ 1389493 h 5509311"/>
              <a:gd name="connsiteX1077" fmla="*/ 1871643 w 11760532"/>
              <a:gd name="connsiteY1077" fmla="*/ 1365752 h 5509311"/>
              <a:gd name="connsiteX1078" fmla="*/ 1930396 w 11760532"/>
              <a:gd name="connsiteY1078" fmla="*/ 1361243 h 5509311"/>
              <a:gd name="connsiteX1079" fmla="*/ 2044621 w 11760532"/>
              <a:gd name="connsiteY1079" fmla="*/ 1388529 h 5509311"/>
              <a:gd name="connsiteX1080" fmla="*/ 2063131 w 11760532"/>
              <a:gd name="connsiteY1080" fmla="*/ 1393732 h 5509311"/>
              <a:gd name="connsiteX1081" fmla="*/ 2105150 w 11760532"/>
              <a:gd name="connsiteY1081" fmla="*/ 1383829 h 5509311"/>
              <a:gd name="connsiteX1082" fmla="*/ 2116810 w 11760532"/>
              <a:gd name="connsiteY1082" fmla="*/ 1375387 h 5509311"/>
              <a:gd name="connsiteX1083" fmla="*/ 2134174 w 11760532"/>
              <a:gd name="connsiteY1083" fmla="*/ 1369927 h 5509311"/>
              <a:gd name="connsiteX1084" fmla="*/ 2158961 w 11760532"/>
              <a:gd name="connsiteY1084" fmla="*/ 1383446 h 5509311"/>
              <a:gd name="connsiteX1085" fmla="*/ 2180963 w 11760532"/>
              <a:gd name="connsiteY1085" fmla="*/ 1404453 h 5509311"/>
              <a:gd name="connsiteX1086" fmla="*/ 2205178 w 11760532"/>
              <a:gd name="connsiteY1086" fmla="*/ 1412640 h 5509311"/>
              <a:gd name="connsiteX1087" fmla="*/ 2240232 w 11760532"/>
              <a:gd name="connsiteY1087" fmla="*/ 1421461 h 5509311"/>
              <a:gd name="connsiteX1088" fmla="*/ 2256203 w 11760532"/>
              <a:gd name="connsiteY1088" fmla="*/ 1419746 h 5509311"/>
              <a:gd name="connsiteX1089" fmla="*/ 2331311 w 11760532"/>
              <a:gd name="connsiteY1089" fmla="*/ 1417077 h 5509311"/>
              <a:gd name="connsiteX1090" fmla="*/ 2358751 w 11760532"/>
              <a:gd name="connsiteY1090" fmla="*/ 1405142 h 5509311"/>
              <a:gd name="connsiteX1091" fmla="*/ 2336941 w 11760532"/>
              <a:gd name="connsiteY1091" fmla="*/ 1385911 h 5509311"/>
              <a:gd name="connsiteX1092" fmla="*/ 2331235 w 11760532"/>
              <a:gd name="connsiteY1092" fmla="*/ 1382928 h 5509311"/>
              <a:gd name="connsiteX1093" fmla="*/ 2315303 w 11760532"/>
              <a:gd name="connsiteY1093" fmla="*/ 1318123 h 5509311"/>
              <a:gd name="connsiteX1094" fmla="*/ 2345548 w 11760532"/>
              <a:gd name="connsiteY1094" fmla="*/ 1349033 h 5509311"/>
              <a:gd name="connsiteX1095" fmla="*/ 2387184 w 11760532"/>
              <a:gd name="connsiteY1095" fmla="*/ 1335575 h 5509311"/>
              <a:gd name="connsiteX1096" fmla="*/ 2396821 w 11760532"/>
              <a:gd name="connsiteY1096" fmla="*/ 1341731 h 5509311"/>
              <a:gd name="connsiteX1097" fmla="*/ 2394416 w 11760532"/>
              <a:gd name="connsiteY1097" fmla="*/ 1352775 h 5509311"/>
              <a:gd name="connsiteX1098" fmla="*/ 2396133 w 11760532"/>
              <a:gd name="connsiteY1098" fmla="*/ 1368770 h 5509311"/>
              <a:gd name="connsiteX1099" fmla="*/ 2406590 w 11760532"/>
              <a:gd name="connsiteY1099" fmla="*/ 1365850 h 5509311"/>
              <a:gd name="connsiteX1100" fmla="*/ 2421932 w 11760532"/>
              <a:gd name="connsiteY1100" fmla="*/ 1374989 h 5509311"/>
              <a:gd name="connsiteX1101" fmla="*/ 2424852 w 11760532"/>
              <a:gd name="connsiteY1101" fmla="*/ 1385462 h 5509311"/>
              <a:gd name="connsiteX1102" fmla="*/ 2514843 w 11760532"/>
              <a:gd name="connsiteY1102" fmla="*/ 1354228 h 5509311"/>
              <a:gd name="connsiteX1103" fmla="*/ 2518583 w 11760532"/>
              <a:gd name="connsiteY1103" fmla="*/ 1355624 h 5509311"/>
              <a:gd name="connsiteX1104" fmla="*/ 2638190 w 11760532"/>
              <a:gd name="connsiteY1104" fmla="*/ 1366154 h 5509311"/>
              <a:gd name="connsiteX1105" fmla="*/ 2668110 w 11760532"/>
              <a:gd name="connsiteY1105" fmla="*/ 1377324 h 5509311"/>
              <a:gd name="connsiteX1106" fmla="*/ 2702344 w 11760532"/>
              <a:gd name="connsiteY1106" fmla="*/ 1395221 h 5509311"/>
              <a:gd name="connsiteX1107" fmla="*/ 2770734 w 11760532"/>
              <a:gd name="connsiteY1107" fmla="*/ 1396868 h 5509311"/>
              <a:gd name="connsiteX1108" fmla="*/ 2784035 w 11760532"/>
              <a:gd name="connsiteY1108" fmla="*/ 1370272 h 5509311"/>
              <a:gd name="connsiteX1109" fmla="*/ 2780734 w 11760532"/>
              <a:gd name="connsiteY1109" fmla="*/ 1356245 h 5509311"/>
              <a:gd name="connsiteX1110" fmla="*/ 2784780 w 11760532"/>
              <a:gd name="connsiteY1110" fmla="*/ 1327048 h 5509311"/>
              <a:gd name="connsiteX1111" fmla="*/ 2788578 w 11760532"/>
              <a:gd name="connsiteY1111" fmla="*/ 1312259 h 5509311"/>
              <a:gd name="connsiteX1112" fmla="*/ 2802145 w 11760532"/>
              <a:gd name="connsiteY1112" fmla="*/ 1321588 h 5509311"/>
              <a:gd name="connsiteX1113" fmla="*/ 2822314 w 11760532"/>
              <a:gd name="connsiteY1113" fmla="*/ 1358972 h 5509311"/>
              <a:gd name="connsiteX1114" fmla="*/ 2894138 w 11760532"/>
              <a:gd name="connsiteY1114" fmla="*/ 1392608 h 5509311"/>
              <a:gd name="connsiteX1115" fmla="*/ 2941863 w 11760532"/>
              <a:gd name="connsiteY1115" fmla="*/ 1385687 h 5509311"/>
              <a:gd name="connsiteX1116" fmla="*/ 2980027 w 11760532"/>
              <a:gd name="connsiteY1116" fmla="*/ 1406758 h 5509311"/>
              <a:gd name="connsiteX1117" fmla="*/ 2986496 w 11760532"/>
              <a:gd name="connsiteY1117" fmla="*/ 1416850 h 5509311"/>
              <a:gd name="connsiteX1118" fmla="*/ 3005178 w 11760532"/>
              <a:gd name="connsiteY1118" fmla="*/ 1373498 h 5509311"/>
              <a:gd name="connsiteX1119" fmla="*/ 3024698 w 11760532"/>
              <a:gd name="connsiteY1119" fmla="*/ 1371402 h 5509311"/>
              <a:gd name="connsiteX1120" fmla="*/ 3055631 w 11760532"/>
              <a:gd name="connsiteY1120" fmla="*/ 1375271 h 5509311"/>
              <a:gd name="connsiteX1121" fmla="*/ 3097459 w 11760532"/>
              <a:gd name="connsiteY1121" fmla="*/ 1363590 h 5509311"/>
              <a:gd name="connsiteX1122" fmla="*/ 3165791 w 11760532"/>
              <a:gd name="connsiteY1122" fmla="*/ 1381423 h 5509311"/>
              <a:gd name="connsiteX1123" fmla="*/ 3211169 w 11760532"/>
              <a:gd name="connsiteY1123" fmla="*/ 1369361 h 5509311"/>
              <a:gd name="connsiteX1124" fmla="*/ 3261431 w 11760532"/>
              <a:gd name="connsiteY1124" fmla="*/ 1369358 h 5509311"/>
              <a:gd name="connsiteX1125" fmla="*/ 3290016 w 11760532"/>
              <a:gd name="connsiteY1125" fmla="*/ 1368086 h 5509311"/>
              <a:gd name="connsiteX1126" fmla="*/ 3293375 w 11760532"/>
              <a:gd name="connsiteY1126" fmla="*/ 1365928 h 5509311"/>
              <a:gd name="connsiteX1127" fmla="*/ 3313278 w 11760532"/>
              <a:gd name="connsiteY1127" fmla="*/ 1367387 h 5509311"/>
              <a:gd name="connsiteX1128" fmla="*/ 3320319 w 11760532"/>
              <a:gd name="connsiteY1128" fmla="*/ 1382811 h 5509311"/>
              <a:gd name="connsiteX1129" fmla="*/ 3359876 w 11760532"/>
              <a:gd name="connsiteY1129" fmla="*/ 1400136 h 5509311"/>
              <a:gd name="connsiteX1130" fmla="*/ 3445746 w 11760532"/>
              <a:gd name="connsiteY1130" fmla="*/ 1363952 h 5509311"/>
              <a:gd name="connsiteX1131" fmla="*/ 3467805 w 11760532"/>
              <a:gd name="connsiteY1131" fmla="*/ 1368775 h 5509311"/>
              <a:gd name="connsiteX1132" fmla="*/ 3486314 w 11760532"/>
              <a:gd name="connsiteY1132" fmla="*/ 1373979 h 5509311"/>
              <a:gd name="connsiteX1133" fmla="*/ 3530108 w 11760532"/>
              <a:gd name="connsiteY1133" fmla="*/ 1363885 h 5509311"/>
              <a:gd name="connsiteX1134" fmla="*/ 3564323 w 11760532"/>
              <a:gd name="connsiteY1134" fmla="*/ 1331448 h 5509311"/>
              <a:gd name="connsiteX1135" fmla="*/ 3580733 w 11760532"/>
              <a:gd name="connsiteY1135" fmla="*/ 1317103 h 5509311"/>
              <a:gd name="connsiteX1136" fmla="*/ 3618001 w 11760532"/>
              <a:gd name="connsiteY1136" fmla="*/ 1313102 h 5509311"/>
              <a:gd name="connsiteX1137" fmla="*/ 3624451 w 11760532"/>
              <a:gd name="connsiteY1137" fmla="*/ 1272860 h 5509311"/>
              <a:gd name="connsiteX1138" fmla="*/ 3638915 w 11760532"/>
              <a:gd name="connsiteY1138" fmla="*/ 1307261 h 5509311"/>
              <a:gd name="connsiteX1139" fmla="*/ 3598937 w 11760532"/>
              <a:gd name="connsiteY1139" fmla="*/ 1352900 h 5509311"/>
              <a:gd name="connsiteX1140" fmla="*/ 3663645 w 11760532"/>
              <a:gd name="connsiteY1140" fmla="*/ 1336965 h 5509311"/>
              <a:gd name="connsiteX1141" fmla="*/ 3674160 w 11760532"/>
              <a:gd name="connsiteY1141" fmla="*/ 1317859 h 5509311"/>
              <a:gd name="connsiteX1142" fmla="*/ 3706409 w 11760532"/>
              <a:gd name="connsiteY1142" fmla="*/ 1283836 h 5509311"/>
              <a:gd name="connsiteX1143" fmla="*/ 3713755 w 11760532"/>
              <a:gd name="connsiteY1143" fmla="*/ 1268666 h 5509311"/>
              <a:gd name="connsiteX1144" fmla="*/ 3722362 w 11760532"/>
              <a:gd name="connsiteY1144" fmla="*/ 1231788 h 5509311"/>
              <a:gd name="connsiteX1145" fmla="*/ 3729213 w 11760532"/>
              <a:gd name="connsiteY1145" fmla="*/ 1245434 h 5509311"/>
              <a:gd name="connsiteX1146" fmla="*/ 3769400 w 11760532"/>
              <a:gd name="connsiteY1146" fmla="*/ 1251906 h 5509311"/>
              <a:gd name="connsiteX1147" fmla="*/ 3819911 w 11760532"/>
              <a:gd name="connsiteY1147" fmla="*/ 1237495 h 5509311"/>
              <a:gd name="connsiteX1148" fmla="*/ 3859906 w 11760532"/>
              <a:gd name="connsiteY1148" fmla="*/ 1242189 h 5509311"/>
              <a:gd name="connsiteX1149" fmla="*/ 3977680 w 11760532"/>
              <a:gd name="connsiteY1149" fmla="*/ 1269095 h 5509311"/>
              <a:gd name="connsiteX1150" fmla="*/ 3989607 w 11760532"/>
              <a:gd name="connsiteY1150" fmla="*/ 1296578 h 5509311"/>
              <a:gd name="connsiteX1151" fmla="*/ 3965658 w 11760532"/>
              <a:gd name="connsiteY1151" fmla="*/ 1324318 h 5509311"/>
              <a:gd name="connsiteX1152" fmla="*/ 3933027 w 11760532"/>
              <a:gd name="connsiteY1152" fmla="*/ 1354786 h 5509311"/>
              <a:gd name="connsiteX1153" fmla="*/ 4089367 w 11760532"/>
              <a:gd name="connsiteY1153" fmla="*/ 1289464 h 5509311"/>
              <a:gd name="connsiteX1154" fmla="*/ 4108507 w 11760532"/>
              <a:gd name="connsiteY1154" fmla="*/ 1283814 h 5509311"/>
              <a:gd name="connsiteX1155" fmla="*/ 4123219 w 11760532"/>
              <a:gd name="connsiteY1155" fmla="*/ 1303807 h 5509311"/>
              <a:gd name="connsiteX1156" fmla="*/ 4117837 w 11760532"/>
              <a:gd name="connsiteY1156" fmla="*/ 1320564 h 5509311"/>
              <a:gd name="connsiteX1157" fmla="*/ 4092057 w 11760532"/>
              <a:gd name="connsiteY1157" fmla="*/ 1364679 h 5509311"/>
              <a:gd name="connsiteX1158" fmla="*/ 4107665 w 11760532"/>
              <a:gd name="connsiteY1158" fmla="*/ 1409743 h 5509311"/>
              <a:gd name="connsiteX1159" fmla="*/ 4141823 w 11760532"/>
              <a:gd name="connsiteY1159" fmla="*/ 1393492 h 5509311"/>
              <a:gd name="connsiteX1160" fmla="*/ 4148597 w 11760532"/>
              <a:gd name="connsiteY1160" fmla="*/ 1372991 h 5509311"/>
              <a:gd name="connsiteX1161" fmla="*/ 4202009 w 11760532"/>
              <a:gd name="connsiteY1161" fmla="*/ 1318719 h 5509311"/>
              <a:gd name="connsiteX1162" fmla="*/ 4251126 w 11760532"/>
              <a:gd name="connsiteY1162" fmla="*/ 1308053 h 5509311"/>
              <a:gd name="connsiteX1163" fmla="*/ 4376247 w 11760532"/>
              <a:gd name="connsiteY1163" fmla="*/ 1319788 h 5509311"/>
              <a:gd name="connsiteX1164" fmla="*/ 4407619 w 11760532"/>
              <a:gd name="connsiteY1164" fmla="*/ 1311027 h 5509311"/>
              <a:gd name="connsiteX1165" fmla="*/ 4457557 w 11760532"/>
              <a:gd name="connsiteY1165" fmla="*/ 1291285 h 5509311"/>
              <a:gd name="connsiteX1166" fmla="*/ 4517017 w 11760532"/>
              <a:gd name="connsiteY1166" fmla="*/ 1310069 h 5509311"/>
              <a:gd name="connsiteX1167" fmla="*/ 4556440 w 11760532"/>
              <a:gd name="connsiteY1167" fmla="*/ 1309433 h 5509311"/>
              <a:gd name="connsiteX1168" fmla="*/ 4583881 w 11760532"/>
              <a:gd name="connsiteY1168" fmla="*/ 1297498 h 5509311"/>
              <a:gd name="connsiteX1169" fmla="*/ 4598898 w 11760532"/>
              <a:gd name="connsiteY1169" fmla="*/ 1286898 h 5509311"/>
              <a:gd name="connsiteX1170" fmla="*/ 4608286 w 11760532"/>
              <a:gd name="connsiteY1170" fmla="*/ 1307462 h 5509311"/>
              <a:gd name="connsiteX1171" fmla="*/ 4598344 w 11760532"/>
              <a:gd name="connsiteY1171" fmla="*/ 1331899 h 5509311"/>
              <a:gd name="connsiteX1172" fmla="*/ 4638989 w 11760532"/>
              <a:gd name="connsiteY1172" fmla="*/ 1376074 h 5509311"/>
              <a:gd name="connsiteX1173" fmla="*/ 4659712 w 11760532"/>
              <a:gd name="connsiteY1173" fmla="*/ 1368456 h 5509311"/>
              <a:gd name="connsiteX1174" fmla="*/ 4679424 w 11760532"/>
              <a:gd name="connsiteY1174" fmla="*/ 1368138 h 5509311"/>
              <a:gd name="connsiteX1175" fmla="*/ 4771075 w 11760532"/>
              <a:gd name="connsiteY1175" fmla="*/ 1369085 h 5509311"/>
              <a:gd name="connsiteX1176" fmla="*/ 4775636 w 11760532"/>
              <a:gd name="connsiteY1176" fmla="*/ 1361404 h 5509311"/>
              <a:gd name="connsiteX1177" fmla="*/ 4766630 w 11760532"/>
              <a:gd name="connsiteY1177" fmla="*/ 1344394 h 5509311"/>
              <a:gd name="connsiteX1178" fmla="*/ 4759912 w 11760532"/>
              <a:gd name="connsiteY1178" fmla="*/ 1348711 h 5509311"/>
              <a:gd name="connsiteX1179" fmla="*/ 4715927 w 11760532"/>
              <a:gd name="connsiteY1179" fmla="*/ 1357028 h 5509311"/>
              <a:gd name="connsiteX1180" fmla="*/ 4693220 w 11760532"/>
              <a:gd name="connsiteY1180" fmla="*/ 1312726 h 5509311"/>
              <a:gd name="connsiteX1181" fmla="*/ 4707036 w 11760532"/>
              <a:gd name="connsiteY1181" fmla="*/ 1307647 h 5509311"/>
              <a:gd name="connsiteX1182" fmla="*/ 4738407 w 11760532"/>
              <a:gd name="connsiteY1182" fmla="*/ 1298887 h 5509311"/>
              <a:gd name="connsiteX1183" fmla="*/ 4804509 w 11760532"/>
              <a:gd name="connsiteY1183" fmla="*/ 1279206 h 5509311"/>
              <a:gd name="connsiteX1184" fmla="*/ 4835440 w 11760532"/>
              <a:gd name="connsiteY1184" fmla="*/ 1283076 h 5509311"/>
              <a:gd name="connsiteX1185" fmla="*/ 4874043 w 11760532"/>
              <a:gd name="connsiteY1185" fmla="*/ 1291516 h 5509311"/>
              <a:gd name="connsiteX1186" fmla="*/ 4899270 w 11760532"/>
              <a:gd name="connsiteY1186" fmla="*/ 1292404 h 5509311"/>
              <a:gd name="connsiteX1187" fmla="*/ 4925317 w 11760532"/>
              <a:gd name="connsiteY1187" fmla="*/ 1284214 h 5509311"/>
              <a:gd name="connsiteX1188" fmla="*/ 4942568 w 11760532"/>
              <a:gd name="connsiteY1188" fmla="*/ 1311126 h 5509311"/>
              <a:gd name="connsiteX1189" fmla="*/ 5003650 w 11760532"/>
              <a:gd name="connsiteY1189" fmla="*/ 1261423 h 5509311"/>
              <a:gd name="connsiteX1190" fmla="*/ 4998077 w 11760532"/>
              <a:gd name="connsiteY1190" fmla="*/ 1276403 h 5509311"/>
              <a:gd name="connsiteX1191" fmla="*/ 5026929 w 11760532"/>
              <a:gd name="connsiteY1191" fmla="*/ 1311057 h 5509311"/>
              <a:gd name="connsiteX1192" fmla="*/ 5083718 w 11760532"/>
              <a:gd name="connsiteY1192" fmla="*/ 1304961 h 5509311"/>
              <a:gd name="connsiteX1193" fmla="*/ 5170751 w 11760532"/>
              <a:gd name="connsiteY1193" fmla="*/ 1329774 h 5509311"/>
              <a:gd name="connsiteX1194" fmla="*/ 5205098 w 11760532"/>
              <a:gd name="connsiteY1194" fmla="*/ 1315300 h 5509311"/>
              <a:gd name="connsiteX1195" fmla="*/ 5243244 w 11760532"/>
              <a:gd name="connsiteY1195" fmla="*/ 1286037 h 5509311"/>
              <a:gd name="connsiteX1196" fmla="*/ 5287991 w 11760532"/>
              <a:gd name="connsiteY1196" fmla="*/ 1284829 h 5509311"/>
              <a:gd name="connsiteX1197" fmla="*/ 5312397 w 11760532"/>
              <a:gd name="connsiteY1197" fmla="*/ 1294793 h 5509311"/>
              <a:gd name="connsiteX1198" fmla="*/ 5319877 w 11760532"/>
              <a:gd name="connsiteY1198" fmla="*/ 1297585 h 5509311"/>
              <a:gd name="connsiteX1199" fmla="*/ 5387944 w 11760532"/>
              <a:gd name="connsiteY1199" fmla="*/ 1279491 h 5509311"/>
              <a:gd name="connsiteX1200" fmla="*/ 5448148 w 11760532"/>
              <a:gd name="connsiteY1200" fmla="*/ 1255051 h 5509311"/>
              <a:gd name="connsiteX1201" fmla="*/ 5466276 w 11760532"/>
              <a:gd name="connsiteY1201" fmla="*/ 1256701 h 5509311"/>
              <a:gd name="connsiteX1202" fmla="*/ 5493469 w 11760532"/>
              <a:gd name="connsiteY1202" fmla="*/ 1259175 h 5509311"/>
              <a:gd name="connsiteX1203" fmla="*/ 5575789 w 11760532"/>
              <a:gd name="connsiteY1203" fmla="*/ 1223372 h 5509311"/>
              <a:gd name="connsiteX1204" fmla="*/ 5612046 w 11760532"/>
              <a:gd name="connsiteY1204" fmla="*/ 1226670 h 5509311"/>
              <a:gd name="connsiteX1205" fmla="*/ 5631700 w 11760532"/>
              <a:gd name="connsiteY1205" fmla="*/ 1242538 h 5509311"/>
              <a:gd name="connsiteX1206" fmla="*/ 5646029 w 11760532"/>
              <a:gd name="connsiteY1206" fmla="*/ 1258976 h 5509311"/>
              <a:gd name="connsiteX1207" fmla="*/ 5716767 w 11760532"/>
              <a:gd name="connsiteY1207" fmla="*/ 1265764 h 5509311"/>
              <a:gd name="connsiteX1208" fmla="*/ 5731652 w 11760532"/>
              <a:gd name="connsiteY1208" fmla="*/ 1237200 h 5509311"/>
              <a:gd name="connsiteX1209" fmla="*/ 5737281 w 11760532"/>
              <a:gd name="connsiteY1209" fmla="*/ 1206035 h 5509311"/>
              <a:gd name="connsiteX1210" fmla="*/ 5760427 w 11760532"/>
              <a:gd name="connsiteY1210" fmla="*/ 1237707 h 5509311"/>
              <a:gd name="connsiteX1211" fmla="*/ 5804048 w 11760532"/>
              <a:gd name="connsiteY1211" fmla="*/ 1276169 h 5509311"/>
              <a:gd name="connsiteX1212" fmla="*/ 5856583 w 11760532"/>
              <a:gd name="connsiteY1212" fmla="*/ 1247159 h 5509311"/>
              <a:gd name="connsiteX1213" fmla="*/ 5884214 w 11760532"/>
              <a:gd name="connsiteY1213" fmla="*/ 1237001 h 5509311"/>
              <a:gd name="connsiteX1214" fmla="*/ 5930487 w 11760532"/>
              <a:gd name="connsiteY1214" fmla="*/ 1250011 h 5509311"/>
              <a:gd name="connsiteX1215" fmla="*/ 5946841 w 11760532"/>
              <a:gd name="connsiteY1215" fmla="*/ 1251851 h 5509311"/>
              <a:gd name="connsiteX1216" fmla="*/ 5983536 w 11760532"/>
              <a:gd name="connsiteY1216" fmla="*/ 1242519 h 5509311"/>
              <a:gd name="connsiteX1217" fmla="*/ 5970674 w 11760532"/>
              <a:gd name="connsiteY1217" fmla="*/ 1256483 h 5509311"/>
              <a:gd name="connsiteX1218" fmla="*/ 5975120 w 11760532"/>
              <a:gd name="connsiteY1218" fmla="*/ 1281173 h 5509311"/>
              <a:gd name="connsiteX1219" fmla="*/ 5996034 w 11760532"/>
              <a:gd name="connsiteY1219" fmla="*/ 1275333 h 5509311"/>
              <a:gd name="connsiteX1220" fmla="*/ 6046278 w 11760532"/>
              <a:gd name="connsiteY1220" fmla="*/ 1224996 h 5509311"/>
              <a:gd name="connsiteX1221" fmla="*/ 6090072 w 11760532"/>
              <a:gd name="connsiteY1221" fmla="*/ 1214902 h 5509311"/>
              <a:gd name="connsiteX1222" fmla="*/ 6138368 w 11760532"/>
              <a:gd name="connsiteY1222" fmla="*/ 1213313 h 5509311"/>
              <a:gd name="connsiteX1223" fmla="*/ 6190787 w 11760532"/>
              <a:gd name="connsiteY1223" fmla="*/ 1216674 h 5509311"/>
              <a:gd name="connsiteX1224" fmla="*/ 6227673 w 11760532"/>
              <a:gd name="connsiteY1224" fmla="*/ 1209119 h 5509311"/>
              <a:gd name="connsiteX1225" fmla="*/ 6272229 w 11760532"/>
              <a:gd name="connsiteY1225" fmla="*/ 1206133 h 5509311"/>
              <a:gd name="connsiteX1226" fmla="*/ 6285988 w 11760532"/>
              <a:gd name="connsiteY1226" fmla="*/ 1217240 h 5509311"/>
              <a:gd name="connsiteX1227" fmla="*/ 6337395 w 11760532"/>
              <a:gd name="connsiteY1227" fmla="*/ 1227900 h 5509311"/>
              <a:gd name="connsiteX1228" fmla="*/ 6361153 w 11760532"/>
              <a:gd name="connsiteY1228" fmla="*/ 1198385 h 5509311"/>
              <a:gd name="connsiteX1229" fmla="*/ 6399489 w 11760532"/>
              <a:gd name="connsiteY1229" fmla="*/ 1170899 h 5509311"/>
              <a:gd name="connsiteX1230" fmla="*/ 6465781 w 11760532"/>
              <a:gd name="connsiteY1230" fmla="*/ 1152996 h 5509311"/>
              <a:gd name="connsiteX1231" fmla="*/ 6483145 w 11760532"/>
              <a:gd name="connsiteY1231" fmla="*/ 1147536 h 5509311"/>
              <a:gd name="connsiteX1232" fmla="*/ 6583097 w 11760532"/>
              <a:gd name="connsiteY1232" fmla="*/ 1142200 h 5509311"/>
              <a:gd name="connsiteX1233" fmla="*/ 6563843 w 11760532"/>
              <a:gd name="connsiteY1233" fmla="*/ 1180221 h 5509311"/>
              <a:gd name="connsiteX1234" fmla="*/ 6558462 w 11760532"/>
              <a:gd name="connsiteY1234" fmla="*/ 1196977 h 5509311"/>
              <a:gd name="connsiteX1235" fmla="*/ 6558595 w 11760532"/>
              <a:gd name="connsiteY1235" fmla="*/ 1214940 h 5509311"/>
              <a:gd name="connsiteX1236" fmla="*/ 6576151 w 11760532"/>
              <a:gd name="connsiteY1236" fmla="*/ 1211258 h 5509311"/>
              <a:gd name="connsiteX1237" fmla="*/ 6593382 w 11760532"/>
              <a:gd name="connsiteY1237" fmla="*/ 1187836 h 5509311"/>
              <a:gd name="connsiteX1238" fmla="*/ 6607960 w 11760532"/>
              <a:gd name="connsiteY1238" fmla="*/ 1189866 h 5509311"/>
              <a:gd name="connsiteX1239" fmla="*/ 6620708 w 11760532"/>
              <a:gd name="connsiteY1239" fmla="*/ 1208272 h 5509311"/>
              <a:gd name="connsiteX1240" fmla="*/ 6710260 w 11760532"/>
              <a:gd name="connsiteY1240" fmla="*/ 1189670 h 5509311"/>
              <a:gd name="connsiteX1241" fmla="*/ 6729458 w 11760532"/>
              <a:gd name="connsiteY1241" fmla="*/ 1167834 h 5509311"/>
              <a:gd name="connsiteX1242" fmla="*/ 6729972 w 11760532"/>
              <a:gd name="connsiteY1242" fmla="*/ 1189351 h 5509311"/>
              <a:gd name="connsiteX1243" fmla="*/ 6751210 w 11760532"/>
              <a:gd name="connsiteY1243" fmla="*/ 1203251 h 5509311"/>
              <a:gd name="connsiteX1244" fmla="*/ 6780616 w 11760532"/>
              <a:gd name="connsiteY1244" fmla="*/ 1192903 h 5509311"/>
              <a:gd name="connsiteX1245" fmla="*/ 6795882 w 11760532"/>
              <a:gd name="connsiteY1245" fmla="*/ 1167894 h 5509311"/>
              <a:gd name="connsiteX1246" fmla="*/ 6783384 w 11760532"/>
              <a:gd name="connsiteY1246" fmla="*/ 1135079 h 5509311"/>
              <a:gd name="connsiteX1247" fmla="*/ 6812293 w 11760532"/>
              <a:gd name="connsiteY1247" fmla="*/ 1153549 h 5509311"/>
              <a:gd name="connsiteX1248" fmla="*/ 6838913 w 11760532"/>
              <a:gd name="connsiteY1248" fmla="*/ 1150690 h 5509311"/>
              <a:gd name="connsiteX1249" fmla="*/ 6923141 w 11760532"/>
              <a:gd name="connsiteY1249" fmla="*/ 1132660 h 5509311"/>
              <a:gd name="connsiteX1250" fmla="*/ 6988479 w 11760532"/>
              <a:gd name="connsiteY1250" fmla="*/ 1105871 h 5509311"/>
              <a:gd name="connsiteX1251" fmla="*/ 7003687 w 11760532"/>
              <a:gd name="connsiteY1251" fmla="*/ 1097048 h 5509311"/>
              <a:gd name="connsiteX1252" fmla="*/ 7042596 w 11760532"/>
              <a:gd name="connsiteY1252" fmla="*/ 1074894 h 5509311"/>
              <a:gd name="connsiteX1253" fmla="*/ 7043990 w 11760532"/>
              <a:gd name="connsiteY1253" fmla="*/ 1071149 h 5509311"/>
              <a:gd name="connsiteX1254" fmla="*/ 7062365 w 11760532"/>
              <a:gd name="connsiteY1254" fmla="*/ 1058390 h 5509311"/>
              <a:gd name="connsiteX1255" fmla="*/ 7072765 w 11760532"/>
              <a:gd name="connsiteY1255" fmla="*/ 1071655 h 5509311"/>
              <a:gd name="connsiteX1256" fmla="*/ 7100911 w 11760532"/>
              <a:gd name="connsiteY1256" fmla="*/ 1083015 h 5509311"/>
              <a:gd name="connsiteX1257" fmla="*/ 7170562 w 11760532"/>
              <a:gd name="connsiteY1257" fmla="*/ 1062954 h 5509311"/>
              <a:gd name="connsiteX1258" fmla="*/ 7222656 w 11760532"/>
              <a:gd name="connsiteY1258" fmla="*/ 1046575 h 5509311"/>
              <a:gd name="connsiteX1259" fmla="*/ 7237425 w 11760532"/>
              <a:gd name="connsiteY1259" fmla="*/ 1050383 h 5509311"/>
              <a:gd name="connsiteX1260" fmla="*/ 7256769 w 11760532"/>
              <a:gd name="connsiteY1260" fmla="*/ 1063362 h 5509311"/>
              <a:gd name="connsiteX1261" fmla="*/ 7272553 w 11760532"/>
              <a:gd name="connsiteY1261" fmla="*/ 1063640 h 5509311"/>
              <a:gd name="connsiteX1262" fmla="*/ 7330857 w 11760532"/>
              <a:gd name="connsiteY1262" fmla="*/ 1037935 h 5509311"/>
              <a:gd name="connsiteX1263" fmla="*/ 7328466 w 11760532"/>
              <a:gd name="connsiteY1263" fmla="*/ 1028924 h 5509311"/>
              <a:gd name="connsiteX1264" fmla="*/ 7336672 w 11760532"/>
              <a:gd name="connsiteY1264" fmla="*/ 1021751 h 5509311"/>
              <a:gd name="connsiteX1265" fmla="*/ 7399720 w 11760532"/>
              <a:gd name="connsiteY1265" fmla="*/ 973636 h 5509311"/>
              <a:gd name="connsiteX1266" fmla="*/ 7494712 w 11760532"/>
              <a:gd name="connsiteY1266" fmla="*/ 922091 h 5509311"/>
              <a:gd name="connsiteX1267" fmla="*/ 7506696 w 11760532"/>
              <a:gd name="connsiteY1267" fmla="*/ 933389 h 5509311"/>
              <a:gd name="connsiteX1268" fmla="*/ 7488452 w 11760532"/>
              <a:gd name="connsiteY1268" fmla="*/ 964110 h 5509311"/>
              <a:gd name="connsiteX1269" fmla="*/ 7487192 w 11760532"/>
              <a:gd name="connsiteY1269" fmla="*/ 985818 h 5509311"/>
              <a:gd name="connsiteX1270" fmla="*/ 7507095 w 11760532"/>
              <a:gd name="connsiteY1270" fmla="*/ 987276 h 5509311"/>
              <a:gd name="connsiteX1271" fmla="*/ 7534154 w 11760532"/>
              <a:gd name="connsiteY1271" fmla="*/ 971788 h 5509311"/>
              <a:gd name="connsiteX1272" fmla="*/ 7553484 w 11760532"/>
              <a:gd name="connsiteY1272" fmla="*/ 967915 h 5509311"/>
              <a:gd name="connsiteX1273" fmla="*/ 7556847 w 11760532"/>
              <a:gd name="connsiteY1273" fmla="*/ 978340 h 5509311"/>
              <a:gd name="connsiteX1274" fmla="*/ 7556614 w 11760532"/>
              <a:gd name="connsiteY1274" fmla="*/ 978908 h 5509311"/>
              <a:gd name="connsiteX1275" fmla="*/ 7582152 w 11760532"/>
              <a:gd name="connsiteY1275" fmla="*/ 972345 h 5509311"/>
              <a:gd name="connsiteX1276" fmla="*/ 7608680 w 11760532"/>
              <a:gd name="connsiteY1276" fmla="*/ 960875 h 5509311"/>
              <a:gd name="connsiteX1277" fmla="*/ 7628292 w 11760532"/>
              <a:gd name="connsiteY1277" fmla="*/ 949162 h 5509311"/>
              <a:gd name="connsiteX1278" fmla="*/ 7646643 w 11760532"/>
              <a:gd name="connsiteY1278" fmla="*/ 932746 h 5509311"/>
              <a:gd name="connsiteX1279" fmla="*/ 7758028 w 11760532"/>
              <a:gd name="connsiteY1279" fmla="*/ 816522 h 5509311"/>
              <a:gd name="connsiteX1280" fmla="*/ 7770068 w 11760532"/>
              <a:gd name="connsiteY1280" fmla="*/ 811634 h 5509311"/>
              <a:gd name="connsiteX1281" fmla="*/ 7776918 w 11760532"/>
              <a:gd name="connsiteY1281" fmla="*/ 825281 h 5509311"/>
              <a:gd name="connsiteX1282" fmla="*/ 7773255 w 11760532"/>
              <a:gd name="connsiteY1282" fmla="*/ 858033 h 5509311"/>
              <a:gd name="connsiteX1283" fmla="*/ 7772975 w 11760532"/>
              <a:gd name="connsiteY1283" fmla="*/ 874257 h 5509311"/>
              <a:gd name="connsiteX1284" fmla="*/ 7843506 w 11760532"/>
              <a:gd name="connsiteY1284" fmla="*/ 838389 h 5509311"/>
              <a:gd name="connsiteX1285" fmla="*/ 7981704 w 11760532"/>
              <a:gd name="connsiteY1285" fmla="*/ 751474 h 5509311"/>
              <a:gd name="connsiteX1286" fmla="*/ 8054850 w 11760532"/>
              <a:gd name="connsiteY1286" fmla="*/ 733676 h 5509311"/>
              <a:gd name="connsiteX1287" fmla="*/ 8066046 w 11760532"/>
              <a:gd name="connsiteY1287" fmla="*/ 733194 h 5509311"/>
              <a:gd name="connsiteX1288" fmla="*/ 8075227 w 11760532"/>
              <a:gd name="connsiteY1288" fmla="*/ 724831 h 5509311"/>
              <a:gd name="connsiteX1289" fmla="*/ 8096126 w 11760532"/>
              <a:gd name="connsiteY1289" fmla="*/ 688543 h 5509311"/>
              <a:gd name="connsiteX1290" fmla="*/ 8140607 w 11760532"/>
              <a:gd name="connsiteY1290" fmla="*/ 651410 h 5509311"/>
              <a:gd name="connsiteX1291" fmla="*/ 8166845 w 11760532"/>
              <a:gd name="connsiteY1291" fmla="*/ 644998 h 5509311"/>
              <a:gd name="connsiteX1292" fmla="*/ 8214055 w 11760532"/>
              <a:gd name="connsiteY1292" fmla="*/ 616559 h 5509311"/>
              <a:gd name="connsiteX1293" fmla="*/ 8237125 w 11760532"/>
              <a:gd name="connsiteY1293" fmla="*/ 614083 h 5509311"/>
              <a:gd name="connsiteX1294" fmla="*/ 8244022 w 11760532"/>
              <a:gd name="connsiteY1294" fmla="*/ 618291 h 5509311"/>
              <a:gd name="connsiteX1295" fmla="*/ 8254067 w 11760532"/>
              <a:gd name="connsiteY1295" fmla="*/ 602616 h 5509311"/>
              <a:gd name="connsiteX1296" fmla="*/ 8265389 w 11760532"/>
              <a:gd name="connsiteY1296" fmla="*/ 592742 h 5509311"/>
              <a:gd name="connsiteX1297" fmla="*/ 8284443 w 11760532"/>
              <a:gd name="connsiteY1297" fmla="*/ 590007 h 5509311"/>
              <a:gd name="connsiteX1298" fmla="*/ 8292801 w 11760532"/>
              <a:gd name="connsiteY1298" fmla="*/ 592911 h 5509311"/>
              <a:gd name="connsiteX1299" fmla="*/ 8294241 w 11760532"/>
              <a:gd name="connsiteY1299" fmla="*/ 592222 h 5509311"/>
              <a:gd name="connsiteX1300" fmla="*/ 8293590 w 11760532"/>
              <a:gd name="connsiteY1300" fmla="*/ 588247 h 5509311"/>
              <a:gd name="connsiteX1301" fmla="*/ 8292369 w 11760532"/>
              <a:gd name="connsiteY1301" fmla="*/ 543435 h 5509311"/>
              <a:gd name="connsiteX1302" fmla="*/ 8314103 w 11760532"/>
              <a:gd name="connsiteY1302" fmla="*/ 528518 h 5509311"/>
              <a:gd name="connsiteX1303" fmla="*/ 8324885 w 11760532"/>
              <a:gd name="connsiteY1303" fmla="*/ 545337 h 5509311"/>
              <a:gd name="connsiteX1304" fmla="*/ 8324579 w 11760532"/>
              <a:gd name="connsiteY1304" fmla="*/ 575931 h 5509311"/>
              <a:gd name="connsiteX1305" fmla="*/ 8350800 w 11760532"/>
              <a:gd name="connsiteY1305" fmla="*/ 519185 h 5509311"/>
              <a:gd name="connsiteX1306" fmla="*/ 8355635 w 11760532"/>
              <a:gd name="connsiteY1306" fmla="*/ 511126 h 5509311"/>
              <a:gd name="connsiteX1307" fmla="*/ 8354614 w 11760532"/>
              <a:gd name="connsiteY1307" fmla="*/ 511544 h 5509311"/>
              <a:gd name="connsiteX1308" fmla="*/ 8088574 w 11760532"/>
              <a:gd name="connsiteY1308" fmla="*/ 577110 h 5509311"/>
              <a:gd name="connsiteX1309" fmla="*/ 7837751 w 11760532"/>
              <a:gd name="connsiteY1309" fmla="*/ 642059 h 5509311"/>
              <a:gd name="connsiteX1310" fmla="*/ 8139529 w 11760532"/>
              <a:gd name="connsiteY1310" fmla="*/ 494925 h 5509311"/>
              <a:gd name="connsiteX1311" fmla="*/ 8394729 w 11760532"/>
              <a:gd name="connsiteY1311" fmla="*/ 383197 h 5509311"/>
              <a:gd name="connsiteX1312" fmla="*/ 8726766 w 11760532"/>
              <a:gd name="connsiteY1312" fmla="*/ 222040 h 5509311"/>
              <a:gd name="connsiteX1313" fmla="*/ 8917482 w 11760532"/>
              <a:gd name="connsiteY1313" fmla="*/ 118196 h 5509311"/>
              <a:gd name="connsiteX1314" fmla="*/ 9129013 w 11760532"/>
              <a:gd name="connsiteY1314" fmla="*/ 103749 h 5509311"/>
              <a:gd name="connsiteX1315" fmla="*/ 9161540 w 11760532"/>
              <a:gd name="connsiteY1315" fmla="*/ 46606 h 5509311"/>
              <a:gd name="connsiteX1316" fmla="*/ 9253685 w 11760532"/>
              <a:gd name="connsiteY1316" fmla="*/ 3556 h 5509311"/>
              <a:gd name="connsiteX1317" fmla="*/ 9350413 w 11760532"/>
              <a:gd name="connsiteY1317" fmla="*/ 22243 h 5509311"/>
              <a:gd name="connsiteX1318" fmla="*/ 9361233 w 11760532"/>
              <a:gd name="connsiteY1318" fmla="*/ 0 h 550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Lst>
            <a:rect l="l" t="t" r="r" b="b"/>
            <a:pathLst>
              <a:path w="11760532" h="5509311">
                <a:moveTo>
                  <a:pt x="3069819" y="3916044"/>
                </a:moveTo>
                <a:cubicBezTo>
                  <a:pt x="3065356" y="3916267"/>
                  <a:pt x="3060894" y="3917608"/>
                  <a:pt x="3056432" y="3920289"/>
                </a:cubicBezTo>
                <a:cubicBezTo>
                  <a:pt x="3038584" y="3931013"/>
                  <a:pt x="3018951" y="3934588"/>
                  <a:pt x="2999318" y="3929226"/>
                </a:cubicBezTo>
                <a:lnTo>
                  <a:pt x="2964208" y="3918314"/>
                </a:lnTo>
                <a:lnTo>
                  <a:pt x="2928536" y="3919303"/>
                </a:lnTo>
                <a:lnTo>
                  <a:pt x="2926139" y="3923863"/>
                </a:lnTo>
                <a:cubicBezTo>
                  <a:pt x="2924355" y="3932800"/>
                  <a:pt x="2920785" y="3938163"/>
                  <a:pt x="2911860" y="3938163"/>
                </a:cubicBezTo>
                <a:cubicBezTo>
                  <a:pt x="2902044" y="3939057"/>
                  <a:pt x="2895797" y="3937269"/>
                  <a:pt x="2892674" y="3933024"/>
                </a:cubicBezTo>
                <a:lnTo>
                  <a:pt x="2892388" y="3920306"/>
                </a:lnTo>
                <a:lnTo>
                  <a:pt x="2847897" y="3921540"/>
                </a:lnTo>
                <a:cubicBezTo>
                  <a:pt x="2771205" y="3926178"/>
                  <a:pt x="2694515" y="3930815"/>
                  <a:pt x="2616678" y="3924790"/>
                </a:cubicBezTo>
                <a:cubicBezTo>
                  <a:pt x="2580423" y="3921491"/>
                  <a:pt x="2544262" y="3919081"/>
                  <a:pt x="2508340" y="3918893"/>
                </a:cubicBezTo>
                <a:lnTo>
                  <a:pt x="2422190" y="3924882"/>
                </a:lnTo>
                <a:lnTo>
                  <a:pt x="2431740" y="3945313"/>
                </a:lnTo>
                <a:cubicBezTo>
                  <a:pt x="2456727" y="3995360"/>
                  <a:pt x="2499563" y="4011448"/>
                  <a:pt x="2549538" y="3986423"/>
                </a:cubicBezTo>
                <a:cubicBezTo>
                  <a:pt x="2562032" y="3981062"/>
                  <a:pt x="2574527" y="3977486"/>
                  <a:pt x="2587020" y="3979273"/>
                </a:cubicBezTo>
                <a:cubicBezTo>
                  <a:pt x="2595945" y="3979273"/>
                  <a:pt x="2599514" y="3981062"/>
                  <a:pt x="2599514" y="3989999"/>
                </a:cubicBezTo>
                <a:cubicBezTo>
                  <a:pt x="2601299" y="4006085"/>
                  <a:pt x="2606653" y="4011448"/>
                  <a:pt x="2622717" y="4006085"/>
                </a:cubicBezTo>
                <a:cubicBezTo>
                  <a:pt x="2653059" y="3997148"/>
                  <a:pt x="2681617" y="3997148"/>
                  <a:pt x="2711959" y="3997148"/>
                </a:cubicBezTo>
                <a:cubicBezTo>
                  <a:pt x="2760149" y="3998936"/>
                  <a:pt x="2804770" y="3988211"/>
                  <a:pt x="2842252" y="3952462"/>
                </a:cubicBezTo>
                <a:cubicBezTo>
                  <a:pt x="2842252" y="3952462"/>
                  <a:pt x="2844037" y="3954250"/>
                  <a:pt x="2844037" y="3956037"/>
                </a:cubicBezTo>
                <a:cubicBezTo>
                  <a:pt x="2842252" y="3961399"/>
                  <a:pt x="2838683" y="3966762"/>
                  <a:pt x="2836897" y="3973912"/>
                </a:cubicBezTo>
                <a:cubicBezTo>
                  <a:pt x="2833328" y="3989999"/>
                  <a:pt x="2836897" y="3997148"/>
                  <a:pt x="2852961" y="4000723"/>
                </a:cubicBezTo>
                <a:cubicBezTo>
                  <a:pt x="2872595" y="4004298"/>
                  <a:pt x="2877948" y="4000723"/>
                  <a:pt x="2879734" y="3981062"/>
                </a:cubicBezTo>
                <a:cubicBezTo>
                  <a:pt x="2879734" y="3975699"/>
                  <a:pt x="2876164" y="3964974"/>
                  <a:pt x="2886873" y="3964974"/>
                </a:cubicBezTo>
                <a:cubicBezTo>
                  <a:pt x="2902937" y="3963187"/>
                  <a:pt x="2913646" y="3977486"/>
                  <a:pt x="2906507" y="3991786"/>
                </a:cubicBezTo>
                <a:cubicBezTo>
                  <a:pt x="2901152" y="4000723"/>
                  <a:pt x="2902937" y="4006085"/>
                  <a:pt x="2913646" y="4009660"/>
                </a:cubicBezTo>
                <a:cubicBezTo>
                  <a:pt x="2936848" y="4018597"/>
                  <a:pt x="2960051" y="4029322"/>
                  <a:pt x="2981469" y="4043621"/>
                </a:cubicBezTo>
                <a:cubicBezTo>
                  <a:pt x="2999318" y="4054346"/>
                  <a:pt x="3018951" y="4056133"/>
                  <a:pt x="3038584" y="4043621"/>
                </a:cubicBezTo>
                <a:cubicBezTo>
                  <a:pt x="3043939" y="4038259"/>
                  <a:pt x="3051078" y="4036472"/>
                  <a:pt x="3060002" y="4036472"/>
                </a:cubicBezTo>
                <a:cubicBezTo>
                  <a:pt x="3074281" y="4038259"/>
                  <a:pt x="3088560" y="4040046"/>
                  <a:pt x="3102838" y="4041834"/>
                </a:cubicBezTo>
                <a:cubicBezTo>
                  <a:pt x="3113547" y="4041834"/>
                  <a:pt x="3122472" y="4047196"/>
                  <a:pt x="3126041" y="4059708"/>
                </a:cubicBezTo>
                <a:cubicBezTo>
                  <a:pt x="3127825" y="4072220"/>
                  <a:pt x="3134965" y="4074008"/>
                  <a:pt x="3145674" y="4070432"/>
                </a:cubicBezTo>
                <a:cubicBezTo>
                  <a:pt x="3154598" y="4068645"/>
                  <a:pt x="3165307" y="4066858"/>
                  <a:pt x="3174232" y="4065071"/>
                </a:cubicBezTo>
                <a:cubicBezTo>
                  <a:pt x="3195650" y="4059708"/>
                  <a:pt x="3208144" y="4047196"/>
                  <a:pt x="3211714" y="4025746"/>
                </a:cubicBezTo>
                <a:cubicBezTo>
                  <a:pt x="3213498" y="4018597"/>
                  <a:pt x="3213498" y="4011448"/>
                  <a:pt x="3215283" y="4004298"/>
                </a:cubicBezTo>
                <a:cubicBezTo>
                  <a:pt x="3220637" y="4057921"/>
                  <a:pt x="3259904" y="4066858"/>
                  <a:pt x="3300955" y="4074008"/>
                </a:cubicBezTo>
                <a:cubicBezTo>
                  <a:pt x="3313449" y="4077582"/>
                  <a:pt x="3322373" y="4072220"/>
                  <a:pt x="3331298" y="4065071"/>
                </a:cubicBezTo>
                <a:cubicBezTo>
                  <a:pt x="3340221" y="4057921"/>
                  <a:pt x="3343791" y="4048983"/>
                  <a:pt x="3340221" y="4038259"/>
                </a:cubicBezTo>
                <a:cubicBezTo>
                  <a:pt x="3336652" y="4029322"/>
                  <a:pt x="3327728" y="4034684"/>
                  <a:pt x="3320589" y="4034684"/>
                </a:cubicBezTo>
                <a:cubicBezTo>
                  <a:pt x="3315234" y="4034684"/>
                  <a:pt x="3306309" y="4036472"/>
                  <a:pt x="3304525" y="4027535"/>
                </a:cubicBezTo>
                <a:cubicBezTo>
                  <a:pt x="3302740" y="4020385"/>
                  <a:pt x="3306309" y="4011448"/>
                  <a:pt x="3313449" y="4007872"/>
                </a:cubicBezTo>
                <a:cubicBezTo>
                  <a:pt x="3320589" y="4002510"/>
                  <a:pt x="3329512" y="4002510"/>
                  <a:pt x="3336652" y="4002510"/>
                </a:cubicBezTo>
                <a:cubicBezTo>
                  <a:pt x="3345576" y="4002510"/>
                  <a:pt x="3354500" y="4002510"/>
                  <a:pt x="3359855" y="3995360"/>
                </a:cubicBezTo>
                <a:cubicBezTo>
                  <a:pt x="3350930" y="3982849"/>
                  <a:pt x="3336652" y="3977486"/>
                  <a:pt x="3324159" y="3977486"/>
                </a:cubicBezTo>
                <a:cubicBezTo>
                  <a:pt x="3286677" y="3973912"/>
                  <a:pt x="3252765" y="3961399"/>
                  <a:pt x="3218853" y="3948887"/>
                </a:cubicBezTo>
                <a:cubicBezTo>
                  <a:pt x="3195650" y="3939950"/>
                  <a:pt x="3172446" y="3939950"/>
                  <a:pt x="3149244" y="3954250"/>
                </a:cubicBezTo>
                <a:cubicBezTo>
                  <a:pt x="3142104" y="3959612"/>
                  <a:pt x="3134965" y="3957825"/>
                  <a:pt x="3127825" y="3950675"/>
                </a:cubicBezTo>
                <a:cubicBezTo>
                  <a:pt x="3115333" y="3936376"/>
                  <a:pt x="3099269" y="3927439"/>
                  <a:pt x="3083205" y="3918501"/>
                </a:cubicBezTo>
                <a:cubicBezTo>
                  <a:pt x="3078743" y="3916713"/>
                  <a:pt x="3074281" y="3915820"/>
                  <a:pt x="3069819" y="3916044"/>
                </a:cubicBezTo>
                <a:close/>
                <a:moveTo>
                  <a:pt x="8790902" y="309425"/>
                </a:moveTo>
                <a:cubicBezTo>
                  <a:pt x="8777885" y="323347"/>
                  <a:pt x="8773080" y="333766"/>
                  <a:pt x="8748735" y="342728"/>
                </a:cubicBezTo>
                <a:cubicBezTo>
                  <a:pt x="8735362" y="329872"/>
                  <a:pt x="8745930" y="335111"/>
                  <a:pt x="8719385" y="335753"/>
                </a:cubicBezTo>
                <a:cubicBezTo>
                  <a:pt x="8704523" y="368134"/>
                  <a:pt x="8641373" y="391381"/>
                  <a:pt x="8601811" y="405946"/>
                </a:cubicBezTo>
                <a:lnTo>
                  <a:pt x="8593088" y="382249"/>
                </a:lnTo>
                <a:lnTo>
                  <a:pt x="8584719" y="385330"/>
                </a:lnTo>
                <a:cubicBezTo>
                  <a:pt x="8567295" y="411925"/>
                  <a:pt x="8506440" y="446942"/>
                  <a:pt x="8432201" y="479798"/>
                </a:cubicBezTo>
                <a:lnTo>
                  <a:pt x="8398509" y="493584"/>
                </a:lnTo>
                <a:lnTo>
                  <a:pt x="8393009" y="511059"/>
                </a:lnTo>
                <a:cubicBezTo>
                  <a:pt x="8387055" y="522484"/>
                  <a:pt x="8379137" y="532322"/>
                  <a:pt x="8380663" y="546540"/>
                </a:cubicBezTo>
                <a:cubicBezTo>
                  <a:pt x="8397264" y="533972"/>
                  <a:pt x="8415201" y="533844"/>
                  <a:pt x="8434283" y="544380"/>
                </a:cubicBezTo>
                <a:lnTo>
                  <a:pt x="8421422" y="558061"/>
                </a:lnTo>
                <a:lnTo>
                  <a:pt x="8435639" y="552109"/>
                </a:lnTo>
                <a:cubicBezTo>
                  <a:pt x="8472624" y="539634"/>
                  <a:pt x="8511726" y="529685"/>
                  <a:pt x="8554171" y="522948"/>
                </a:cubicBezTo>
                <a:lnTo>
                  <a:pt x="8665251" y="482055"/>
                </a:lnTo>
                <a:cubicBezTo>
                  <a:pt x="8676425" y="486591"/>
                  <a:pt x="8679384" y="494631"/>
                  <a:pt x="8682343" y="502671"/>
                </a:cubicBezTo>
                <a:cubicBezTo>
                  <a:pt x="8701281" y="504829"/>
                  <a:pt x="8779136" y="448779"/>
                  <a:pt x="8826307" y="431413"/>
                </a:cubicBezTo>
                <a:cubicBezTo>
                  <a:pt x="8823503" y="423796"/>
                  <a:pt x="8817740" y="408139"/>
                  <a:pt x="8822994" y="396596"/>
                </a:cubicBezTo>
                <a:cubicBezTo>
                  <a:pt x="8799408" y="405278"/>
                  <a:pt x="8775061" y="414241"/>
                  <a:pt x="8756885" y="411803"/>
                </a:cubicBezTo>
                <a:cubicBezTo>
                  <a:pt x="8769297" y="398585"/>
                  <a:pt x="8763377" y="382505"/>
                  <a:pt x="8773591" y="360966"/>
                </a:cubicBezTo>
                <a:cubicBezTo>
                  <a:pt x="8786609" y="347044"/>
                  <a:pt x="8818562" y="335280"/>
                  <a:pt x="8820252" y="316400"/>
                </a:cubicBezTo>
                <a:cubicBezTo>
                  <a:pt x="8809840" y="311583"/>
                  <a:pt x="8809840" y="311583"/>
                  <a:pt x="8790902" y="309425"/>
                </a:cubicBezTo>
                <a:close/>
                <a:moveTo>
                  <a:pt x="9547630" y="141460"/>
                </a:moveTo>
                <a:cubicBezTo>
                  <a:pt x="9547637" y="141942"/>
                  <a:pt x="9546919" y="143375"/>
                  <a:pt x="9545650" y="145445"/>
                </a:cubicBezTo>
                <a:lnTo>
                  <a:pt x="9542557" y="149661"/>
                </a:lnTo>
                <a:lnTo>
                  <a:pt x="9545266" y="143191"/>
                </a:lnTo>
                <a:cubicBezTo>
                  <a:pt x="9546893" y="141451"/>
                  <a:pt x="9547624" y="140980"/>
                  <a:pt x="9547630" y="141460"/>
                </a:cubicBezTo>
                <a:close/>
                <a:moveTo>
                  <a:pt x="9361233" y="0"/>
                </a:moveTo>
                <a:cubicBezTo>
                  <a:pt x="9378836" y="47817"/>
                  <a:pt x="9386090" y="18238"/>
                  <a:pt x="9408186" y="54791"/>
                </a:cubicBezTo>
                <a:cubicBezTo>
                  <a:pt x="9418753" y="60030"/>
                  <a:pt x="9401087" y="84793"/>
                  <a:pt x="9396439" y="95633"/>
                </a:cubicBezTo>
                <a:cubicBezTo>
                  <a:pt x="9399243" y="103250"/>
                  <a:pt x="9409811" y="108490"/>
                  <a:pt x="9410926" y="134987"/>
                </a:cubicBezTo>
                <a:cubicBezTo>
                  <a:pt x="9429864" y="137145"/>
                  <a:pt x="9445080" y="131543"/>
                  <a:pt x="9461057" y="125661"/>
                </a:cubicBezTo>
                <a:cubicBezTo>
                  <a:pt x="9475346" y="138660"/>
                  <a:pt x="9475346" y="138660"/>
                  <a:pt x="9481110" y="154317"/>
                </a:cubicBezTo>
                <a:cubicBezTo>
                  <a:pt x="9459879" y="171743"/>
                  <a:pt x="9465132" y="160199"/>
                  <a:pt x="9468447" y="195017"/>
                </a:cubicBezTo>
                <a:lnTo>
                  <a:pt x="9500402" y="183253"/>
                </a:lnTo>
                <a:cubicBezTo>
                  <a:pt x="9507165" y="189892"/>
                  <a:pt x="9521637" y="176396"/>
                  <a:pt x="9532788" y="162981"/>
                </a:cubicBezTo>
                <a:lnTo>
                  <a:pt x="9542557" y="149661"/>
                </a:lnTo>
                <a:lnTo>
                  <a:pt x="9541913" y="151201"/>
                </a:lnTo>
                <a:cubicBezTo>
                  <a:pt x="9530756" y="178617"/>
                  <a:pt x="9498301" y="261147"/>
                  <a:pt x="9487046" y="273699"/>
                </a:cubicBezTo>
                <a:cubicBezTo>
                  <a:pt x="9511592" y="291091"/>
                  <a:pt x="9469093" y="321150"/>
                  <a:pt x="9465561" y="358489"/>
                </a:cubicBezTo>
                <a:cubicBezTo>
                  <a:pt x="9500631" y="355188"/>
                  <a:pt x="9514763" y="367765"/>
                  <a:pt x="9548761" y="363898"/>
                </a:cubicBezTo>
                <a:cubicBezTo>
                  <a:pt x="9551367" y="345159"/>
                  <a:pt x="9545448" y="329080"/>
                  <a:pt x="9544487" y="303005"/>
                </a:cubicBezTo>
                <a:lnTo>
                  <a:pt x="9552096" y="300205"/>
                </a:lnTo>
                <a:lnTo>
                  <a:pt x="9554900" y="307822"/>
                </a:lnTo>
                <a:cubicBezTo>
                  <a:pt x="9593129" y="338914"/>
                  <a:pt x="9598475" y="400374"/>
                  <a:pt x="9620571" y="436926"/>
                </a:cubicBezTo>
                <a:lnTo>
                  <a:pt x="9604594" y="442808"/>
                </a:lnTo>
                <a:cubicBezTo>
                  <a:pt x="9596986" y="445608"/>
                  <a:pt x="9596986" y="445608"/>
                  <a:pt x="9583967" y="459530"/>
                </a:cubicBezTo>
                <a:lnTo>
                  <a:pt x="9592847" y="483650"/>
                </a:lnTo>
                <a:cubicBezTo>
                  <a:pt x="9588043" y="494068"/>
                  <a:pt x="9459942" y="685859"/>
                  <a:pt x="9459942" y="685859"/>
                </a:cubicBezTo>
                <a:lnTo>
                  <a:pt x="9491898" y="674094"/>
                </a:lnTo>
                <a:cubicBezTo>
                  <a:pt x="9503799" y="633675"/>
                  <a:pt x="9572711" y="626084"/>
                  <a:pt x="9616151" y="619703"/>
                </a:cubicBezTo>
                <a:cubicBezTo>
                  <a:pt x="9624720" y="642976"/>
                  <a:pt x="9620072" y="653817"/>
                  <a:pt x="9630639" y="659055"/>
                </a:cubicBezTo>
                <a:cubicBezTo>
                  <a:pt x="9655340" y="676870"/>
                  <a:pt x="9668867" y="690149"/>
                  <a:pt x="9700822" y="678385"/>
                </a:cubicBezTo>
                <a:cubicBezTo>
                  <a:pt x="9726097" y="650822"/>
                  <a:pt x="9840492" y="644746"/>
                  <a:pt x="9852040" y="577550"/>
                </a:cubicBezTo>
                <a:cubicBezTo>
                  <a:pt x="9859294" y="547971"/>
                  <a:pt x="9845160" y="535396"/>
                  <a:pt x="9874000" y="515168"/>
                </a:cubicBezTo>
                <a:cubicBezTo>
                  <a:pt x="9891822" y="490829"/>
                  <a:pt x="9897585" y="506485"/>
                  <a:pt x="9924287" y="506266"/>
                </a:cubicBezTo>
                <a:cubicBezTo>
                  <a:pt x="9915408" y="482146"/>
                  <a:pt x="9902995" y="495364"/>
                  <a:pt x="9923777" y="479065"/>
                </a:cubicBezTo>
                <a:cubicBezTo>
                  <a:pt x="9937148" y="491920"/>
                  <a:pt x="9995805" y="479937"/>
                  <a:pt x="10046542" y="469908"/>
                </a:cubicBezTo>
                <a:cubicBezTo>
                  <a:pt x="10072868" y="541422"/>
                  <a:pt x="10079902" y="583998"/>
                  <a:pt x="10064634" y="643435"/>
                </a:cubicBezTo>
                <a:cubicBezTo>
                  <a:pt x="10062946" y="662317"/>
                  <a:pt x="10039361" y="670999"/>
                  <a:pt x="10032262" y="701002"/>
                </a:cubicBezTo>
                <a:lnTo>
                  <a:pt x="10040987" y="724698"/>
                </a:lnTo>
                <a:cubicBezTo>
                  <a:pt x="10116580" y="732908"/>
                  <a:pt x="10200354" y="692937"/>
                  <a:pt x="10274831" y="674648"/>
                </a:cubicBezTo>
                <a:cubicBezTo>
                  <a:pt x="10317490" y="767056"/>
                  <a:pt x="10346423" y="819832"/>
                  <a:pt x="10346558" y="918766"/>
                </a:cubicBezTo>
                <a:cubicBezTo>
                  <a:pt x="10355438" y="942886"/>
                  <a:pt x="10393157" y="946779"/>
                  <a:pt x="10372885" y="990279"/>
                </a:cubicBezTo>
                <a:cubicBezTo>
                  <a:pt x="10365277" y="993080"/>
                  <a:pt x="10356908" y="996162"/>
                  <a:pt x="10352259" y="1007002"/>
                </a:cubicBezTo>
                <a:cubicBezTo>
                  <a:pt x="10355218" y="1015042"/>
                  <a:pt x="10368237" y="1001120"/>
                  <a:pt x="10365787" y="1020280"/>
                </a:cubicBezTo>
                <a:cubicBezTo>
                  <a:pt x="10358179" y="1023082"/>
                  <a:pt x="10353531" y="1033923"/>
                  <a:pt x="10356334" y="1041539"/>
                </a:cubicBezTo>
                <a:cubicBezTo>
                  <a:pt x="10419483" y="1018291"/>
                  <a:pt x="10456596" y="1022888"/>
                  <a:pt x="10495806" y="981546"/>
                </a:cubicBezTo>
                <a:cubicBezTo>
                  <a:pt x="10517901" y="1018098"/>
                  <a:pt x="10550366" y="1033535"/>
                  <a:pt x="10589930" y="1018970"/>
                </a:cubicBezTo>
                <a:cubicBezTo>
                  <a:pt x="10622394" y="1034407"/>
                  <a:pt x="10645469" y="998524"/>
                  <a:pt x="10690442" y="972838"/>
                </a:cubicBezTo>
                <a:lnTo>
                  <a:pt x="10693402" y="980878"/>
                </a:lnTo>
                <a:lnTo>
                  <a:pt x="10701771" y="977797"/>
                </a:lnTo>
                <a:cubicBezTo>
                  <a:pt x="10708044" y="1020655"/>
                  <a:pt x="10716415" y="1017573"/>
                  <a:pt x="10732746" y="1038470"/>
                </a:cubicBezTo>
                <a:cubicBezTo>
                  <a:pt x="10741116" y="1035388"/>
                  <a:pt x="10745919" y="1024970"/>
                  <a:pt x="10753528" y="1022169"/>
                </a:cubicBezTo>
                <a:cubicBezTo>
                  <a:pt x="10735925" y="974353"/>
                  <a:pt x="10721281" y="934577"/>
                  <a:pt x="10757885" y="911972"/>
                </a:cubicBezTo>
                <a:cubicBezTo>
                  <a:pt x="10779627" y="921747"/>
                  <a:pt x="10790955" y="926706"/>
                  <a:pt x="10806172" y="921104"/>
                </a:cubicBezTo>
                <a:cubicBezTo>
                  <a:pt x="10805818" y="894326"/>
                  <a:pt x="10780624" y="851707"/>
                  <a:pt x="10790837" y="830168"/>
                </a:cubicBezTo>
                <a:cubicBezTo>
                  <a:pt x="10809619" y="831903"/>
                  <a:pt x="10813426" y="891525"/>
                  <a:pt x="10834207" y="875227"/>
                </a:cubicBezTo>
                <a:cubicBezTo>
                  <a:pt x="10857064" y="911498"/>
                  <a:pt x="10855948" y="885001"/>
                  <a:pt x="10869321" y="897856"/>
                </a:cubicBezTo>
                <a:cubicBezTo>
                  <a:pt x="10875240" y="913936"/>
                  <a:pt x="10924144" y="903621"/>
                  <a:pt x="10930063" y="919702"/>
                </a:cubicBezTo>
                <a:cubicBezTo>
                  <a:pt x="10949000" y="921859"/>
                  <a:pt x="10941087" y="944954"/>
                  <a:pt x="10946540" y="959764"/>
                </a:cubicBezTo>
                <a:lnTo>
                  <a:pt x="10964143" y="1007581"/>
                </a:lnTo>
                <a:cubicBezTo>
                  <a:pt x="10974556" y="1012396"/>
                  <a:pt x="11060224" y="1001040"/>
                  <a:pt x="11073752" y="1014317"/>
                </a:cubicBezTo>
                <a:cubicBezTo>
                  <a:pt x="11064841" y="1026488"/>
                  <a:pt x="11048688" y="1039522"/>
                  <a:pt x="11033381" y="1050743"/>
                </a:cubicBezTo>
                <a:lnTo>
                  <a:pt x="11022270" y="1058633"/>
                </a:lnTo>
                <a:lnTo>
                  <a:pt x="11012511" y="1062991"/>
                </a:lnTo>
                <a:lnTo>
                  <a:pt x="11009793" y="1067571"/>
                </a:lnTo>
                <a:lnTo>
                  <a:pt x="10998078" y="1076293"/>
                </a:lnTo>
                <a:cubicBezTo>
                  <a:pt x="10987012" y="1086132"/>
                  <a:pt x="11003404" y="1074332"/>
                  <a:pt x="11006446" y="1073212"/>
                </a:cubicBezTo>
                <a:lnTo>
                  <a:pt x="11009793" y="1067571"/>
                </a:lnTo>
                <a:lnTo>
                  <a:pt x="11012064" y="1065881"/>
                </a:lnTo>
                <a:lnTo>
                  <a:pt x="11022270" y="1058633"/>
                </a:lnTo>
                <a:lnTo>
                  <a:pt x="11027073" y="1056489"/>
                </a:lnTo>
                <a:lnTo>
                  <a:pt x="11044519" y="1103883"/>
                </a:lnTo>
                <a:cubicBezTo>
                  <a:pt x="11039267" y="1115426"/>
                  <a:pt x="11039267" y="1115426"/>
                  <a:pt x="11027009" y="1129068"/>
                </a:cubicBezTo>
                <a:cubicBezTo>
                  <a:pt x="11015681" y="1124109"/>
                  <a:pt x="11015681" y="1124109"/>
                  <a:pt x="11004957" y="1118447"/>
                </a:cubicBezTo>
                <a:cubicBezTo>
                  <a:pt x="11002663" y="1138031"/>
                  <a:pt x="11006775" y="1177361"/>
                  <a:pt x="11009578" y="1184977"/>
                </a:cubicBezTo>
                <a:cubicBezTo>
                  <a:pt x="10999166" y="1180161"/>
                  <a:pt x="10995055" y="1140832"/>
                  <a:pt x="10979077" y="1146714"/>
                </a:cubicBezTo>
                <a:cubicBezTo>
                  <a:pt x="10990761" y="1178450"/>
                  <a:pt x="10977014" y="1237327"/>
                  <a:pt x="10943370" y="1267972"/>
                </a:cubicBezTo>
                <a:cubicBezTo>
                  <a:pt x="11013909" y="1314080"/>
                  <a:pt x="10996243" y="1338843"/>
                  <a:pt x="11020725" y="1428813"/>
                </a:cubicBezTo>
                <a:cubicBezTo>
                  <a:pt x="10993419" y="1429737"/>
                  <a:pt x="10932427" y="1435372"/>
                  <a:pt x="10911489" y="1451249"/>
                </a:cubicBezTo>
                <a:cubicBezTo>
                  <a:pt x="10890552" y="1467125"/>
                  <a:pt x="10894506" y="1506031"/>
                  <a:pt x="10892819" y="1524912"/>
                </a:cubicBezTo>
                <a:cubicBezTo>
                  <a:pt x="10925284" y="1540349"/>
                  <a:pt x="10946185" y="1519682"/>
                  <a:pt x="10968280" y="1556234"/>
                </a:cubicBezTo>
                <a:cubicBezTo>
                  <a:pt x="10981454" y="1542735"/>
                  <a:pt x="10997432" y="1536853"/>
                  <a:pt x="11016212" y="1538587"/>
                </a:cubicBezTo>
                <a:lnTo>
                  <a:pt x="11019173" y="1546628"/>
                </a:lnTo>
                <a:cubicBezTo>
                  <a:pt x="10979609" y="1561192"/>
                  <a:pt x="10950771" y="1581419"/>
                  <a:pt x="10946477" y="1619038"/>
                </a:cubicBezTo>
                <a:cubicBezTo>
                  <a:pt x="10941673" y="1629455"/>
                  <a:pt x="10941673" y="1629455"/>
                  <a:pt x="10947436" y="1645112"/>
                </a:cubicBezTo>
                <a:cubicBezTo>
                  <a:pt x="10987510" y="1657748"/>
                  <a:pt x="11035952" y="1667304"/>
                  <a:pt x="11076474" y="1678813"/>
                </a:cubicBezTo>
                <a:cubicBezTo>
                  <a:pt x="11104292" y="1705091"/>
                  <a:pt x="11077746" y="1705733"/>
                  <a:pt x="11107251" y="1713132"/>
                </a:cubicBezTo>
                <a:cubicBezTo>
                  <a:pt x="11155538" y="1722263"/>
                  <a:pt x="11196945" y="1689240"/>
                  <a:pt x="11230370" y="1730752"/>
                </a:cubicBezTo>
                <a:cubicBezTo>
                  <a:pt x="11279167" y="1767084"/>
                  <a:pt x="11249599" y="1832267"/>
                  <a:pt x="11262553" y="1890924"/>
                </a:cubicBezTo>
                <a:cubicBezTo>
                  <a:pt x="11293749" y="1879440"/>
                  <a:pt x="11311258" y="1854255"/>
                  <a:pt x="11340408" y="1834873"/>
                </a:cubicBezTo>
                <a:lnTo>
                  <a:pt x="11331529" y="1810755"/>
                </a:lnTo>
                <a:cubicBezTo>
                  <a:pt x="11321116" y="1805938"/>
                  <a:pt x="11321116" y="1805938"/>
                  <a:pt x="11306828" y="1792939"/>
                </a:cubicBezTo>
                <a:lnTo>
                  <a:pt x="11330413" y="1784256"/>
                </a:lnTo>
                <a:cubicBezTo>
                  <a:pt x="11355115" y="1802071"/>
                  <a:pt x="11366445" y="1807030"/>
                  <a:pt x="11406007" y="1792466"/>
                </a:cubicBezTo>
                <a:lnTo>
                  <a:pt x="11539116" y="1738658"/>
                </a:lnTo>
                <a:cubicBezTo>
                  <a:pt x="11582261" y="1733825"/>
                  <a:pt x="11586046" y="1830936"/>
                  <a:pt x="11614743" y="1852565"/>
                </a:cubicBezTo>
                <a:cubicBezTo>
                  <a:pt x="11643441" y="1874194"/>
                  <a:pt x="11697242" y="1825558"/>
                  <a:pt x="11713132" y="1868719"/>
                </a:cubicBezTo>
                <a:cubicBezTo>
                  <a:pt x="11751361" y="1899812"/>
                  <a:pt x="11757218" y="1988472"/>
                  <a:pt x="11760532" y="2023290"/>
                </a:cubicBezTo>
                <a:cubicBezTo>
                  <a:pt x="11739396" y="2012811"/>
                  <a:pt x="11727850" y="1979102"/>
                  <a:pt x="11708757" y="1976520"/>
                </a:cubicBezTo>
                <a:cubicBezTo>
                  <a:pt x="11666390" y="1983469"/>
                  <a:pt x="11625355" y="2045665"/>
                  <a:pt x="11578184" y="2063030"/>
                </a:cubicBezTo>
                <a:cubicBezTo>
                  <a:pt x="11542635" y="2083805"/>
                  <a:pt x="11567446" y="2015089"/>
                  <a:pt x="11521246" y="2039785"/>
                </a:cubicBezTo>
                <a:cubicBezTo>
                  <a:pt x="11475045" y="2064481"/>
                  <a:pt x="11362043" y="2154132"/>
                  <a:pt x="11334906" y="2197758"/>
                </a:cubicBezTo>
                <a:cubicBezTo>
                  <a:pt x="11327808" y="2227758"/>
                  <a:pt x="11332508" y="2325013"/>
                  <a:pt x="11328214" y="2362631"/>
                </a:cubicBezTo>
                <a:cubicBezTo>
                  <a:pt x="11320607" y="2365431"/>
                  <a:pt x="11307745" y="2379777"/>
                  <a:pt x="11302180" y="2390474"/>
                </a:cubicBezTo>
                <a:cubicBezTo>
                  <a:pt x="11380733" y="2406724"/>
                  <a:pt x="11357282" y="2514340"/>
                  <a:pt x="11366517" y="2565237"/>
                </a:cubicBezTo>
                <a:cubicBezTo>
                  <a:pt x="11390864" y="2556275"/>
                  <a:pt x="11425017" y="2552831"/>
                  <a:pt x="11451407" y="2551765"/>
                </a:cubicBezTo>
                <a:cubicBezTo>
                  <a:pt x="11451407" y="2551765"/>
                  <a:pt x="11446913" y="2563029"/>
                  <a:pt x="11449717" y="2570646"/>
                </a:cubicBezTo>
                <a:cubicBezTo>
                  <a:pt x="11379316" y="2623472"/>
                  <a:pt x="11342868" y="2646500"/>
                  <a:pt x="11394250" y="2762605"/>
                </a:cubicBezTo>
                <a:cubicBezTo>
                  <a:pt x="11435085" y="2774961"/>
                  <a:pt x="11399796" y="2850418"/>
                  <a:pt x="11427612" y="2876696"/>
                </a:cubicBezTo>
                <a:cubicBezTo>
                  <a:pt x="11443944" y="2897591"/>
                  <a:pt x="11462882" y="2899749"/>
                  <a:pt x="11480485" y="2947566"/>
                </a:cubicBezTo>
                <a:cubicBezTo>
                  <a:pt x="11467468" y="2961488"/>
                  <a:pt x="11455054" y="2974707"/>
                  <a:pt x="11449645" y="2985827"/>
                </a:cubicBezTo>
                <a:cubicBezTo>
                  <a:pt x="11379971" y="2993699"/>
                  <a:pt x="11390029" y="2971737"/>
                  <a:pt x="11340471" y="2935684"/>
                </a:cubicBezTo>
                <a:cubicBezTo>
                  <a:pt x="11309788" y="2974368"/>
                  <a:pt x="11226077" y="2941760"/>
                  <a:pt x="11183199" y="2921507"/>
                </a:cubicBezTo>
                <a:lnTo>
                  <a:pt x="11177435" y="2905850"/>
                </a:lnTo>
                <a:lnTo>
                  <a:pt x="11208630" y="2894367"/>
                </a:lnTo>
                <a:lnTo>
                  <a:pt x="11205669" y="2886326"/>
                </a:lnTo>
                <a:lnTo>
                  <a:pt x="11189691" y="2892208"/>
                </a:lnTo>
                <a:cubicBezTo>
                  <a:pt x="11182083" y="2895009"/>
                  <a:pt x="11153088" y="2914813"/>
                  <a:pt x="11145479" y="2917614"/>
                </a:cubicBezTo>
                <a:cubicBezTo>
                  <a:pt x="11161656" y="2938087"/>
                  <a:pt x="11161656" y="2938087"/>
                  <a:pt x="11173140" y="2943469"/>
                </a:cubicBezTo>
                <a:cubicBezTo>
                  <a:pt x="11160123" y="2957390"/>
                  <a:pt x="11160123" y="2957390"/>
                  <a:pt x="11144146" y="2963272"/>
                </a:cubicBezTo>
                <a:cubicBezTo>
                  <a:pt x="11193548" y="2998902"/>
                  <a:pt x="11181646" y="3039322"/>
                  <a:pt x="11267047" y="3053049"/>
                </a:cubicBezTo>
                <a:cubicBezTo>
                  <a:pt x="11272966" y="3069129"/>
                  <a:pt x="11300981" y="3121762"/>
                  <a:pt x="11299293" y="3140642"/>
                </a:cubicBezTo>
                <a:cubicBezTo>
                  <a:pt x="11292195" y="3170644"/>
                  <a:pt x="11279783" y="3183863"/>
                  <a:pt x="11269568" y="3205402"/>
                </a:cubicBezTo>
                <a:cubicBezTo>
                  <a:pt x="11221637" y="3223048"/>
                  <a:pt x="11172777" y="3259293"/>
                  <a:pt x="11132098" y="3247361"/>
                </a:cubicBezTo>
                <a:cubicBezTo>
                  <a:pt x="11105552" y="3248004"/>
                  <a:pt x="11099632" y="3231924"/>
                  <a:pt x="11070283" y="3224950"/>
                </a:cubicBezTo>
                <a:cubicBezTo>
                  <a:pt x="11057265" y="3238872"/>
                  <a:pt x="11044092" y="3252371"/>
                  <a:pt x="11030469" y="3266996"/>
                </a:cubicBezTo>
                <a:cubicBezTo>
                  <a:pt x="11060580" y="3273689"/>
                  <a:pt x="11133349" y="3372793"/>
                  <a:pt x="11124408" y="3421251"/>
                </a:cubicBezTo>
                <a:cubicBezTo>
                  <a:pt x="11124917" y="3448452"/>
                  <a:pt x="11124917" y="3448452"/>
                  <a:pt x="11112505" y="3461671"/>
                </a:cubicBezTo>
                <a:cubicBezTo>
                  <a:pt x="11096277" y="3495033"/>
                  <a:pt x="11004894" y="3537805"/>
                  <a:pt x="10964215" y="3525872"/>
                </a:cubicBezTo>
                <a:cubicBezTo>
                  <a:pt x="10902756" y="3530239"/>
                  <a:pt x="10822222" y="3433513"/>
                  <a:pt x="10786442" y="3383260"/>
                </a:cubicBezTo>
                <a:cubicBezTo>
                  <a:pt x="10758781" y="3357405"/>
                  <a:pt x="10757312" y="3304129"/>
                  <a:pt x="10740063" y="3283091"/>
                </a:cubicBezTo>
                <a:lnTo>
                  <a:pt x="10708869" y="3294575"/>
                </a:lnTo>
                <a:cubicBezTo>
                  <a:pt x="10682834" y="3322417"/>
                  <a:pt x="10606157" y="3332386"/>
                  <a:pt x="10573441" y="3344431"/>
                </a:cubicBezTo>
                <a:cubicBezTo>
                  <a:pt x="10540016" y="3302919"/>
                  <a:pt x="10514805" y="3257904"/>
                  <a:pt x="10459264" y="3278350"/>
                </a:cubicBezTo>
                <a:cubicBezTo>
                  <a:pt x="10437367" y="3268151"/>
                  <a:pt x="10387392" y="3277901"/>
                  <a:pt x="10379023" y="3280981"/>
                </a:cubicBezTo>
                <a:cubicBezTo>
                  <a:pt x="10366611" y="3294200"/>
                  <a:pt x="10356553" y="3316162"/>
                  <a:pt x="10343536" y="3330084"/>
                </a:cubicBezTo>
                <a:cubicBezTo>
                  <a:pt x="10359294" y="3396358"/>
                  <a:pt x="10378742" y="3425717"/>
                  <a:pt x="10400837" y="3462270"/>
                </a:cubicBezTo>
                <a:cubicBezTo>
                  <a:pt x="10407872" y="3504847"/>
                  <a:pt x="10398930" y="3553306"/>
                  <a:pt x="10416377" y="3600700"/>
                </a:cubicBezTo>
                <a:cubicBezTo>
                  <a:pt x="10400399" y="3606582"/>
                  <a:pt x="10384423" y="3612464"/>
                  <a:pt x="10372322" y="3626529"/>
                </a:cubicBezTo>
                <a:cubicBezTo>
                  <a:pt x="10369716" y="3645266"/>
                  <a:pt x="10359659" y="3667228"/>
                  <a:pt x="10357814" y="3685685"/>
                </a:cubicBezTo>
                <a:lnTo>
                  <a:pt x="10350206" y="3688487"/>
                </a:lnTo>
                <a:lnTo>
                  <a:pt x="10341326" y="3664367"/>
                </a:lnTo>
                <a:cubicBezTo>
                  <a:pt x="10330154" y="3659830"/>
                  <a:pt x="10343171" y="3645909"/>
                  <a:pt x="10347975" y="3635491"/>
                </a:cubicBezTo>
                <a:cubicBezTo>
                  <a:pt x="10271298" y="3645459"/>
                  <a:pt x="10225971" y="3644368"/>
                  <a:pt x="10175298" y="3581818"/>
                </a:cubicBezTo>
                <a:cubicBezTo>
                  <a:pt x="10119757" y="3602264"/>
                  <a:pt x="10111388" y="3605345"/>
                  <a:pt x="10073003" y="3573828"/>
                </a:cubicBezTo>
                <a:cubicBezTo>
                  <a:pt x="10062946" y="3595790"/>
                  <a:pt x="10062946" y="3595790"/>
                  <a:pt x="10034711" y="3615314"/>
                </a:cubicBezTo>
                <a:cubicBezTo>
                  <a:pt x="10024144" y="3610074"/>
                  <a:pt x="9999287" y="3591837"/>
                  <a:pt x="10002247" y="3599876"/>
                </a:cubicBezTo>
                <a:cubicBezTo>
                  <a:pt x="9992188" y="3621839"/>
                  <a:pt x="9987539" y="3632680"/>
                  <a:pt x="9999224" y="3664415"/>
                </a:cubicBezTo>
                <a:cubicBezTo>
                  <a:pt x="10055119" y="3670746"/>
                  <a:pt x="10171140" y="3718370"/>
                  <a:pt x="10160509" y="3785710"/>
                </a:cubicBezTo>
                <a:cubicBezTo>
                  <a:pt x="10153100" y="3814865"/>
                  <a:pt x="10107709" y="3886352"/>
                  <a:pt x="10070950" y="3908533"/>
                </a:cubicBezTo>
                <a:cubicBezTo>
                  <a:pt x="10029917" y="3869823"/>
                  <a:pt x="9984945" y="3895509"/>
                  <a:pt x="9932207" y="3923572"/>
                </a:cubicBezTo>
                <a:cubicBezTo>
                  <a:pt x="9925871" y="3953294"/>
                  <a:pt x="9910093" y="3985530"/>
                  <a:pt x="9908559" y="4004835"/>
                </a:cubicBezTo>
                <a:lnTo>
                  <a:pt x="9893187" y="4019187"/>
                </a:lnTo>
                <a:lnTo>
                  <a:pt x="9895036" y="4019491"/>
                </a:lnTo>
                <a:cubicBezTo>
                  <a:pt x="9914670" y="4023513"/>
                  <a:pt x="9934302" y="4026640"/>
                  <a:pt x="9954828" y="4023959"/>
                </a:cubicBezTo>
                <a:cubicBezTo>
                  <a:pt x="9963752" y="4022172"/>
                  <a:pt x="9970892" y="4027535"/>
                  <a:pt x="9961967" y="4038259"/>
                </a:cubicBezTo>
                <a:cubicBezTo>
                  <a:pt x="9956612" y="4045409"/>
                  <a:pt x="9954828" y="4056133"/>
                  <a:pt x="9956612" y="4065071"/>
                </a:cubicBezTo>
                <a:lnTo>
                  <a:pt x="9954382" y="4113096"/>
                </a:lnTo>
                <a:lnTo>
                  <a:pt x="9989902" y="4101848"/>
                </a:lnTo>
                <a:cubicBezTo>
                  <a:pt x="10008805" y="4096285"/>
                  <a:pt x="10025835" y="4092238"/>
                  <a:pt x="10039069" y="4091811"/>
                </a:cubicBezTo>
                <a:lnTo>
                  <a:pt x="10047792" y="4115508"/>
                </a:lnTo>
                <a:cubicBezTo>
                  <a:pt x="10062236" y="4128929"/>
                  <a:pt x="10047510" y="4260243"/>
                  <a:pt x="10046176" y="4305901"/>
                </a:cubicBezTo>
                <a:lnTo>
                  <a:pt x="10030199" y="4311784"/>
                </a:lnTo>
                <a:cubicBezTo>
                  <a:pt x="10013712" y="4290465"/>
                  <a:pt x="10024279" y="4295703"/>
                  <a:pt x="10006103" y="4293265"/>
                </a:cubicBezTo>
                <a:cubicBezTo>
                  <a:pt x="9977619" y="4340270"/>
                  <a:pt x="9878283" y="4340321"/>
                  <a:pt x="9825347" y="4342029"/>
                </a:cubicBezTo>
                <a:lnTo>
                  <a:pt x="9769809" y="4362476"/>
                </a:lnTo>
                <a:cubicBezTo>
                  <a:pt x="9760417" y="4361609"/>
                  <a:pt x="9745703" y="4358016"/>
                  <a:pt x="9730989" y="4354423"/>
                </a:cubicBezTo>
                <a:lnTo>
                  <a:pt x="9730614" y="4354346"/>
                </a:lnTo>
                <a:lnTo>
                  <a:pt x="9721014" y="4363571"/>
                </a:lnTo>
                <a:cubicBezTo>
                  <a:pt x="9697811" y="4386808"/>
                  <a:pt x="9671039" y="4402894"/>
                  <a:pt x="9638912" y="4413618"/>
                </a:cubicBezTo>
                <a:cubicBezTo>
                  <a:pt x="9617493" y="4422555"/>
                  <a:pt x="9596075" y="4433281"/>
                  <a:pt x="9580012" y="4449367"/>
                </a:cubicBezTo>
                <a:cubicBezTo>
                  <a:pt x="9542530" y="4483328"/>
                  <a:pt x="9501479" y="4499415"/>
                  <a:pt x="9451504" y="4497628"/>
                </a:cubicBezTo>
                <a:cubicBezTo>
                  <a:pt x="9412237" y="4497628"/>
                  <a:pt x="9380110" y="4511927"/>
                  <a:pt x="9356907" y="4545888"/>
                </a:cubicBezTo>
                <a:cubicBezTo>
                  <a:pt x="9342629" y="4567337"/>
                  <a:pt x="9326565" y="4588786"/>
                  <a:pt x="9310502" y="4612023"/>
                </a:cubicBezTo>
                <a:lnTo>
                  <a:pt x="9300821" y="4624255"/>
                </a:lnTo>
                <a:lnTo>
                  <a:pt x="9285128" y="4658148"/>
                </a:lnTo>
                <a:cubicBezTo>
                  <a:pt x="9264503" y="4674871"/>
                  <a:pt x="9251485" y="4688793"/>
                  <a:pt x="9230704" y="4705092"/>
                </a:cubicBezTo>
                <a:cubicBezTo>
                  <a:pt x="9204669" y="4732936"/>
                  <a:pt x="9216351" y="4764672"/>
                  <a:pt x="9174339" y="4798399"/>
                </a:cubicBezTo>
                <a:cubicBezTo>
                  <a:pt x="9015869" y="4928813"/>
                  <a:pt x="8781157" y="4924884"/>
                  <a:pt x="8651713" y="4918241"/>
                </a:cubicBezTo>
                <a:lnTo>
                  <a:pt x="8581757" y="4943994"/>
                </a:lnTo>
                <a:lnTo>
                  <a:pt x="8566224" y="4953422"/>
                </a:lnTo>
                <a:cubicBezTo>
                  <a:pt x="8505539" y="4978446"/>
                  <a:pt x="8448425" y="5010619"/>
                  <a:pt x="8396665" y="5051730"/>
                </a:cubicBezTo>
                <a:cubicBezTo>
                  <a:pt x="8377032" y="5067817"/>
                  <a:pt x="8353829" y="5078541"/>
                  <a:pt x="8327056" y="5078541"/>
                </a:cubicBezTo>
                <a:cubicBezTo>
                  <a:pt x="8282435" y="5080329"/>
                  <a:pt x="8246739" y="5101778"/>
                  <a:pt x="8214611" y="5130377"/>
                </a:cubicBezTo>
                <a:cubicBezTo>
                  <a:pt x="8202117" y="5141101"/>
                  <a:pt x="8187839" y="5150038"/>
                  <a:pt x="8169991" y="5150038"/>
                </a:cubicBezTo>
                <a:cubicBezTo>
                  <a:pt x="8162851" y="5150038"/>
                  <a:pt x="8157497" y="5151826"/>
                  <a:pt x="8152142" y="5157188"/>
                </a:cubicBezTo>
                <a:cubicBezTo>
                  <a:pt x="8116446" y="5191150"/>
                  <a:pt x="8070040" y="5209024"/>
                  <a:pt x="8021849" y="5217961"/>
                </a:cubicBezTo>
                <a:cubicBezTo>
                  <a:pt x="8007571" y="5221536"/>
                  <a:pt x="7995076" y="5221536"/>
                  <a:pt x="7987937" y="5209024"/>
                </a:cubicBezTo>
                <a:cubicBezTo>
                  <a:pt x="7977228" y="5192937"/>
                  <a:pt x="7995076" y="5191150"/>
                  <a:pt x="8000431" y="5184000"/>
                </a:cubicBezTo>
                <a:cubicBezTo>
                  <a:pt x="8005786" y="5173275"/>
                  <a:pt x="8016495" y="5169700"/>
                  <a:pt x="8028988" y="5175063"/>
                </a:cubicBezTo>
                <a:cubicBezTo>
                  <a:pt x="8052191" y="5185787"/>
                  <a:pt x="8052191" y="5185787"/>
                  <a:pt x="8064686" y="5164338"/>
                </a:cubicBezTo>
                <a:cubicBezTo>
                  <a:pt x="8068255" y="5157188"/>
                  <a:pt x="8073609" y="5150038"/>
                  <a:pt x="8078964" y="5142888"/>
                </a:cubicBezTo>
                <a:cubicBezTo>
                  <a:pt x="8080749" y="5139314"/>
                  <a:pt x="8082533" y="5133951"/>
                  <a:pt x="8078964" y="5130377"/>
                </a:cubicBezTo>
                <a:cubicBezTo>
                  <a:pt x="8075395" y="5126802"/>
                  <a:pt x="8071824" y="5123227"/>
                  <a:pt x="8066470" y="5126802"/>
                </a:cubicBezTo>
                <a:cubicBezTo>
                  <a:pt x="8053977" y="5132164"/>
                  <a:pt x="8041482" y="5125014"/>
                  <a:pt x="8030773" y="5123227"/>
                </a:cubicBezTo>
                <a:cubicBezTo>
                  <a:pt x="8020064" y="5121440"/>
                  <a:pt x="8007571" y="5119652"/>
                  <a:pt x="7998646" y="5125014"/>
                </a:cubicBezTo>
                <a:cubicBezTo>
                  <a:pt x="7948671" y="5157188"/>
                  <a:pt x="7891556" y="5166125"/>
                  <a:pt x="7834442" y="5169700"/>
                </a:cubicBezTo>
                <a:cubicBezTo>
                  <a:pt x="7816593" y="5171488"/>
                  <a:pt x="7804100" y="5175063"/>
                  <a:pt x="7795175" y="5191150"/>
                </a:cubicBezTo>
                <a:cubicBezTo>
                  <a:pt x="7789820" y="5203661"/>
                  <a:pt x="7782681" y="5203661"/>
                  <a:pt x="7773757" y="5192937"/>
                </a:cubicBezTo>
                <a:cubicBezTo>
                  <a:pt x="7768402" y="5184000"/>
                  <a:pt x="7761263" y="5176850"/>
                  <a:pt x="7748769" y="5182212"/>
                </a:cubicBezTo>
                <a:cubicBezTo>
                  <a:pt x="7734490" y="5189362"/>
                  <a:pt x="7721997" y="5198299"/>
                  <a:pt x="7714858" y="5210811"/>
                </a:cubicBezTo>
                <a:cubicBezTo>
                  <a:pt x="7709503" y="5221536"/>
                  <a:pt x="7702364" y="5225110"/>
                  <a:pt x="7689869" y="5225110"/>
                </a:cubicBezTo>
                <a:cubicBezTo>
                  <a:pt x="7684515" y="5225110"/>
                  <a:pt x="7679161" y="5225110"/>
                  <a:pt x="7673807" y="5226898"/>
                </a:cubicBezTo>
                <a:cubicBezTo>
                  <a:pt x="7639895" y="5235835"/>
                  <a:pt x="7605983" y="5244772"/>
                  <a:pt x="7570285" y="5251922"/>
                </a:cubicBezTo>
                <a:cubicBezTo>
                  <a:pt x="7556007" y="5253709"/>
                  <a:pt x="7543513" y="5257284"/>
                  <a:pt x="7534589" y="5269796"/>
                </a:cubicBezTo>
                <a:cubicBezTo>
                  <a:pt x="7527450" y="5276946"/>
                  <a:pt x="7520310" y="5280520"/>
                  <a:pt x="7511386" y="5273371"/>
                </a:cubicBezTo>
                <a:cubicBezTo>
                  <a:pt x="7488183" y="5255497"/>
                  <a:pt x="7464981" y="5259072"/>
                  <a:pt x="7438208" y="5264434"/>
                </a:cubicBezTo>
                <a:cubicBezTo>
                  <a:pt x="7370384" y="5280520"/>
                  <a:pt x="7304345" y="5287670"/>
                  <a:pt x="7236521" y="5268009"/>
                </a:cubicBezTo>
                <a:cubicBezTo>
                  <a:pt x="7211533" y="5260859"/>
                  <a:pt x="7186545" y="5259072"/>
                  <a:pt x="7161558" y="5264434"/>
                </a:cubicBezTo>
                <a:cubicBezTo>
                  <a:pt x="7120507" y="5271583"/>
                  <a:pt x="7079455" y="5276946"/>
                  <a:pt x="7038404" y="5278733"/>
                </a:cubicBezTo>
                <a:cubicBezTo>
                  <a:pt x="6983074" y="5280520"/>
                  <a:pt x="6927745" y="5278733"/>
                  <a:pt x="6872414" y="5296607"/>
                </a:cubicBezTo>
                <a:cubicBezTo>
                  <a:pt x="6827793" y="5312695"/>
                  <a:pt x="6781388" y="5318056"/>
                  <a:pt x="6733197" y="5321632"/>
                </a:cubicBezTo>
                <a:cubicBezTo>
                  <a:pt x="6688576" y="5323419"/>
                  <a:pt x="6643955" y="5323419"/>
                  <a:pt x="6599335" y="5335931"/>
                </a:cubicBezTo>
                <a:cubicBezTo>
                  <a:pt x="6567207" y="5344868"/>
                  <a:pt x="6535080" y="5348443"/>
                  <a:pt x="6502952" y="5352018"/>
                </a:cubicBezTo>
                <a:cubicBezTo>
                  <a:pt x="6369090" y="5360955"/>
                  <a:pt x="6237012" y="5378829"/>
                  <a:pt x="6106719" y="5393129"/>
                </a:cubicBezTo>
                <a:cubicBezTo>
                  <a:pt x="5962147" y="5411002"/>
                  <a:pt x="5819361" y="5430665"/>
                  <a:pt x="5674788" y="5444964"/>
                </a:cubicBezTo>
                <a:cubicBezTo>
                  <a:pt x="5537356" y="5459264"/>
                  <a:pt x="5399923" y="5468201"/>
                  <a:pt x="5262491" y="5468201"/>
                </a:cubicBezTo>
                <a:cubicBezTo>
                  <a:pt x="5157185" y="5468201"/>
                  <a:pt x="5051880" y="5473563"/>
                  <a:pt x="4946575" y="5482500"/>
                </a:cubicBezTo>
                <a:cubicBezTo>
                  <a:pt x="4866258" y="5489650"/>
                  <a:pt x="4785940" y="5496800"/>
                  <a:pt x="4705623" y="5500374"/>
                </a:cubicBezTo>
                <a:cubicBezTo>
                  <a:pt x="4648507" y="5502161"/>
                  <a:pt x="4591392" y="5503949"/>
                  <a:pt x="4532493" y="5507524"/>
                </a:cubicBezTo>
                <a:cubicBezTo>
                  <a:pt x="4496796" y="5507524"/>
                  <a:pt x="4459315" y="5507524"/>
                  <a:pt x="4423618" y="5509311"/>
                </a:cubicBezTo>
                <a:cubicBezTo>
                  <a:pt x="4411124" y="5509311"/>
                  <a:pt x="4400414" y="5509311"/>
                  <a:pt x="4389706" y="5509311"/>
                </a:cubicBezTo>
                <a:cubicBezTo>
                  <a:pt x="4386136" y="5509311"/>
                  <a:pt x="4384351" y="5507524"/>
                  <a:pt x="4382566" y="5507524"/>
                </a:cubicBezTo>
                <a:cubicBezTo>
                  <a:pt x="4213007" y="5498587"/>
                  <a:pt x="4043447" y="5507524"/>
                  <a:pt x="3873888" y="5493224"/>
                </a:cubicBezTo>
                <a:cubicBezTo>
                  <a:pt x="3829267" y="5489650"/>
                  <a:pt x="3784646" y="5489650"/>
                  <a:pt x="3740025" y="5484287"/>
                </a:cubicBezTo>
                <a:cubicBezTo>
                  <a:pt x="3641859" y="5473563"/>
                  <a:pt x="3545478" y="5466413"/>
                  <a:pt x="3447312" y="5461051"/>
                </a:cubicBezTo>
                <a:cubicBezTo>
                  <a:pt x="3370563" y="5457476"/>
                  <a:pt x="3293816" y="5453901"/>
                  <a:pt x="3217067" y="5439602"/>
                </a:cubicBezTo>
                <a:cubicBezTo>
                  <a:pt x="3145674" y="5425302"/>
                  <a:pt x="3074281" y="5414578"/>
                  <a:pt x="3002887" y="5418152"/>
                </a:cubicBezTo>
                <a:cubicBezTo>
                  <a:pt x="2995748" y="5418152"/>
                  <a:pt x="2990393" y="5418152"/>
                  <a:pt x="2985039" y="5412791"/>
                </a:cubicBezTo>
                <a:cubicBezTo>
                  <a:pt x="2952912" y="5384192"/>
                  <a:pt x="2915430" y="5380616"/>
                  <a:pt x="2874379" y="5382404"/>
                </a:cubicBezTo>
                <a:cubicBezTo>
                  <a:pt x="2835113" y="5384192"/>
                  <a:pt x="2795846" y="5384192"/>
                  <a:pt x="2756580" y="5377042"/>
                </a:cubicBezTo>
                <a:cubicBezTo>
                  <a:pt x="2690540" y="5364529"/>
                  <a:pt x="2626287" y="5348443"/>
                  <a:pt x="2558463" y="5346655"/>
                </a:cubicBezTo>
                <a:cubicBezTo>
                  <a:pt x="2528121" y="5346655"/>
                  <a:pt x="2501348" y="5335931"/>
                  <a:pt x="2479930" y="5314482"/>
                </a:cubicBezTo>
                <a:cubicBezTo>
                  <a:pt x="2472791" y="5307332"/>
                  <a:pt x="2467436" y="5307332"/>
                  <a:pt x="2460297" y="5312695"/>
                </a:cubicBezTo>
                <a:cubicBezTo>
                  <a:pt x="2444233" y="5321632"/>
                  <a:pt x="2428170" y="5326993"/>
                  <a:pt x="2413892" y="5312695"/>
                </a:cubicBezTo>
                <a:cubicBezTo>
                  <a:pt x="2394258" y="5296607"/>
                  <a:pt x="2372839" y="5293033"/>
                  <a:pt x="2347851" y="5294820"/>
                </a:cubicBezTo>
                <a:cubicBezTo>
                  <a:pt x="2310370" y="5296607"/>
                  <a:pt x="2276458" y="5287670"/>
                  <a:pt x="2246116" y="5264434"/>
                </a:cubicBezTo>
                <a:cubicBezTo>
                  <a:pt x="2228267" y="5250134"/>
                  <a:pt x="2203280" y="5242984"/>
                  <a:pt x="2185432" y="5253709"/>
                </a:cubicBezTo>
                <a:cubicBezTo>
                  <a:pt x="2153304" y="5273371"/>
                  <a:pt x="2126531" y="5266221"/>
                  <a:pt x="2097974" y="5250134"/>
                </a:cubicBezTo>
                <a:cubicBezTo>
                  <a:pt x="2083696" y="5242984"/>
                  <a:pt x="2067632" y="5235835"/>
                  <a:pt x="2049784" y="5239410"/>
                </a:cubicBezTo>
                <a:cubicBezTo>
                  <a:pt x="2040860" y="5242984"/>
                  <a:pt x="2037290" y="5237623"/>
                  <a:pt x="2037290" y="5230473"/>
                </a:cubicBezTo>
                <a:cubicBezTo>
                  <a:pt x="2037290" y="5225110"/>
                  <a:pt x="2037290" y="5221536"/>
                  <a:pt x="2037290" y="5217961"/>
                </a:cubicBezTo>
                <a:cubicBezTo>
                  <a:pt x="2039075" y="5198299"/>
                  <a:pt x="2037290" y="5198299"/>
                  <a:pt x="2021227" y="5207236"/>
                </a:cubicBezTo>
                <a:cubicBezTo>
                  <a:pt x="2003379" y="5216173"/>
                  <a:pt x="1983745" y="5223323"/>
                  <a:pt x="1965897" y="5228686"/>
                </a:cubicBezTo>
                <a:cubicBezTo>
                  <a:pt x="1958758" y="5230473"/>
                  <a:pt x="1951618" y="5232260"/>
                  <a:pt x="1946264" y="5226898"/>
                </a:cubicBezTo>
                <a:cubicBezTo>
                  <a:pt x="1940908" y="5221536"/>
                  <a:pt x="1944478" y="5214386"/>
                  <a:pt x="1948048" y="5209024"/>
                </a:cubicBezTo>
                <a:cubicBezTo>
                  <a:pt x="1956972" y="5194724"/>
                  <a:pt x="1951618" y="5187574"/>
                  <a:pt x="1937339" y="5185787"/>
                </a:cubicBezTo>
                <a:cubicBezTo>
                  <a:pt x="1931985" y="5184000"/>
                  <a:pt x="1926630" y="5180424"/>
                  <a:pt x="1921275" y="5180424"/>
                </a:cubicBezTo>
                <a:cubicBezTo>
                  <a:pt x="1908782" y="5180424"/>
                  <a:pt x="1906996" y="5175063"/>
                  <a:pt x="1914137" y="5164338"/>
                </a:cubicBezTo>
                <a:cubicBezTo>
                  <a:pt x="1917706" y="5160763"/>
                  <a:pt x="1921275" y="5155401"/>
                  <a:pt x="1915921" y="5151826"/>
                </a:cubicBezTo>
                <a:cubicBezTo>
                  <a:pt x="1912352" y="5146464"/>
                  <a:pt x="1906996" y="5148251"/>
                  <a:pt x="1901643" y="5150038"/>
                </a:cubicBezTo>
                <a:cubicBezTo>
                  <a:pt x="1887364" y="5157188"/>
                  <a:pt x="1873085" y="5153614"/>
                  <a:pt x="1857022" y="5150038"/>
                </a:cubicBezTo>
                <a:cubicBezTo>
                  <a:pt x="1808831" y="5135739"/>
                  <a:pt x="1765995" y="5148251"/>
                  <a:pt x="1724943" y="5173275"/>
                </a:cubicBezTo>
                <a:cubicBezTo>
                  <a:pt x="1717804" y="5176850"/>
                  <a:pt x="1714235" y="5185787"/>
                  <a:pt x="1705310" y="5187574"/>
                </a:cubicBezTo>
                <a:cubicBezTo>
                  <a:pt x="1707095" y="5178637"/>
                  <a:pt x="1708879" y="5171488"/>
                  <a:pt x="1710665" y="5162551"/>
                </a:cubicBezTo>
                <a:cubicBezTo>
                  <a:pt x="1714235" y="5144677"/>
                  <a:pt x="1707095" y="5133951"/>
                  <a:pt x="1691031" y="5130377"/>
                </a:cubicBezTo>
                <a:cubicBezTo>
                  <a:pt x="1637487" y="5117865"/>
                  <a:pt x="1583941" y="5105353"/>
                  <a:pt x="1530396" y="5092841"/>
                </a:cubicBezTo>
                <a:cubicBezTo>
                  <a:pt x="1510763" y="5089266"/>
                  <a:pt x="1491130" y="5091054"/>
                  <a:pt x="1471497" y="5083904"/>
                </a:cubicBezTo>
                <a:cubicBezTo>
                  <a:pt x="1459002" y="5078541"/>
                  <a:pt x="1451863" y="5073179"/>
                  <a:pt x="1455433" y="5057092"/>
                </a:cubicBezTo>
                <a:cubicBezTo>
                  <a:pt x="1457218" y="5037431"/>
                  <a:pt x="1442939" y="5026706"/>
                  <a:pt x="1425092" y="5035643"/>
                </a:cubicBezTo>
                <a:cubicBezTo>
                  <a:pt x="1410812" y="5042793"/>
                  <a:pt x="1400103" y="5041005"/>
                  <a:pt x="1387610" y="5033856"/>
                </a:cubicBezTo>
                <a:cubicBezTo>
                  <a:pt x="1380471" y="5026706"/>
                  <a:pt x="1373331" y="5026706"/>
                  <a:pt x="1364407" y="5033856"/>
                </a:cubicBezTo>
                <a:cubicBezTo>
                  <a:pt x="1355482" y="5042793"/>
                  <a:pt x="1344773" y="5044581"/>
                  <a:pt x="1334064" y="5039218"/>
                </a:cubicBezTo>
                <a:cubicBezTo>
                  <a:pt x="1326925" y="5037431"/>
                  <a:pt x="1318001" y="5032068"/>
                  <a:pt x="1310861" y="5032068"/>
                </a:cubicBezTo>
                <a:cubicBezTo>
                  <a:pt x="1300152" y="5032068"/>
                  <a:pt x="1296582" y="5026706"/>
                  <a:pt x="1294798" y="5017769"/>
                </a:cubicBezTo>
                <a:cubicBezTo>
                  <a:pt x="1289443" y="4999895"/>
                  <a:pt x="1285874" y="4998107"/>
                  <a:pt x="1268025" y="5008832"/>
                </a:cubicBezTo>
                <a:cubicBezTo>
                  <a:pt x="1257317" y="5015982"/>
                  <a:pt x="1246607" y="5024919"/>
                  <a:pt x="1234113" y="5028493"/>
                </a:cubicBezTo>
                <a:cubicBezTo>
                  <a:pt x="1234113" y="5026706"/>
                  <a:pt x="1232328" y="5026706"/>
                  <a:pt x="1232328" y="5024919"/>
                </a:cubicBezTo>
                <a:cubicBezTo>
                  <a:pt x="1248392" y="5001682"/>
                  <a:pt x="1248392" y="5001682"/>
                  <a:pt x="1234113" y="4976658"/>
                </a:cubicBezTo>
                <a:cubicBezTo>
                  <a:pt x="1232328" y="4973083"/>
                  <a:pt x="1230544" y="4969509"/>
                  <a:pt x="1228759" y="4967721"/>
                </a:cubicBezTo>
                <a:cubicBezTo>
                  <a:pt x="1214480" y="4937335"/>
                  <a:pt x="1193062" y="4931973"/>
                  <a:pt x="1162720" y="4946272"/>
                </a:cubicBezTo>
                <a:cubicBezTo>
                  <a:pt x="1146656" y="4955209"/>
                  <a:pt x="1135947" y="4949846"/>
                  <a:pt x="1134163" y="4931973"/>
                </a:cubicBezTo>
                <a:cubicBezTo>
                  <a:pt x="1132378" y="4923036"/>
                  <a:pt x="1132378" y="4914098"/>
                  <a:pt x="1134163" y="4905161"/>
                </a:cubicBezTo>
                <a:cubicBezTo>
                  <a:pt x="1139517" y="4880137"/>
                  <a:pt x="1162720" y="4872987"/>
                  <a:pt x="1180568" y="4889074"/>
                </a:cubicBezTo>
                <a:cubicBezTo>
                  <a:pt x="1194847" y="4901586"/>
                  <a:pt x="1209125" y="4906949"/>
                  <a:pt x="1225189" y="4910523"/>
                </a:cubicBezTo>
                <a:cubicBezTo>
                  <a:pt x="1241253" y="4912310"/>
                  <a:pt x="1255531" y="4917673"/>
                  <a:pt x="1266240" y="4930185"/>
                </a:cubicBezTo>
                <a:cubicBezTo>
                  <a:pt x="1282304" y="4951634"/>
                  <a:pt x="1291228" y="4953422"/>
                  <a:pt x="1310861" y="4935547"/>
                </a:cubicBezTo>
                <a:cubicBezTo>
                  <a:pt x="1325140" y="4924823"/>
                  <a:pt x="1337634" y="4921247"/>
                  <a:pt x="1355482" y="4924823"/>
                </a:cubicBezTo>
                <a:cubicBezTo>
                  <a:pt x="1387610" y="4930185"/>
                  <a:pt x="1417952" y="4944484"/>
                  <a:pt x="1448293" y="4951634"/>
                </a:cubicBezTo>
                <a:cubicBezTo>
                  <a:pt x="1475066" y="4958783"/>
                  <a:pt x="1501839" y="4958783"/>
                  <a:pt x="1525042" y="4942697"/>
                </a:cubicBezTo>
                <a:cubicBezTo>
                  <a:pt x="1537535" y="4931973"/>
                  <a:pt x="1544675" y="4935547"/>
                  <a:pt x="1555384" y="4946272"/>
                </a:cubicBezTo>
                <a:cubicBezTo>
                  <a:pt x="1605359" y="4996320"/>
                  <a:pt x="1662474" y="5021344"/>
                  <a:pt x="1732083" y="4990958"/>
                </a:cubicBezTo>
                <a:cubicBezTo>
                  <a:pt x="1742791" y="4985595"/>
                  <a:pt x="1751716" y="4989170"/>
                  <a:pt x="1760641" y="4992745"/>
                </a:cubicBezTo>
                <a:cubicBezTo>
                  <a:pt x="1765995" y="4996320"/>
                  <a:pt x="1773134" y="5003469"/>
                  <a:pt x="1780273" y="4998107"/>
                </a:cubicBezTo>
                <a:cubicBezTo>
                  <a:pt x="1787412" y="4990958"/>
                  <a:pt x="1782058" y="4983808"/>
                  <a:pt x="1780273" y="4976658"/>
                </a:cubicBezTo>
                <a:cubicBezTo>
                  <a:pt x="1774919" y="4965933"/>
                  <a:pt x="1780273" y="4962359"/>
                  <a:pt x="1790983" y="4962359"/>
                </a:cubicBezTo>
                <a:cubicBezTo>
                  <a:pt x="1801692" y="4962359"/>
                  <a:pt x="1812401" y="4965933"/>
                  <a:pt x="1823110" y="4967721"/>
                </a:cubicBezTo>
                <a:cubicBezTo>
                  <a:pt x="1846313" y="4974870"/>
                  <a:pt x="1865945" y="4983808"/>
                  <a:pt x="1890934" y="4978446"/>
                </a:cubicBezTo>
                <a:cubicBezTo>
                  <a:pt x="1896288" y="4978446"/>
                  <a:pt x="1896288" y="4982020"/>
                  <a:pt x="1898073" y="4985595"/>
                </a:cubicBezTo>
                <a:cubicBezTo>
                  <a:pt x="1903427" y="5001682"/>
                  <a:pt x="1915921" y="5005256"/>
                  <a:pt x="1930200" y="5005256"/>
                </a:cubicBezTo>
                <a:cubicBezTo>
                  <a:pt x="1983745" y="5007045"/>
                  <a:pt x="2037290" y="5012406"/>
                  <a:pt x="2089050" y="5030281"/>
                </a:cubicBezTo>
                <a:cubicBezTo>
                  <a:pt x="2092620" y="5032068"/>
                  <a:pt x="2097974" y="5032068"/>
                  <a:pt x="2103329" y="5030281"/>
                </a:cubicBezTo>
                <a:cubicBezTo>
                  <a:pt x="2119393" y="5021344"/>
                  <a:pt x="2130102" y="5026706"/>
                  <a:pt x="2139026" y="5044581"/>
                </a:cubicBezTo>
                <a:cubicBezTo>
                  <a:pt x="2147950" y="5062455"/>
                  <a:pt x="2158659" y="5064242"/>
                  <a:pt x="2174723" y="5049942"/>
                </a:cubicBezTo>
                <a:cubicBezTo>
                  <a:pt x="2181862" y="5044581"/>
                  <a:pt x="2187216" y="5039218"/>
                  <a:pt x="2194356" y="5032068"/>
                </a:cubicBezTo>
                <a:cubicBezTo>
                  <a:pt x="2201495" y="5042793"/>
                  <a:pt x="2208635" y="5053518"/>
                  <a:pt x="2221128" y="5053518"/>
                </a:cubicBezTo>
                <a:cubicBezTo>
                  <a:pt x="2235407" y="5053518"/>
                  <a:pt x="2249685" y="5055305"/>
                  <a:pt x="2262179" y="5055305"/>
                </a:cubicBezTo>
                <a:cubicBezTo>
                  <a:pt x="2308586" y="5057092"/>
                  <a:pt x="2313940" y="5060668"/>
                  <a:pt x="2322864" y="5010619"/>
                </a:cubicBezTo>
                <a:cubicBezTo>
                  <a:pt x="2322864" y="5010619"/>
                  <a:pt x="2324649" y="5010619"/>
                  <a:pt x="2324649" y="5008832"/>
                </a:cubicBezTo>
                <a:cubicBezTo>
                  <a:pt x="2330003" y="4990958"/>
                  <a:pt x="2337143" y="4985595"/>
                  <a:pt x="2354991" y="4990958"/>
                </a:cubicBezTo>
                <a:cubicBezTo>
                  <a:pt x="2433524" y="5007045"/>
                  <a:pt x="2513842" y="5017769"/>
                  <a:pt x="2592375" y="5030281"/>
                </a:cubicBezTo>
                <a:cubicBezTo>
                  <a:pt x="2642350" y="5037431"/>
                  <a:pt x="2694110" y="5042793"/>
                  <a:pt x="2744086" y="5048155"/>
                </a:cubicBezTo>
                <a:cubicBezTo>
                  <a:pt x="2804770" y="5055305"/>
                  <a:pt x="2861885" y="5073179"/>
                  <a:pt x="2920785" y="5089266"/>
                </a:cubicBezTo>
                <a:cubicBezTo>
                  <a:pt x="2965406" y="5099991"/>
                  <a:pt x="3008242" y="5107141"/>
                  <a:pt x="3052863" y="5091054"/>
                </a:cubicBezTo>
                <a:cubicBezTo>
                  <a:pt x="3070712" y="5083904"/>
                  <a:pt x="3086775" y="5087478"/>
                  <a:pt x="3104623" y="5096415"/>
                </a:cubicBezTo>
                <a:cubicBezTo>
                  <a:pt x="3138535" y="5112502"/>
                  <a:pt x="3176016" y="5119652"/>
                  <a:pt x="3215283" y="5117865"/>
                </a:cubicBezTo>
                <a:cubicBezTo>
                  <a:pt x="3249195" y="5114290"/>
                  <a:pt x="3284892" y="5116078"/>
                  <a:pt x="3318804" y="5125014"/>
                </a:cubicBezTo>
                <a:cubicBezTo>
                  <a:pt x="3370563" y="5135739"/>
                  <a:pt x="3422324" y="5141101"/>
                  <a:pt x="3475869" y="5141101"/>
                </a:cubicBezTo>
                <a:cubicBezTo>
                  <a:pt x="3509781" y="5141101"/>
                  <a:pt x="3541908" y="5144677"/>
                  <a:pt x="3574035" y="5148251"/>
                </a:cubicBezTo>
                <a:cubicBezTo>
                  <a:pt x="3643644" y="5158976"/>
                  <a:pt x="3715038" y="5164338"/>
                  <a:pt x="3786431" y="5166125"/>
                </a:cubicBezTo>
                <a:cubicBezTo>
                  <a:pt x="3857824" y="5167913"/>
                  <a:pt x="3929218" y="5166125"/>
                  <a:pt x="3998827" y="5171488"/>
                </a:cubicBezTo>
                <a:cubicBezTo>
                  <a:pt x="4047017" y="5176850"/>
                  <a:pt x="4095208" y="5185787"/>
                  <a:pt x="4143398" y="5180424"/>
                </a:cubicBezTo>
                <a:cubicBezTo>
                  <a:pt x="4220146" y="5169700"/>
                  <a:pt x="4295109" y="5176850"/>
                  <a:pt x="4370073" y="5180424"/>
                </a:cubicBezTo>
                <a:cubicBezTo>
                  <a:pt x="4407554" y="5184000"/>
                  <a:pt x="4445035" y="5189362"/>
                  <a:pt x="4484302" y="5187574"/>
                </a:cubicBezTo>
                <a:cubicBezTo>
                  <a:pt x="4528923" y="5184000"/>
                  <a:pt x="4575329" y="5191150"/>
                  <a:pt x="4619949" y="5180424"/>
                </a:cubicBezTo>
                <a:cubicBezTo>
                  <a:pt x="4648507" y="5173275"/>
                  <a:pt x="4677065" y="5175063"/>
                  <a:pt x="4703838" y="5180424"/>
                </a:cubicBezTo>
                <a:cubicBezTo>
                  <a:pt x="4734180" y="5187574"/>
                  <a:pt x="4762737" y="5189362"/>
                  <a:pt x="4793079" y="5184000"/>
                </a:cubicBezTo>
                <a:cubicBezTo>
                  <a:pt x="4828777" y="5175063"/>
                  <a:pt x="4866258" y="5171488"/>
                  <a:pt x="4903739" y="5169700"/>
                </a:cubicBezTo>
                <a:cubicBezTo>
                  <a:pt x="4955500" y="5166125"/>
                  <a:pt x="5005475" y="5164338"/>
                  <a:pt x="5055449" y="5160763"/>
                </a:cubicBezTo>
                <a:cubicBezTo>
                  <a:pt x="5123273" y="5155401"/>
                  <a:pt x="5191097" y="5150038"/>
                  <a:pt x="5258922" y="5144677"/>
                </a:cubicBezTo>
                <a:cubicBezTo>
                  <a:pt x="5299973" y="5142888"/>
                  <a:pt x="5339239" y="5139314"/>
                  <a:pt x="5378506" y="5135739"/>
                </a:cubicBezTo>
                <a:cubicBezTo>
                  <a:pt x="5440975" y="5130377"/>
                  <a:pt x="5501660" y="5116078"/>
                  <a:pt x="5564129" y="5132164"/>
                </a:cubicBezTo>
                <a:cubicBezTo>
                  <a:pt x="5573053" y="5133951"/>
                  <a:pt x="5576623" y="5130377"/>
                  <a:pt x="5576623" y="5121440"/>
                </a:cubicBezTo>
                <a:cubicBezTo>
                  <a:pt x="5576623" y="5108928"/>
                  <a:pt x="5571268" y="5101778"/>
                  <a:pt x="5558774" y="5101778"/>
                </a:cubicBezTo>
                <a:cubicBezTo>
                  <a:pt x="5546281" y="5101778"/>
                  <a:pt x="5533786" y="5103565"/>
                  <a:pt x="5521293" y="5103565"/>
                </a:cubicBezTo>
                <a:cubicBezTo>
                  <a:pt x="5253567" y="5110715"/>
                  <a:pt x="4984057" y="5121440"/>
                  <a:pt x="4716330" y="5125014"/>
                </a:cubicBezTo>
                <a:cubicBezTo>
                  <a:pt x="4470023" y="5126802"/>
                  <a:pt x="4223715" y="5126802"/>
                  <a:pt x="3977408" y="5116078"/>
                </a:cubicBezTo>
                <a:cubicBezTo>
                  <a:pt x="3818558" y="5108928"/>
                  <a:pt x="3661492" y="5098204"/>
                  <a:pt x="3504426" y="5083904"/>
                </a:cubicBezTo>
                <a:cubicBezTo>
                  <a:pt x="3366994" y="5073179"/>
                  <a:pt x="3229562" y="5057092"/>
                  <a:pt x="3092129" y="5039218"/>
                </a:cubicBezTo>
                <a:cubicBezTo>
                  <a:pt x="2922569" y="5015982"/>
                  <a:pt x="2756580" y="4980233"/>
                  <a:pt x="2588805" y="4948059"/>
                </a:cubicBezTo>
                <a:cubicBezTo>
                  <a:pt x="2535260" y="4939122"/>
                  <a:pt x="2481714" y="4921247"/>
                  <a:pt x="2428170" y="4923036"/>
                </a:cubicBezTo>
                <a:cubicBezTo>
                  <a:pt x="2367485" y="4923036"/>
                  <a:pt x="2310370" y="4917673"/>
                  <a:pt x="2260395" y="4880137"/>
                </a:cubicBezTo>
                <a:cubicBezTo>
                  <a:pt x="2240762" y="4865837"/>
                  <a:pt x="2215774" y="4864050"/>
                  <a:pt x="2190786" y="4871200"/>
                </a:cubicBezTo>
                <a:cubicBezTo>
                  <a:pt x="2174723" y="4876563"/>
                  <a:pt x="2158659" y="4874774"/>
                  <a:pt x="2140811" y="4871200"/>
                </a:cubicBezTo>
                <a:cubicBezTo>
                  <a:pt x="2114038" y="4865837"/>
                  <a:pt x="2087265" y="4855113"/>
                  <a:pt x="2058708" y="4862263"/>
                </a:cubicBezTo>
                <a:cubicBezTo>
                  <a:pt x="2033720" y="4867625"/>
                  <a:pt x="2015872" y="4860476"/>
                  <a:pt x="1999808" y="4840814"/>
                </a:cubicBezTo>
                <a:cubicBezTo>
                  <a:pt x="1994454" y="4833664"/>
                  <a:pt x="1987315" y="4831877"/>
                  <a:pt x="1978390" y="4835451"/>
                </a:cubicBezTo>
                <a:cubicBezTo>
                  <a:pt x="1965897" y="4840814"/>
                  <a:pt x="1951618" y="4842601"/>
                  <a:pt x="1937339" y="4837239"/>
                </a:cubicBezTo>
                <a:cubicBezTo>
                  <a:pt x="1894503" y="4822940"/>
                  <a:pt x="1846313" y="4819364"/>
                  <a:pt x="1803476" y="4801490"/>
                </a:cubicBezTo>
                <a:cubicBezTo>
                  <a:pt x="1789198" y="4794341"/>
                  <a:pt x="1774919" y="4792553"/>
                  <a:pt x="1760641" y="4799703"/>
                </a:cubicBezTo>
                <a:cubicBezTo>
                  <a:pt x="1730298" y="4812215"/>
                  <a:pt x="1721374" y="4810427"/>
                  <a:pt x="1701740" y="4783616"/>
                </a:cubicBezTo>
                <a:cubicBezTo>
                  <a:pt x="1694601" y="4772891"/>
                  <a:pt x="1685677" y="4765742"/>
                  <a:pt x="1674969" y="4765742"/>
                </a:cubicBezTo>
                <a:cubicBezTo>
                  <a:pt x="1637487" y="4763954"/>
                  <a:pt x="1603575" y="4749655"/>
                  <a:pt x="1569663" y="4738931"/>
                </a:cubicBezTo>
                <a:cubicBezTo>
                  <a:pt x="1539320" y="4728205"/>
                  <a:pt x="1508978" y="4719269"/>
                  <a:pt x="1476851" y="4724631"/>
                </a:cubicBezTo>
                <a:cubicBezTo>
                  <a:pt x="1464357" y="4726418"/>
                  <a:pt x="1457218" y="4722844"/>
                  <a:pt x="1451863" y="4713906"/>
                </a:cubicBezTo>
                <a:cubicBezTo>
                  <a:pt x="1444724" y="4703182"/>
                  <a:pt x="1435800" y="4690669"/>
                  <a:pt x="1421521" y="4694245"/>
                </a:cubicBezTo>
                <a:cubicBezTo>
                  <a:pt x="1391180" y="4701395"/>
                  <a:pt x="1366191" y="4688882"/>
                  <a:pt x="1344773" y="4667433"/>
                </a:cubicBezTo>
                <a:cubicBezTo>
                  <a:pt x="1312646" y="4637047"/>
                  <a:pt x="1273380" y="4626322"/>
                  <a:pt x="1230544" y="4638835"/>
                </a:cubicBezTo>
                <a:cubicBezTo>
                  <a:pt x="1214480" y="4642409"/>
                  <a:pt x="1209125" y="4638835"/>
                  <a:pt x="1209125" y="4622747"/>
                </a:cubicBezTo>
                <a:cubicBezTo>
                  <a:pt x="1209125" y="4617385"/>
                  <a:pt x="1209125" y="4612023"/>
                  <a:pt x="1207341" y="4608448"/>
                </a:cubicBezTo>
                <a:cubicBezTo>
                  <a:pt x="1184138" y="4570912"/>
                  <a:pt x="1160935" y="4535164"/>
                  <a:pt x="1112744" y="4526227"/>
                </a:cubicBezTo>
                <a:cubicBezTo>
                  <a:pt x="1102035" y="4524439"/>
                  <a:pt x="1103820" y="4519077"/>
                  <a:pt x="1107390" y="4511927"/>
                </a:cubicBezTo>
                <a:cubicBezTo>
                  <a:pt x="1109174" y="4508353"/>
                  <a:pt x="1112744" y="4504777"/>
                  <a:pt x="1116314" y="4501203"/>
                </a:cubicBezTo>
                <a:cubicBezTo>
                  <a:pt x="1123453" y="4494053"/>
                  <a:pt x="1130592" y="4488691"/>
                  <a:pt x="1123453" y="4477966"/>
                </a:cubicBezTo>
                <a:cubicBezTo>
                  <a:pt x="1118099" y="4467241"/>
                  <a:pt x="1109174" y="4474391"/>
                  <a:pt x="1100251" y="4476178"/>
                </a:cubicBezTo>
                <a:cubicBezTo>
                  <a:pt x="1082402" y="4481541"/>
                  <a:pt x="1062769" y="4486903"/>
                  <a:pt x="1048490" y="4476178"/>
                </a:cubicBezTo>
                <a:cubicBezTo>
                  <a:pt x="1030642" y="4463667"/>
                  <a:pt x="1021718" y="4469028"/>
                  <a:pt x="1009224" y="4483328"/>
                </a:cubicBezTo>
                <a:cubicBezTo>
                  <a:pt x="1005654" y="4486903"/>
                  <a:pt x="1002085" y="4490478"/>
                  <a:pt x="996730" y="4492265"/>
                </a:cubicBezTo>
                <a:cubicBezTo>
                  <a:pt x="991376" y="4497628"/>
                  <a:pt x="986021" y="4499415"/>
                  <a:pt x="978881" y="4492265"/>
                </a:cubicBezTo>
                <a:cubicBezTo>
                  <a:pt x="973527" y="4486903"/>
                  <a:pt x="973527" y="4479754"/>
                  <a:pt x="978881" y="4474391"/>
                </a:cubicBezTo>
                <a:cubicBezTo>
                  <a:pt x="984236" y="4467241"/>
                  <a:pt x="986021" y="4460091"/>
                  <a:pt x="993160" y="4454730"/>
                </a:cubicBezTo>
                <a:cubicBezTo>
                  <a:pt x="996730" y="4452942"/>
                  <a:pt x="1000300" y="4451155"/>
                  <a:pt x="998515" y="4445792"/>
                </a:cubicBezTo>
                <a:cubicBezTo>
                  <a:pt x="996730" y="4442218"/>
                  <a:pt x="991376" y="4444005"/>
                  <a:pt x="987806" y="4444005"/>
                </a:cubicBezTo>
                <a:cubicBezTo>
                  <a:pt x="982451" y="4444005"/>
                  <a:pt x="978881" y="4444005"/>
                  <a:pt x="975312" y="4447580"/>
                </a:cubicBezTo>
                <a:cubicBezTo>
                  <a:pt x="971742" y="4451155"/>
                  <a:pt x="968173" y="4451155"/>
                  <a:pt x="964603" y="4447580"/>
                </a:cubicBezTo>
                <a:cubicBezTo>
                  <a:pt x="944969" y="4427918"/>
                  <a:pt x="921767" y="4418981"/>
                  <a:pt x="894995" y="4420768"/>
                </a:cubicBezTo>
                <a:cubicBezTo>
                  <a:pt x="882500" y="4422555"/>
                  <a:pt x="870006" y="4422555"/>
                  <a:pt x="857513" y="4420768"/>
                </a:cubicBezTo>
                <a:cubicBezTo>
                  <a:pt x="850373" y="4420768"/>
                  <a:pt x="839665" y="4420768"/>
                  <a:pt x="836094" y="4411831"/>
                </a:cubicBezTo>
                <a:cubicBezTo>
                  <a:pt x="834310" y="4404681"/>
                  <a:pt x="843233" y="4399319"/>
                  <a:pt x="848588" y="4393957"/>
                </a:cubicBezTo>
                <a:cubicBezTo>
                  <a:pt x="852158" y="4390382"/>
                  <a:pt x="855728" y="4388595"/>
                  <a:pt x="859297" y="4385019"/>
                </a:cubicBezTo>
                <a:cubicBezTo>
                  <a:pt x="862867" y="4381445"/>
                  <a:pt x="871791" y="4377870"/>
                  <a:pt x="868222" y="4370721"/>
                </a:cubicBezTo>
                <a:cubicBezTo>
                  <a:pt x="866436" y="4363571"/>
                  <a:pt x="857513" y="4363571"/>
                  <a:pt x="850373" y="4365358"/>
                </a:cubicBezTo>
                <a:cubicBezTo>
                  <a:pt x="834310" y="4365358"/>
                  <a:pt x="821816" y="4361783"/>
                  <a:pt x="805753" y="4354633"/>
                </a:cubicBezTo>
                <a:cubicBezTo>
                  <a:pt x="770056" y="4336759"/>
                  <a:pt x="750422" y="4345696"/>
                  <a:pt x="736143" y="4381445"/>
                </a:cubicBezTo>
                <a:cubicBezTo>
                  <a:pt x="730789" y="4395745"/>
                  <a:pt x="721865" y="4402894"/>
                  <a:pt x="707587" y="4401107"/>
                </a:cubicBezTo>
                <a:cubicBezTo>
                  <a:pt x="707587" y="4367145"/>
                  <a:pt x="707587" y="4334972"/>
                  <a:pt x="707587" y="4301010"/>
                </a:cubicBezTo>
                <a:cubicBezTo>
                  <a:pt x="732574" y="4299223"/>
                  <a:pt x="737929" y="4290286"/>
                  <a:pt x="730789" y="4274199"/>
                </a:cubicBezTo>
                <a:cubicBezTo>
                  <a:pt x="729004" y="4268837"/>
                  <a:pt x="721865" y="4265262"/>
                  <a:pt x="725435" y="4259900"/>
                </a:cubicBezTo>
                <a:cubicBezTo>
                  <a:pt x="730789" y="4254537"/>
                  <a:pt x="737929" y="4256325"/>
                  <a:pt x="743283" y="4258113"/>
                </a:cubicBezTo>
                <a:cubicBezTo>
                  <a:pt x="748638" y="4258113"/>
                  <a:pt x="752207" y="4259900"/>
                  <a:pt x="755777" y="4261687"/>
                </a:cubicBezTo>
                <a:cubicBezTo>
                  <a:pt x="766486" y="4265262"/>
                  <a:pt x="771841" y="4263475"/>
                  <a:pt x="773625" y="4250963"/>
                </a:cubicBezTo>
                <a:cubicBezTo>
                  <a:pt x="775410" y="4243813"/>
                  <a:pt x="780764" y="4233089"/>
                  <a:pt x="789689" y="4238450"/>
                </a:cubicBezTo>
                <a:cubicBezTo>
                  <a:pt x="802182" y="4243813"/>
                  <a:pt x="814676" y="4243813"/>
                  <a:pt x="827171" y="4245600"/>
                </a:cubicBezTo>
                <a:cubicBezTo>
                  <a:pt x="837879" y="4247388"/>
                  <a:pt x="850373" y="4250963"/>
                  <a:pt x="862867" y="4247388"/>
                </a:cubicBezTo>
                <a:cubicBezTo>
                  <a:pt x="873576" y="4243813"/>
                  <a:pt x="886070" y="4240239"/>
                  <a:pt x="877146" y="4222364"/>
                </a:cubicBezTo>
                <a:cubicBezTo>
                  <a:pt x="873576" y="4217002"/>
                  <a:pt x="877146" y="4213427"/>
                  <a:pt x="884286" y="4211640"/>
                </a:cubicBezTo>
                <a:cubicBezTo>
                  <a:pt x="911057" y="4211640"/>
                  <a:pt x="919982" y="4218789"/>
                  <a:pt x="921767" y="4245600"/>
                </a:cubicBezTo>
                <a:cubicBezTo>
                  <a:pt x="921767" y="4254537"/>
                  <a:pt x="923552" y="4261687"/>
                  <a:pt x="930691" y="4265262"/>
                </a:cubicBezTo>
                <a:cubicBezTo>
                  <a:pt x="943185" y="4270625"/>
                  <a:pt x="955679" y="4274199"/>
                  <a:pt x="969957" y="4270625"/>
                </a:cubicBezTo>
                <a:cubicBezTo>
                  <a:pt x="973527" y="4270625"/>
                  <a:pt x="975312" y="4263475"/>
                  <a:pt x="973527" y="4259900"/>
                </a:cubicBezTo>
                <a:cubicBezTo>
                  <a:pt x="973527" y="4254537"/>
                  <a:pt x="973527" y="4247388"/>
                  <a:pt x="977097" y="4243813"/>
                </a:cubicBezTo>
                <a:cubicBezTo>
                  <a:pt x="982451" y="4238450"/>
                  <a:pt x="989590" y="4225939"/>
                  <a:pt x="994945" y="4236663"/>
                </a:cubicBezTo>
                <a:cubicBezTo>
                  <a:pt x="1009224" y="4256325"/>
                  <a:pt x="1027072" y="4256325"/>
                  <a:pt x="1046705" y="4256325"/>
                </a:cubicBezTo>
                <a:cubicBezTo>
                  <a:pt x="1057414" y="4258113"/>
                  <a:pt x="1068123" y="4259900"/>
                  <a:pt x="1077048" y="4268837"/>
                </a:cubicBezTo>
                <a:cubicBezTo>
                  <a:pt x="1110960" y="4301010"/>
                  <a:pt x="1137732" y="4299223"/>
                  <a:pt x="1162720" y="4259900"/>
                </a:cubicBezTo>
                <a:cubicBezTo>
                  <a:pt x="1169859" y="4249176"/>
                  <a:pt x="1178784" y="4245600"/>
                  <a:pt x="1187707" y="4256325"/>
                </a:cubicBezTo>
                <a:cubicBezTo>
                  <a:pt x="1209125" y="4277774"/>
                  <a:pt x="1235898" y="4284923"/>
                  <a:pt x="1264456" y="4286712"/>
                </a:cubicBezTo>
                <a:cubicBezTo>
                  <a:pt x="1278734" y="4288499"/>
                  <a:pt x="1293013" y="4286712"/>
                  <a:pt x="1309077" y="4288499"/>
                </a:cubicBezTo>
                <a:cubicBezTo>
                  <a:pt x="1335849" y="4292073"/>
                  <a:pt x="1359052" y="4292073"/>
                  <a:pt x="1369761" y="4259900"/>
                </a:cubicBezTo>
                <a:cubicBezTo>
                  <a:pt x="1369761" y="4272412"/>
                  <a:pt x="1367976" y="4281349"/>
                  <a:pt x="1373331" y="4292073"/>
                </a:cubicBezTo>
                <a:cubicBezTo>
                  <a:pt x="1378685" y="4306373"/>
                  <a:pt x="1391180" y="4311735"/>
                  <a:pt x="1403672" y="4311735"/>
                </a:cubicBezTo>
                <a:cubicBezTo>
                  <a:pt x="1417952" y="4309948"/>
                  <a:pt x="1409027" y="4297436"/>
                  <a:pt x="1410812" y="4290286"/>
                </a:cubicBezTo>
                <a:cubicBezTo>
                  <a:pt x="1412597" y="4279562"/>
                  <a:pt x="1419736" y="4272412"/>
                  <a:pt x="1430445" y="4277774"/>
                </a:cubicBezTo>
                <a:cubicBezTo>
                  <a:pt x="1444724" y="4284923"/>
                  <a:pt x="1457218" y="4284923"/>
                  <a:pt x="1473282" y="4283136"/>
                </a:cubicBezTo>
                <a:cubicBezTo>
                  <a:pt x="1492914" y="4277774"/>
                  <a:pt x="1512548" y="4277774"/>
                  <a:pt x="1530396" y="4292073"/>
                </a:cubicBezTo>
                <a:cubicBezTo>
                  <a:pt x="1541106" y="4301010"/>
                  <a:pt x="1551815" y="4299223"/>
                  <a:pt x="1560739" y="4290286"/>
                </a:cubicBezTo>
                <a:cubicBezTo>
                  <a:pt x="1566093" y="4284923"/>
                  <a:pt x="1571447" y="4279562"/>
                  <a:pt x="1575017" y="4275987"/>
                </a:cubicBezTo>
                <a:cubicBezTo>
                  <a:pt x="1583941" y="4268837"/>
                  <a:pt x="1589296" y="4256325"/>
                  <a:pt x="1600005" y="4259900"/>
                </a:cubicBezTo>
                <a:cubicBezTo>
                  <a:pt x="1610714" y="4263475"/>
                  <a:pt x="1608929" y="4275987"/>
                  <a:pt x="1608929" y="4284923"/>
                </a:cubicBezTo>
                <a:cubicBezTo>
                  <a:pt x="1608929" y="4293861"/>
                  <a:pt x="1616068" y="4290286"/>
                  <a:pt x="1621423" y="4292073"/>
                </a:cubicBezTo>
                <a:cubicBezTo>
                  <a:pt x="1626777" y="4292073"/>
                  <a:pt x="1632132" y="4292073"/>
                  <a:pt x="1630348" y="4284923"/>
                </a:cubicBezTo>
                <a:cubicBezTo>
                  <a:pt x="1626777" y="4265262"/>
                  <a:pt x="1637487" y="4259900"/>
                  <a:pt x="1653550" y="4258113"/>
                </a:cubicBezTo>
                <a:cubicBezTo>
                  <a:pt x="1669614" y="4256325"/>
                  <a:pt x="1671398" y="4249176"/>
                  <a:pt x="1660689" y="4236663"/>
                </a:cubicBezTo>
                <a:cubicBezTo>
                  <a:pt x="1658905" y="4233089"/>
                  <a:pt x="1653550" y="4231301"/>
                  <a:pt x="1648196" y="4229513"/>
                </a:cubicBezTo>
                <a:cubicBezTo>
                  <a:pt x="1601790" y="4208064"/>
                  <a:pt x="1551815" y="4197340"/>
                  <a:pt x="1500054" y="4191977"/>
                </a:cubicBezTo>
                <a:cubicBezTo>
                  <a:pt x="1459002" y="4186615"/>
                  <a:pt x="1421521" y="4177678"/>
                  <a:pt x="1387610" y="4150867"/>
                </a:cubicBezTo>
                <a:cubicBezTo>
                  <a:pt x="1367976" y="4134780"/>
                  <a:pt x="1353698" y="4113331"/>
                  <a:pt x="1341203" y="4090094"/>
                </a:cubicBezTo>
                <a:cubicBezTo>
                  <a:pt x="1328709" y="4111544"/>
                  <a:pt x="1319786" y="4113331"/>
                  <a:pt x="1301938" y="4095457"/>
                </a:cubicBezTo>
                <a:cubicBezTo>
                  <a:pt x="1296582" y="4090094"/>
                  <a:pt x="1293013" y="4081157"/>
                  <a:pt x="1294798" y="4072220"/>
                </a:cubicBezTo>
                <a:cubicBezTo>
                  <a:pt x="1296582" y="4056133"/>
                  <a:pt x="1284088" y="4050771"/>
                  <a:pt x="1271595" y="4048983"/>
                </a:cubicBezTo>
                <a:cubicBezTo>
                  <a:pt x="1259101" y="4045409"/>
                  <a:pt x="1253746" y="4054346"/>
                  <a:pt x="1248392" y="4063282"/>
                </a:cubicBezTo>
                <a:cubicBezTo>
                  <a:pt x="1244823" y="4072220"/>
                  <a:pt x="1244823" y="4082945"/>
                  <a:pt x="1234113" y="4093669"/>
                </a:cubicBezTo>
                <a:cubicBezTo>
                  <a:pt x="1239467" y="4072220"/>
                  <a:pt x="1228759" y="4066858"/>
                  <a:pt x="1214480" y="4063282"/>
                </a:cubicBezTo>
                <a:cubicBezTo>
                  <a:pt x="1201986" y="4061495"/>
                  <a:pt x="1187707" y="4052558"/>
                  <a:pt x="1189493" y="4041834"/>
                </a:cubicBezTo>
                <a:cubicBezTo>
                  <a:pt x="1193062" y="4022172"/>
                  <a:pt x="1194847" y="4002510"/>
                  <a:pt x="1207341" y="3986423"/>
                </a:cubicBezTo>
                <a:cubicBezTo>
                  <a:pt x="1214480" y="3977486"/>
                  <a:pt x="1221619" y="3975699"/>
                  <a:pt x="1234113" y="3977486"/>
                </a:cubicBezTo>
                <a:cubicBezTo>
                  <a:pt x="1243037" y="3981062"/>
                  <a:pt x="1246607" y="3984636"/>
                  <a:pt x="1244823" y="3995360"/>
                </a:cubicBezTo>
                <a:cubicBezTo>
                  <a:pt x="1244823" y="4002510"/>
                  <a:pt x="1250177" y="4006085"/>
                  <a:pt x="1255531" y="4006085"/>
                </a:cubicBezTo>
                <a:cubicBezTo>
                  <a:pt x="1276949" y="4004298"/>
                  <a:pt x="1289443" y="4015022"/>
                  <a:pt x="1301938" y="4027535"/>
                </a:cubicBezTo>
                <a:cubicBezTo>
                  <a:pt x="1314431" y="4038259"/>
                  <a:pt x="1328709" y="4041834"/>
                  <a:pt x="1341203" y="4029322"/>
                </a:cubicBezTo>
                <a:cubicBezTo>
                  <a:pt x="1350128" y="4020385"/>
                  <a:pt x="1353698" y="4023959"/>
                  <a:pt x="1351912" y="4034684"/>
                </a:cubicBezTo>
                <a:cubicBezTo>
                  <a:pt x="1351912" y="4041834"/>
                  <a:pt x="1355482" y="4043621"/>
                  <a:pt x="1362621" y="4047196"/>
                </a:cubicBezTo>
                <a:cubicBezTo>
                  <a:pt x="1392964" y="4057921"/>
                  <a:pt x="1425092" y="4057921"/>
                  <a:pt x="1455433" y="4047196"/>
                </a:cubicBezTo>
                <a:cubicBezTo>
                  <a:pt x="1471497" y="4040046"/>
                  <a:pt x="1487561" y="4040046"/>
                  <a:pt x="1503623" y="4043621"/>
                </a:cubicBezTo>
                <a:cubicBezTo>
                  <a:pt x="1517903" y="4047196"/>
                  <a:pt x="1530396" y="4056133"/>
                  <a:pt x="1541106" y="4065071"/>
                </a:cubicBezTo>
                <a:cubicBezTo>
                  <a:pt x="1546460" y="4070432"/>
                  <a:pt x="1550030" y="4077582"/>
                  <a:pt x="1558954" y="4072220"/>
                </a:cubicBezTo>
                <a:cubicBezTo>
                  <a:pt x="1567878" y="4066858"/>
                  <a:pt x="1567878" y="4059708"/>
                  <a:pt x="1566093" y="4050771"/>
                </a:cubicBezTo>
                <a:cubicBezTo>
                  <a:pt x="1564308" y="4043621"/>
                  <a:pt x="1560739" y="4038259"/>
                  <a:pt x="1562524" y="4031109"/>
                </a:cubicBezTo>
                <a:cubicBezTo>
                  <a:pt x="1562524" y="4011448"/>
                  <a:pt x="1553599" y="4002510"/>
                  <a:pt x="1535751" y="3998936"/>
                </a:cubicBezTo>
                <a:cubicBezTo>
                  <a:pt x="1503623" y="3991786"/>
                  <a:pt x="1475066" y="3982849"/>
                  <a:pt x="1444724" y="3972124"/>
                </a:cubicBezTo>
                <a:cubicBezTo>
                  <a:pt x="1426876" y="3963187"/>
                  <a:pt x="1425092" y="3954250"/>
                  <a:pt x="1437585" y="3939950"/>
                </a:cubicBezTo>
                <a:cubicBezTo>
                  <a:pt x="1439370" y="3939950"/>
                  <a:pt x="1439370" y="3938163"/>
                  <a:pt x="1439370" y="3936376"/>
                </a:cubicBezTo>
                <a:cubicBezTo>
                  <a:pt x="1442939" y="3918501"/>
                  <a:pt x="1455433" y="3907777"/>
                  <a:pt x="1467927" y="3898840"/>
                </a:cubicBezTo>
                <a:cubicBezTo>
                  <a:pt x="1476851" y="3891690"/>
                  <a:pt x="1480421" y="3895264"/>
                  <a:pt x="1482205" y="3902414"/>
                </a:cubicBezTo>
                <a:cubicBezTo>
                  <a:pt x="1485775" y="3918501"/>
                  <a:pt x="1476851" y="3925651"/>
                  <a:pt x="1462573" y="3927439"/>
                </a:cubicBezTo>
                <a:cubicBezTo>
                  <a:pt x="1466142" y="3936376"/>
                  <a:pt x="1471497" y="3943525"/>
                  <a:pt x="1480421" y="3943525"/>
                </a:cubicBezTo>
                <a:cubicBezTo>
                  <a:pt x="1485775" y="3943525"/>
                  <a:pt x="1487561" y="3936376"/>
                  <a:pt x="1489345" y="3931013"/>
                </a:cubicBezTo>
                <a:cubicBezTo>
                  <a:pt x="1496484" y="3904202"/>
                  <a:pt x="1503623" y="3898840"/>
                  <a:pt x="1530396" y="3900627"/>
                </a:cubicBezTo>
                <a:cubicBezTo>
                  <a:pt x="1555384" y="3904202"/>
                  <a:pt x="1582156" y="3904202"/>
                  <a:pt x="1607145" y="3900627"/>
                </a:cubicBezTo>
                <a:cubicBezTo>
                  <a:pt x="1641057" y="3895264"/>
                  <a:pt x="1648196" y="3902414"/>
                  <a:pt x="1642841" y="3936376"/>
                </a:cubicBezTo>
                <a:cubicBezTo>
                  <a:pt x="1642841" y="3938163"/>
                  <a:pt x="1642841" y="3939950"/>
                  <a:pt x="1642841" y="3941737"/>
                </a:cubicBezTo>
                <a:cubicBezTo>
                  <a:pt x="1641057" y="3947100"/>
                  <a:pt x="1635702" y="3954250"/>
                  <a:pt x="1644626" y="3957825"/>
                </a:cubicBezTo>
                <a:cubicBezTo>
                  <a:pt x="1653550" y="3959612"/>
                  <a:pt x="1662474" y="3963187"/>
                  <a:pt x="1667829" y="3952462"/>
                </a:cubicBezTo>
                <a:cubicBezTo>
                  <a:pt x="1671398" y="3945313"/>
                  <a:pt x="1674969" y="3939950"/>
                  <a:pt x="1676753" y="3932800"/>
                </a:cubicBezTo>
                <a:cubicBezTo>
                  <a:pt x="1683892" y="3922076"/>
                  <a:pt x="1691031" y="3920289"/>
                  <a:pt x="1701740" y="3927439"/>
                </a:cubicBezTo>
                <a:cubicBezTo>
                  <a:pt x="1712450" y="3932800"/>
                  <a:pt x="1710665" y="3941737"/>
                  <a:pt x="1703526" y="3948887"/>
                </a:cubicBezTo>
                <a:cubicBezTo>
                  <a:pt x="1701740" y="3952462"/>
                  <a:pt x="1699956" y="3954250"/>
                  <a:pt x="1698171" y="3957825"/>
                </a:cubicBezTo>
                <a:cubicBezTo>
                  <a:pt x="1694601" y="3961399"/>
                  <a:pt x="1694601" y="3966762"/>
                  <a:pt x="1698171" y="3970336"/>
                </a:cubicBezTo>
                <a:cubicBezTo>
                  <a:pt x="1703526" y="3973912"/>
                  <a:pt x="1705310" y="3968549"/>
                  <a:pt x="1708879" y="3966762"/>
                </a:cubicBezTo>
                <a:cubicBezTo>
                  <a:pt x="1716019" y="3961399"/>
                  <a:pt x="1721374" y="3954250"/>
                  <a:pt x="1724943" y="3945313"/>
                </a:cubicBezTo>
                <a:cubicBezTo>
                  <a:pt x="1737438" y="3922076"/>
                  <a:pt x="1748147" y="3918501"/>
                  <a:pt x="1771349" y="3931013"/>
                </a:cubicBezTo>
                <a:cubicBezTo>
                  <a:pt x="1782058" y="3936376"/>
                  <a:pt x="1792768" y="3943525"/>
                  <a:pt x="1803476" y="3948887"/>
                </a:cubicBezTo>
                <a:cubicBezTo>
                  <a:pt x="1810616" y="3952462"/>
                  <a:pt x="1819540" y="3954250"/>
                  <a:pt x="1826679" y="3945313"/>
                </a:cubicBezTo>
                <a:cubicBezTo>
                  <a:pt x="1835604" y="3934588"/>
                  <a:pt x="1840958" y="3922076"/>
                  <a:pt x="1858806" y="3923863"/>
                </a:cubicBezTo>
                <a:cubicBezTo>
                  <a:pt x="1869515" y="3925651"/>
                  <a:pt x="1876654" y="3922076"/>
                  <a:pt x="1885579" y="3929226"/>
                </a:cubicBezTo>
                <a:cubicBezTo>
                  <a:pt x="1930200" y="3966762"/>
                  <a:pt x="1980176" y="3975699"/>
                  <a:pt x="2035505" y="3964974"/>
                </a:cubicBezTo>
                <a:cubicBezTo>
                  <a:pt x="2044429" y="3963187"/>
                  <a:pt x="2051569" y="3964974"/>
                  <a:pt x="2058708" y="3970336"/>
                </a:cubicBezTo>
                <a:cubicBezTo>
                  <a:pt x="2074771" y="3986423"/>
                  <a:pt x="2094405" y="3988211"/>
                  <a:pt x="2115823" y="3984636"/>
                </a:cubicBezTo>
                <a:cubicBezTo>
                  <a:pt x="2146165" y="3977486"/>
                  <a:pt x="2172938" y="3968549"/>
                  <a:pt x="2199710" y="3954250"/>
                </a:cubicBezTo>
                <a:cubicBezTo>
                  <a:pt x="2212204" y="3947100"/>
                  <a:pt x="2224698" y="3939950"/>
                  <a:pt x="2238976" y="3941737"/>
                </a:cubicBezTo>
                <a:cubicBezTo>
                  <a:pt x="2285383" y="3952462"/>
                  <a:pt x="2335358" y="3952462"/>
                  <a:pt x="2378194" y="3975699"/>
                </a:cubicBezTo>
                <a:cubicBezTo>
                  <a:pt x="2387119" y="3981062"/>
                  <a:pt x="2394258" y="3979273"/>
                  <a:pt x="2403182" y="3972124"/>
                </a:cubicBezTo>
                <a:cubicBezTo>
                  <a:pt x="2406752" y="3968549"/>
                  <a:pt x="2410321" y="3964974"/>
                  <a:pt x="2413892" y="3963187"/>
                </a:cubicBezTo>
                <a:cubicBezTo>
                  <a:pt x="2422815" y="3961399"/>
                  <a:pt x="2421031" y="3957825"/>
                  <a:pt x="2419245" y="3952462"/>
                </a:cubicBezTo>
                <a:cubicBezTo>
                  <a:pt x="2415675" y="3941737"/>
                  <a:pt x="2408537" y="3936376"/>
                  <a:pt x="2397828" y="3936376"/>
                </a:cubicBezTo>
                <a:cubicBezTo>
                  <a:pt x="2391581" y="3936376"/>
                  <a:pt x="2387119" y="3933694"/>
                  <a:pt x="2384441" y="3929673"/>
                </a:cubicBezTo>
                <a:lnTo>
                  <a:pt x="2383219" y="3922944"/>
                </a:lnTo>
                <a:lnTo>
                  <a:pt x="2383113" y="3922898"/>
                </a:lnTo>
                <a:cubicBezTo>
                  <a:pt x="2348117" y="3897892"/>
                  <a:pt x="2310468" y="3898339"/>
                  <a:pt x="2269842" y="3904498"/>
                </a:cubicBezTo>
                <a:cubicBezTo>
                  <a:pt x="2230991" y="3910466"/>
                  <a:pt x="2191949" y="3914657"/>
                  <a:pt x="2152143" y="3911739"/>
                </a:cubicBezTo>
                <a:cubicBezTo>
                  <a:pt x="2085146" y="3906348"/>
                  <a:pt x="2019542" y="3897212"/>
                  <a:pt x="1951915" y="3902673"/>
                </a:cubicBezTo>
                <a:cubicBezTo>
                  <a:pt x="1921746" y="3905912"/>
                  <a:pt x="1893982" y="3898107"/>
                  <a:pt x="1870396" y="3879067"/>
                </a:cubicBezTo>
                <a:cubicBezTo>
                  <a:pt x="1862535" y="3872719"/>
                  <a:pt x="1857211" y="3873292"/>
                  <a:pt x="1850685" y="3879385"/>
                </a:cubicBezTo>
                <a:cubicBezTo>
                  <a:pt x="1835667" y="3889986"/>
                  <a:pt x="1820267" y="3897032"/>
                  <a:pt x="1804543" y="3884338"/>
                </a:cubicBezTo>
                <a:cubicBezTo>
                  <a:pt x="1783306" y="3870439"/>
                  <a:pt x="1761629" y="3869171"/>
                  <a:pt x="1736974" y="3873616"/>
                </a:cubicBezTo>
                <a:cubicBezTo>
                  <a:pt x="1699897" y="3879393"/>
                  <a:pt x="1665226" y="3874127"/>
                  <a:pt x="1632577" y="3854262"/>
                </a:cubicBezTo>
                <a:cubicBezTo>
                  <a:pt x="1613304" y="3841949"/>
                  <a:pt x="1587696" y="3837508"/>
                  <a:pt x="1571094" y="3850076"/>
                </a:cubicBezTo>
                <a:cubicBezTo>
                  <a:pt x="1541249" y="3873055"/>
                  <a:pt x="1513866" y="3868804"/>
                  <a:pt x="1483755" y="3855857"/>
                </a:cubicBezTo>
                <a:cubicBezTo>
                  <a:pt x="1468795" y="3850273"/>
                  <a:pt x="1452060" y="3844878"/>
                  <a:pt x="1434695" y="3850337"/>
                </a:cubicBezTo>
                <a:cubicBezTo>
                  <a:pt x="1426203" y="3854844"/>
                  <a:pt x="1422081" y="3849894"/>
                  <a:pt x="1421318" y="3842785"/>
                </a:cubicBezTo>
                <a:cubicBezTo>
                  <a:pt x="1420746" y="3837453"/>
                  <a:pt x="1420364" y="3833898"/>
                  <a:pt x="1419983" y="3830345"/>
                </a:cubicBezTo>
                <a:cubicBezTo>
                  <a:pt x="1419659" y="3810605"/>
                  <a:pt x="1417884" y="3810796"/>
                  <a:pt x="1402866" y="3821396"/>
                </a:cubicBezTo>
                <a:cubicBezTo>
                  <a:pt x="1386074" y="3832187"/>
                  <a:pt x="1367316" y="3841391"/>
                  <a:pt x="1350142" y="3848628"/>
                </a:cubicBezTo>
                <a:cubicBezTo>
                  <a:pt x="1343234" y="3851168"/>
                  <a:pt x="1336326" y="3853707"/>
                  <a:pt x="1330430" y="3848947"/>
                </a:cubicBezTo>
                <a:cubicBezTo>
                  <a:pt x="1324534" y="3844186"/>
                  <a:pt x="1327320" y="3836697"/>
                  <a:pt x="1330297" y="3830984"/>
                </a:cubicBezTo>
                <a:cubicBezTo>
                  <a:pt x="1337644" y="3815814"/>
                  <a:pt x="1331557" y="3809276"/>
                  <a:pt x="1317169" y="3809024"/>
                </a:cubicBezTo>
                <a:cubicBezTo>
                  <a:pt x="1311654" y="3807818"/>
                  <a:pt x="1305949" y="3804834"/>
                  <a:pt x="1300624" y="3805406"/>
                </a:cubicBezTo>
                <a:cubicBezTo>
                  <a:pt x="1288202" y="3806740"/>
                  <a:pt x="1285855" y="3801599"/>
                  <a:pt x="1291809" y="3790174"/>
                </a:cubicBezTo>
                <a:cubicBezTo>
                  <a:pt x="1294977" y="3786238"/>
                  <a:pt x="1297953" y="3780526"/>
                  <a:pt x="1292248" y="3777542"/>
                </a:cubicBezTo>
                <a:cubicBezTo>
                  <a:pt x="1288126" y="3772592"/>
                  <a:pt x="1282993" y="3774941"/>
                  <a:pt x="1277860" y="3777290"/>
                </a:cubicBezTo>
                <a:cubicBezTo>
                  <a:pt x="1264426" y="3785923"/>
                  <a:pt x="1249847" y="3783892"/>
                  <a:pt x="1233494" y="3782052"/>
                </a:cubicBezTo>
                <a:cubicBezTo>
                  <a:pt x="1184053" y="3772978"/>
                  <a:pt x="1142796" y="3789991"/>
                  <a:pt x="1104651" y="3819254"/>
                </a:cubicBezTo>
                <a:cubicBezTo>
                  <a:pt x="1097934" y="3823571"/>
                  <a:pt x="1095339" y="3832837"/>
                  <a:pt x="1086656" y="3835568"/>
                </a:cubicBezTo>
                <a:cubicBezTo>
                  <a:pt x="1087477" y="3826491"/>
                  <a:pt x="1088489" y="3819192"/>
                  <a:pt x="1089309" y="3810115"/>
                </a:cubicBezTo>
                <a:cubicBezTo>
                  <a:pt x="1090951" y="3791962"/>
                  <a:pt x="1082708" y="3782060"/>
                  <a:pt x="1066354" y="3780221"/>
                </a:cubicBezTo>
                <a:cubicBezTo>
                  <a:pt x="1011779" y="3773495"/>
                  <a:pt x="957205" y="3766770"/>
                  <a:pt x="902629" y="3760045"/>
                </a:cubicBezTo>
                <a:cubicBezTo>
                  <a:pt x="882727" y="3758586"/>
                  <a:pt x="863396" y="3762460"/>
                  <a:pt x="843113" y="3757446"/>
                </a:cubicBezTo>
                <a:cubicBezTo>
                  <a:pt x="830117" y="3753448"/>
                  <a:pt x="822447" y="3748879"/>
                  <a:pt x="824279" y="3732503"/>
                </a:cubicBezTo>
                <a:cubicBezTo>
                  <a:pt x="823954" y="3712763"/>
                  <a:pt x="808613" y="3703623"/>
                  <a:pt x="791821" y="3714415"/>
                </a:cubicBezTo>
                <a:cubicBezTo>
                  <a:pt x="778387" y="3723047"/>
                  <a:pt x="767548" y="3722414"/>
                  <a:pt x="754362" y="3716638"/>
                </a:cubicBezTo>
                <a:cubicBezTo>
                  <a:pt x="746501" y="3710292"/>
                  <a:pt x="739402" y="3711054"/>
                  <a:pt x="731292" y="3719115"/>
                </a:cubicBezTo>
                <a:cubicBezTo>
                  <a:pt x="723372" y="3728954"/>
                  <a:pt x="712916" y="3731874"/>
                  <a:pt x="701696" y="3727686"/>
                </a:cubicBezTo>
                <a:cubicBezTo>
                  <a:pt x="694407" y="3726670"/>
                  <a:pt x="684961" y="3722291"/>
                  <a:pt x="677862" y="3723053"/>
                </a:cubicBezTo>
                <a:cubicBezTo>
                  <a:pt x="667214" y="3724197"/>
                  <a:pt x="663093" y="3719246"/>
                  <a:pt x="660364" y="3710550"/>
                </a:cubicBezTo>
                <a:cubicBezTo>
                  <a:pt x="653132" y="3693350"/>
                  <a:pt x="649392" y="3691953"/>
                  <a:pt x="632790" y="3704522"/>
                </a:cubicBezTo>
                <a:cubicBezTo>
                  <a:pt x="622906" y="3712774"/>
                  <a:pt x="613211" y="3722803"/>
                  <a:pt x="601171" y="3727691"/>
                </a:cubicBezTo>
                <a:cubicBezTo>
                  <a:pt x="600980" y="3725914"/>
                  <a:pt x="599205" y="3726104"/>
                  <a:pt x="599014" y="3724327"/>
                </a:cubicBezTo>
                <a:cubicBezTo>
                  <a:pt x="612506" y="3699509"/>
                  <a:pt x="612506" y="3699509"/>
                  <a:pt x="595638" y="3676151"/>
                </a:cubicBezTo>
                <a:cubicBezTo>
                  <a:pt x="593482" y="3672787"/>
                  <a:pt x="591325" y="3669424"/>
                  <a:pt x="589360" y="3667837"/>
                </a:cubicBezTo>
                <a:cubicBezTo>
                  <a:pt x="571919" y="3639148"/>
                  <a:pt x="550051" y="3636103"/>
                  <a:pt x="521409" y="3653560"/>
                </a:cubicBezTo>
                <a:cubicBezTo>
                  <a:pt x="506391" y="3664160"/>
                  <a:pt x="495171" y="3659972"/>
                  <a:pt x="491489" y="3642390"/>
                </a:cubicBezTo>
                <a:cubicBezTo>
                  <a:pt x="488760" y="3633695"/>
                  <a:pt x="487806" y="3624808"/>
                  <a:pt x="488627" y="3615731"/>
                </a:cubicBezTo>
                <a:cubicBezTo>
                  <a:pt x="491280" y="3590279"/>
                  <a:pt x="513586" y="3580694"/>
                  <a:pt x="533050" y="3594784"/>
                </a:cubicBezTo>
                <a:cubicBezTo>
                  <a:pt x="548582" y="3605700"/>
                  <a:pt x="563352" y="3609507"/>
                  <a:pt x="579706" y="3611347"/>
                </a:cubicBezTo>
                <a:cubicBezTo>
                  <a:pt x="595868" y="3611410"/>
                  <a:pt x="610638" y="3615217"/>
                  <a:pt x="622621" y="3626515"/>
                </a:cubicBezTo>
                <a:cubicBezTo>
                  <a:pt x="640883" y="3646126"/>
                  <a:pt x="649946" y="3646951"/>
                  <a:pt x="667559" y="3627084"/>
                </a:cubicBezTo>
                <a:cubicBezTo>
                  <a:pt x="680612" y="3614896"/>
                  <a:pt x="692652" y="3610008"/>
                  <a:pt x="710781" y="3611657"/>
                </a:cubicBezTo>
                <a:cubicBezTo>
                  <a:pt x="743297" y="3613560"/>
                  <a:pt x="774992" y="3624539"/>
                  <a:pt x="805924" y="3628408"/>
                </a:cubicBezTo>
                <a:cubicBezTo>
                  <a:pt x="833307" y="3632660"/>
                  <a:pt x="859926" y="3629802"/>
                  <a:pt x="881280" y="3611331"/>
                </a:cubicBezTo>
                <a:cubicBezTo>
                  <a:pt x="892557" y="3599334"/>
                  <a:pt x="900037" y="3602126"/>
                  <a:pt x="911830" y="3611646"/>
                </a:cubicBezTo>
                <a:cubicBezTo>
                  <a:pt x="966862" y="3656074"/>
                  <a:pt x="1026322" y="3674858"/>
                  <a:pt x="1092289" y="3637216"/>
                </a:cubicBezTo>
                <a:cubicBezTo>
                  <a:pt x="1102365" y="3630741"/>
                  <a:pt x="1111619" y="3633343"/>
                  <a:pt x="1120874" y="3635944"/>
                </a:cubicBezTo>
                <a:cubicBezTo>
                  <a:pt x="1126580" y="3638928"/>
                  <a:pt x="1134441" y="3645275"/>
                  <a:pt x="1140968" y="3639181"/>
                </a:cubicBezTo>
                <a:cubicBezTo>
                  <a:pt x="1147303" y="3631310"/>
                  <a:pt x="1141216" y="3624773"/>
                  <a:pt x="1138678" y="3617854"/>
                </a:cubicBezTo>
                <a:cubicBezTo>
                  <a:pt x="1132210" y="3607762"/>
                  <a:pt x="1137151" y="3603636"/>
                  <a:pt x="1147799" y="3602493"/>
                </a:cubicBezTo>
                <a:cubicBezTo>
                  <a:pt x="1158447" y="3601350"/>
                  <a:pt x="1169477" y="3603761"/>
                  <a:pt x="1180315" y="3604396"/>
                </a:cubicBezTo>
                <a:cubicBezTo>
                  <a:pt x="1204149" y="3609028"/>
                  <a:pt x="1224624" y="3615819"/>
                  <a:pt x="1248897" y="3607820"/>
                </a:cubicBezTo>
                <a:cubicBezTo>
                  <a:pt x="1254221" y="3607249"/>
                  <a:pt x="1254602" y="3610802"/>
                  <a:pt x="1256758" y="3614166"/>
                </a:cubicBezTo>
                <a:cubicBezTo>
                  <a:pt x="1263799" y="3629590"/>
                  <a:pt x="1276603" y="3631810"/>
                  <a:pt x="1290800" y="3630287"/>
                </a:cubicBezTo>
                <a:cubicBezTo>
                  <a:pt x="1344231" y="3626349"/>
                  <a:pt x="1398041" y="3625964"/>
                  <a:pt x="1451414" y="3638211"/>
                </a:cubicBezTo>
                <a:cubicBezTo>
                  <a:pt x="1455154" y="3639608"/>
                  <a:pt x="1460478" y="3639037"/>
                  <a:pt x="1465611" y="3636688"/>
                </a:cubicBezTo>
                <a:cubicBezTo>
                  <a:pt x="1480629" y="3626087"/>
                  <a:pt x="1491850" y="3630276"/>
                  <a:pt x="1502631" y="3647095"/>
                </a:cubicBezTo>
                <a:cubicBezTo>
                  <a:pt x="1513412" y="3663915"/>
                  <a:pt x="1524251" y="3664549"/>
                  <a:pt x="1538696" y="3648616"/>
                </a:cubicBezTo>
                <a:cubicBezTo>
                  <a:pt x="1545222" y="3642523"/>
                  <a:pt x="1549973" y="3636619"/>
                  <a:pt x="1556309" y="3628749"/>
                </a:cubicBezTo>
                <a:cubicBezTo>
                  <a:pt x="1564552" y="3638650"/>
                  <a:pt x="1572795" y="3648552"/>
                  <a:pt x="1585218" y="3647218"/>
                </a:cubicBezTo>
                <a:cubicBezTo>
                  <a:pt x="1599415" y="3645693"/>
                  <a:pt x="1613803" y="3645946"/>
                  <a:pt x="1626226" y="3644613"/>
                </a:cubicBezTo>
                <a:cubicBezTo>
                  <a:pt x="1637809" y="3643819"/>
                  <a:pt x="1646852" y="3643410"/>
                  <a:pt x="1653958" y="3642451"/>
                </a:cubicBezTo>
                <a:lnTo>
                  <a:pt x="1663302" y="3639280"/>
                </a:lnTo>
                <a:lnTo>
                  <a:pt x="1642423" y="3628380"/>
                </a:lnTo>
                <a:cubicBezTo>
                  <a:pt x="1635814" y="3622682"/>
                  <a:pt x="1629901" y="3615085"/>
                  <a:pt x="1624993" y="3605702"/>
                </a:cubicBezTo>
                <a:cubicBezTo>
                  <a:pt x="1617853" y="3589614"/>
                  <a:pt x="1607145" y="3575316"/>
                  <a:pt x="1591081" y="3564590"/>
                </a:cubicBezTo>
                <a:cubicBezTo>
                  <a:pt x="1576802" y="3553866"/>
                  <a:pt x="1562524" y="3543141"/>
                  <a:pt x="1553599" y="3527054"/>
                </a:cubicBezTo>
                <a:cubicBezTo>
                  <a:pt x="1542890" y="3544929"/>
                  <a:pt x="1553599" y="3566378"/>
                  <a:pt x="1542890" y="3584253"/>
                </a:cubicBezTo>
                <a:cubicBezTo>
                  <a:pt x="1526826" y="3561016"/>
                  <a:pt x="1526826" y="3561016"/>
                  <a:pt x="1501839" y="3573527"/>
                </a:cubicBezTo>
                <a:cubicBezTo>
                  <a:pt x="1491130" y="3577103"/>
                  <a:pt x="1483991" y="3578890"/>
                  <a:pt x="1473282" y="3573527"/>
                </a:cubicBezTo>
                <a:cubicBezTo>
                  <a:pt x="1444724" y="3561016"/>
                  <a:pt x="1416167" y="3552079"/>
                  <a:pt x="1387610" y="3543141"/>
                </a:cubicBezTo>
                <a:cubicBezTo>
                  <a:pt x="1300152" y="3514543"/>
                  <a:pt x="1210911" y="3496668"/>
                  <a:pt x="1125238" y="3462707"/>
                </a:cubicBezTo>
                <a:cubicBezTo>
                  <a:pt x="1118099" y="3460920"/>
                  <a:pt x="1107390" y="3460920"/>
                  <a:pt x="1107390" y="3451983"/>
                </a:cubicBezTo>
                <a:cubicBezTo>
                  <a:pt x="1106497" y="3447514"/>
                  <a:pt x="1108282" y="3444386"/>
                  <a:pt x="1110960" y="3441705"/>
                </a:cubicBezTo>
                <a:lnTo>
                  <a:pt x="1113146" y="3439843"/>
                </a:lnTo>
                <a:lnTo>
                  <a:pt x="1100269" y="3444006"/>
                </a:lnTo>
                <a:cubicBezTo>
                  <a:pt x="1071435" y="3459685"/>
                  <a:pt x="1062372" y="3458861"/>
                  <a:pt x="1039988" y="3434297"/>
                </a:cubicBezTo>
                <a:cubicBezTo>
                  <a:pt x="1031746" y="3424396"/>
                  <a:pt x="1022109" y="3418240"/>
                  <a:pt x="1011461" y="3419384"/>
                </a:cubicBezTo>
                <a:cubicBezTo>
                  <a:pt x="974003" y="3421606"/>
                  <a:pt x="938758" y="3411009"/>
                  <a:pt x="903895" y="3403965"/>
                </a:cubicBezTo>
                <a:cubicBezTo>
                  <a:pt x="872581" y="3396541"/>
                  <a:pt x="841459" y="3390894"/>
                  <a:pt x="810088" y="3399655"/>
                </a:cubicBezTo>
                <a:cubicBezTo>
                  <a:pt x="797856" y="3402766"/>
                  <a:pt x="790375" y="3399973"/>
                  <a:pt x="784098" y="3391658"/>
                </a:cubicBezTo>
                <a:cubicBezTo>
                  <a:pt x="775854" y="3381757"/>
                  <a:pt x="765645" y="3370269"/>
                  <a:pt x="751830" y="3375348"/>
                </a:cubicBezTo>
                <a:cubicBezTo>
                  <a:pt x="722425" y="3385695"/>
                  <a:pt x="696244" y="3375922"/>
                  <a:pt x="672659" y="3356881"/>
                </a:cubicBezTo>
                <a:cubicBezTo>
                  <a:pt x="637472" y="3330098"/>
                  <a:pt x="597286" y="3323626"/>
                  <a:pt x="556029" y="3340639"/>
                </a:cubicBezTo>
                <a:cubicBezTo>
                  <a:pt x="540439" y="3345908"/>
                  <a:pt x="534734" y="3342925"/>
                  <a:pt x="533017" y="3326930"/>
                </a:cubicBezTo>
                <a:cubicBezTo>
                  <a:pt x="532444" y="3321599"/>
                  <a:pt x="531872" y="3316267"/>
                  <a:pt x="529715" y="3312903"/>
                </a:cubicBezTo>
                <a:cubicBezTo>
                  <a:pt x="502639" y="3278058"/>
                  <a:pt x="475752" y="3244991"/>
                  <a:pt x="426883" y="3241248"/>
                </a:cubicBezTo>
                <a:cubicBezTo>
                  <a:pt x="416044" y="3240614"/>
                  <a:pt x="417246" y="3235092"/>
                  <a:pt x="420033" y="3227602"/>
                </a:cubicBezTo>
                <a:cubicBezTo>
                  <a:pt x="421426" y="3223857"/>
                  <a:pt x="424593" y="3219921"/>
                  <a:pt x="427761" y="3215986"/>
                </a:cubicBezTo>
                <a:cubicBezTo>
                  <a:pt x="434096" y="3208115"/>
                  <a:pt x="440623" y="3202022"/>
                  <a:pt x="432379" y="3192120"/>
                </a:cubicBezTo>
                <a:cubicBezTo>
                  <a:pt x="425911" y="3182028"/>
                  <a:pt x="417801" y="3190090"/>
                  <a:pt x="409118" y="3192820"/>
                </a:cubicBezTo>
                <a:cubicBezTo>
                  <a:pt x="391944" y="3200056"/>
                  <a:pt x="372996" y="3207483"/>
                  <a:pt x="357654" y="3198345"/>
                </a:cubicBezTo>
                <a:cubicBezTo>
                  <a:pt x="338572" y="3187809"/>
                  <a:pt x="330271" y="3194093"/>
                  <a:pt x="319375" y="3209645"/>
                </a:cubicBezTo>
                <a:cubicBezTo>
                  <a:pt x="316207" y="3213580"/>
                  <a:pt x="313039" y="3217516"/>
                  <a:pt x="307906" y="3219865"/>
                </a:cubicBezTo>
                <a:cubicBezTo>
                  <a:pt x="303155" y="3225767"/>
                  <a:pt x="298022" y="3228116"/>
                  <a:pt x="290160" y="3221770"/>
                </a:cubicBezTo>
                <a:cubicBezTo>
                  <a:pt x="284263" y="3217009"/>
                  <a:pt x="283500" y="3209901"/>
                  <a:pt x="288252" y="3203997"/>
                </a:cubicBezTo>
                <a:cubicBezTo>
                  <a:pt x="292813" y="3196317"/>
                  <a:pt x="293824" y="3189018"/>
                  <a:pt x="300350" y="3182924"/>
                </a:cubicBezTo>
                <a:cubicBezTo>
                  <a:pt x="303709" y="3180766"/>
                  <a:pt x="307068" y="3178608"/>
                  <a:pt x="304720" y="3173466"/>
                </a:cubicBezTo>
                <a:cubicBezTo>
                  <a:pt x="302564" y="3170102"/>
                  <a:pt x="297431" y="3172451"/>
                  <a:pt x="293882" y="3172832"/>
                </a:cubicBezTo>
                <a:cubicBezTo>
                  <a:pt x="288558" y="3173404"/>
                  <a:pt x="285009" y="3173785"/>
                  <a:pt x="281841" y="3177720"/>
                </a:cubicBezTo>
                <a:cubicBezTo>
                  <a:pt x="278673" y="3181656"/>
                  <a:pt x="275124" y="3182037"/>
                  <a:pt x="271193" y="3178863"/>
                </a:cubicBezTo>
                <a:cubicBezTo>
                  <a:pt x="249573" y="3161410"/>
                  <a:pt x="225549" y="3155001"/>
                  <a:pt x="199120" y="3159635"/>
                </a:cubicBezTo>
                <a:cubicBezTo>
                  <a:pt x="186889" y="3162746"/>
                  <a:pt x="174466" y="3164079"/>
                  <a:pt x="161853" y="3163635"/>
                </a:cubicBezTo>
                <a:cubicBezTo>
                  <a:pt x="154754" y="3164398"/>
                  <a:pt x="144106" y="3165541"/>
                  <a:pt x="139603" y="3157036"/>
                </a:cubicBezTo>
                <a:cubicBezTo>
                  <a:pt x="137065" y="3150118"/>
                  <a:pt x="145366" y="3143834"/>
                  <a:pt x="150118" y="3137930"/>
                </a:cubicBezTo>
                <a:cubicBezTo>
                  <a:pt x="153286" y="3133995"/>
                  <a:pt x="156644" y="3131837"/>
                  <a:pt x="159812" y="3127901"/>
                </a:cubicBezTo>
                <a:cubicBezTo>
                  <a:pt x="162980" y="3123966"/>
                  <a:pt x="171471" y="3119459"/>
                  <a:pt x="167159" y="3112731"/>
                </a:cubicBezTo>
                <a:cubicBezTo>
                  <a:pt x="164621" y="3105813"/>
                  <a:pt x="155748" y="3106765"/>
                  <a:pt x="148840" y="3109304"/>
                </a:cubicBezTo>
                <a:cubicBezTo>
                  <a:pt x="132868" y="3111019"/>
                  <a:pt x="120064" y="3108798"/>
                  <a:pt x="103329" y="3103403"/>
                </a:cubicBezTo>
                <a:cubicBezTo>
                  <a:pt x="65929" y="3089442"/>
                  <a:pt x="47362" y="3100424"/>
                  <a:pt x="36980" y="3137492"/>
                </a:cubicBezTo>
                <a:cubicBezTo>
                  <a:pt x="33182" y="3152281"/>
                  <a:pt x="25072" y="3160343"/>
                  <a:pt x="10684" y="3160090"/>
                </a:cubicBezTo>
                <a:cubicBezTo>
                  <a:pt x="7059" y="3126323"/>
                  <a:pt x="3625" y="3094333"/>
                  <a:pt x="0" y="3060566"/>
                </a:cubicBezTo>
                <a:cubicBezTo>
                  <a:pt x="24655" y="3056121"/>
                  <a:pt x="29025" y="3046664"/>
                  <a:pt x="20209" y="3031431"/>
                </a:cubicBezTo>
                <a:cubicBezTo>
                  <a:pt x="17862" y="3026290"/>
                  <a:pt x="10382" y="3023497"/>
                  <a:pt x="13359" y="3017784"/>
                </a:cubicBezTo>
                <a:cubicBezTo>
                  <a:pt x="18110" y="3011881"/>
                  <a:pt x="25400" y="3012897"/>
                  <a:pt x="30914" y="3014102"/>
                </a:cubicBezTo>
                <a:cubicBezTo>
                  <a:pt x="36238" y="3013531"/>
                  <a:pt x="39978" y="3014927"/>
                  <a:pt x="43719" y="3016323"/>
                </a:cubicBezTo>
                <a:cubicBezTo>
                  <a:pt x="54747" y="3018734"/>
                  <a:pt x="59880" y="3016386"/>
                  <a:pt x="60320" y="3003755"/>
                </a:cubicBezTo>
                <a:cubicBezTo>
                  <a:pt x="61331" y="2996455"/>
                  <a:pt x="65510" y="2985221"/>
                  <a:pt x="74956" y="2989600"/>
                </a:cubicBezTo>
                <a:cubicBezTo>
                  <a:pt x="87951" y="2993597"/>
                  <a:pt x="100373" y="2992264"/>
                  <a:pt x="112987" y="2992707"/>
                </a:cubicBezTo>
                <a:cubicBezTo>
                  <a:pt x="123825" y="2993342"/>
                  <a:pt x="136630" y="2995563"/>
                  <a:pt x="148670" y="2990674"/>
                </a:cubicBezTo>
                <a:cubicBezTo>
                  <a:pt x="158936" y="2985977"/>
                  <a:pt x="170977" y="2981089"/>
                  <a:pt x="160196" y="2964270"/>
                </a:cubicBezTo>
                <a:cubicBezTo>
                  <a:pt x="156074" y="2959319"/>
                  <a:pt x="159242" y="2955384"/>
                  <a:pt x="166150" y="2952844"/>
                </a:cubicBezTo>
                <a:cubicBezTo>
                  <a:pt x="192770" y="2949987"/>
                  <a:pt x="202406" y="2956142"/>
                  <a:pt x="207043" y="2982610"/>
                </a:cubicBezTo>
                <a:cubicBezTo>
                  <a:pt x="207997" y="2991497"/>
                  <a:pt x="210534" y="2998414"/>
                  <a:pt x="218014" y="3001207"/>
                </a:cubicBezTo>
                <a:cubicBezTo>
                  <a:pt x="231009" y="3005205"/>
                  <a:pt x="243814" y="3007426"/>
                  <a:pt x="257629" y="3002347"/>
                </a:cubicBezTo>
                <a:cubicBezTo>
                  <a:pt x="261178" y="3001966"/>
                  <a:pt x="262190" y="2994667"/>
                  <a:pt x="260034" y="2991303"/>
                </a:cubicBezTo>
                <a:cubicBezTo>
                  <a:pt x="259461" y="2985971"/>
                  <a:pt x="258698" y="2978863"/>
                  <a:pt x="261866" y="2974927"/>
                </a:cubicBezTo>
                <a:cubicBezTo>
                  <a:pt x="266618" y="2969024"/>
                  <a:pt x="272380" y="2955821"/>
                  <a:pt x="278849" y="2965914"/>
                </a:cubicBezTo>
                <a:cubicBezTo>
                  <a:pt x="295144" y="2983938"/>
                  <a:pt x="312891" y="2982033"/>
                  <a:pt x="332412" y="2979938"/>
                </a:cubicBezTo>
                <a:cubicBezTo>
                  <a:pt x="343251" y="2980572"/>
                  <a:pt x="354090" y="2981206"/>
                  <a:pt x="363917" y="2989140"/>
                </a:cubicBezTo>
                <a:cubicBezTo>
                  <a:pt x="401068" y="3017509"/>
                  <a:pt x="427498" y="3012875"/>
                  <a:pt x="448145" y="2971109"/>
                </a:cubicBezTo>
                <a:cubicBezTo>
                  <a:pt x="454099" y="2959683"/>
                  <a:pt x="462591" y="2955177"/>
                  <a:pt x="472609" y="2964887"/>
                </a:cubicBezTo>
                <a:cubicBezTo>
                  <a:pt x="496194" y="2983927"/>
                  <a:pt x="523577" y="2988179"/>
                  <a:pt x="552161" y="2986908"/>
                </a:cubicBezTo>
                <a:cubicBezTo>
                  <a:pt x="566550" y="2987161"/>
                  <a:pt x="580556" y="2983859"/>
                  <a:pt x="596719" y="2983922"/>
                </a:cubicBezTo>
                <a:cubicBezTo>
                  <a:pt x="623720" y="2984619"/>
                  <a:pt x="646790" y="2982142"/>
                  <a:pt x="654003" y="2949009"/>
                </a:cubicBezTo>
                <a:cubicBezTo>
                  <a:pt x="655339" y="2961450"/>
                  <a:pt x="654518" y="2970526"/>
                  <a:pt x="660987" y="2980618"/>
                </a:cubicBezTo>
                <a:cubicBezTo>
                  <a:pt x="667837" y="2994264"/>
                  <a:pt x="680832" y="2998262"/>
                  <a:pt x="693255" y="2996929"/>
                </a:cubicBezTo>
                <a:cubicBezTo>
                  <a:pt x="707261" y="2993627"/>
                  <a:pt x="697052" y="2982139"/>
                  <a:pt x="698064" y="2974840"/>
                </a:cubicBezTo>
                <a:cubicBezTo>
                  <a:pt x="698694" y="2963986"/>
                  <a:pt x="705029" y="2956115"/>
                  <a:pt x="716249" y="2960304"/>
                </a:cubicBezTo>
                <a:cubicBezTo>
                  <a:pt x="731210" y="2965888"/>
                  <a:pt x="743632" y="2964555"/>
                  <a:pt x="759413" y="2961063"/>
                </a:cubicBezTo>
                <a:cubicBezTo>
                  <a:pt x="778361" y="2953636"/>
                  <a:pt x="797883" y="2951540"/>
                  <a:pt x="817155" y="2963853"/>
                </a:cubicBezTo>
                <a:cubicBezTo>
                  <a:pt x="828757" y="2971596"/>
                  <a:pt x="839215" y="2968676"/>
                  <a:pt x="847134" y="2958837"/>
                </a:cubicBezTo>
                <a:cubicBezTo>
                  <a:pt x="851885" y="2952933"/>
                  <a:pt x="856637" y="2947031"/>
                  <a:pt x="859804" y="2943095"/>
                </a:cubicBezTo>
                <a:cubicBezTo>
                  <a:pt x="867915" y="2935034"/>
                  <a:pt x="871902" y="2922022"/>
                  <a:pt x="882932" y="2924432"/>
                </a:cubicBezTo>
                <a:cubicBezTo>
                  <a:pt x="893961" y="2926844"/>
                  <a:pt x="893522" y="2939476"/>
                  <a:pt x="894476" y="2948362"/>
                </a:cubicBezTo>
                <a:cubicBezTo>
                  <a:pt x="895430" y="2957247"/>
                  <a:pt x="902147" y="2952930"/>
                  <a:pt x="907662" y="2954136"/>
                </a:cubicBezTo>
                <a:cubicBezTo>
                  <a:pt x="912986" y="2953565"/>
                  <a:pt x="918310" y="2952993"/>
                  <a:pt x="915772" y="2946075"/>
                </a:cubicBezTo>
                <a:cubicBezTo>
                  <a:pt x="912948" y="2936491"/>
                  <a:pt x="914055" y="2930080"/>
                  <a:pt x="917841" y="2925629"/>
                </a:cubicBezTo>
                <a:lnTo>
                  <a:pt x="932848" y="2918441"/>
                </a:lnTo>
                <a:lnTo>
                  <a:pt x="921767" y="2908605"/>
                </a:lnTo>
                <a:cubicBezTo>
                  <a:pt x="917305" y="2905030"/>
                  <a:pt x="915520" y="2901008"/>
                  <a:pt x="915297" y="2896763"/>
                </a:cubicBezTo>
                <a:lnTo>
                  <a:pt x="917496" y="2886768"/>
                </a:lnTo>
                <a:lnTo>
                  <a:pt x="853305" y="2872110"/>
                </a:lnTo>
                <a:cubicBezTo>
                  <a:pt x="828039" y="2868755"/>
                  <a:pt x="802321" y="2867471"/>
                  <a:pt x="776303" y="2867567"/>
                </a:cubicBezTo>
                <a:cubicBezTo>
                  <a:pt x="734913" y="2866618"/>
                  <a:pt x="696692" y="2861732"/>
                  <a:pt x="660112" y="2838694"/>
                </a:cubicBezTo>
                <a:cubicBezTo>
                  <a:pt x="638874" y="2824794"/>
                  <a:pt x="622387" y="2804993"/>
                  <a:pt x="607484" y="2783222"/>
                </a:cubicBezTo>
                <a:cubicBezTo>
                  <a:pt x="597351" y="2805882"/>
                  <a:pt x="588669" y="2808612"/>
                  <a:pt x="569014" y="2792745"/>
                </a:cubicBezTo>
                <a:cubicBezTo>
                  <a:pt x="563118" y="2787985"/>
                  <a:pt x="558615" y="2779480"/>
                  <a:pt x="559436" y="2770403"/>
                </a:cubicBezTo>
                <a:cubicBezTo>
                  <a:pt x="559493" y="2754218"/>
                  <a:pt x="546498" y="2750219"/>
                  <a:pt x="533885" y="2749776"/>
                </a:cubicBezTo>
                <a:cubicBezTo>
                  <a:pt x="521081" y="2747555"/>
                  <a:pt x="516711" y="2757013"/>
                  <a:pt x="512342" y="2766470"/>
                </a:cubicBezTo>
                <a:cubicBezTo>
                  <a:pt x="509746" y="2775738"/>
                  <a:pt x="510891" y="2786401"/>
                  <a:pt x="501388" y="2798207"/>
                </a:cubicBezTo>
                <a:cubicBezTo>
                  <a:pt x="504422" y="2776309"/>
                  <a:pt x="493202" y="2772120"/>
                  <a:pt x="478623" y="2770090"/>
                </a:cubicBezTo>
                <a:cubicBezTo>
                  <a:pt x="466010" y="2769646"/>
                  <a:pt x="450859" y="2762285"/>
                  <a:pt x="451489" y="2751431"/>
                </a:cubicBezTo>
                <a:cubicBezTo>
                  <a:pt x="452939" y="2731500"/>
                  <a:pt x="452615" y="2711760"/>
                  <a:pt x="463321" y="2694432"/>
                </a:cubicBezTo>
                <a:cubicBezTo>
                  <a:pt x="469466" y="2684784"/>
                  <a:pt x="476372" y="2682244"/>
                  <a:pt x="488986" y="2682688"/>
                </a:cubicBezTo>
                <a:cubicBezTo>
                  <a:pt x="498241" y="2685290"/>
                  <a:pt x="502172" y="2688463"/>
                  <a:pt x="501542" y="2699317"/>
                </a:cubicBezTo>
                <a:cubicBezTo>
                  <a:pt x="502305" y="2706426"/>
                  <a:pt x="508010" y="2709409"/>
                  <a:pt x="513334" y="2708837"/>
                </a:cubicBezTo>
                <a:cubicBezTo>
                  <a:pt x="534439" y="2704774"/>
                  <a:pt x="548007" y="2714104"/>
                  <a:pt x="561765" y="2725211"/>
                </a:cubicBezTo>
                <a:cubicBezTo>
                  <a:pt x="575332" y="2734541"/>
                  <a:pt x="589911" y="2736570"/>
                  <a:pt x="600998" y="2722797"/>
                </a:cubicBezTo>
                <a:cubicBezTo>
                  <a:pt x="608917" y="2712958"/>
                  <a:pt x="612847" y="2716131"/>
                  <a:pt x="612218" y="2726985"/>
                </a:cubicBezTo>
                <a:cubicBezTo>
                  <a:pt x="612981" y="2734094"/>
                  <a:pt x="616720" y="2735490"/>
                  <a:pt x="624201" y="2738283"/>
                </a:cubicBezTo>
                <a:cubicBezTo>
                  <a:pt x="655514" y="2745707"/>
                  <a:pt x="687458" y="2742278"/>
                  <a:pt x="716483" y="2728376"/>
                </a:cubicBezTo>
                <a:cubicBezTo>
                  <a:pt x="731690" y="2719553"/>
                  <a:pt x="747662" y="2717837"/>
                  <a:pt x="764016" y="2719678"/>
                </a:cubicBezTo>
                <a:cubicBezTo>
                  <a:pt x="778595" y="2721708"/>
                  <a:pt x="791971" y="2729260"/>
                  <a:pt x="803573" y="2737003"/>
                </a:cubicBezTo>
                <a:cubicBezTo>
                  <a:pt x="809469" y="2741764"/>
                  <a:pt x="813782" y="2748492"/>
                  <a:pt x="822083" y="2742207"/>
                </a:cubicBezTo>
                <a:cubicBezTo>
                  <a:pt x="830384" y="2735922"/>
                  <a:pt x="829620" y="2728814"/>
                  <a:pt x="826892" y="2720119"/>
                </a:cubicBezTo>
                <a:cubicBezTo>
                  <a:pt x="824354" y="2713200"/>
                  <a:pt x="820232" y="2708250"/>
                  <a:pt x="821244" y="2700950"/>
                </a:cubicBezTo>
                <a:cubicBezTo>
                  <a:pt x="819145" y="2681400"/>
                  <a:pt x="809318" y="2673467"/>
                  <a:pt x="791190" y="2671818"/>
                </a:cubicBezTo>
                <a:cubicBezTo>
                  <a:pt x="758483" y="2668138"/>
                  <a:pt x="729135" y="2662300"/>
                  <a:pt x="697822" y="2654876"/>
                </a:cubicBezTo>
                <a:cubicBezTo>
                  <a:pt x="679121" y="2647895"/>
                  <a:pt x="676393" y="2639199"/>
                  <a:pt x="687288" y="2623648"/>
                </a:cubicBezTo>
                <a:cubicBezTo>
                  <a:pt x="689064" y="2623458"/>
                  <a:pt x="688872" y="2621680"/>
                  <a:pt x="688682" y="2619903"/>
                </a:cubicBezTo>
                <a:cubicBezTo>
                  <a:pt x="690323" y="2601750"/>
                  <a:pt x="701600" y="2589753"/>
                  <a:pt x="713069" y="2579533"/>
                </a:cubicBezTo>
                <a:cubicBezTo>
                  <a:pt x="721179" y="2571472"/>
                  <a:pt x="725110" y="2574645"/>
                  <a:pt x="727648" y="2581563"/>
                </a:cubicBezTo>
                <a:cubicBezTo>
                  <a:pt x="732914" y="2597177"/>
                  <a:pt x="724804" y="2605239"/>
                  <a:pt x="710798" y="2608541"/>
                </a:cubicBezTo>
                <a:cubicBezTo>
                  <a:pt x="715301" y="2617046"/>
                  <a:pt x="721388" y="2623583"/>
                  <a:pt x="730261" y="2622630"/>
                </a:cubicBezTo>
                <a:cubicBezTo>
                  <a:pt x="735585" y="2622058"/>
                  <a:pt x="736597" y="2614759"/>
                  <a:pt x="737799" y="2609237"/>
                </a:cubicBezTo>
                <a:cubicBezTo>
                  <a:pt x="742036" y="2581816"/>
                  <a:pt x="748562" y="2575723"/>
                  <a:pt x="775373" y="2574642"/>
                </a:cubicBezTo>
                <a:cubicBezTo>
                  <a:pt x="800599" y="2575529"/>
                  <a:pt x="827219" y="2572672"/>
                  <a:pt x="851682" y="2566450"/>
                </a:cubicBezTo>
                <a:cubicBezTo>
                  <a:pt x="884828" y="2557499"/>
                  <a:pt x="892690" y="2563846"/>
                  <a:pt x="890991" y="2598184"/>
                </a:cubicBezTo>
                <a:cubicBezTo>
                  <a:pt x="891182" y="2599962"/>
                  <a:pt x="891372" y="2601739"/>
                  <a:pt x="891563" y="2603516"/>
                </a:cubicBezTo>
                <a:cubicBezTo>
                  <a:pt x="890361" y="2609038"/>
                  <a:pt x="885800" y="2616719"/>
                  <a:pt x="895055" y="2619321"/>
                </a:cubicBezTo>
                <a:cubicBezTo>
                  <a:pt x="904119" y="2620145"/>
                  <a:pt x="913374" y="2622748"/>
                  <a:pt x="917553" y="2611512"/>
                </a:cubicBezTo>
                <a:cubicBezTo>
                  <a:pt x="920338" y="2604022"/>
                  <a:pt x="923315" y="2598309"/>
                  <a:pt x="924328" y="2591010"/>
                </a:cubicBezTo>
                <a:cubicBezTo>
                  <a:pt x="930281" y="2579584"/>
                  <a:pt x="937188" y="2577046"/>
                  <a:pt x="948600" y="2583011"/>
                </a:cubicBezTo>
                <a:cubicBezTo>
                  <a:pt x="959820" y="2587200"/>
                  <a:pt x="958999" y="2596276"/>
                  <a:pt x="952664" y="2604147"/>
                </a:cubicBezTo>
                <a:cubicBezTo>
                  <a:pt x="951270" y="2607893"/>
                  <a:pt x="949687" y="2609860"/>
                  <a:pt x="948295" y="2613605"/>
                </a:cubicBezTo>
                <a:cubicBezTo>
                  <a:pt x="945126" y="2617541"/>
                  <a:pt x="945699" y="2622873"/>
                  <a:pt x="949629" y="2626046"/>
                </a:cubicBezTo>
                <a:cubicBezTo>
                  <a:pt x="955335" y="2629028"/>
                  <a:pt x="956537" y="2623506"/>
                  <a:pt x="959895" y="2621348"/>
                </a:cubicBezTo>
                <a:cubicBezTo>
                  <a:pt x="966422" y="2615255"/>
                  <a:pt x="970983" y="2607574"/>
                  <a:pt x="973578" y="2598307"/>
                </a:cubicBezTo>
                <a:cubicBezTo>
                  <a:pt x="983520" y="2573869"/>
                  <a:pt x="993787" y="2569171"/>
                  <a:pt x="1018193" y="2579135"/>
                </a:cubicBezTo>
                <a:cubicBezTo>
                  <a:pt x="1029413" y="2583325"/>
                  <a:pt x="1040824" y="2589290"/>
                  <a:pt x="1052044" y="2593478"/>
                </a:cubicBezTo>
                <a:cubicBezTo>
                  <a:pt x="1059524" y="2596271"/>
                  <a:pt x="1068588" y="2597095"/>
                  <a:pt x="1074732" y="2587447"/>
                </a:cubicBezTo>
                <a:cubicBezTo>
                  <a:pt x="1082461" y="2575832"/>
                  <a:pt x="1086449" y="2562820"/>
                  <a:pt x="1104387" y="2562692"/>
                </a:cubicBezTo>
                <a:cubicBezTo>
                  <a:pt x="1115225" y="2563326"/>
                  <a:pt x="1121942" y="2559009"/>
                  <a:pt x="1131579" y="2565166"/>
                </a:cubicBezTo>
                <a:cubicBezTo>
                  <a:pt x="1179952" y="2597724"/>
                  <a:pt x="1230595" y="2601276"/>
                  <a:pt x="1284464" y="2584707"/>
                </a:cubicBezTo>
                <a:cubicBezTo>
                  <a:pt x="1293146" y="2581977"/>
                  <a:pt x="1300435" y="2582992"/>
                  <a:pt x="1308107" y="2587561"/>
                </a:cubicBezTo>
                <a:cubicBezTo>
                  <a:pt x="1325795" y="2601842"/>
                  <a:pt x="1345507" y="2601524"/>
                  <a:pt x="1366422" y="2595683"/>
                </a:cubicBezTo>
                <a:cubicBezTo>
                  <a:pt x="1395828" y="2585335"/>
                  <a:pt x="1421493" y="2573592"/>
                  <a:pt x="1446586" y="2556516"/>
                </a:cubicBezTo>
                <a:cubicBezTo>
                  <a:pt x="1458246" y="2548074"/>
                  <a:pt x="1469905" y="2539631"/>
                  <a:pt x="1484293" y="2539884"/>
                </a:cubicBezTo>
                <a:cubicBezTo>
                  <a:pt x="1531578" y="2545594"/>
                  <a:pt x="1581268" y="2540260"/>
                  <a:pt x="1626340" y="2558792"/>
                </a:cubicBezTo>
                <a:cubicBezTo>
                  <a:pt x="1635786" y="2563171"/>
                  <a:pt x="1642694" y="2560631"/>
                  <a:pt x="1650803" y="2552570"/>
                </a:cubicBezTo>
                <a:cubicBezTo>
                  <a:pt x="1653971" y="2548634"/>
                  <a:pt x="1657139" y="2544699"/>
                  <a:pt x="1660497" y="2542541"/>
                </a:cubicBezTo>
                <a:cubicBezTo>
                  <a:pt x="1669179" y="2539810"/>
                  <a:pt x="1667023" y="2536447"/>
                  <a:pt x="1664676" y="2531306"/>
                </a:cubicBezTo>
                <a:cubicBezTo>
                  <a:pt x="1659982" y="2521024"/>
                  <a:pt x="1652311" y="2516454"/>
                  <a:pt x="1641663" y="2517597"/>
                </a:cubicBezTo>
                <a:cubicBezTo>
                  <a:pt x="1629241" y="2518930"/>
                  <a:pt x="1622773" y="2508839"/>
                  <a:pt x="1623403" y="2497985"/>
                </a:cubicBezTo>
                <a:cubicBezTo>
                  <a:pt x="1624223" y="2488908"/>
                  <a:pt x="1635253" y="2491320"/>
                  <a:pt x="1642542" y="2492335"/>
                </a:cubicBezTo>
                <a:cubicBezTo>
                  <a:pt x="1662444" y="2493794"/>
                  <a:pt x="1669485" y="2509217"/>
                  <a:pt x="1676335" y="2522863"/>
                </a:cubicBezTo>
                <a:cubicBezTo>
                  <a:pt x="1706523" y="2569958"/>
                  <a:pt x="1750831" y="2581381"/>
                  <a:pt x="1797850" y="2551166"/>
                </a:cubicBezTo>
                <a:cubicBezTo>
                  <a:pt x="1809700" y="2544500"/>
                  <a:pt x="1821741" y="2539612"/>
                  <a:pt x="1834354" y="2540055"/>
                </a:cubicBezTo>
                <a:cubicBezTo>
                  <a:pt x="1843228" y="2539103"/>
                  <a:pt x="1846968" y="2540499"/>
                  <a:pt x="1847922" y="2549386"/>
                </a:cubicBezTo>
                <a:cubicBezTo>
                  <a:pt x="1851413" y="2565190"/>
                  <a:pt x="1857310" y="2569950"/>
                  <a:pt x="1872709" y="2562903"/>
                </a:cubicBezTo>
                <a:cubicBezTo>
                  <a:pt x="1901925" y="2550779"/>
                  <a:pt x="1930318" y="2547731"/>
                  <a:pt x="1960487" y="2544492"/>
                </a:cubicBezTo>
                <a:cubicBezTo>
                  <a:pt x="2008594" y="2541125"/>
                  <a:pt x="2051814" y="2525699"/>
                  <a:pt x="2085266" y="2486154"/>
                </a:cubicBezTo>
                <a:cubicBezTo>
                  <a:pt x="2085266" y="2486154"/>
                  <a:pt x="2087232" y="2487741"/>
                  <a:pt x="2087423" y="2489518"/>
                </a:cubicBezTo>
                <a:cubicBezTo>
                  <a:pt x="2086220" y="2495040"/>
                  <a:pt x="2083243" y="2500753"/>
                  <a:pt x="2082232" y="2508052"/>
                </a:cubicBezTo>
                <a:cubicBezTo>
                  <a:pt x="2080400" y="2524428"/>
                  <a:pt x="2084712" y="2531156"/>
                  <a:pt x="2101066" y="2532995"/>
                </a:cubicBezTo>
                <a:cubicBezTo>
                  <a:pt x="2120968" y="2534455"/>
                  <a:pt x="2125911" y="2530329"/>
                  <a:pt x="2125587" y="2510589"/>
                </a:cubicBezTo>
                <a:cubicBezTo>
                  <a:pt x="2125014" y="2505257"/>
                  <a:pt x="2120320" y="2494974"/>
                  <a:pt x="2130967" y="2493831"/>
                </a:cubicBezTo>
                <a:cubicBezTo>
                  <a:pt x="2146749" y="2490340"/>
                  <a:pt x="2158922" y="2503415"/>
                  <a:pt x="2153350" y="2518394"/>
                </a:cubicBezTo>
                <a:cubicBezTo>
                  <a:pt x="2148980" y="2527852"/>
                  <a:pt x="2151327" y="2532993"/>
                  <a:pt x="2162357" y="2535404"/>
                </a:cubicBezTo>
                <a:cubicBezTo>
                  <a:pt x="2186381" y="2541814"/>
                  <a:pt x="2210596" y="2550000"/>
                  <a:pt x="2233418" y="2561932"/>
                </a:cubicBezTo>
                <a:cubicBezTo>
                  <a:pt x="2252310" y="2570690"/>
                  <a:pt x="2272022" y="2570372"/>
                  <a:pt x="2290207" y="2555835"/>
                </a:cubicBezTo>
                <a:cubicBezTo>
                  <a:pt x="2294958" y="2549932"/>
                  <a:pt x="2301866" y="2547393"/>
                  <a:pt x="2310739" y="2546440"/>
                </a:cubicBezTo>
                <a:cubicBezTo>
                  <a:pt x="2325127" y="2546694"/>
                  <a:pt x="2339515" y="2546947"/>
                  <a:pt x="2353903" y="2547200"/>
                </a:cubicBezTo>
                <a:cubicBezTo>
                  <a:pt x="2364551" y="2546057"/>
                  <a:pt x="2373997" y="2550436"/>
                  <a:pt x="2378882" y="2562495"/>
                </a:cubicBezTo>
                <a:cubicBezTo>
                  <a:pt x="2381992" y="2574746"/>
                  <a:pt x="2389281" y="2575761"/>
                  <a:pt x="2399548" y="2571063"/>
                </a:cubicBezTo>
                <a:cubicBezTo>
                  <a:pt x="2408230" y="2568334"/>
                  <a:pt x="2418686" y="2565412"/>
                  <a:pt x="2427370" y="2562683"/>
                </a:cubicBezTo>
                <a:cubicBezTo>
                  <a:pt x="2448093" y="2555065"/>
                  <a:pt x="2459179" y="2541291"/>
                  <a:pt x="2460439" y="2519584"/>
                </a:cubicBezTo>
                <a:cubicBezTo>
                  <a:pt x="2461451" y="2512284"/>
                  <a:pt x="2460687" y="2505175"/>
                  <a:pt x="2461699" y="2497876"/>
                </a:cubicBezTo>
                <a:cubicBezTo>
                  <a:pt x="2472747" y="2550620"/>
                  <a:pt x="2512743" y="2555315"/>
                  <a:pt x="2554323" y="2558043"/>
                </a:cubicBezTo>
                <a:cubicBezTo>
                  <a:pt x="2567126" y="2560263"/>
                  <a:pt x="2575427" y="2553979"/>
                  <a:pt x="2583537" y="2545917"/>
                </a:cubicBezTo>
                <a:cubicBezTo>
                  <a:pt x="2591647" y="2537857"/>
                  <a:pt x="2594243" y="2528589"/>
                  <a:pt x="2589549" y="2518308"/>
                </a:cubicBezTo>
                <a:cubicBezTo>
                  <a:pt x="2585046" y="2509802"/>
                  <a:pt x="2576745" y="2516086"/>
                  <a:pt x="2569646" y="2516848"/>
                </a:cubicBezTo>
                <a:cubicBezTo>
                  <a:pt x="2564322" y="2517419"/>
                  <a:pt x="2555640" y="2520150"/>
                  <a:pt x="2552911" y="2511454"/>
                </a:cubicBezTo>
                <a:cubicBezTo>
                  <a:pt x="2550373" y="2504535"/>
                  <a:pt x="2552969" y="2495269"/>
                  <a:pt x="2559686" y="2490952"/>
                </a:cubicBezTo>
                <a:cubicBezTo>
                  <a:pt x="2566212" y="2484858"/>
                  <a:pt x="2575085" y="2483906"/>
                  <a:pt x="2582184" y="2483144"/>
                </a:cubicBezTo>
                <a:cubicBezTo>
                  <a:pt x="2591057" y="2482191"/>
                  <a:pt x="2599931" y="2481239"/>
                  <a:pt x="2604491" y="2473558"/>
                </a:cubicBezTo>
                <a:cubicBezTo>
                  <a:pt x="2594282" y="2462070"/>
                  <a:pt x="2579513" y="2458263"/>
                  <a:pt x="2567090" y="2459596"/>
                </a:cubicBezTo>
                <a:cubicBezTo>
                  <a:pt x="2529441" y="2460043"/>
                  <a:pt x="2494388" y="2451222"/>
                  <a:pt x="2459334" y="2442401"/>
                </a:cubicBezTo>
                <a:cubicBezTo>
                  <a:pt x="2435310" y="2435991"/>
                  <a:pt x="2412239" y="2438468"/>
                  <a:pt x="2390695" y="2455163"/>
                </a:cubicBezTo>
                <a:cubicBezTo>
                  <a:pt x="2384170" y="2461257"/>
                  <a:pt x="2376879" y="2460242"/>
                  <a:pt x="2369018" y="2453895"/>
                </a:cubicBezTo>
                <a:cubicBezTo>
                  <a:pt x="2355069" y="2441010"/>
                  <a:pt x="2338144" y="2433839"/>
                  <a:pt x="2321218" y="2426667"/>
                </a:cubicBezTo>
                <a:cubicBezTo>
                  <a:pt x="2311963" y="2424066"/>
                  <a:pt x="2303090" y="2425019"/>
                  <a:pt x="2294789" y="2431303"/>
                </a:cubicBezTo>
                <a:cubicBezTo>
                  <a:pt x="2278187" y="2443871"/>
                  <a:pt x="2259048" y="2449521"/>
                  <a:pt x="2238954" y="2446285"/>
                </a:cubicBezTo>
                <a:cubicBezTo>
                  <a:pt x="2220636" y="2442859"/>
                  <a:pt x="2202317" y="2439432"/>
                  <a:pt x="2185773" y="2435815"/>
                </a:cubicBezTo>
                <a:cubicBezTo>
                  <a:pt x="2172778" y="2431817"/>
                  <a:pt x="2165870" y="2434356"/>
                  <a:pt x="2165622" y="2448764"/>
                </a:cubicBezTo>
                <a:cubicBezTo>
                  <a:pt x="2164801" y="2457841"/>
                  <a:pt x="2161824" y="2463553"/>
                  <a:pt x="2152951" y="2464506"/>
                </a:cubicBezTo>
                <a:cubicBezTo>
                  <a:pt x="2133620" y="2468379"/>
                  <a:pt x="2127342" y="2460064"/>
                  <a:pt x="2130759" y="2441721"/>
                </a:cubicBezTo>
                <a:cubicBezTo>
                  <a:pt x="2135186" y="2416078"/>
                  <a:pt x="2129290" y="2411317"/>
                  <a:pt x="2104445" y="2413985"/>
                </a:cubicBezTo>
                <a:cubicBezTo>
                  <a:pt x="2088473" y="2415700"/>
                  <a:pt x="2072693" y="2419192"/>
                  <a:pt x="2058686" y="2422493"/>
                </a:cubicBezTo>
                <a:cubicBezTo>
                  <a:pt x="2035616" y="2424969"/>
                  <a:pt x="2014701" y="2430810"/>
                  <a:pt x="1992452" y="2424210"/>
                </a:cubicBezTo>
                <a:cubicBezTo>
                  <a:pt x="1979647" y="2421989"/>
                  <a:pt x="1970202" y="2417610"/>
                  <a:pt x="1971843" y="2399457"/>
                </a:cubicBezTo>
                <a:cubicBezTo>
                  <a:pt x="1974057" y="2386635"/>
                  <a:pt x="1965814" y="2376734"/>
                  <a:pt x="1951617" y="2378258"/>
                </a:cubicBezTo>
                <a:cubicBezTo>
                  <a:pt x="1907060" y="2381244"/>
                  <a:pt x="1866301" y="2369440"/>
                  <a:pt x="1825351" y="2355859"/>
                </a:cubicBezTo>
                <a:cubicBezTo>
                  <a:pt x="1793846" y="2346658"/>
                  <a:pt x="1775910" y="2346785"/>
                  <a:pt x="1759632" y="2379094"/>
                </a:cubicBezTo>
                <a:cubicBezTo>
                  <a:pt x="1757857" y="2379284"/>
                  <a:pt x="1756082" y="2379475"/>
                  <a:pt x="1756082" y="2379475"/>
                </a:cubicBezTo>
                <a:cubicBezTo>
                  <a:pt x="1748412" y="2374905"/>
                  <a:pt x="1755568" y="2357958"/>
                  <a:pt x="1744920" y="2359101"/>
                </a:cubicBezTo>
                <a:cubicBezTo>
                  <a:pt x="1736047" y="2360053"/>
                  <a:pt x="1730093" y="2371478"/>
                  <a:pt x="1725723" y="2380937"/>
                </a:cubicBezTo>
                <a:cubicBezTo>
                  <a:pt x="1724139" y="2382904"/>
                  <a:pt x="1722746" y="2386649"/>
                  <a:pt x="1721162" y="2388617"/>
                </a:cubicBezTo>
                <a:cubicBezTo>
                  <a:pt x="1715399" y="2401819"/>
                  <a:pt x="1711411" y="2414831"/>
                  <a:pt x="1709197" y="2427653"/>
                </a:cubicBezTo>
                <a:cubicBezTo>
                  <a:pt x="1706602" y="2436920"/>
                  <a:pt x="1699694" y="2439459"/>
                  <a:pt x="1690439" y="2436857"/>
                </a:cubicBezTo>
                <a:cubicBezTo>
                  <a:pt x="1684734" y="2433875"/>
                  <a:pt x="1677063" y="2429305"/>
                  <a:pt x="1679849" y="2421815"/>
                </a:cubicBezTo>
                <a:cubicBezTo>
                  <a:pt x="1693340" y="2396997"/>
                  <a:pt x="1682177" y="2376622"/>
                  <a:pt x="1672789" y="2356058"/>
                </a:cubicBezTo>
                <a:cubicBezTo>
                  <a:pt x="1667904" y="2343998"/>
                  <a:pt x="1663782" y="2339048"/>
                  <a:pt x="1654280" y="2350855"/>
                </a:cubicBezTo>
                <a:cubicBezTo>
                  <a:pt x="1638060" y="2366977"/>
                  <a:pt x="1616955" y="2371041"/>
                  <a:pt x="1597815" y="2376691"/>
                </a:cubicBezTo>
                <a:cubicBezTo>
                  <a:pt x="1590907" y="2379230"/>
                  <a:pt x="1585583" y="2379802"/>
                  <a:pt x="1583236" y="2374661"/>
                </a:cubicBezTo>
                <a:cubicBezTo>
                  <a:pt x="1570299" y="2354477"/>
                  <a:pt x="1550396" y="2353018"/>
                  <a:pt x="1530494" y="2351559"/>
                </a:cubicBezTo>
                <a:cubicBezTo>
                  <a:pt x="1512175" y="2348133"/>
                  <a:pt x="1494047" y="2346484"/>
                  <a:pt x="1483457" y="2331441"/>
                </a:cubicBezTo>
                <a:cubicBezTo>
                  <a:pt x="1478954" y="2322936"/>
                  <a:pt x="1475404" y="2323317"/>
                  <a:pt x="1466722" y="2326047"/>
                </a:cubicBezTo>
                <a:cubicBezTo>
                  <a:pt x="1435732" y="2338362"/>
                  <a:pt x="1405564" y="2341601"/>
                  <a:pt x="1376845" y="2324909"/>
                </a:cubicBezTo>
                <a:cubicBezTo>
                  <a:pt x="1365434" y="2318943"/>
                  <a:pt x="1358336" y="2319706"/>
                  <a:pt x="1348260" y="2326181"/>
                </a:cubicBezTo>
                <a:cubicBezTo>
                  <a:pt x="1326335" y="2339320"/>
                  <a:pt x="1303264" y="2341797"/>
                  <a:pt x="1278477" y="2328278"/>
                </a:cubicBezTo>
                <a:cubicBezTo>
                  <a:pt x="1272581" y="2323519"/>
                  <a:pt x="1267065" y="2322313"/>
                  <a:pt x="1260349" y="2326630"/>
                </a:cubicBezTo>
                <a:cubicBezTo>
                  <a:pt x="1231325" y="2340532"/>
                  <a:pt x="1177952" y="2328284"/>
                  <a:pt x="1159118" y="2303341"/>
                </a:cubicBezTo>
                <a:cubicBezTo>
                  <a:pt x="1146447" y="2319082"/>
                  <a:pt x="1128893" y="2322765"/>
                  <a:pt x="1112348" y="2319148"/>
                </a:cubicBezTo>
                <a:cubicBezTo>
                  <a:pt x="1088324" y="2312738"/>
                  <a:pt x="1063288" y="2313629"/>
                  <a:pt x="1038252" y="2314519"/>
                </a:cubicBezTo>
                <a:cubicBezTo>
                  <a:pt x="1004153" y="2314584"/>
                  <a:pt x="983487" y="2306016"/>
                  <a:pt x="970607" y="2269647"/>
                </a:cubicBezTo>
                <a:cubicBezTo>
                  <a:pt x="970226" y="2266093"/>
                  <a:pt x="968260" y="2264506"/>
                  <a:pt x="967879" y="2260952"/>
                </a:cubicBezTo>
                <a:cubicBezTo>
                  <a:pt x="962994" y="2248892"/>
                  <a:pt x="955705" y="2247877"/>
                  <a:pt x="947785" y="2257716"/>
                </a:cubicBezTo>
                <a:cubicBezTo>
                  <a:pt x="941450" y="2265586"/>
                  <a:pt x="935114" y="2273458"/>
                  <a:pt x="927004" y="2281519"/>
                </a:cubicBezTo>
                <a:cubicBezTo>
                  <a:pt x="897923" y="2311606"/>
                  <a:pt x="861476" y="2306531"/>
                  <a:pt x="837948" y="2271305"/>
                </a:cubicBezTo>
                <a:cubicBezTo>
                  <a:pt x="829133" y="2256072"/>
                  <a:pt x="816958" y="2242997"/>
                  <a:pt x="799842" y="2234048"/>
                </a:cubicBezTo>
                <a:cubicBezTo>
                  <a:pt x="784500" y="2224909"/>
                  <a:pt x="769158" y="2215770"/>
                  <a:pt x="758568" y="2200728"/>
                </a:cubicBezTo>
                <a:cubicBezTo>
                  <a:pt x="749828" y="2219643"/>
                  <a:pt x="762765" y="2239826"/>
                  <a:pt x="754025" y="2258742"/>
                </a:cubicBezTo>
                <a:cubicBezTo>
                  <a:pt x="735573" y="2237353"/>
                  <a:pt x="735573" y="2237353"/>
                  <a:pt x="712064" y="2252461"/>
                </a:cubicBezTo>
                <a:cubicBezTo>
                  <a:pt x="701798" y="2257157"/>
                  <a:pt x="694890" y="2259697"/>
                  <a:pt x="683670" y="2255509"/>
                </a:cubicBezTo>
                <a:cubicBezTo>
                  <a:pt x="653940" y="2246116"/>
                  <a:pt x="624591" y="2240278"/>
                  <a:pt x="595244" y="2234441"/>
                </a:cubicBezTo>
                <a:cubicBezTo>
                  <a:pt x="505233" y="2215341"/>
                  <a:pt x="414593" y="2207093"/>
                  <a:pt x="325785" y="2182472"/>
                </a:cubicBezTo>
                <a:cubicBezTo>
                  <a:pt x="318496" y="2181456"/>
                  <a:pt x="307849" y="2182599"/>
                  <a:pt x="306894" y="2173713"/>
                </a:cubicBezTo>
                <a:cubicBezTo>
                  <a:pt x="304165" y="2165018"/>
                  <a:pt x="312657" y="2160511"/>
                  <a:pt x="317409" y="2154607"/>
                </a:cubicBezTo>
                <a:cubicBezTo>
                  <a:pt x="322351" y="2150481"/>
                  <a:pt x="329068" y="2146165"/>
                  <a:pt x="324756" y="2139437"/>
                </a:cubicBezTo>
                <a:cubicBezTo>
                  <a:pt x="322027" y="2130741"/>
                  <a:pt x="314547" y="2127950"/>
                  <a:pt x="307257" y="2126933"/>
                </a:cubicBezTo>
                <a:cubicBezTo>
                  <a:pt x="301933" y="2127506"/>
                  <a:pt x="296609" y="2128077"/>
                  <a:pt x="291286" y="2128649"/>
                </a:cubicBezTo>
                <a:cubicBezTo>
                  <a:pt x="266250" y="2129539"/>
                  <a:pt x="250527" y="2116845"/>
                  <a:pt x="247856" y="2091964"/>
                </a:cubicBezTo>
                <a:cubicBezTo>
                  <a:pt x="246902" y="2083077"/>
                  <a:pt x="245948" y="2074192"/>
                  <a:pt x="248544" y="2064925"/>
                </a:cubicBezTo>
                <a:cubicBezTo>
                  <a:pt x="249174" y="2054071"/>
                  <a:pt x="241502" y="2049501"/>
                  <a:pt x="231235" y="2054199"/>
                </a:cubicBezTo>
                <a:cubicBezTo>
                  <a:pt x="212287" y="2061626"/>
                  <a:pt x="204940" y="2076796"/>
                  <a:pt x="209386" y="2101487"/>
                </a:cubicBezTo>
                <a:cubicBezTo>
                  <a:pt x="195437" y="2088603"/>
                  <a:pt x="185228" y="2077115"/>
                  <a:pt x="178378" y="2063469"/>
                </a:cubicBezTo>
                <a:cubicBezTo>
                  <a:pt x="171528" y="2049823"/>
                  <a:pt x="173418" y="2017261"/>
                  <a:pt x="184696" y="2005264"/>
                </a:cubicBezTo>
                <a:cubicBezTo>
                  <a:pt x="199331" y="1991109"/>
                  <a:pt x="216257" y="1998281"/>
                  <a:pt x="229443" y="2004056"/>
                </a:cubicBezTo>
                <a:cubicBezTo>
                  <a:pt x="248334" y="2012814"/>
                  <a:pt x="268618" y="2017827"/>
                  <a:pt x="289914" y="2015541"/>
                </a:cubicBezTo>
                <a:cubicBezTo>
                  <a:pt x="302337" y="2014207"/>
                  <a:pt x="316534" y="2012683"/>
                  <a:pt x="330731" y="2011159"/>
                </a:cubicBezTo>
                <a:cubicBezTo>
                  <a:pt x="389294" y="2004872"/>
                  <a:pt x="447037" y="2007662"/>
                  <a:pt x="497756" y="2045362"/>
                </a:cubicBezTo>
                <a:cubicBezTo>
                  <a:pt x="517219" y="2059452"/>
                  <a:pt x="527295" y="2052977"/>
                  <a:pt x="533879" y="2030697"/>
                </a:cubicBezTo>
                <a:cubicBezTo>
                  <a:pt x="535272" y="2026953"/>
                  <a:pt x="531150" y="2022002"/>
                  <a:pt x="536283" y="2019653"/>
                </a:cubicBezTo>
                <a:cubicBezTo>
                  <a:pt x="541607" y="2019082"/>
                  <a:pt x="545538" y="2022255"/>
                  <a:pt x="547694" y="2025619"/>
                </a:cubicBezTo>
                <a:cubicBezTo>
                  <a:pt x="549851" y="2028983"/>
                  <a:pt x="552007" y="2032347"/>
                  <a:pt x="553972" y="2033933"/>
                </a:cubicBezTo>
                <a:cubicBezTo>
                  <a:pt x="560250" y="2042248"/>
                  <a:pt x="568112" y="2048595"/>
                  <a:pt x="576031" y="2038756"/>
                </a:cubicBezTo>
                <a:cubicBezTo>
                  <a:pt x="585725" y="2028727"/>
                  <a:pt x="571337" y="2028474"/>
                  <a:pt x="567216" y="2023523"/>
                </a:cubicBezTo>
                <a:cubicBezTo>
                  <a:pt x="567025" y="2021746"/>
                  <a:pt x="565250" y="2021937"/>
                  <a:pt x="565059" y="2020159"/>
                </a:cubicBezTo>
                <a:cubicBezTo>
                  <a:pt x="561128" y="2016986"/>
                  <a:pt x="558781" y="2011845"/>
                  <a:pt x="561949" y="2007909"/>
                </a:cubicBezTo>
                <a:cubicBezTo>
                  <a:pt x="564926" y="2002197"/>
                  <a:pt x="568475" y="2001816"/>
                  <a:pt x="574181" y="2004798"/>
                </a:cubicBezTo>
                <a:cubicBezTo>
                  <a:pt x="596621" y="2013176"/>
                  <a:pt x="615379" y="2003971"/>
                  <a:pt x="627477" y="1982898"/>
                </a:cubicBezTo>
                <a:cubicBezTo>
                  <a:pt x="630645" y="1978962"/>
                  <a:pt x="637362" y="1974645"/>
                  <a:pt x="636790" y="1969314"/>
                </a:cubicBezTo>
                <a:cubicBezTo>
                  <a:pt x="634691" y="1949765"/>
                  <a:pt x="613071" y="1932311"/>
                  <a:pt x="595706" y="1937771"/>
                </a:cubicBezTo>
                <a:cubicBezTo>
                  <a:pt x="560976" y="1948690"/>
                  <a:pt x="526686" y="1946978"/>
                  <a:pt x="491251" y="1934602"/>
                </a:cubicBezTo>
                <a:cubicBezTo>
                  <a:pt x="478447" y="1932382"/>
                  <a:pt x="465643" y="1930161"/>
                  <a:pt x="455949" y="1940190"/>
                </a:cubicBezTo>
                <a:cubicBezTo>
                  <a:pt x="447648" y="1946474"/>
                  <a:pt x="443908" y="1945078"/>
                  <a:pt x="440988" y="1934605"/>
                </a:cubicBezTo>
                <a:cubicBezTo>
                  <a:pt x="437687" y="1920579"/>
                  <a:pt x="427860" y="1912645"/>
                  <a:pt x="413281" y="1910615"/>
                </a:cubicBezTo>
                <a:cubicBezTo>
                  <a:pt x="398512" y="1906807"/>
                  <a:pt x="381968" y="1903189"/>
                  <a:pt x="365424" y="1899573"/>
                </a:cubicBezTo>
                <a:cubicBezTo>
                  <a:pt x="350845" y="1897542"/>
                  <a:pt x="344377" y="1887451"/>
                  <a:pt x="344625" y="1873043"/>
                </a:cubicBezTo>
                <a:cubicBezTo>
                  <a:pt x="344434" y="1871266"/>
                  <a:pt x="344053" y="1867711"/>
                  <a:pt x="345446" y="1863966"/>
                </a:cubicBezTo>
                <a:cubicBezTo>
                  <a:pt x="344492" y="1855080"/>
                  <a:pt x="338405" y="1848542"/>
                  <a:pt x="329531" y="1849496"/>
                </a:cubicBezTo>
                <a:cubicBezTo>
                  <a:pt x="322242" y="1848480"/>
                  <a:pt x="323196" y="1857366"/>
                  <a:pt x="323959" y="1864475"/>
                </a:cubicBezTo>
                <a:cubicBezTo>
                  <a:pt x="322948" y="1871774"/>
                  <a:pt x="323711" y="1878883"/>
                  <a:pt x="313254" y="1881804"/>
                </a:cubicBezTo>
                <a:cubicBezTo>
                  <a:pt x="297282" y="1883518"/>
                  <a:pt x="281177" y="1867270"/>
                  <a:pt x="283009" y="1850894"/>
                </a:cubicBezTo>
                <a:cubicBezTo>
                  <a:pt x="282437" y="1845563"/>
                  <a:pt x="285604" y="1841627"/>
                  <a:pt x="281483" y="1836676"/>
                </a:cubicBezTo>
                <a:cubicBezTo>
                  <a:pt x="276159" y="1837247"/>
                  <a:pt x="276731" y="1842579"/>
                  <a:pt x="273372" y="1844738"/>
                </a:cubicBezTo>
                <a:cubicBezTo>
                  <a:pt x="265644" y="1856354"/>
                  <a:pt x="258546" y="1857116"/>
                  <a:pt x="250112" y="1845437"/>
                </a:cubicBezTo>
                <a:cubicBezTo>
                  <a:pt x="239139" y="1826841"/>
                  <a:pt x="223416" y="1814146"/>
                  <a:pt x="207884" y="1803230"/>
                </a:cubicBezTo>
                <a:cubicBezTo>
                  <a:pt x="190195" y="1788950"/>
                  <a:pt x="174090" y="1772702"/>
                  <a:pt x="169644" y="1748012"/>
                </a:cubicBezTo>
                <a:cubicBezTo>
                  <a:pt x="166915" y="1739317"/>
                  <a:pt x="162222" y="1729034"/>
                  <a:pt x="152967" y="1726432"/>
                </a:cubicBezTo>
                <a:cubicBezTo>
                  <a:pt x="115566" y="1712470"/>
                  <a:pt x="100339" y="1670960"/>
                  <a:pt x="64331" y="1653253"/>
                </a:cubicBezTo>
                <a:cubicBezTo>
                  <a:pt x="54695" y="1647097"/>
                  <a:pt x="55516" y="1638020"/>
                  <a:pt x="58111" y="1628754"/>
                </a:cubicBezTo>
                <a:cubicBezTo>
                  <a:pt x="62481" y="1619295"/>
                  <a:pt x="71927" y="1623675"/>
                  <a:pt x="77823" y="1628435"/>
                </a:cubicBezTo>
                <a:cubicBezTo>
                  <a:pt x="89425" y="1636178"/>
                  <a:pt x="99882" y="1633258"/>
                  <a:pt x="109766" y="1625005"/>
                </a:cubicBezTo>
                <a:cubicBezTo>
                  <a:pt x="121235" y="1614786"/>
                  <a:pt x="135050" y="1609707"/>
                  <a:pt x="151022" y="1607993"/>
                </a:cubicBezTo>
                <a:cubicBezTo>
                  <a:pt x="177833" y="1606912"/>
                  <a:pt x="194129" y="1624938"/>
                  <a:pt x="189701" y="1650580"/>
                </a:cubicBezTo>
                <a:cubicBezTo>
                  <a:pt x="188499" y="1656103"/>
                  <a:pt x="187487" y="1663402"/>
                  <a:pt x="188060" y="1668734"/>
                </a:cubicBezTo>
                <a:cubicBezTo>
                  <a:pt x="188250" y="1670511"/>
                  <a:pt x="186666" y="1672479"/>
                  <a:pt x="186666" y="1672479"/>
                </a:cubicBezTo>
                <a:cubicBezTo>
                  <a:pt x="188441" y="1672288"/>
                  <a:pt x="188441" y="1672288"/>
                  <a:pt x="190025" y="1670320"/>
                </a:cubicBezTo>
                <a:cubicBezTo>
                  <a:pt x="197124" y="1669559"/>
                  <a:pt x="202447" y="1668986"/>
                  <a:pt x="209737" y="1670002"/>
                </a:cubicBezTo>
                <a:cubicBezTo>
                  <a:pt x="244409" y="1675269"/>
                  <a:pt x="254485" y="1668794"/>
                  <a:pt x="261507" y="1633883"/>
                </a:cubicBezTo>
                <a:cubicBezTo>
                  <a:pt x="263339" y="1617507"/>
                  <a:pt x="273606" y="1612811"/>
                  <a:pt x="289959" y="1614650"/>
                </a:cubicBezTo>
                <a:cubicBezTo>
                  <a:pt x="302572" y="1615094"/>
                  <a:pt x="310434" y="1621441"/>
                  <a:pt x="318868" y="1633119"/>
                </a:cubicBezTo>
                <a:cubicBezTo>
                  <a:pt x="342205" y="1666567"/>
                  <a:pt x="374854" y="1686432"/>
                  <a:pt x="416624" y="1690937"/>
                </a:cubicBezTo>
                <a:cubicBezTo>
                  <a:pt x="451488" y="1697980"/>
                  <a:pt x="451488" y="1697980"/>
                  <a:pt x="440573" y="1663198"/>
                </a:cubicBezTo>
                <a:cubicBezTo>
                  <a:pt x="434925" y="1644030"/>
                  <a:pt x="437521" y="1634762"/>
                  <a:pt x="452730" y="1625939"/>
                </a:cubicBezTo>
                <a:cubicBezTo>
                  <a:pt x="460915" y="1652026"/>
                  <a:pt x="466812" y="1656786"/>
                  <a:pt x="493622" y="1655705"/>
                </a:cubicBezTo>
                <a:cubicBezTo>
                  <a:pt x="511368" y="1653800"/>
                  <a:pt x="530317" y="1646373"/>
                  <a:pt x="544647" y="1662811"/>
                </a:cubicBezTo>
                <a:cubicBezTo>
                  <a:pt x="544838" y="1664589"/>
                  <a:pt x="546613" y="1664398"/>
                  <a:pt x="548387" y="1664208"/>
                </a:cubicBezTo>
                <a:cubicBezTo>
                  <a:pt x="568920" y="1654813"/>
                  <a:pt x="577851" y="1637674"/>
                  <a:pt x="577145" y="1614380"/>
                </a:cubicBezTo>
                <a:cubicBezTo>
                  <a:pt x="575810" y="1601940"/>
                  <a:pt x="574474" y="1589500"/>
                  <a:pt x="588099" y="1582643"/>
                </a:cubicBezTo>
                <a:cubicBezTo>
                  <a:pt x="589683" y="1580676"/>
                  <a:pt x="594625" y="1576550"/>
                  <a:pt x="595198" y="1581882"/>
                </a:cubicBezTo>
                <a:cubicBezTo>
                  <a:pt x="598499" y="1595909"/>
                  <a:pt x="611111" y="1596353"/>
                  <a:pt x="622331" y="1600541"/>
                </a:cubicBezTo>
                <a:cubicBezTo>
                  <a:pt x="635326" y="1604539"/>
                  <a:pt x="643379" y="1612663"/>
                  <a:pt x="643130" y="1627071"/>
                </a:cubicBezTo>
                <a:cubicBezTo>
                  <a:pt x="643073" y="1643257"/>
                  <a:pt x="651507" y="1654935"/>
                  <a:pt x="666467" y="1660520"/>
                </a:cubicBezTo>
                <a:cubicBezTo>
                  <a:pt x="679844" y="1668072"/>
                  <a:pt x="691694" y="1661407"/>
                  <a:pt x="703163" y="1651188"/>
                </a:cubicBezTo>
                <a:cubicBezTo>
                  <a:pt x="712666" y="1639381"/>
                  <a:pt x="716978" y="1646109"/>
                  <a:pt x="718123" y="1656772"/>
                </a:cubicBezTo>
                <a:cubicBezTo>
                  <a:pt x="719840" y="1672767"/>
                  <a:pt x="729286" y="1677146"/>
                  <a:pt x="743101" y="1672068"/>
                </a:cubicBezTo>
                <a:cubicBezTo>
                  <a:pt x="746651" y="1671686"/>
                  <a:pt x="750200" y="1671306"/>
                  <a:pt x="753559" y="1669148"/>
                </a:cubicBezTo>
                <a:cubicBezTo>
                  <a:pt x="769148" y="1663879"/>
                  <a:pt x="781761" y="1664322"/>
                  <a:pt x="790768" y="1681332"/>
                </a:cubicBezTo>
                <a:cubicBezTo>
                  <a:pt x="801358" y="1696374"/>
                  <a:pt x="818284" y="1703545"/>
                  <a:pt x="834447" y="1703608"/>
                </a:cubicBezTo>
                <a:cubicBezTo>
                  <a:pt x="847251" y="1705829"/>
                  <a:pt x="861448" y="1704305"/>
                  <a:pt x="855800" y="1685137"/>
                </a:cubicBezTo>
                <a:cubicBezTo>
                  <a:pt x="855228" y="1679805"/>
                  <a:pt x="856239" y="1672506"/>
                  <a:pt x="857442" y="1666983"/>
                </a:cubicBezTo>
                <a:cubicBezTo>
                  <a:pt x="856106" y="1654543"/>
                  <a:pt x="860094" y="1641531"/>
                  <a:pt x="851851" y="1631630"/>
                </a:cubicBezTo>
                <a:cubicBezTo>
                  <a:pt x="830041" y="1612399"/>
                  <a:pt x="829144" y="1587327"/>
                  <a:pt x="826283" y="1560669"/>
                </a:cubicBezTo>
                <a:cubicBezTo>
                  <a:pt x="839467" y="1566444"/>
                  <a:pt x="852653" y="1572219"/>
                  <a:pt x="866850" y="1570696"/>
                </a:cubicBezTo>
                <a:cubicBezTo>
                  <a:pt x="884406" y="1567013"/>
                  <a:pt x="900950" y="1570630"/>
                  <a:pt x="916292" y="1579770"/>
                </a:cubicBezTo>
                <a:cubicBezTo>
                  <a:pt x="929669" y="1587322"/>
                  <a:pt x="944629" y="1592907"/>
                  <a:pt x="959589" y="1598492"/>
                </a:cubicBezTo>
                <a:cubicBezTo>
                  <a:pt x="1002886" y="1617214"/>
                  <a:pt x="1049351" y="1632000"/>
                  <a:pt x="1090053" y="1659989"/>
                </a:cubicBezTo>
                <a:cubicBezTo>
                  <a:pt x="1099689" y="1666146"/>
                  <a:pt x="1104631" y="1662019"/>
                  <a:pt x="1107227" y="1652752"/>
                </a:cubicBezTo>
                <a:cubicBezTo>
                  <a:pt x="1108620" y="1649007"/>
                  <a:pt x="1109632" y="1641708"/>
                  <a:pt x="1116921" y="1642723"/>
                </a:cubicBezTo>
                <a:cubicBezTo>
                  <a:pt x="1122435" y="1643929"/>
                  <a:pt x="1123199" y="1651038"/>
                  <a:pt x="1123579" y="1654592"/>
                </a:cubicBezTo>
                <a:cubicBezTo>
                  <a:pt x="1126309" y="1663287"/>
                  <a:pt x="1128847" y="1670206"/>
                  <a:pt x="1136136" y="1671221"/>
                </a:cubicBezTo>
                <a:cubicBezTo>
                  <a:pt x="1145200" y="1672045"/>
                  <a:pt x="1153061" y="1678393"/>
                  <a:pt x="1162125" y="1679217"/>
                </a:cubicBezTo>
                <a:cubicBezTo>
                  <a:pt x="1174929" y="1681438"/>
                  <a:pt x="1177467" y="1688356"/>
                  <a:pt x="1173288" y="1699591"/>
                </a:cubicBezTo>
                <a:cubicBezTo>
                  <a:pt x="1162583" y="1716919"/>
                  <a:pt x="1177162" y="1718950"/>
                  <a:pt x="1188572" y="1724916"/>
                </a:cubicBezTo>
                <a:cubicBezTo>
                  <a:pt x="1203723" y="1732277"/>
                  <a:pt x="1202197" y="1718060"/>
                  <a:pt x="1204983" y="1710570"/>
                </a:cubicBezTo>
                <a:cubicBezTo>
                  <a:pt x="1206376" y="1706825"/>
                  <a:pt x="1205995" y="1703271"/>
                  <a:pt x="1211319" y="1702700"/>
                </a:cubicBezTo>
                <a:cubicBezTo>
                  <a:pt x="1215822" y="1711205"/>
                  <a:pt x="1222100" y="1719519"/>
                  <a:pt x="1225019" y="1729992"/>
                </a:cubicBezTo>
                <a:cubicBezTo>
                  <a:pt x="1229332" y="1736720"/>
                  <a:pt x="1235228" y="1741479"/>
                  <a:pt x="1242326" y="1740718"/>
                </a:cubicBezTo>
                <a:cubicBezTo>
                  <a:pt x="1251200" y="1739765"/>
                  <a:pt x="1250246" y="1730879"/>
                  <a:pt x="1251448" y="1725356"/>
                </a:cubicBezTo>
                <a:cubicBezTo>
                  <a:pt x="1261830" y="1688288"/>
                  <a:pt x="1282172" y="1677116"/>
                  <a:pt x="1319190" y="1687523"/>
                </a:cubicBezTo>
                <a:cubicBezTo>
                  <a:pt x="1326670" y="1690316"/>
                  <a:pt x="1333960" y="1691331"/>
                  <a:pt x="1339856" y="1696091"/>
                </a:cubicBezTo>
                <a:cubicBezTo>
                  <a:pt x="1371742" y="1708847"/>
                  <a:pt x="1398934" y="1711321"/>
                  <a:pt x="1420535" y="1678441"/>
                </a:cubicBezTo>
                <a:cubicBezTo>
                  <a:pt x="1420535" y="1678441"/>
                  <a:pt x="1422310" y="1678251"/>
                  <a:pt x="1422119" y="1676474"/>
                </a:cubicBezTo>
                <a:cubicBezTo>
                  <a:pt x="1430611" y="1671966"/>
                  <a:pt x="1437519" y="1669428"/>
                  <a:pt x="1446964" y="1673806"/>
                </a:cubicBezTo>
                <a:cubicBezTo>
                  <a:pt x="1450704" y="1675202"/>
                  <a:pt x="1454635" y="1678376"/>
                  <a:pt x="1453433" y="1683898"/>
                </a:cubicBezTo>
                <a:cubicBezTo>
                  <a:pt x="1452612" y="1692975"/>
                  <a:pt x="1443930" y="1695704"/>
                  <a:pt x="1437023" y="1698244"/>
                </a:cubicBezTo>
                <a:cubicBezTo>
                  <a:pt x="1431698" y="1698815"/>
                  <a:pt x="1424790" y="1701355"/>
                  <a:pt x="1425362" y="1706686"/>
                </a:cubicBezTo>
                <a:cubicBezTo>
                  <a:pt x="1424352" y="1713985"/>
                  <a:pt x="1433033" y="1711256"/>
                  <a:pt x="1436964" y="1714429"/>
                </a:cubicBezTo>
                <a:cubicBezTo>
                  <a:pt x="1446219" y="1717031"/>
                  <a:pt x="1455283" y="1717856"/>
                  <a:pt x="1464538" y="1720458"/>
                </a:cubicBezTo>
                <a:cubicBezTo>
                  <a:pt x="1477342" y="1722679"/>
                  <a:pt x="1488562" y="1726867"/>
                  <a:pt x="1496806" y="1736768"/>
                </a:cubicBezTo>
                <a:cubicBezTo>
                  <a:pt x="1502893" y="1743306"/>
                  <a:pt x="1508217" y="1742734"/>
                  <a:pt x="1516708" y="1738227"/>
                </a:cubicBezTo>
                <a:cubicBezTo>
                  <a:pt x="1540600" y="1726674"/>
                  <a:pt x="1557144" y="1730290"/>
                  <a:pt x="1575405" y="1749903"/>
                </a:cubicBezTo>
                <a:cubicBezTo>
                  <a:pt x="1585422" y="1759614"/>
                  <a:pt x="1592082" y="1771483"/>
                  <a:pt x="1600516" y="1783161"/>
                </a:cubicBezTo>
                <a:cubicBezTo>
                  <a:pt x="1610915" y="1796426"/>
                  <a:pt x="1624292" y="1803978"/>
                  <a:pt x="1640836" y="1807596"/>
                </a:cubicBezTo>
                <a:cubicBezTo>
                  <a:pt x="1659155" y="1811022"/>
                  <a:pt x="1667647" y="1806515"/>
                  <a:pt x="1674421" y="1786013"/>
                </a:cubicBezTo>
                <a:cubicBezTo>
                  <a:pt x="1681005" y="1763734"/>
                  <a:pt x="1693237" y="1760623"/>
                  <a:pt x="1714094" y="1770968"/>
                </a:cubicBezTo>
                <a:cubicBezTo>
                  <a:pt x="1721574" y="1773760"/>
                  <a:pt x="1725504" y="1776933"/>
                  <a:pt x="1734186" y="1774204"/>
                </a:cubicBezTo>
                <a:cubicBezTo>
                  <a:pt x="1754719" y="1764809"/>
                  <a:pt x="1754719" y="1764809"/>
                  <a:pt x="1757199" y="1787913"/>
                </a:cubicBezTo>
                <a:cubicBezTo>
                  <a:pt x="1755806" y="1791658"/>
                  <a:pt x="1755997" y="1793435"/>
                  <a:pt x="1758153" y="1796799"/>
                </a:cubicBezTo>
                <a:cubicBezTo>
                  <a:pt x="1759680" y="1811016"/>
                  <a:pt x="1767350" y="1815586"/>
                  <a:pt x="1780975" y="1808731"/>
                </a:cubicBezTo>
                <a:cubicBezTo>
                  <a:pt x="1791242" y="1804033"/>
                  <a:pt x="1801127" y="1795781"/>
                  <a:pt x="1811584" y="1792861"/>
                </a:cubicBezTo>
                <a:cubicBezTo>
                  <a:pt x="1856197" y="1773689"/>
                  <a:pt x="1906975" y="1795204"/>
                  <a:pt x="1922202" y="1836714"/>
                </a:cubicBezTo>
                <a:cubicBezTo>
                  <a:pt x="1927468" y="1852327"/>
                  <a:pt x="1921896" y="1867308"/>
                  <a:pt x="1923613" y="1883302"/>
                </a:cubicBezTo>
                <a:cubicBezTo>
                  <a:pt x="1924318" y="1906597"/>
                  <a:pt x="1934336" y="1916308"/>
                  <a:pt x="1956395" y="1921130"/>
                </a:cubicBezTo>
                <a:cubicBezTo>
                  <a:pt x="1967425" y="1923541"/>
                  <a:pt x="1978263" y="1924176"/>
                  <a:pt x="1989293" y="1926587"/>
                </a:cubicBezTo>
                <a:cubicBezTo>
                  <a:pt x="2011352" y="1931409"/>
                  <a:pt x="2023393" y="1926522"/>
                  <a:pt x="2029977" y="1904243"/>
                </a:cubicBezTo>
                <a:cubicBezTo>
                  <a:pt x="2035740" y="1891040"/>
                  <a:pt x="2041254" y="1892245"/>
                  <a:pt x="2051081" y="1900179"/>
                </a:cubicBezTo>
                <a:cubicBezTo>
                  <a:pt x="2072510" y="1915856"/>
                  <a:pt x="2086326" y="1910778"/>
                  <a:pt x="2094303" y="1884753"/>
                </a:cubicBezTo>
                <a:cubicBezTo>
                  <a:pt x="2095314" y="1877453"/>
                  <a:pt x="2094551" y="1870345"/>
                  <a:pt x="2087071" y="1867552"/>
                </a:cubicBezTo>
                <a:cubicBezTo>
                  <a:pt x="2077816" y="1864951"/>
                  <a:pt x="2076804" y="1872250"/>
                  <a:pt x="2075793" y="1879549"/>
                </a:cubicBezTo>
                <a:cubicBezTo>
                  <a:pt x="2076365" y="1884880"/>
                  <a:pt x="2073388" y="1890593"/>
                  <a:pt x="2066099" y="1889578"/>
                </a:cubicBezTo>
                <a:cubicBezTo>
                  <a:pt x="2059000" y="1890340"/>
                  <a:pt x="2053104" y="1885581"/>
                  <a:pt x="2054115" y="1878281"/>
                </a:cubicBezTo>
                <a:cubicBezTo>
                  <a:pt x="2053792" y="1858541"/>
                  <a:pt x="2049918" y="1839182"/>
                  <a:pt x="2049403" y="1817665"/>
                </a:cubicBezTo>
                <a:cubicBezTo>
                  <a:pt x="2055300" y="1822426"/>
                  <a:pt x="2057265" y="1824012"/>
                  <a:pt x="2059421" y="1827376"/>
                </a:cubicBezTo>
                <a:cubicBezTo>
                  <a:pt x="2071214" y="1836896"/>
                  <a:pt x="2085411" y="1835372"/>
                  <a:pt x="2098216" y="1837593"/>
                </a:cubicBezTo>
                <a:cubicBezTo>
                  <a:pt x="2105505" y="1838608"/>
                  <a:pt x="2106135" y="1827754"/>
                  <a:pt x="2111077" y="1823629"/>
                </a:cubicBezTo>
                <a:cubicBezTo>
                  <a:pt x="2119378" y="1817344"/>
                  <a:pt x="2127869" y="1812837"/>
                  <a:pt x="2140673" y="1815058"/>
                </a:cubicBezTo>
                <a:cubicBezTo>
                  <a:pt x="2151512" y="1815693"/>
                  <a:pt x="2163934" y="1814359"/>
                  <a:pt x="2176739" y="1816579"/>
                </a:cubicBezTo>
                <a:cubicBezTo>
                  <a:pt x="2170079" y="1804711"/>
                  <a:pt x="2153344" y="1799317"/>
                  <a:pt x="2162847" y="1787510"/>
                </a:cubicBezTo>
                <a:cubicBezTo>
                  <a:pt x="2168992" y="1777861"/>
                  <a:pt x="2176148" y="1760914"/>
                  <a:pt x="2193837" y="1775195"/>
                </a:cubicBezTo>
                <a:cubicBezTo>
                  <a:pt x="2193837" y="1775195"/>
                  <a:pt x="2197196" y="1773036"/>
                  <a:pt x="2197005" y="1771259"/>
                </a:cubicBezTo>
                <a:cubicBezTo>
                  <a:pt x="2197826" y="1762183"/>
                  <a:pt x="2200421" y="1752915"/>
                  <a:pt x="2187807" y="1752472"/>
                </a:cubicBezTo>
                <a:cubicBezTo>
                  <a:pt x="2173420" y="1752219"/>
                  <a:pt x="2160234" y="1746443"/>
                  <a:pt x="2148823" y="1740477"/>
                </a:cubicBezTo>
                <a:cubicBezTo>
                  <a:pt x="2133862" y="1734893"/>
                  <a:pt x="2121631" y="1738004"/>
                  <a:pt x="2115868" y="1751206"/>
                </a:cubicBezTo>
                <a:cubicBezTo>
                  <a:pt x="2108330" y="1764599"/>
                  <a:pt x="2102624" y="1761617"/>
                  <a:pt x="2094762" y="1755270"/>
                </a:cubicBezTo>
                <a:cubicBezTo>
                  <a:pt x="2079039" y="1742576"/>
                  <a:pt x="2066675" y="1727724"/>
                  <a:pt x="2049367" y="1716998"/>
                </a:cubicBezTo>
                <a:cubicBezTo>
                  <a:pt x="2039731" y="1710842"/>
                  <a:pt x="2032442" y="1709827"/>
                  <a:pt x="2022366" y="1716302"/>
                </a:cubicBezTo>
                <a:cubicBezTo>
                  <a:pt x="2014065" y="1722586"/>
                  <a:pt x="2007730" y="1730457"/>
                  <a:pt x="1996700" y="1728045"/>
                </a:cubicBezTo>
                <a:cubicBezTo>
                  <a:pt x="1985861" y="1727411"/>
                  <a:pt x="1982942" y="1716938"/>
                  <a:pt x="1976855" y="1710401"/>
                </a:cubicBezTo>
                <a:cubicBezTo>
                  <a:pt x="1963173" y="1733443"/>
                  <a:pt x="1963173" y="1733443"/>
                  <a:pt x="1940160" y="1719733"/>
                </a:cubicBezTo>
                <a:cubicBezTo>
                  <a:pt x="1930714" y="1715354"/>
                  <a:pt x="1921079" y="1709198"/>
                  <a:pt x="1909419" y="1717641"/>
                </a:cubicBezTo>
                <a:cubicBezTo>
                  <a:pt x="1883944" y="1731161"/>
                  <a:pt x="1878429" y="1729956"/>
                  <a:pt x="1861561" y="1706599"/>
                </a:cubicBezTo>
                <a:cubicBezTo>
                  <a:pt x="1853318" y="1696698"/>
                  <a:pt x="1845074" y="1686797"/>
                  <a:pt x="1835056" y="1677086"/>
                </a:cubicBezTo>
                <a:cubicBezTo>
                  <a:pt x="1812673" y="1652523"/>
                  <a:pt x="1803800" y="1653475"/>
                  <a:pt x="1785176" y="1680643"/>
                </a:cubicBezTo>
                <a:cubicBezTo>
                  <a:pt x="1780424" y="1686546"/>
                  <a:pt x="1777638" y="1694036"/>
                  <a:pt x="1771303" y="1701907"/>
                </a:cubicBezTo>
                <a:cubicBezTo>
                  <a:pt x="1766227" y="1688070"/>
                  <a:pt x="1761533" y="1677788"/>
                  <a:pt x="1756458" y="1663951"/>
                </a:cubicBezTo>
                <a:cubicBezTo>
                  <a:pt x="1753290" y="1667887"/>
                  <a:pt x="1753481" y="1669664"/>
                  <a:pt x="1751897" y="1671632"/>
                </a:cubicBezTo>
                <a:cubicBezTo>
                  <a:pt x="1739359" y="1705336"/>
                  <a:pt x="1721613" y="1707241"/>
                  <a:pt x="1699039" y="1680902"/>
                </a:cubicBezTo>
                <a:cubicBezTo>
                  <a:pt x="1694917" y="1675951"/>
                  <a:pt x="1690796" y="1671001"/>
                  <a:pt x="1686483" y="1664273"/>
                </a:cubicBezTo>
                <a:cubicBezTo>
                  <a:pt x="1684327" y="1660909"/>
                  <a:pt x="1682171" y="1657545"/>
                  <a:pt x="1685148" y="1651832"/>
                </a:cubicBezTo>
                <a:cubicBezTo>
                  <a:pt x="1698009" y="1637867"/>
                  <a:pt x="1686408" y="1630124"/>
                  <a:pt x="1676580" y="1622191"/>
                </a:cubicBezTo>
                <a:cubicBezTo>
                  <a:pt x="1647671" y="1603722"/>
                  <a:pt x="1614773" y="1598265"/>
                  <a:pt x="1581877" y="1592809"/>
                </a:cubicBezTo>
                <a:cubicBezTo>
                  <a:pt x="1529076" y="1585893"/>
                  <a:pt x="1474884" y="1582722"/>
                  <a:pt x="1426892" y="1553718"/>
                </a:cubicBezTo>
                <a:cubicBezTo>
                  <a:pt x="1411550" y="1544579"/>
                  <a:pt x="1395197" y="1542739"/>
                  <a:pt x="1377641" y="1546421"/>
                </a:cubicBezTo>
                <a:cubicBezTo>
                  <a:pt x="1363635" y="1549723"/>
                  <a:pt x="1350640" y="1545725"/>
                  <a:pt x="1340813" y="1537791"/>
                </a:cubicBezTo>
                <a:cubicBezTo>
                  <a:pt x="1321540" y="1525478"/>
                  <a:pt x="1301065" y="1518688"/>
                  <a:pt x="1277423" y="1515833"/>
                </a:cubicBezTo>
                <a:cubicBezTo>
                  <a:pt x="1255554" y="1512787"/>
                  <a:pt x="1232484" y="1515264"/>
                  <a:pt x="1211437" y="1503142"/>
                </a:cubicBezTo>
                <a:cubicBezTo>
                  <a:pt x="1192545" y="1494384"/>
                  <a:pt x="1174227" y="1490958"/>
                  <a:pt x="1156614" y="1510825"/>
                </a:cubicBezTo>
                <a:cubicBezTo>
                  <a:pt x="1151596" y="1480803"/>
                  <a:pt x="1131884" y="1481122"/>
                  <a:pt x="1110397" y="1481630"/>
                </a:cubicBezTo>
                <a:cubicBezTo>
                  <a:pt x="1094425" y="1483345"/>
                  <a:pt x="1078263" y="1483282"/>
                  <a:pt x="1064505" y="1472175"/>
                </a:cubicBezTo>
                <a:cubicBezTo>
                  <a:pt x="1044660" y="1454531"/>
                  <a:pt x="1022411" y="1447932"/>
                  <a:pt x="998386" y="1441522"/>
                </a:cubicBezTo>
                <a:cubicBezTo>
                  <a:pt x="956043" y="1431686"/>
                  <a:pt x="912307" y="1425595"/>
                  <a:pt x="872560" y="1406493"/>
                </a:cubicBezTo>
                <a:cubicBezTo>
                  <a:pt x="840482" y="1391959"/>
                  <a:pt x="807203" y="1382948"/>
                  <a:pt x="771329" y="1383203"/>
                </a:cubicBezTo>
                <a:cubicBezTo>
                  <a:pt x="760681" y="1384346"/>
                  <a:pt x="753010" y="1379777"/>
                  <a:pt x="748316" y="1369495"/>
                </a:cubicBezTo>
                <a:cubicBezTo>
                  <a:pt x="730494" y="1337251"/>
                  <a:pt x="728719" y="1337442"/>
                  <a:pt x="691643" y="1343221"/>
                </a:cubicBezTo>
                <a:cubicBezTo>
                  <a:pt x="688094" y="1343601"/>
                  <a:pt x="684544" y="1343982"/>
                  <a:pt x="679220" y="1344554"/>
                </a:cubicBezTo>
                <a:cubicBezTo>
                  <a:pt x="683399" y="1333319"/>
                  <a:pt x="687579" y="1322084"/>
                  <a:pt x="691948" y="1312627"/>
                </a:cubicBezTo>
                <a:cubicBezTo>
                  <a:pt x="697139" y="1294093"/>
                  <a:pt x="710573" y="1285460"/>
                  <a:pt x="728510" y="1285331"/>
                </a:cubicBezTo>
                <a:cubicBezTo>
                  <a:pt x="739158" y="1284188"/>
                  <a:pt x="748413" y="1286790"/>
                  <a:pt x="758870" y="1283870"/>
                </a:cubicBezTo>
                <a:cubicBezTo>
                  <a:pt x="776235" y="1278411"/>
                  <a:pt x="781940" y="1281393"/>
                  <a:pt x="787398" y="1298784"/>
                </a:cubicBezTo>
                <a:cubicBezTo>
                  <a:pt x="788161" y="1305894"/>
                  <a:pt x="788924" y="1313002"/>
                  <a:pt x="789687" y="1320110"/>
                </a:cubicBezTo>
                <a:cubicBezTo>
                  <a:pt x="789057" y="1330965"/>
                  <a:pt x="794572" y="1332170"/>
                  <a:pt x="803445" y="1331217"/>
                </a:cubicBezTo>
                <a:cubicBezTo>
                  <a:pt x="823156" y="1330900"/>
                  <a:pt x="836400" y="1320489"/>
                  <a:pt x="847487" y="1306715"/>
                </a:cubicBezTo>
                <a:cubicBezTo>
                  <a:pt x="850845" y="1304557"/>
                  <a:pt x="852048" y="1299034"/>
                  <a:pt x="857562" y="1300240"/>
                </a:cubicBezTo>
                <a:cubicBezTo>
                  <a:pt x="861302" y="1301637"/>
                  <a:pt x="861875" y="1306968"/>
                  <a:pt x="864031" y="1310332"/>
                </a:cubicBezTo>
                <a:cubicBezTo>
                  <a:pt x="864413" y="1313887"/>
                  <a:pt x="864603" y="1315664"/>
                  <a:pt x="864985" y="1319219"/>
                </a:cubicBezTo>
                <a:cubicBezTo>
                  <a:pt x="866320" y="1331658"/>
                  <a:pt x="872026" y="1334642"/>
                  <a:pt x="882292" y="1329944"/>
                </a:cubicBezTo>
                <a:cubicBezTo>
                  <a:pt x="892368" y="1323469"/>
                  <a:pt x="898264" y="1328230"/>
                  <a:pt x="904542" y="1336544"/>
                </a:cubicBezTo>
                <a:cubicBezTo>
                  <a:pt x="910629" y="1343081"/>
                  <a:pt x="909617" y="1350380"/>
                  <a:pt x="904866" y="1356284"/>
                </a:cubicBezTo>
                <a:cubicBezTo>
                  <a:pt x="900305" y="1363965"/>
                  <a:pt x="891050" y="1361362"/>
                  <a:pt x="883379" y="1356792"/>
                </a:cubicBezTo>
                <a:cubicBezTo>
                  <a:pt x="877864" y="1355587"/>
                  <a:pt x="873934" y="1352414"/>
                  <a:pt x="869373" y="1360094"/>
                </a:cubicBezTo>
                <a:cubicBezTo>
                  <a:pt x="864812" y="1367774"/>
                  <a:pt x="868743" y="1370948"/>
                  <a:pt x="872864" y="1375899"/>
                </a:cubicBezTo>
                <a:cubicBezTo>
                  <a:pt x="882692" y="1383833"/>
                  <a:pt x="913872" y="1373294"/>
                  <a:pt x="915895" y="1358695"/>
                </a:cubicBezTo>
                <a:cubicBezTo>
                  <a:pt x="920514" y="1334830"/>
                  <a:pt x="936867" y="1336669"/>
                  <a:pt x="953220" y="1338509"/>
                </a:cubicBezTo>
                <a:cubicBezTo>
                  <a:pt x="987511" y="1340221"/>
                  <a:pt x="1021171" y="1352787"/>
                  <a:pt x="1054069" y="1358243"/>
                </a:cubicBezTo>
                <a:cubicBezTo>
                  <a:pt x="1063324" y="1360845"/>
                  <a:pt x="1064087" y="1367954"/>
                  <a:pt x="1061301" y="1375444"/>
                </a:cubicBezTo>
                <a:cubicBezTo>
                  <a:pt x="1058706" y="1384711"/>
                  <a:pt x="1056110" y="1393978"/>
                  <a:pt x="1055480" y="1404832"/>
                </a:cubicBezTo>
                <a:cubicBezTo>
                  <a:pt x="1056625" y="1415495"/>
                  <a:pt x="1064105" y="1418288"/>
                  <a:pt x="1071585" y="1421080"/>
                </a:cubicBezTo>
                <a:cubicBezTo>
                  <a:pt x="1077291" y="1424063"/>
                  <a:pt x="1078111" y="1414986"/>
                  <a:pt x="1081470" y="1412828"/>
                </a:cubicBezTo>
                <a:cubicBezTo>
                  <a:pt x="1089008" y="1399435"/>
                  <a:pt x="1098320" y="1385851"/>
                  <a:pt x="1105857" y="1372458"/>
                </a:cubicBezTo>
                <a:cubicBezTo>
                  <a:pt x="1108014" y="1375822"/>
                  <a:pt x="1108205" y="1377599"/>
                  <a:pt x="1108396" y="1379377"/>
                </a:cubicBezTo>
                <a:cubicBezTo>
                  <a:pt x="1112459" y="1400513"/>
                  <a:pt x="1112459" y="1400513"/>
                  <a:pt x="1130836" y="1387754"/>
                </a:cubicBezTo>
                <a:cubicBezTo>
                  <a:pt x="1137362" y="1381660"/>
                  <a:pt x="1139518" y="1385024"/>
                  <a:pt x="1141865" y="1390165"/>
                </a:cubicBezTo>
                <a:cubicBezTo>
                  <a:pt x="1148715" y="1403812"/>
                  <a:pt x="1159936" y="1408000"/>
                  <a:pt x="1171977" y="1403111"/>
                </a:cubicBezTo>
                <a:cubicBezTo>
                  <a:pt x="1190544" y="1392131"/>
                  <a:pt x="1210256" y="1391812"/>
                  <a:pt x="1229777" y="1389716"/>
                </a:cubicBezTo>
                <a:cubicBezTo>
                  <a:pt x="1240425" y="1388573"/>
                  <a:pt x="1245557" y="1386225"/>
                  <a:pt x="1237314" y="1376323"/>
                </a:cubicBezTo>
                <a:cubicBezTo>
                  <a:pt x="1230846" y="1366232"/>
                  <a:pt x="1231857" y="1358931"/>
                  <a:pt x="1243516" y="1350489"/>
                </a:cubicBezTo>
                <a:cubicBezTo>
                  <a:pt x="1226972" y="1346872"/>
                  <a:pt x="1210619" y="1345033"/>
                  <a:pt x="1195658" y="1339448"/>
                </a:cubicBezTo>
                <a:cubicBezTo>
                  <a:pt x="1180889" y="1335641"/>
                  <a:pt x="1165929" y="1330056"/>
                  <a:pt x="1153946" y="1318758"/>
                </a:cubicBezTo>
                <a:cubicBezTo>
                  <a:pt x="1176444" y="1310950"/>
                  <a:pt x="1176444" y="1310950"/>
                  <a:pt x="1211878" y="1323325"/>
                </a:cubicBezTo>
                <a:cubicBezTo>
                  <a:pt x="1234319" y="1331702"/>
                  <a:pt x="1244776" y="1328782"/>
                  <a:pt x="1255481" y="1311453"/>
                </a:cubicBezTo>
                <a:cubicBezTo>
                  <a:pt x="1265996" y="1292348"/>
                  <a:pt x="1265996" y="1292348"/>
                  <a:pt x="1278743" y="1310754"/>
                </a:cubicBezTo>
                <a:cubicBezTo>
                  <a:pt x="1278934" y="1312530"/>
                  <a:pt x="1280899" y="1314118"/>
                  <a:pt x="1281090" y="1315895"/>
                </a:cubicBezTo>
                <a:cubicBezTo>
                  <a:pt x="1310895" y="1359435"/>
                  <a:pt x="1335930" y="1358545"/>
                  <a:pt x="1365452" y="1315827"/>
                </a:cubicBezTo>
                <a:cubicBezTo>
                  <a:pt x="1376157" y="1298498"/>
                  <a:pt x="1392759" y="1285930"/>
                  <a:pt x="1411899" y="1280280"/>
                </a:cubicBezTo>
                <a:cubicBezTo>
                  <a:pt x="1433003" y="1276217"/>
                  <a:pt x="1451512" y="1281420"/>
                  <a:pt x="1471797" y="1286433"/>
                </a:cubicBezTo>
                <a:cubicBezTo>
                  <a:pt x="1496012" y="1294620"/>
                  <a:pt x="1522002" y="1302616"/>
                  <a:pt x="1547229" y="1303503"/>
                </a:cubicBezTo>
                <a:cubicBezTo>
                  <a:pt x="1566940" y="1303185"/>
                  <a:pt x="1587033" y="1306421"/>
                  <a:pt x="1603959" y="1313592"/>
                </a:cubicBezTo>
                <a:cubicBezTo>
                  <a:pt x="1617145" y="1319368"/>
                  <a:pt x="1633880" y="1324762"/>
                  <a:pt x="1647505" y="1317906"/>
                </a:cubicBezTo>
                <a:cubicBezTo>
                  <a:pt x="1664488" y="1308892"/>
                  <a:pt x="1674315" y="1316826"/>
                  <a:pt x="1684524" y="1328313"/>
                </a:cubicBezTo>
                <a:cubicBezTo>
                  <a:pt x="1702976" y="1349703"/>
                  <a:pt x="1714711" y="1375408"/>
                  <a:pt x="1717954" y="1405620"/>
                </a:cubicBezTo>
                <a:cubicBezTo>
                  <a:pt x="1718718" y="1412730"/>
                  <a:pt x="1719481" y="1419838"/>
                  <a:pt x="1730510" y="1422250"/>
                </a:cubicBezTo>
                <a:cubicBezTo>
                  <a:pt x="1741730" y="1426438"/>
                  <a:pt x="1744326" y="1417172"/>
                  <a:pt x="1749077" y="1411268"/>
                </a:cubicBezTo>
                <a:cubicBezTo>
                  <a:pt x="1752054" y="1405556"/>
                  <a:pt x="1755031" y="1399843"/>
                  <a:pt x="1758198" y="1395908"/>
                </a:cubicBezTo>
                <a:cubicBezTo>
                  <a:pt x="1770678" y="1378389"/>
                  <a:pt x="1789818" y="1372738"/>
                  <a:pt x="1809148" y="1368866"/>
                </a:cubicBezTo>
                <a:cubicBezTo>
                  <a:pt x="1825120" y="1367151"/>
                  <a:pt x="1826646" y="1381368"/>
                  <a:pt x="1834699" y="1389493"/>
                </a:cubicBezTo>
                <a:cubicBezTo>
                  <a:pt x="1841855" y="1372545"/>
                  <a:pt x="1855289" y="1363913"/>
                  <a:pt x="1871643" y="1365752"/>
                </a:cubicBezTo>
                <a:cubicBezTo>
                  <a:pt x="1891736" y="1368988"/>
                  <a:pt x="1911066" y="1365115"/>
                  <a:pt x="1930396" y="1361243"/>
                </a:cubicBezTo>
                <a:cubicBezTo>
                  <a:pt x="1971023" y="1355083"/>
                  <a:pt x="2011018" y="1359778"/>
                  <a:pt x="2044621" y="1388529"/>
                </a:cubicBezTo>
                <a:cubicBezTo>
                  <a:pt x="2050518" y="1393290"/>
                  <a:pt x="2056414" y="1398049"/>
                  <a:pt x="2063131" y="1393732"/>
                </a:cubicBezTo>
                <a:cubicBezTo>
                  <a:pt x="2076374" y="1383323"/>
                  <a:pt x="2090762" y="1383576"/>
                  <a:pt x="2105150" y="1383829"/>
                </a:cubicBezTo>
                <a:cubicBezTo>
                  <a:pt x="2110474" y="1383257"/>
                  <a:pt x="2113832" y="1381099"/>
                  <a:pt x="2116810" y="1375387"/>
                </a:cubicBezTo>
                <a:cubicBezTo>
                  <a:pt x="2119404" y="1366119"/>
                  <a:pt x="2126694" y="1367134"/>
                  <a:pt x="2134174" y="1369927"/>
                </a:cubicBezTo>
                <a:cubicBezTo>
                  <a:pt x="2143429" y="1372529"/>
                  <a:pt x="2155660" y="1369418"/>
                  <a:pt x="2158961" y="1383446"/>
                </a:cubicBezTo>
                <a:cubicBezTo>
                  <a:pt x="2160488" y="1397662"/>
                  <a:pt x="2169933" y="1402042"/>
                  <a:pt x="2180963" y="1404453"/>
                </a:cubicBezTo>
                <a:cubicBezTo>
                  <a:pt x="2190218" y="1407055"/>
                  <a:pt x="2200866" y="1405912"/>
                  <a:pt x="2205178" y="1412640"/>
                </a:cubicBezTo>
                <a:cubicBezTo>
                  <a:pt x="2213994" y="1427873"/>
                  <a:pt x="2226034" y="1422985"/>
                  <a:pt x="2240232" y="1421461"/>
                </a:cubicBezTo>
                <a:cubicBezTo>
                  <a:pt x="2245365" y="1419112"/>
                  <a:pt x="2250880" y="1420317"/>
                  <a:pt x="2256203" y="1419746"/>
                </a:cubicBezTo>
                <a:cubicBezTo>
                  <a:pt x="2281239" y="1418856"/>
                  <a:pt x="2306656" y="1421520"/>
                  <a:pt x="2331311" y="1417077"/>
                </a:cubicBezTo>
                <a:cubicBezTo>
                  <a:pt x="2341768" y="1414155"/>
                  <a:pt x="2355965" y="1412632"/>
                  <a:pt x="2358751" y="1405142"/>
                </a:cubicBezTo>
                <a:cubicBezTo>
                  <a:pt x="2361156" y="1394098"/>
                  <a:pt x="2346386" y="1390290"/>
                  <a:pt x="2336941" y="1385911"/>
                </a:cubicBezTo>
                <a:cubicBezTo>
                  <a:pt x="2334975" y="1384324"/>
                  <a:pt x="2333010" y="1382737"/>
                  <a:pt x="2331235" y="1382928"/>
                </a:cubicBezTo>
                <a:cubicBezTo>
                  <a:pt x="2302517" y="1366236"/>
                  <a:pt x="2296869" y="1347068"/>
                  <a:pt x="2315303" y="1318123"/>
                </a:cubicBezTo>
                <a:cubicBezTo>
                  <a:pt x="2323546" y="1328024"/>
                  <a:pt x="2330586" y="1343448"/>
                  <a:pt x="2345548" y="1349033"/>
                </a:cubicBezTo>
                <a:cubicBezTo>
                  <a:pt x="2362282" y="1354427"/>
                  <a:pt x="2373560" y="1342430"/>
                  <a:pt x="2387184" y="1335575"/>
                </a:cubicBezTo>
                <a:cubicBezTo>
                  <a:pt x="2392127" y="1331449"/>
                  <a:pt x="2397642" y="1332654"/>
                  <a:pt x="2396821" y="1341731"/>
                </a:cubicBezTo>
                <a:cubicBezTo>
                  <a:pt x="2395428" y="1345476"/>
                  <a:pt x="2395809" y="1349030"/>
                  <a:pt x="2394416" y="1352775"/>
                </a:cubicBezTo>
                <a:cubicBezTo>
                  <a:pt x="2393214" y="1358297"/>
                  <a:pt x="2392012" y="1363820"/>
                  <a:pt x="2396133" y="1368770"/>
                </a:cubicBezTo>
                <a:cubicBezTo>
                  <a:pt x="2398290" y="1372134"/>
                  <a:pt x="2403041" y="1366231"/>
                  <a:pt x="2406590" y="1365850"/>
                </a:cubicBezTo>
                <a:cubicBezTo>
                  <a:pt x="2418441" y="1359184"/>
                  <a:pt x="2422562" y="1364135"/>
                  <a:pt x="2421932" y="1374989"/>
                </a:cubicBezTo>
                <a:cubicBezTo>
                  <a:pt x="2422314" y="1378544"/>
                  <a:pt x="2419146" y="1382479"/>
                  <a:pt x="2424852" y="1385462"/>
                </a:cubicBezTo>
                <a:cubicBezTo>
                  <a:pt x="2450824" y="1343124"/>
                  <a:pt x="2464639" y="1338046"/>
                  <a:pt x="2514843" y="1354228"/>
                </a:cubicBezTo>
                <a:cubicBezTo>
                  <a:pt x="2516618" y="1354038"/>
                  <a:pt x="2516618" y="1354038"/>
                  <a:pt x="2518583" y="1355624"/>
                </a:cubicBezTo>
                <a:cubicBezTo>
                  <a:pt x="2557759" y="1369396"/>
                  <a:pt x="2597946" y="1375868"/>
                  <a:pt x="2638190" y="1366154"/>
                </a:cubicBezTo>
                <a:cubicBezTo>
                  <a:pt x="2652196" y="1362853"/>
                  <a:pt x="2661642" y="1367232"/>
                  <a:pt x="2668110" y="1377324"/>
                </a:cubicBezTo>
                <a:cubicBezTo>
                  <a:pt x="2676545" y="1389003"/>
                  <a:pt x="2689731" y="1394777"/>
                  <a:pt x="2702344" y="1395221"/>
                </a:cubicBezTo>
                <a:cubicBezTo>
                  <a:pt x="2724212" y="1398267"/>
                  <a:pt x="2747664" y="1399344"/>
                  <a:pt x="2770734" y="1396868"/>
                </a:cubicBezTo>
                <a:cubicBezTo>
                  <a:pt x="2790255" y="1394772"/>
                  <a:pt x="2793041" y="1387283"/>
                  <a:pt x="2784035" y="1370272"/>
                </a:cubicBezTo>
                <a:cubicBezTo>
                  <a:pt x="2781687" y="1365131"/>
                  <a:pt x="2775982" y="1362149"/>
                  <a:pt x="2780734" y="1356245"/>
                </a:cubicBezTo>
                <a:cubicBezTo>
                  <a:pt x="2788844" y="1348184"/>
                  <a:pt x="2785925" y="1337711"/>
                  <a:pt x="2784780" y="1327048"/>
                </a:cubicBezTo>
                <a:cubicBezTo>
                  <a:pt x="2784207" y="1321716"/>
                  <a:pt x="2781669" y="1314797"/>
                  <a:pt x="2788578" y="1312259"/>
                </a:cubicBezTo>
                <a:cubicBezTo>
                  <a:pt x="2795485" y="1309719"/>
                  <a:pt x="2799798" y="1316447"/>
                  <a:pt x="2802145" y="1321588"/>
                </a:cubicBezTo>
                <a:cubicBezTo>
                  <a:pt x="2808995" y="1335234"/>
                  <a:pt x="2815654" y="1347103"/>
                  <a:pt x="2822314" y="1358972"/>
                </a:cubicBezTo>
                <a:cubicBezTo>
                  <a:pt x="2839563" y="1385883"/>
                  <a:pt x="2862386" y="1397815"/>
                  <a:pt x="2894138" y="1392608"/>
                </a:cubicBezTo>
                <a:cubicBezTo>
                  <a:pt x="2910110" y="1390894"/>
                  <a:pt x="2925891" y="1387402"/>
                  <a:pt x="2941863" y="1385687"/>
                </a:cubicBezTo>
                <a:cubicBezTo>
                  <a:pt x="2961193" y="1381815"/>
                  <a:pt x="2972795" y="1389558"/>
                  <a:pt x="2980027" y="1406758"/>
                </a:cubicBezTo>
                <a:cubicBezTo>
                  <a:pt x="2982183" y="1410122"/>
                  <a:pt x="2980981" y="1415644"/>
                  <a:pt x="2986496" y="1416850"/>
                </a:cubicBezTo>
                <a:cubicBezTo>
                  <a:pt x="2992259" y="1403648"/>
                  <a:pt x="2999605" y="1388477"/>
                  <a:pt x="3005178" y="1373498"/>
                </a:cubicBezTo>
                <a:cubicBezTo>
                  <a:pt x="3014108" y="1356359"/>
                  <a:pt x="3014108" y="1356359"/>
                  <a:pt x="3024698" y="1371402"/>
                </a:cubicBezTo>
                <a:cubicBezTo>
                  <a:pt x="3033323" y="1384857"/>
                  <a:pt x="3042578" y="1387459"/>
                  <a:pt x="3055631" y="1375271"/>
                </a:cubicBezTo>
                <a:cubicBezTo>
                  <a:pt x="3067099" y="1365052"/>
                  <a:pt x="3081106" y="1361751"/>
                  <a:pt x="3097459" y="1363590"/>
                </a:cubicBezTo>
                <a:cubicBezTo>
                  <a:pt x="3120911" y="1364669"/>
                  <a:pt x="3143351" y="1373045"/>
                  <a:pt x="3165791" y="1381423"/>
                </a:cubicBezTo>
                <a:cubicBezTo>
                  <a:pt x="3188232" y="1389800"/>
                  <a:pt x="3196914" y="1387070"/>
                  <a:pt x="3211169" y="1369361"/>
                </a:cubicBezTo>
                <a:cubicBezTo>
                  <a:pt x="3226817" y="1347906"/>
                  <a:pt x="3246529" y="1347588"/>
                  <a:pt x="3261431" y="1369358"/>
                </a:cubicBezTo>
                <a:cubicBezTo>
                  <a:pt x="3275952" y="1387573"/>
                  <a:pt x="3275952" y="1387573"/>
                  <a:pt x="3290016" y="1368086"/>
                </a:cubicBezTo>
                <a:cubicBezTo>
                  <a:pt x="3291791" y="1367896"/>
                  <a:pt x="3291600" y="1366119"/>
                  <a:pt x="3293375" y="1365928"/>
                </a:cubicBezTo>
                <a:cubicBezTo>
                  <a:pt x="3299519" y="1356280"/>
                  <a:pt x="3306809" y="1357295"/>
                  <a:pt x="3313278" y="1367387"/>
                </a:cubicBezTo>
                <a:cubicBezTo>
                  <a:pt x="3315625" y="1372529"/>
                  <a:pt x="3317972" y="1377670"/>
                  <a:pt x="3320319" y="1382811"/>
                </a:cubicBezTo>
                <a:cubicBezTo>
                  <a:pt x="3329325" y="1399820"/>
                  <a:pt x="3342702" y="1407373"/>
                  <a:pt x="3359876" y="1400136"/>
                </a:cubicBezTo>
                <a:cubicBezTo>
                  <a:pt x="3389090" y="1388012"/>
                  <a:pt x="3419068" y="1382995"/>
                  <a:pt x="3445746" y="1363952"/>
                </a:cubicBezTo>
                <a:cubicBezTo>
                  <a:pt x="3454047" y="1357668"/>
                  <a:pt x="3464504" y="1354748"/>
                  <a:pt x="3467805" y="1368775"/>
                </a:cubicBezTo>
                <a:cubicBezTo>
                  <a:pt x="3472499" y="1379057"/>
                  <a:pt x="3479596" y="1378295"/>
                  <a:pt x="3486314" y="1373979"/>
                </a:cubicBezTo>
                <a:cubicBezTo>
                  <a:pt x="3499938" y="1367123"/>
                  <a:pt x="3515911" y="1365408"/>
                  <a:pt x="3530108" y="1363885"/>
                </a:cubicBezTo>
                <a:cubicBezTo>
                  <a:pt x="3553178" y="1361408"/>
                  <a:pt x="3561288" y="1353346"/>
                  <a:pt x="3564323" y="1331448"/>
                </a:cubicBezTo>
                <a:cubicBezTo>
                  <a:pt x="3564762" y="1318817"/>
                  <a:pt x="3570086" y="1318246"/>
                  <a:pt x="3580733" y="1317103"/>
                </a:cubicBezTo>
                <a:cubicBezTo>
                  <a:pt x="3593156" y="1315769"/>
                  <a:pt x="3606724" y="1325099"/>
                  <a:pt x="3618001" y="1313102"/>
                </a:cubicBezTo>
                <a:cubicBezTo>
                  <a:pt x="3627695" y="1303072"/>
                  <a:pt x="3620654" y="1287649"/>
                  <a:pt x="3624451" y="1272860"/>
                </a:cubicBezTo>
                <a:cubicBezTo>
                  <a:pt x="3634660" y="1284347"/>
                  <a:pt x="3639354" y="1294630"/>
                  <a:pt x="3638915" y="1307261"/>
                </a:cubicBezTo>
                <a:cubicBezTo>
                  <a:pt x="3638036" y="1332523"/>
                  <a:pt x="3613573" y="1338745"/>
                  <a:pt x="3598937" y="1352900"/>
                </a:cubicBezTo>
                <a:cubicBezTo>
                  <a:pt x="3629811" y="1372956"/>
                  <a:pt x="3647367" y="1369273"/>
                  <a:pt x="3663645" y="1336965"/>
                </a:cubicBezTo>
                <a:cubicBezTo>
                  <a:pt x="3666622" y="1331252"/>
                  <a:pt x="3671373" y="1325349"/>
                  <a:pt x="3674160" y="1317859"/>
                </a:cubicBezTo>
                <a:cubicBezTo>
                  <a:pt x="3681507" y="1302689"/>
                  <a:pt x="3689044" y="1289296"/>
                  <a:pt x="3706409" y="1283836"/>
                </a:cubicBezTo>
                <a:cubicBezTo>
                  <a:pt x="3713316" y="1281297"/>
                  <a:pt x="3712744" y="1275966"/>
                  <a:pt x="3713755" y="1268666"/>
                </a:cubicBezTo>
                <a:cubicBezTo>
                  <a:pt x="3716160" y="1257621"/>
                  <a:pt x="3712859" y="1243594"/>
                  <a:pt x="3722362" y="1231788"/>
                </a:cubicBezTo>
                <a:cubicBezTo>
                  <a:pt x="3724709" y="1236929"/>
                  <a:pt x="3726866" y="1240293"/>
                  <a:pt x="3729213" y="1245434"/>
                </a:cubicBezTo>
                <a:cubicBezTo>
                  <a:pt x="3741768" y="1262063"/>
                  <a:pt x="3752798" y="1264474"/>
                  <a:pt x="3769400" y="1251906"/>
                </a:cubicBezTo>
                <a:cubicBezTo>
                  <a:pt x="3784226" y="1239528"/>
                  <a:pt x="3801782" y="1235846"/>
                  <a:pt x="3819911" y="1237495"/>
                </a:cubicBezTo>
                <a:cubicBezTo>
                  <a:pt x="3832714" y="1239716"/>
                  <a:pt x="3845327" y="1240159"/>
                  <a:pt x="3859906" y="1242189"/>
                </a:cubicBezTo>
                <a:cubicBezTo>
                  <a:pt x="3899902" y="1246884"/>
                  <a:pt x="3940089" y="1253357"/>
                  <a:pt x="3977680" y="1269095"/>
                </a:cubicBezTo>
                <a:cubicBezTo>
                  <a:pt x="3992640" y="1274680"/>
                  <a:pt x="3995369" y="1283376"/>
                  <a:pt x="3989607" y="1296578"/>
                </a:cubicBezTo>
                <a:cubicBezTo>
                  <a:pt x="3983653" y="1308004"/>
                  <a:pt x="3975542" y="1316065"/>
                  <a:pt x="3965658" y="1324318"/>
                </a:cubicBezTo>
                <a:cubicBezTo>
                  <a:pt x="3955964" y="1334346"/>
                  <a:pt x="3942339" y="1341202"/>
                  <a:pt x="3933027" y="1354786"/>
                </a:cubicBezTo>
                <a:cubicBezTo>
                  <a:pt x="3993174" y="1346531"/>
                  <a:pt x="4049962" y="1340434"/>
                  <a:pt x="4089367" y="1289464"/>
                </a:cubicBezTo>
                <a:cubicBezTo>
                  <a:pt x="4094310" y="1285338"/>
                  <a:pt x="4101027" y="1281022"/>
                  <a:pt x="4108507" y="1283814"/>
                </a:cubicBezTo>
                <a:cubicBezTo>
                  <a:pt x="4116178" y="1288384"/>
                  <a:pt x="4122074" y="1293144"/>
                  <a:pt x="4123219" y="1303807"/>
                </a:cubicBezTo>
                <a:cubicBezTo>
                  <a:pt x="4123791" y="1309139"/>
                  <a:pt x="4120815" y="1314851"/>
                  <a:pt x="4117837" y="1320564"/>
                </a:cubicBezTo>
                <a:cubicBezTo>
                  <a:pt x="4110490" y="1335734"/>
                  <a:pt x="4097438" y="1347922"/>
                  <a:pt x="4092057" y="1364679"/>
                </a:cubicBezTo>
                <a:cubicBezTo>
                  <a:pt x="4086675" y="1381436"/>
                  <a:pt x="4094670" y="1405746"/>
                  <a:pt x="4107665" y="1409743"/>
                </a:cubicBezTo>
                <a:cubicBezTo>
                  <a:pt x="4122626" y="1415328"/>
                  <a:pt x="4132129" y="1403522"/>
                  <a:pt x="4141823" y="1393492"/>
                </a:cubicBezTo>
                <a:cubicBezTo>
                  <a:pt x="4148348" y="1387399"/>
                  <a:pt x="4147585" y="1380290"/>
                  <a:pt x="4148597" y="1372991"/>
                </a:cubicBezTo>
                <a:cubicBezTo>
                  <a:pt x="4149723" y="1333320"/>
                  <a:pt x="4162585" y="1319355"/>
                  <a:pt x="4202009" y="1318719"/>
                </a:cubicBezTo>
                <a:cubicBezTo>
                  <a:pt x="4219946" y="1318590"/>
                  <a:pt x="4235727" y="1315099"/>
                  <a:pt x="4251126" y="1308053"/>
                </a:cubicBezTo>
                <a:cubicBezTo>
                  <a:pt x="4293776" y="1287296"/>
                  <a:pt x="4336748" y="1286277"/>
                  <a:pt x="4376247" y="1319788"/>
                </a:cubicBezTo>
                <a:cubicBezTo>
                  <a:pt x="4395902" y="1335656"/>
                  <a:pt x="4395902" y="1335656"/>
                  <a:pt x="4407619" y="1311027"/>
                </a:cubicBezTo>
                <a:cubicBezTo>
                  <a:pt x="4416359" y="1292112"/>
                  <a:pt x="4447348" y="1279797"/>
                  <a:pt x="4457557" y="1291285"/>
                </a:cubicBezTo>
                <a:cubicBezTo>
                  <a:pt x="4474234" y="1312864"/>
                  <a:pt x="4493947" y="1312547"/>
                  <a:pt x="4517017" y="1310069"/>
                </a:cubicBezTo>
                <a:cubicBezTo>
                  <a:pt x="4529248" y="1306959"/>
                  <a:pt x="4543065" y="1301880"/>
                  <a:pt x="4556440" y="1309433"/>
                </a:cubicBezTo>
                <a:cubicBezTo>
                  <a:pt x="4571782" y="1318572"/>
                  <a:pt x="4578309" y="1312478"/>
                  <a:pt x="4583881" y="1297498"/>
                </a:cubicBezTo>
                <a:cubicBezTo>
                  <a:pt x="4586666" y="1290009"/>
                  <a:pt x="4589453" y="1282519"/>
                  <a:pt x="4598898" y="1286898"/>
                </a:cubicBezTo>
                <a:cubicBezTo>
                  <a:pt x="4606569" y="1291468"/>
                  <a:pt x="4612465" y="1296227"/>
                  <a:pt x="4608286" y="1307462"/>
                </a:cubicBezTo>
                <a:cubicBezTo>
                  <a:pt x="4605500" y="1314952"/>
                  <a:pt x="4600939" y="1322632"/>
                  <a:pt x="4598344" y="1331899"/>
                </a:cubicBezTo>
                <a:cubicBezTo>
                  <a:pt x="4588974" y="1361669"/>
                  <a:pt x="4609011" y="1381090"/>
                  <a:pt x="4638989" y="1376074"/>
                </a:cubicBezTo>
                <a:cubicBezTo>
                  <a:pt x="4646087" y="1375312"/>
                  <a:pt x="4652804" y="1370996"/>
                  <a:pt x="4659712" y="1368456"/>
                </a:cubicBezTo>
                <a:cubicBezTo>
                  <a:pt x="4666619" y="1365917"/>
                  <a:pt x="4673527" y="1363378"/>
                  <a:pt x="4679424" y="1368138"/>
                </a:cubicBezTo>
                <a:cubicBezTo>
                  <a:pt x="4710489" y="1389971"/>
                  <a:pt x="4741479" y="1377655"/>
                  <a:pt x="4771075" y="1369085"/>
                </a:cubicBezTo>
                <a:cubicBezTo>
                  <a:pt x="4774433" y="1366926"/>
                  <a:pt x="4777982" y="1366546"/>
                  <a:pt x="4775636" y="1361404"/>
                </a:cubicBezTo>
                <a:cubicBezTo>
                  <a:pt x="4773288" y="1356263"/>
                  <a:pt x="4772525" y="1349155"/>
                  <a:pt x="4766630" y="1344394"/>
                </a:cubicBezTo>
                <a:cubicBezTo>
                  <a:pt x="4762698" y="1341221"/>
                  <a:pt x="4761496" y="1346743"/>
                  <a:pt x="4759912" y="1348711"/>
                </a:cubicBezTo>
                <a:cubicBezTo>
                  <a:pt x="4745276" y="1362866"/>
                  <a:pt x="4731269" y="1366168"/>
                  <a:pt x="4715927" y="1357028"/>
                </a:cubicBezTo>
                <a:cubicBezTo>
                  <a:pt x="4698812" y="1348079"/>
                  <a:pt x="4689614" y="1329292"/>
                  <a:pt x="4693220" y="1312726"/>
                </a:cubicBezTo>
                <a:cubicBezTo>
                  <a:pt x="4694042" y="1303649"/>
                  <a:pt x="4699175" y="1301300"/>
                  <a:pt x="4707036" y="1307647"/>
                </a:cubicBezTo>
                <a:cubicBezTo>
                  <a:pt x="4720603" y="1316977"/>
                  <a:pt x="4727321" y="1312661"/>
                  <a:pt x="4738407" y="1298887"/>
                </a:cubicBezTo>
                <a:cubicBezTo>
                  <a:pt x="4752281" y="1277622"/>
                  <a:pt x="4788975" y="1268290"/>
                  <a:pt x="4804509" y="1279206"/>
                </a:cubicBezTo>
                <a:cubicBezTo>
                  <a:pt x="4816301" y="1288726"/>
                  <a:pt x="4825174" y="1287774"/>
                  <a:pt x="4835440" y="1283076"/>
                </a:cubicBezTo>
                <a:cubicBezTo>
                  <a:pt x="4849256" y="1277997"/>
                  <a:pt x="4863453" y="1276474"/>
                  <a:pt x="4874043" y="1291516"/>
                </a:cubicBezTo>
                <a:cubicBezTo>
                  <a:pt x="4880512" y="1301608"/>
                  <a:pt x="4890778" y="1296910"/>
                  <a:pt x="4899270" y="1292404"/>
                </a:cubicBezTo>
                <a:cubicBezTo>
                  <a:pt x="4907761" y="1287897"/>
                  <a:pt x="4916063" y="1281612"/>
                  <a:pt x="4925317" y="1284214"/>
                </a:cubicBezTo>
                <a:cubicBezTo>
                  <a:pt x="4937930" y="1284658"/>
                  <a:pt x="4933943" y="1297670"/>
                  <a:pt x="4942568" y="1311126"/>
                </a:cubicBezTo>
                <a:cubicBezTo>
                  <a:pt x="4947434" y="1272851"/>
                  <a:pt x="4982296" y="1279895"/>
                  <a:pt x="5003650" y="1261423"/>
                </a:cubicBezTo>
                <a:cubicBezTo>
                  <a:pt x="5000864" y="1268913"/>
                  <a:pt x="4999470" y="1272658"/>
                  <a:pt x="4998077" y="1276403"/>
                </a:cubicBezTo>
                <a:cubicBezTo>
                  <a:pt x="4990291" y="1304204"/>
                  <a:pt x="4998535" y="1314105"/>
                  <a:pt x="5026929" y="1311057"/>
                </a:cubicBezTo>
                <a:cubicBezTo>
                  <a:pt x="5046259" y="1307185"/>
                  <a:pt x="5064006" y="1305280"/>
                  <a:pt x="5083718" y="1304961"/>
                </a:cubicBezTo>
                <a:cubicBezTo>
                  <a:pt x="5114459" y="1307053"/>
                  <a:pt x="5143999" y="1314669"/>
                  <a:pt x="5170751" y="1329774"/>
                </a:cubicBezTo>
                <a:cubicBezTo>
                  <a:pt x="5191607" y="1340118"/>
                  <a:pt x="5200099" y="1335612"/>
                  <a:pt x="5205098" y="1315300"/>
                </a:cubicBezTo>
                <a:cubicBezTo>
                  <a:pt x="5207942" y="1291625"/>
                  <a:pt x="5219601" y="1283182"/>
                  <a:pt x="5243244" y="1286037"/>
                </a:cubicBezTo>
                <a:cubicBezTo>
                  <a:pt x="5257632" y="1286290"/>
                  <a:pt x="5272211" y="1288321"/>
                  <a:pt x="5287991" y="1284829"/>
                </a:cubicBezTo>
                <a:cubicBezTo>
                  <a:pt x="5296865" y="1283877"/>
                  <a:pt x="5306121" y="1286478"/>
                  <a:pt x="5312397" y="1294793"/>
                </a:cubicBezTo>
                <a:cubicBezTo>
                  <a:pt x="5314554" y="1298157"/>
                  <a:pt x="5314935" y="1301711"/>
                  <a:pt x="5319877" y="1297585"/>
                </a:cubicBezTo>
                <a:cubicBezTo>
                  <a:pt x="5339456" y="1279304"/>
                  <a:pt x="5364683" y="1280192"/>
                  <a:pt x="5387944" y="1279491"/>
                </a:cubicBezTo>
                <a:cubicBezTo>
                  <a:pt x="5411205" y="1278792"/>
                  <a:pt x="5432310" y="1274729"/>
                  <a:pt x="5448148" y="1255051"/>
                </a:cubicBezTo>
                <a:cubicBezTo>
                  <a:pt x="5454484" y="1247180"/>
                  <a:pt x="5459999" y="1248386"/>
                  <a:pt x="5466276" y="1256701"/>
                </a:cubicBezTo>
                <a:cubicBezTo>
                  <a:pt x="5478833" y="1273330"/>
                  <a:pt x="5480607" y="1273140"/>
                  <a:pt x="5493469" y="1259175"/>
                </a:cubicBezTo>
                <a:cubicBezTo>
                  <a:pt x="5516023" y="1235181"/>
                  <a:pt x="5541117" y="1218106"/>
                  <a:pt x="5575789" y="1223372"/>
                </a:cubicBezTo>
                <a:cubicBezTo>
                  <a:pt x="5586628" y="1224006"/>
                  <a:pt x="5599432" y="1226227"/>
                  <a:pt x="5612046" y="1226670"/>
                </a:cubicBezTo>
                <a:cubicBezTo>
                  <a:pt x="5621300" y="1229273"/>
                  <a:pt x="5633531" y="1226162"/>
                  <a:pt x="5631700" y="1242538"/>
                </a:cubicBezTo>
                <a:cubicBezTo>
                  <a:pt x="5630688" y="1249837"/>
                  <a:pt x="5640324" y="1255993"/>
                  <a:pt x="5646029" y="1258976"/>
                </a:cubicBezTo>
                <a:cubicBezTo>
                  <a:pt x="5668662" y="1269131"/>
                  <a:pt x="5692304" y="1271985"/>
                  <a:pt x="5716767" y="1265764"/>
                </a:cubicBezTo>
                <a:cubicBezTo>
                  <a:pt x="5737682" y="1259923"/>
                  <a:pt x="5737491" y="1258146"/>
                  <a:pt x="5731652" y="1237200"/>
                </a:cubicBezTo>
                <a:cubicBezTo>
                  <a:pt x="5726767" y="1225141"/>
                  <a:pt x="5727588" y="1216065"/>
                  <a:pt x="5737281" y="1206035"/>
                </a:cubicBezTo>
                <a:cubicBezTo>
                  <a:pt x="5735641" y="1224188"/>
                  <a:pt x="5744075" y="1235867"/>
                  <a:pt x="5760427" y="1237707"/>
                </a:cubicBezTo>
                <a:cubicBezTo>
                  <a:pt x="5783879" y="1238784"/>
                  <a:pt x="5804164" y="1243798"/>
                  <a:pt x="5804048" y="1276169"/>
                </a:cubicBezTo>
                <a:cubicBezTo>
                  <a:pt x="5813609" y="1248177"/>
                  <a:pt x="5832940" y="1244304"/>
                  <a:pt x="5856583" y="1247159"/>
                </a:cubicBezTo>
                <a:cubicBezTo>
                  <a:pt x="5867612" y="1249571"/>
                  <a:pt x="5875913" y="1243286"/>
                  <a:pt x="5884214" y="1237001"/>
                </a:cubicBezTo>
                <a:cubicBezTo>
                  <a:pt x="5907532" y="1220117"/>
                  <a:pt x="5922301" y="1223925"/>
                  <a:pt x="5930487" y="1250011"/>
                </a:cubicBezTo>
                <a:cubicBezTo>
                  <a:pt x="5935563" y="1263848"/>
                  <a:pt x="5940696" y="1261499"/>
                  <a:pt x="5946841" y="1251851"/>
                </a:cubicBezTo>
                <a:cubicBezTo>
                  <a:pt x="5956344" y="1240044"/>
                  <a:pt x="5966419" y="1233570"/>
                  <a:pt x="5983536" y="1242519"/>
                </a:cubicBezTo>
                <a:cubicBezTo>
                  <a:pt x="5978784" y="1248421"/>
                  <a:pt x="5973842" y="1252548"/>
                  <a:pt x="5970674" y="1256483"/>
                </a:cubicBezTo>
                <a:cubicBezTo>
                  <a:pt x="5962755" y="1266322"/>
                  <a:pt x="5963709" y="1275208"/>
                  <a:pt x="5975120" y="1281173"/>
                </a:cubicBezTo>
                <a:cubicBezTo>
                  <a:pt x="5984756" y="1287330"/>
                  <a:pt x="5991855" y="1286567"/>
                  <a:pt x="5996034" y="1275333"/>
                </a:cubicBezTo>
                <a:cubicBezTo>
                  <a:pt x="6007942" y="1252482"/>
                  <a:pt x="6028092" y="1239533"/>
                  <a:pt x="6046278" y="1224996"/>
                </a:cubicBezTo>
                <a:cubicBezTo>
                  <a:pt x="6059712" y="1216363"/>
                  <a:pt x="6073528" y="1211285"/>
                  <a:pt x="6090072" y="1214902"/>
                </a:cubicBezTo>
                <a:cubicBezTo>
                  <a:pt x="6106616" y="1218519"/>
                  <a:pt x="6122587" y="1216804"/>
                  <a:pt x="6138368" y="1213313"/>
                </a:cubicBezTo>
                <a:cubicBezTo>
                  <a:pt x="6155733" y="1207853"/>
                  <a:pt x="6175064" y="1203980"/>
                  <a:pt x="6190787" y="1216674"/>
                </a:cubicBezTo>
                <a:cubicBezTo>
                  <a:pt x="6208285" y="1229177"/>
                  <a:pt x="6216586" y="1222893"/>
                  <a:pt x="6227673" y="1209119"/>
                </a:cubicBezTo>
                <a:cubicBezTo>
                  <a:pt x="6243893" y="1192996"/>
                  <a:pt x="6254541" y="1191853"/>
                  <a:pt x="6272229" y="1206133"/>
                </a:cubicBezTo>
                <a:cubicBezTo>
                  <a:pt x="6277935" y="1209116"/>
                  <a:pt x="6282057" y="1214067"/>
                  <a:pt x="6285988" y="1217240"/>
                </a:cubicBezTo>
                <a:cubicBezTo>
                  <a:pt x="6301711" y="1229933"/>
                  <a:pt x="6318064" y="1231773"/>
                  <a:pt x="6337395" y="1227900"/>
                </a:cubicBezTo>
                <a:cubicBezTo>
                  <a:pt x="6353176" y="1224409"/>
                  <a:pt x="6357164" y="1211397"/>
                  <a:pt x="6361153" y="1198385"/>
                </a:cubicBezTo>
                <a:cubicBezTo>
                  <a:pt x="6366534" y="1181627"/>
                  <a:pt x="6386303" y="1165123"/>
                  <a:pt x="6399489" y="1170899"/>
                </a:cubicBezTo>
                <a:cubicBezTo>
                  <a:pt x="6429410" y="1182068"/>
                  <a:pt x="6445821" y="1167723"/>
                  <a:pt x="6465781" y="1152996"/>
                </a:cubicBezTo>
                <a:cubicBezTo>
                  <a:pt x="6470913" y="1150647"/>
                  <a:pt x="6478012" y="1149885"/>
                  <a:pt x="6483145" y="1147536"/>
                </a:cubicBezTo>
                <a:cubicBezTo>
                  <a:pt x="6514707" y="1140553"/>
                  <a:pt x="6547987" y="1149564"/>
                  <a:pt x="6583097" y="1142200"/>
                </a:cubicBezTo>
                <a:cubicBezTo>
                  <a:pt x="6570046" y="1154386"/>
                  <a:pt x="6565866" y="1165622"/>
                  <a:pt x="6563843" y="1180221"/>
                </a:cubicBezTo>
                <a:cubicBezTo>
                  <a:pt x="6562641" y="1185743"/>
                  <a:pt x="6563404" y="1192851"/>
                  <a:pt x="6558462" y="1196977"/>
                </a:cubicBezTo>
                <a:cubicBezTo>
                  <a:pt x="6553710" y="1202881"/>
                  <a:pt x="6550924" y="1210371"/>
                  <a:pt x="6558595" y="1214940"/>
                </a:cubicBezTo>
                <a:cubicBezTo>
                  <a:pt x="6566266" y="1219510"/>
                  <a:pt x="6571399" y="1217161"/>
                  <a:pt x="6576151" y="1211258"/>
                </a:cubicBezTo>
                <a:cubicBezTo>
                  <a:pt x="6582486" y="1203386"/>
                  <a:pt x="6587047" y="1195706"/>
                  <a:pt x="6593382" y="1187836"/>
                </a:cubicBezTo>
                <a:cubicBezTo>
                  <a:pt x="6597943" y="1180155"/>
                  <a:pt x="6603458" y="1181361"/>
                  <a:pt x="6607960" y="1189866"/>
                </a:cubicBezTo>
                <a:cubicBezTo>
                  <a:pt x="6612273" y="1196594"/>
                  <a:pt x="6613036" y="1203702"/>
                  <a:pt x="6620708" y="1208272"/>
                </a:cubicBezTo>
                <a:cubicBezTo>
                  <a:pt x="6652976" y="1224582"/>
                  <a:pt x="6688086" y="1217218"/>
                  <a:pt x="6710260" y="1189670"/>
                </a:cubicBezTo>
                <a:cubicBezTo>
                  <a:pt x="6716787" y="1183576"/>
                  <a:pt x="6723121" y="1175706"/>
                  <a:pt x="6729458" y="1167834"/>
                </a:cubicBezTo>
                <a:cubicBezTo>
                  <a:pt x="6730221" y="1174943"/>
                  <a:pt x="6730984" y="1182052"/>
                  <a:pt x="6729972" y="1189351"/>
                </a:cubicBezTo>
                <a:cubicBezTo>
                  <a:pt x="6731689" y="1205346"/>
                  <a:pt x="6737395" y="1208329"/>
                  <a:pt x="6751210" y="1203251"/>
                </a:cubicBezTo>
                <a:cubicBezTo>
                  <a:pt x="6761667" y="1200330"/>
                  <a:pt x="6770349" y="1197601"/>
                  <a:pt x="6780616" y="1192903"/>
                </a:cubicBezTo>
                <a:cubicBezTo>
                  <a:pt x="6792657" y="1188015"/>
                  <a:pt x="6797217" y="1180335"/>
                  <a:pt x="6795882" y="1167894"/>
                </a:cubicBezTo>
                <a:cubicBezTo>
                  <a:pt x="6792772" y="1155644"/>
                  <a:pt x="6784719" y="1147520"/>
                  <a:pt x="6783384" y="1135079"/>
                </a:cubicBezTo>
                <a:cubicBezTo>
                  <a:pt x="6794795" y="1141045"/>
                  <a:pt x="6802657" y="1147392"/>
                  <a:pt x="6812293" y="1153549"/>
                </a:cubicBezTo>
                <a:cubicBezTo>
                  <a:pt x="6821929" y="1159705"/>
                  <a:pt x="6830803" y="1158752"/>
                  <a:pt x="6838913" y="1150690"/>
                </a:cubicBezTo>
                <a:cubicBezTo>
                  <a:pt x="6869196" y="1115081"/>
                  <a:pt x="6879844" y="1113938"/>
                  <a:pt x="6923141" y="1132660"/>
                </a:cubicBezTo>
                <a:cubicBezTo>
                  <a:pt x="6945582" y="1141037"/>
                  <a:pt x="6981895" y="1128150"/>
                  <a:pt x="6988479" y="1105871"/>
                </a:cubicBezTo>
                <a:cubicBezTo>
                  <a:pt x="6990883" y="1094827"/>
                  <a:pt x="6994623" y="1096223"/>
                  <a:pt x="7003687" y="1097048"/>
                </a:cubicBezTo>
                <a:cubicBezTo>
                  <a:pt x="7027330" y="1099902"/>
                  <a:pt x="7030689" y="1097744"/>
                  <a:pt x="7042596" y="1074894"/>
                </a:cubicBezTo>
                <a:cubicBezTo>
                  <a:pt x="7042405" y="1073117"/>
                  <a:pt x="7042214" y="1071339"/>
                  <a:pt x="7043990" y="1071149"/>
                </a:cubicBezTo>
                <a:cubicBezTo>
                  <a:pt x="7048550" y="1063469"/>
                  <a:pt x="7053492" y="1059343"/>
                  <a:pt x="7062365" y="1058390"/>
                </a:cubicBezTo>
                <a:cubicBezTo>
                  <a:pt x="7073013" y="1057247"/>
                  <a:pt x="7070419" y="1066514"/>
                  <a:pt x="7072765" y="1071655"/>
                </a:cubicBezTo>
                <a:cubicBezTo>
                  <a:pt x="7079997" y="1088856"/>
                  <a:pt x="7085893" y="1093615"/>
                  <a:pt x="7100911" y="1083015"/>
                </a:cubicBezTo>
                <a:cubicBezTo>
                  <a:pt x="7122837" y="1069875"/>
                  <a:pt x="7145716" y="1065621"/>
                  <a:pt x="7170562" y="1062954"/>
                </a:cubicBezTo>
                <a:cubicBezTo>
                  <a:pt x="7188307" y="1061049"/>
                  <a:pt x="7205672" y="1055589"/>
                  <a:pt x="7222656" y="1046575"/>
                </a:cubicBezTo>
                <a:cubicBezTo>
                  <a:pt x="7229373" y="1042259"/>
                  <a:pt x="7233113" y="1043655"/>
                  <a:pt x="7237425" y="1050383"/>
                </a:cubicBezTo>
                <a:cubicBezTo>
                  <a:pt x="7242625" y="1057015"/>
                  <a:pt x="7249361" y="1061236"/>
                  <a:pt x="7256769" y="1063362"/>
                </a:cubicBezTo>
                <a:lnTo>
                  <a:pt x="7272553" y="1063640"/>
                </a:lnTo>
                <a:lnTo>
                  <a:pt x="7330857" y="1037935"/>
                </a:lnTo>
                <a:lnTo>
                  <a:pt x="7328466" y="1028924"/>
                </a:lnTo>
                <a:cubicBezTo>
                  <a:pt x="7329463" y="1025671"/>
                  <a:pt x="7332331" y="1023116"/>
                  <a:pt x="7336672" y="1021751"/>
                </a:cubicBezTo>
                <a:cubicBezTo>
                  <a:pt x="7362719" y="1013563"/>
                  <a:pt x="7379950" y="990140"/>
                  <a:pt x="7399720" y="973636"/>
                </a:cubicBezTo>
                <a:cubicBezTo>
                  <a:pt x="7427599" y="949071"/>
                  <a:pt x="7457826" y="929646"/>
                  <a:pt x="7494712" y="922091"/>
                </a:cubicBezTo>
                <a:cubicBezTo>
                  <a:pt x="7505360" y="920948"/>
                  <a:pt x="7507516" y="924312"/>
                  <a:pt x="7506696" y="933389"/>
                </a:cubicBezTo>
                <a:cubicBezTo>
                  <a:pt x="7508222" y="947606"/>
                  <a:pt x="7498337" y="955858"/>
                  <a:pt x="7488452" y="964110"/>
                </a:cubicBezTo>
                <a:cubicBezTo>
                  <a:pt x="7482116" y="971981"/>
                  <a:pt x="7480914" y="977503"/>
                  <a:pt x="7487192" y="985818"/>
                </a:cubicBezTo>
                <a:cubicBezTo>
                  <a:pt x="7493280" y="992355"/>
                  <a:pt x="7500187" y="989816"/>
                  <a:pt x="7507095" y="987276"/>
                </a:cubicBezTo>
                <a:cubicBezTo>
                  <a:pt x="7515586" y="982770"/>
                  <a:pt x="7525662" y="976295"/>
                  <a:pt x="7534154" y="971788"/>
                </a:cubicBezTo>
                <a:cubicBezTo>
                  <a:pt x="7539097" y="967662"/>
                  <a:pt x="7547397" y="961377"/>
                  <a:pt x="7553484" y="967915"/>
                </a:cubicBezTo>
                <a:cubicBezTo>
                  <a:pt x="7557415" y="971089"/>
                  <a:pt x="7557796" y="974643"/>
                  <a:pt x="7556847" y="978340"/>
                </a:cubicBezTo>
                <a:lnTo>
                  <a:pt x="7556614" y="978908"/>
                </a:lnTo>
                <a:lnTo>
                  <a:pt x="7582152" y="972345"/>
                </a:lnTo>
                <a:cubicBezTo>
                  <a:pt x="7592370" y="969371"/>
                  <a:pt x="7601660" y="965862"/>
                  <a:pt x="7608680" y="960875"/>
                </a:cubicBezTo>
                <a:lnTo>
                  <a:pt x="7628292" y="949162"/>
                </a:lnTo>
                <a:lnTo>
                  <a:pt x="7646643" y="932746"/>
                </a:lnTo>
                <a:cubicBezTo>
                  <a:pt x="7683834" y="894598"/>
                  <a:pt x="7716905" y="851497"/>
                  <a:pt x="7758028" y="816522"/>
                </a:cubicBezTo>
                <a:cubicBezTo>
                  <a:pt x="7761386" y="814364"/>
                  <a:pt x="7764362" y="808651"/>
                  <a:pt x="7770068" y="811634"/>
                </a:cubicBezTo>
                <a:cubicBezTo>
                  <a:pt x="7775774" y="814617"/>
                  <a:pt x="7778121" y="819758"/>
                  <a:pt x="7776918" y="825281"/>
                </a:cubicBezTo>
                <a:cubicBezTo>
                  <a:pt x="7778064" y="835944"/>
                  <a:pt x="7775658" y="846988"/>
                  <a:pt x="7773255" y="858033"/>
                </a:cubicBezTo>
                <a:lnTo>
                  <a:pt x="7772975" y="874257"/>
                </a:lnTo>
                <a:lnTo>
                  <a:pt x="7843506" y="838389"/>
                </a:lnTo>
                <a:cubicBezTo>
                  <a:pt x="7877304" y="808167"/>
                  <a:pt x="7945101" y="774079"/>
                  <a:pt x="7981704" y="751474"/>
                </a:cubicBezTo>
                <a:cubicBezTo>
                  <a:pt x="8006593" y="733423"/>
                  <a:pt x="8031197" y="733374"/>
                  <a:pt x="8054850" y="733676"/>
                </a:cubicBezTo>
                <a:lnTo>
                  <a:pt x="8066046" y="733194"/>
                </a:lnTo>
                <a:lnTo>
                  <a:pt x="8075227" y="724831"/>
                </a:lnTo>
                <a:cubicBezTo>
                  <a:pt x="8083444" y="714623"/>
                  <a:pt x="8090459" y="702634"/>
                  <a:pt x="8096126" y="688543"/>
                </a:cubicBezTo>
                <a:cubicBezTo>
                  <a:pt x="8104867" y="669629"/>
                  <a:pt x="8119503" y="655473"/>
                  <a:pt x="8140607" y="651410"/>
                </a:cubicBezTo>
                <a:cubicBezTo>
                  <a:pt x="8149290" y="648680"/>
                  <a:pt x="8157973" y="645950"/>
                  <a:pt x="8166845" y="644998"/>
                </a:cubicBezTo>
                <a:cubicBezTo>
                  <a:pt x="8185985" y="639348"/>
                  <a:pt x="8203541" y="635665"/>
                  <a:pt x="8214055" y="616559"/>
                </a:cubicBezTo>
                <a:cubicBezTo>
                  <a:pt x="8223177" y="601198"/>
                  <a:pt x="8226535" y="599040"/>
                  <a:pt x="8237125" y="614083"/>
                </a:cubicBezTo>
                <a:lnTo>
                  <a:pt x="8244022" y="618291"/>
                </a:lnTo>
                <a:lnTo>
                  <a:pt x="8254067" y="602616"/>
                </a:lnTo>
                <a:cubicBezTo>
                  <a:pt x="8257665" y="597868"/>
                  <a:pt x="8261395" y="594212"/>
                  <a:pt x="8265389" y="592742"/>
                </a:cubicBezTo>
                <a:cubicBezTo>
                  <a:pt x="8273379" y="589801"/>
                  <a:pt x="8279403" y="589295"/>
                  <a:pt x="8284443" y="590007"/>
                </a:cubicBezTo>
                <a:lnTo>
                  <a:pt x="8292801" y="592911"/>
                </a:lnTo>
                <a:lnTo>
                  <a:pt x="8294241" y="592222"/>
                </a:lnTo>
                <a:cubicBezTo>
                  <a:pt x="8294319" y="590864"/>
                  <a:pt x="8293685" y="589135"/>
                  <a:pt x="8293590" y="588247"/>
                </a:cubicBezTo>
                <a:cubicBezTo>
                  <a:pt x="8286549" y="572823"/>
                  <a:pt x="8292121" y="557843"/>
                  <a:pt x="8292369" y="543435"/>
                </a:cubicBezTo>
                <a:cubicBezTo>
                  <a:pt x="8292807" y="530804"/>
                  <a:pt x="8303265" y="527884"/>
                  <a:pt x="8314103" y="528518"/>
                </a:cubicBezTo>
                <a:cubicBezTo>
                  <a:pt x="8323169" y="529343"/>
                  <a:pt x="8325897" y="538038"/>
                  <a:pt x="8324885" y="545337"/>
                </a:cubicBezTo>
                <a:cubicBezTo>
                  <a:pt x="8324255" y="556191"/>
                  <a:pt x="8325399" y="566854"/>
                  <a:pt x="8324579" y="575931"/>
                </a:cubicBezTo>
                <a:cubicBezTo>
                  <a:pt x="8335093" y="556826"/>
                  <a:pt x="8342060" y="538101"/>
                  <a:pt x="8350800" y="519185"/>
                </a:cubicBezTo>
                <a:lnTo>
                  <a:pt x="8355635" y="511126"/>
                </a:lnTo>
                <a:lnTo>
                  <a:pt x="8354614" y="511544"/>
                </a:lnTo>
                <a:cubicBezTo>
                  <a:pt x="8248182" y="551867"/>
                  <a:pt x="8135762" y="582081"/>
                  <a:pt x="8088574" y="577110"/>
                </a:cubicBezTo>
                <a:cubicBezTo>
                  <a:pt x="8082655" y="561029"/>
                  <a:pt x="7852040" y="655057"/>
                  <a:pt x="7837751" y="642059"/>
                </a:cubicBezTo>
                <a:cubicBezTo>
                  <a:pt x="7863943" y="614638"/>
                  <a:pt x="8091597" y="512570"/>
                  <a:pt x="8139529" y="494925"/>
                </a:cubicBezTo>
                <a:cubicBezTo>
                  <a:pt x="8169034" y="502322"/>
                  <a:pt x="8350363" y="408180"/>
                  <a:pt x="8394729" y="383197"/>
                </a:cubicBezTo>
                <a:cubicBezTo>
                  <a:pt x="8467780" y="337564"/>
                  <a:pt x="8628285" y="294813"/>
                  <a:pt x="8726766" y="222040"/>
                </a:cubicBezTo>
                <a:cubicBezTo>
                  <a:pt x="8768174" y="189018"/>
                  <a:pt x="8817375" y="137269"/>
                  <a:pt x="8917482" y="118196"/>
                </a:cubicBezTo>
                <a:cubicBezTo>
                  <a:pt x="8960766" y="111390"/>
                  <a:pt x="9092409" y="126353"/>
                  <a:pt x="9129013" y="103749"/>
                </a:cubicBezTo>
                <a:cubicBezTo>
                  <a:pt x="9141875" y="89404"/>
                  <a:pt x="9148523" y="60528"/>
                  <a:pt x="9161540" y="46606"/>
                </a:cubicBezTo>
                <a:cubicBezTo>
                  <a:pt x="9206513" y="20921"/>
                  <a:pt x="9212433" y="37001"/>
                  <a:pt x="9253685" y="3556"/>
                </a:cubicBezTo>
                <a:cubicBezTo>
                  <a:pt x="9270017" y="24451"/>
                  <a:pt x="9310851" y="36807"/>
                  <a:pt x="9350413" y="22243"/>
                </a:cubicBezTo>
                <a:cubicBezTo>
                  <a:pt x="9347299" y="13780"/>
                  <a:pt x="9354908" y="10978"/>
                  <a:pt x="9361233" y="0"/>
                </a:cubicBez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1031844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sp>
        <p:nvSpPr>
          <p:cNvPr id="2" name="Rectangle 1"/>
          <p:cNvSpPr/>
          <p:nvPr userDrawn="1"/>
        </p:nvSpPr>
        <p:spPr>
          <a:xfrm>
            <a:off x="5781047" y="260648"/>
            <a:ext cx="5952661" cy="633670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4" name="Picture Placeholder 2"/>
          <p:cNvSpPr>
            <a:spLocks noGrp="1"/>
          </p:cNvSpPr>
          <p:nvPr>
            <p:ph type="pic" idx="14" hasCustomPrompt="1"/>
          </p:nvPr>
        </p:nvSpPr>
        <p:spPr>
          <a:xfrm>
            <a:off x="734769" y="1196752"/>
            <a:ext cx="10849205" cy="3456384"/>
          </a:xfrm>
          <a:prstGeom prst="rect">
            <a:avLst/>
          </a:prstGeom>
          <a:solidFill>
            <a:schemeClr val="bg1">
              <a:lumMod val="95000"/>
            </a:schemeClr>
          </a:solidFill>
          <a:ln w="19050">
            <a:solidFill>
              <a:schemeClr val="bg1">
                <a:lumMod val="65000"/>
              </a:schemeClr>
            </a:solidFill>
          </a:ln>
        </p:spPr>
        <p:txBody>
          <a:bodyPr anchor="ctr"/>
          <a:lstStyle>
            <a:lvl1pPr marL="0" indent="0" algn="ctr">
              <a:buNone/>
              <a:defRPr sz="1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제목 1"/>
          <p:cNvSpPr>
            <a:spLocks noGrp="1"/>
          </p:cNvSpPr>
          <p:nvPr>
            <p:ph type="title" hasCustomPrompt="1"/>
          </p:nvPr>
        </p:nvSpPr>
        <p:spPr>
          <a:xfrm>
            <a:off x="0" y="269852"/>
            <a:ext cx="12192000" cy="710877"/>
          </a:xfrm>
          <a:prstGeom prst="rect">
            <a:avLst/>
          </a:prstGeom>
        </p:spPr>
        <p:txBody>
          <a:bodyPr anchor="ctr">
            <a:noAutofit/>
          </a:bodyPr>
          <a:lstStyle>
            <a:lvl1pPr algn="ctr">
              <a:defRPr sz="48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grpSp>
        <p:nvGrpSpPr>
          <p:cNvPr id="6" name="그룹 5">
            <a:extLst>
              <a:ext uri="{FF2B5EF4-FFF2-40B4-BE49-F238E27FC236}">
                <a16:creationId xmlns:a16="http://schemas.microsoft.com/office/drawing/2014/main" id="{22A4CB6F-7C9C-4340-8102-6603FA2A78DA}"/>
              </a:ext>
            </a:extLst>
          </p:cNvPr>
          <p:cNvGrpSpPr/>
          <p:nvPr userDrawn="1"/>
        </p:nvGrpSpPr>
        <p:grpSpPr>
          <a:xfrm rot="16200000">
            <a:off x="10717958" y="5625244"/>
            <a:ext cx="720080" cy="720080"/>
            <a:chOff x="546346" y="5762189"/>
            <a:chExt cx="720080" cy="720080"/>
          </a:xfrm>
        </p:grpSpPr>
        <p:sp>
          <p:nvSpPr>
            <p:cNvPr id="8" name="직사각형 7">
              <a:extLst>
                <a:ext uri="{FF2B5EF4-FFF2-40B4-BE49-F238E27FC236}">
                  <a16:creationId xmlns:a16="http://schemas.microsoft.com/office/drawing/2014/main" id="{68678E57-298A-4132-B4F7-BE72C9826DD2}"/>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직사각형 8">
              <a:extLst>
                <a:ext uri="{FF2B5EF4-FFF2-40B4-BE49-F238E27FC236}">
                  <a16:creationId xmlns:a16="http://schemas.microsoft.com/office/drawing/2014/main" id="{9C84B1A6-ADB3-465D-B651-2B4F073AD8AB}"/>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066520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8_Images &amp; Contents Layout">
    <p:spTree>
      <p:nvGrpSpPr>
        <p:cNvPr id="1" name=""/>
        <p:cNvGrpSpPr/>
        <p:nvPr/>
      </p:nvGrpSpPr>
      <p:grpSpPr>
        <a:xfrm>
          <a:off x="0" y="0"/>
          <a:ext cx="0" cy="0"/>
          <a:chOff x="0" y="0"/>
          <a:chExt cx="0" cy="0"/>
        </a:xfrm>
      </p:grpSpPr>
      <p:sp>
        <p:nvSpPr>
          <p:cNvPr id="14" name="Rectangle 13"/>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6" name="Picture Placeholder 15"/>
          <p:cNvSpPr>
            <a:spLocks noGrp="1"/>
          </p:cNvSpPr>
          <p:nvPr>
            <p:ph type="pic" sz="quarter" idx="10" hasCustomPrompt="1"/>
          </p:nvPr>
        </p:nvSpPr>
        <p:spPr>
          <a:xfrm>
            <a:off x="948984" y="1526647"/>
            <a:ext cx="4186909" cy="3014671"/>
          </a:xfrm>
          <a:prstGeom prst="rect">
            <a:avLst/>
          </a:prstGeom>
          <a:solidFill>
            <a:schemeClr val="bg1">
              <a:lumMod val="95000"/>
            </a:schemeClr>
          </a:solidFill>
        </p:spPr>
        <p:txBody>
          <a:bodyPr lIns="360000" tIns="360000" anchor="ctr"/>
          <a:lstStyle>
            <a:lvl1pPr marL="0" indent="0" algn="ctr">
              <a:buNone/>
              <a:defRPr sz="1200" baseline="0">
                <a:latin typeface="+mn-lt"/>
                <a:cs typeface="Arial" pitchFamily="34" charset="0"/>
              </a:defRPr>
            </a:lvl1pPr>
          </a:lstStyle>
          <a:p>
            <a:r>
              <a:rPr lang="en-US" altLang="ko-KR" dirty="0"/>
              <a:t>Insert Your Images</a:t>
            </a:r>
            <a:endParaRPr lang="ko-KR" altLang="en-US" dirty="0"/>
          </a:p>
        </p:txBody>
      </p:sp>
      <p:sp>
        <p:nvSpPr>
          <p:cNvPr id="22" name="Picture Placeholder 15"/>
          <p:cNvSpPr>
            <a:spLocks noGrp="1"/>
          </p:cNvSpPr>
          <p:nvPr>
            <p:ph type="pic" sz="quarter" idx="11" hasCustomPrompt="1"/>
          </p:nvPr>
        </p:nvSpPr>
        <p:spPr>
          <a:xfrm>
            <a:off x="7056108" y="1526647"/>
            <a:ext cx="4175763" cy="3014671"/>
          </a:xfrm>
          <a:prstGeom prst="rect">
            <a:avLst/>
          </a:prstGeom>
          <a:solidFill>
            <a:schemeClr val="bg1">
              <a:lumMod val="95000"/>
            </a:schemeClr>
          </a:solidFill>
        </p:spPr>
        <p:txBody>
          <a:bodyPr lIns="360000" tIns="360000" anchor="ctr"/>
          <a:lstStyle>
            <a:lvl1pPr marL="0" indent="0" algn="ctr">
              <a:buNone/>
              <a:defRPr sz="1200" baseline="0">
                <a:latin typeface="+mn-lt"/>
                <a:cs typeface="Arial" pitchFamily="34" charset="0"/>
              </a:defRPr>
            </a:lvl1pPr>
          </a:lstStyle>
          <a:p>
            <a:r>
              <a:rPr lang="en-US" altLang="ko-KR" dirty="0"/>
              <a:t>Insert Your Images</a:t>
            </a:r>
            <a:endParaRPr lang="ko-KR" altLang="en-US" dirty="0"/>
          </a:p>
        </p:txBody>
      </p:sp>
      <p:sp>
        <p:nvSpPr>
          <p:cNvPr id="13" name="제목 1">
            <a:extLst>
              <a:ext uri="{FF2B5EF4-FFF2-40B4-BE49-F238E27FC236}">
                <a16:creationId xmlns:a16="http://schemas.microsoft.com/office/drawing/2014/main" id="{0AAFB73F-6F54-464A-BD52-927273969518}"/>
              </a:ext>
            </a:extLst>
          </p:cNvPr>
          <p:cNvSpPr>
            <a:spLocks noGrp="1"/>
          </p:cNvSpPr>
          <p:nvPr>
            <p:ph type="title" hasCustomPrompt="1"/>
          </p:nvPr>
        </p:nvSpPr>
        <p:spPr>
          <a:xfrm>
            <a:off x="0" y="269852"/>
            <a:ext cx="12192000" cy="710877"/>
          </a:xfrm>
          <a:prstGeom prst="rect">
            <a:avLst/>
          </a:prstGeom>
        </p:spPr>
        <p:txBody>
          <a:bodyPr anchor="ctr">
            <a:noAutofit/>
          </a:bodyPr>
          <a:lstStyle>
            <a:lvl1pPr algn="ctr">
              <a:defRPr sz="48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spTree>
    <p:extLst>
      <p:ext uri="{BB962C8B-B14F-4D97-AF65-F5344CB8AC3E}">
        <p14:creationId xmlns:p14="http://schemas.microsoft.com/office/powerpoint/2010/main" val="25284102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0" y="3429000"/>
            <a:ext cx="6096000" cy="3429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0" y="0"/>
            <a:ext cx="6096000" cy="3429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Rectangle 3"/>
          <p:cNvSpPr/>
          <p:nvPr userDrawn="1"/>
        </p:nvSpPr>
        <p:spPr>
          <a:xfrm>
            <a:off x="609600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p>
        </p:txBody>
      </p:sp>
      <p:sp>
        <p:nvSpPr>
          <p:cNvPr id="5" name="Rectangle 4"/>
          <p:cNvSpPr/>
          <p:nvPr userDrawn="1"/>
        </p:nvSpPr>
        <p:spPr>
          <a:xfrm>
            <a:off x="7056000" y="766354"/>
            <a:ext cx="5136000" cy="6091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p>
        </p:txBody>
      </p:sp>
    </p:spTree>
    <p:extLst>
      <p:ext uri="{BB962C8B-B14F-4D97-AF65-F5344CB8AC3E}">
        <p14:creationId xmlns:p14="http://schemas.microsoft.com/office/powerpoint/2010/main" val="33176691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Images and Contents Layout">
    <p:spTree>
      <p:nvGrpSpPr>
        <p:cNvPr id="1" name=""/>
        <p:cNvGrpSpPr/>
        <p:nvPr/>
      </p:nvGrpSpPr>
      <p:grpSpPr>
        <a:xfrm>
          <a:off x="0" y="0"/>
          <a:ext cx="0" cy="0"/>
          <a:chOff x="0" y="0"/>
          <a:chExt cx="0" cy="0"/>
        </a:xfrm>
      </p:grpSpPr>
      <p:sp>
        <p:nvSpPr>
          <p:cNvPr id="6" name="Picture Placeholder 2"/>
          <p:cNvSpPr>
            <a:spLocks noGrp="1"/>
          </p:cNvSpPr>
          <p:nvPr>
            <p:ph type="pic" idx="18" hasCustomPrompt="1"/>
          </p:nvPr>
        </p:nvSpPr>
        <p:spPr>
          <a:xfrm>
            <a:off x="3681556" y="4363"/>
            <a:ext cx="3504000" cy="6858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9" hasCustomPrompt="1"/>
          </p:nvPr>
        </p:nvSpPr>
        <p:spPr>
          <a:xfrm>
            <a:off x="0" y="0"/>
            <a:ext cx="3504000" cy="3356992"/>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20" hasCustomPrompt="1"/>
          </p:nvPr>
        </p:nvSpPr>
        <p:spPr>
          <a:xfrm>
            <a:off x="0" y="3501008"/>
            <a:ext cx="3504000" cy="3356992"/>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grpSp>
        <p:nvGrpSpPr>
          <p:cNvPr id="9" name="그룹 8">
            <a:extLst>
              <a:ext uri="{FF2B5EF4-FFF2-40B4-BE49-F238E27FC236}">
                <a16:creationId xmlns:a16="http://schemas.microsoft.com/office/drawing/2014/main" id="{C5C9FD68-7835-4F80-BE0C-09C5D602A481}"/>
              </a:ext>
            </a:extLst>
          </p:cNvPr>
          <p:cNvGrpSpPr/>
          <p:nvPr userDrawn="1"/>
        </p:nvGrpSpPr>
        <p:grpSpPr>
          <a:xfrm rot="10800000">
            <a:off x="11114869" y="393901"/>
            <a:ext cx="720080" cy="720080"/>
            <a:chOff x="546346" y="5762189"/>
            <a:chExt cx="720080" cy="720080"/>
          </a:xfrm>
          <a:solidFill>
            <a:schemeClr val="accent1"/>
          </a:solidFill>
        </p:grpSpPr>
        <p:sp>
          <p:nvSpPr>
            <p:cNvPr id="10" name="직사각형 9">
              <a:extLst>
                <a:ext uri="{FF2B5EF4-FFF2-40B4-BE49-F238E27FC236}">
                  <a16:creationId xmlns:a16="http://schemas.microsoft.com/office/drawing/2014/main" id="{E16EA3C4-78F0-44A2-B310-C44774DC3C19}"/>
                </a:ext>
              </a:extLst>
            </p:cNvPr>
            <p:cNvSpPr/>
            <p:nvPr/>
          </p:nvSpPr>
          <p:spPr>
            <a:xfrm>
              <a:off x="546346" y="5762189"/>
              <a:ext cx="180000"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2EE6D61C-1E71-469D-A9B7-45E08AADB143}"/>
                </a:ext>
              </a:extLst>
            </p:cNvPr>
            <p:cNvSpPr/>
            <p:nvPr/>
          </p:nvSpPr>
          <p:spPr>
            <a:xfrm rot="5400000">
              <a:off x="906386" y="6122229"/>
              <a:ext cx="180000" cy="54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4017320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Images and Contents Layout">
    <p:spTree>
      <p:nvGrpSpPr>
        <p:cNvPr id="1" name=""/>
        <p:cNvGrpSpPr/>
        <p:nvPr/>
      </p:nvGrpSpPr>
      <p:grpSpPr>
        <a:xfrm>
          <a:off x="0" y="0"/>
          <a:ext cx="0" cy="0"/>
          <a:chOff x="0" y="0"/>
          <a:chExt cx="0" cy="0"/>
        </a:xfrm>
      </p:grpSpPr>
      <p:sp>
        <p:nvSpPr>
          <p:cNvPr id="5" name="Picture Placeholder 2"/>
          <p:cNvSpPr>
            <a:spLocks noGrp="1"/>
          </p:cNvSpPr>
          <p:nvPr>
            <p:ph type="pic" idx="11" hasCustomPrompt="1"/>
          </p:nvPr>
        </p:nvSpPr>
        <p:spPr>
          <a:xfrm>
            <a:off x="618000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2" hasCustomPrompt="1"/>
          </p:nvPr>
        </p:nvSpPr>
        <p:spPr>
          <a:xfrm>
            <a:off x="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3" hasCustomPrompt="1"/>
          </p:nvPr>
        </p:nvSpPr>
        <p:spPr>
          <a:xfrm>
            <a:off x="618000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14" hasCustomPrompt="1"/>
          </p:nvPr>
        </p:nvSpPr>
        <p:spPr>
          <a:xfrm>
            <a:off x="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2" name="Rectangle 1"/>
          <p:cNvSpPr/>
          <p:nvPr userDrawn="1"/>
        </p:nvSpPr>
        <p:spPr>
          <a:xfrm>
            <a:off x="226423" y="2528900"/>
            <a:ext cx="11739154" cy="1800200"/>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3552930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Section Break Layout">
    <p:bg>
      <p:bgPr>
        <a:solidFill>
          <a:schemeClr val="bg1"/>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0" y="2286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4063200" y="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Picture Placeholder 2"/>
          <p:cNvSpPr>
            <a:spLocks noGrp="1"/>
          </p:cNvSpPr>
          <p:nvPr>
            <p:ph type="pic" idx="11" hasCustomPrompt="1"/>
          </p:nvPr>
        </p:nvSpPr>
        <p:spPr>
          <a:xfrm>
            <a:off x="8126400" y="2286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Picture Placeholder 2"/>
          <p:cNvSpPr>
            <a:spLocks noGrp="1"/>
          </p:cNvSpPr>
          <p:nvPr>
            <p:ph type="pic" idx="12" hasCustomPrompt="1"/>
          </p:nvPr>
        </p:nvSpPr>
        <p:spPr>
          <a:xfrm>
            <a:off x="4063200" y="4572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Rectangle 5"/>
          <p:cNvSpPr/>
          <p:nvPr userDrawn="1"/>
        </p:nvSpPr>
        <p:spPr>
          <a:xfrm>
            <a:off x="4063200" y="2276872"/>
            <a:ext cx="4063200" cy="2304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3038690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Images &amp; Contents Layou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719402" y="539930"/>
            <a:ext cx="10728000" cy="41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dirty="0">
              <a:latin typeface="+mn-lt"/>
            </a:endParaRPr>
          </a:p>
        </p:txBody>
      </p:sp>
      <p:sp>
        <p:nvSpPr>
          <p:cNvPr id="3" name="Picture Placeholder 2"/>
          <p:cNvSpPr>
            <a:spLocks noGrp="1"/>
          </p:cNvSpPr>
          <p:nvPr>
            <p:ph type="pic" idx="11" hasCustomPrompt="1"/>
          </p:nvPr>
        </p:nvSpPr>
        <p:spPr>
          <a:xfrm>
            <a:off x="8827363" y="686435"/>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4" name="Picture Placeholder 2"/>
          <p:cNvSpPr>
            <a:spLocks noGrp="1"/>
          </p:cNvSpPr>
          <p:nvPr>
            <p:ph type="pic" idx="12" hasCustomPrompt="1"/>
          </p:nvPr>
        </p:nvSpPr>
        <p:spPr>
          <a:xfrm>
            <a:off x="6189682" y="2683988"/>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5" name="Picture Placeholder 2"/>
          <p:cNvSpPr>
            <a:spLocks noGrp="1"/>
          </p:cNvSpPr>
          <p:nvPr>
            <p:ph type="pic" idx="13" hasCustomPrompt="1"/>
          </p:nvPr>
        </p:nvSpPr>
        <p:spPr>
          <a:xfrm>
            <a:off x="912000" y="2683988"/>
            <a:ext cx="508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6" name="Picture Placeholder 2"/>
          <p:cNvSpPr>
            <a:spLocks noGrp="1"/>
          </p:cNvSpPr>
          <p:nvPr>
            <p:ph type="pic" idx="14" hasCustomPrompt="1"/>
          </p:nvPr>
        </p:nvSpPr>
        <p:spPr>
          <a:xfrm>
            <a:off x="8827363" y="2683988"/>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7" name="Picture Placeholder 2"/>
          <p:cNvSpPr>
            <a:spLocks noGrp="1"/>
          </p:cNvSpPr>
          <p:nvPr>
            <p:ph type="pic" idx="16" hasCustomPrompt="1"/>
          </p:nvPr>
        </p:nvSpPr>
        <p:spPr>
          <a:xfrm>
            <a:off x="3549682" y="686435"/>
            <a:ext cx="508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8" name="Picture Placeholder 2"/>
          <p:cNvSpPr>
            <a:spLocks noGrp="1"/>
          </p:cNvSpPr>
          <p:nvPr>
            <p:ph type="pic" idx="15" hasCustomPrompt="1"/>
          </p:nvPr>
        </p:nvSpPr>
        <p:spPr>
          <a:xfrm>
            <a:off x="912000" y="686435"/>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pic>
        <p:nvPicPr>
          <p:cNvPr id="15" name="Picture 3">
            <a:extLst>
              <a:ext uri="{FF2B5EF4-FFF2-40B4-BE49-F238E27FC236}">
                <a16:creationId xmlns:a16="http://schemas.microsoft.com/office/drawing/2014/main" id="{D52D9725-5E74-4328-843E-D6EDA8CEAF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16" name="Rectangle 8">
            <a:extLst>
              <a:ext uri="{FF2B5EF4-FFF2-40B4-BE49-F238E27FC236}">
                <a16:creationId xmlns:a16="http://schemas.microsoft.com/office/drawing/2014/main" id="{58CC9FFD-2DE0-441F-93AA-99A732D2BFA8}"/>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8373149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Picture Placeholder 2"/>
          <p:cNvSpPr>
            <a:spLocks noGrp="1"/>
          </p:cNvSpPr>
          <p:nvPr>
            <p:ph type="pic" idx="14" hasCustomPrompt="1"/>
          </p:nvPr>
        </p:nvSpPr>
        <p:spPr>
          <a:xfrm>
            <a:off x="716828" y="3486206"/>
            <a:ext cx="6408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6" hasCustomPrompt="1"/>
          </p:nvPr>
        </p:nvSpPr>
        <p:spPr>
          <a:xfrm>
            <a:off x="9420597" y="3486206"/>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Picture Placeholder 2"/>
          <p:cNvSpPr>
            <a:spLocks noGrp="1"/>
          </p:cNvSpPr>
          <p:nvPr>
            <p:ph type="pic" idx="17" hasCustomPrompt="1"/>
          </p:nvPr>
        </p:nvSpPr>
        <p:spPr>
          <a:xfrm>
            <a:off x="9420597"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Picture Placeholder 2"/>
          <p:cNvSpPr>
            <a:spLocks noGrp="1"/>
          </p:cNvSpPr>
          <p:nvPr>
            <p:ph type="pic" idx="18" hasCustomPrompt="1"/>
          </p:nvPr>
        </p:nvSpPr>
        <p:spPr>
          <a:xfrm>
            <a:off x="716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9" hasCustomPrompt="1"/>
          </p:nvPr>
        </p:nvSpPr>
        <p:spPr>
          <a:xfrm>
            <a:off x="2894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20" hasCustomPrompt="1"/>
          </p:nvPr>
        </p:nvSpPr>
        <p:spPr>
          <a:xfrm>
            <a:off x="5072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Rectangle 7"/>
          <p:cNvSpPr/>
          <p:nvPr userDrawn="1"/>
        </p:nvSpPr>
        <p:spPr>
          <a:xfrm>
            <a:off x="7244655" y="1"/>
            <a:ext cx="2052000"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latin typeface="+mn-lt"/>
            </a:endParaRPr>
          </a:p>
        </p:txBody>
      </p:sp>
    </p:spTree>
    <p:extLst>
      <p:ext uri="{BB962C8B-B14F-4D97-AF65-F5344CB8AC3E}">
        <p14:creationId xmlns:p14="http://schemas.microsoft.com/office/powerpoint/2010/main" val="23861850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9912748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IMAGE AND CONTENTS LAYOUT_27">
    <p:spTree>
      <p:nvGrpSpPr>
        <p:cNvPr id="1" name=""/>
        <p:cNvGrpSpPr/>
        <p:nvPr/>
      </p:nvGrpSpPr>
      <p:grpSpPr>
        <a:xfrm>
          <a:off x="0" y="0"/>
          <a:ext cx="0" cy="0"/>
          <a:chOff x="0" y="0"/>
          <a:chExt cx="0" cy="0"/>
        </a:xfrm>
      </p:grpSpPr>
      <p:sp>
        <p:nvSpPr>
          <p:cNvPr id="7" name="Rectangle 6"/>
          <p:cNvSpPr/>
          <p:nvPr userDrawn="1"/>
        </p:nvSpPr>
        <p:spPr>
          <a:xfrm>
            <a:off x="6093413" y="-1"/>
            <a:ext cx="6096001"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그림 개체 틀 2"/>
          <p:cNvSpPr>
            <a:spLocks noGrp="1"/>
          </p:cNvSpPr>
          <p:nvPr>
            <p:ph type="pic" sz="quarter" idx="46" hasCustomPrompt="1"/>
          </p:nvPr>
        </p:nvSpPr>
        <p:spPr>
          <a:xfrm>
            <a:off x="4533269" y="1150261"/>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2" name="그림 개체 틀 2"/>
          <p:cNvSpPr>
            <a:spLocks noGrp="1"/>
          </p:cNvSpPr>
          <p:nvPr>
            <p:ph type="pic" sz="quarter" idx="61" hasCustomPrompt="1"/>
          </p:nvPr>
        </p:nvSpPr>
        <p:spPr>
          <a:xfrm>
            <a:off x="4533269" y="4561207"/>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5" name="그림 개체 틀 2"/>
          <p:cNvSpPr>
            <a:spLocks noGrp="1"/>
          </p:cNvSpPr>
          <p:nvPr>
            <p:ph type="pic" sz="quarter" idx="63" hasCustomPrompt="1"/>
          </p:nvPr>
        </p:nvSpPr>
        <p:spPr>
          <a:xfrm>
            <a:off x="2883891" y="551019"/>
            <a:ext cx="1548000" cy="234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7" name="그림 개체 틀 2"/>
          <p:cNvSpPr>
            <a:spLocks noGrp="1"/>
          </p:cNvSpPr>
          <p:nvPr>
            <p:ph type="pic" sz="quarter" idx="64" hasCustomPrompt="1"/>
          </p:nvPr>
        </p:nvSpPr>
        <p:spPr>
          <a:xfrm>
            <a:off x="2883891" y="3012492"/>
            <a:ext cx="1548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8" name="그림 개체 틀 2"/>
          <p:cNvSpPr>
            <a:spLocks noGrp="1"/>
          </p:cNvSpPr>
          <p:nvPr>
            <p:ph type="pic" sz="quarter" idx="65" hasCustomPrompt="1"/>
          </p:nvPr>
        </p:nvSpPr>
        <p:spPr>
          <a:xfrm>
            <a:off x="0" y="2321756"/>
            <a:ext cx="2772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0" name="그림 개체 틀 2"/>
          <p:cNvSpPr>
            <a:spLocks noGrp="1"/>
          </p:cNvSpPr>
          <p:nvPr>
            <p:ph type="pic" sz="quarter" idx="66" hasCustomPrompt="1"/>
          </p:nvPr>
        </p:nvSpPr>
        <p:spPr>
          <a:xfrm>
            <a:off x="2890419" y="4393964"/>
            <a:ext cx="1548000" cy="194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1" name="그림 개체 틀 2"/>
          <p:cNvSpPr>
            <a:spLocks noGrp="1"/>
          </p:cNvSpPr>
          <p:nvPr>
            <p:ph type="pic" sz="quarter" idx="67" hasCustomPrompt="1"/>
          </p:nvPr>
        </p:nvSpPr>
        <p:spPr>
          <a:xfrm>
            <a:off x="4533269" y="2855734"/>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2" name="그림 개체 틀 2"/>
          <p:cNvSpPr>
            <a:spLocks noGrp="1"/>
          </p:cNvSpPr>
          <p:nvPr>
            <p:ph type="pic" sz="quarter" idx="68" hasCustomPrompt="1"/>
          </p:nvPr>
        </p:nvSpPr>
        <p:spPr>
          <a:xfrm>
            <a:off x="0" y="3703228"/>
            <a:ext cx="2772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grpSp>
        <p:nvGrpSpPr>
          <p:cNvPr id="16" name="그룹 15">
            <a:extLst>
              <a:ext uri="{FF2B5EF4-FFF2-40B4-BE49-F238E27FC236}">
                <a16:creationId xmlns:a16="http://schemas.microsoft.com/office/drawing/2014/main" id="{682DF790-5B61-453C-8A68-DE24F826568C}"/>
              </a:ext>
            </a:extLst>
          </p:cNvPr>
          <p:cNvGrpSpPr/>
          <p:nvPr userDrawn="1"/>
        </p:nvGrpSpPr>
        <p:grpSpPr>
          <a:xfrm rot="16200000">
            <a:off x="11112593" y="5798497"/>
            <a:ext cx="720080" cy="720080"/>
            <a:chOff x="546346" y="5762189"/>
            <a:chExt cx="720080" cy="720080"/>
          </a:xfrm>
        </p:grpSpPr>
        <p:sp>
          <p:nvSpPr>
            <p:cNvPr id="19" name="직사각형 18">
              <a:extLst>
                <a:ext uri="{FF2B5EF4-FFF2-40B4-BE49-F238E27FC236}">
                  <a16:creationId xmlns:a16="http://schemas.microsoft.com/office/drawing/2014/main" id="{B103BBEB-185D-4042-834B-B0F785AAD3C1}"/>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직사각형 22">
              <a:extLst>
                <a:ext uri="{FF2B5EF4-FFF2-40B4-BE49-F238E27FC236}">
                  <a16:creationId xmlns:a16="http://schemas.microsoft.com/office/drawing/2014/main" id="{65FCF08F-D939-4B33-B561-5EED914B3C5F}"/>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968642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IMAGES LAYOUT">
    <p:spTree>
      <p:nvGrpSpPr>
        <p:cNvPr id="1" name=""/>
        <p:cNvGrpSpPr/>
        <p:nvPr/>
      </p:nvGrpSpPr>
      <p:grpSpPr>
        <a:xfrm>
          <a:off x="0" y="0"/>
          <a:ext cx="0" cy="0"/>
          <a:chOff x="0" y="0"/>
          <a:chExt cx="0" cy="0"/>
        </a:xfrm>
      </p:grpSpPr>
      <p:grpSp>
        <p:nvGrpSpPr>
          <p:cNvPr id="6" name="Group 5"/>
          <p:cNvGrpSpPr/>
          <p:nvPr userDrawn="1"/>
        </p:nvGrpSpPr>
        <p:grpSpPr>
          <a:xfrm flipH="1">
            <a:off x="4268277" y="2096236"/>
            <a:ext cx="7923714" cy="3380234"/>
            <a:chOff x="0" y="1992982"/>
            <a:chExt cx="3028115" cy="3380234"/>
          </a:xfrm>
        </p:grpSpPr>
        <p:sp>
          <p:nvSpPr>
            <p:cNvPr id="7" name="Rectangle 6"/>
            <p:cNvSpPr/>
            <p:nvPr/>
          </p:nvSpPr>
          <p:spPr>
            <a:xfrm>
              <a:off x="0" y="1992982"/>
              <a:ext cx="2958637" cy="338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8" name="Rectangle 7"/>
            <p:cNvSpPr/>
            <p:nvPr/>
          </p:nvSpPr>
          <p:spPr>
            <a:xfrm>
              <a:off x="2986842" y="1992982"/>
              <a:ext cx="41273" cy="338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p>
          </p:txBody>
        </p:sp>
      </p:grpSp>
      <p:pic>
        <p:nvPicPr>
          <p:cNvPr id="15" name="그림 4">
            <a:extLst>
              <a:ext uri="{FF2B5EF4-FFF2-40B4-BE49-F238E27FC236}">
                <a16:creationId xmlns:a16="http://schemas.microsoft.com/office/drawing/2014/main" id="{AA6944F3-318D-44F5-B013-016E59DFBF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447" y="1731899"/>
            <a:ext cx="3675829" cy="4665984"/>
          </a:xfrm>
          <a:prstGeom prst="rect">
            <a:avLst/>
          </a:prstGeom>
        </p:spPr>
      </p:pic>
      <p:sp>
        <p:nvSpPr>
          <p:cNvPr id="16" name="그림 개체 틀 2">
            <a:extLst>
              <a:ext uri="{FF2B5EF4-FFF2-40B4-BE49-F238E27FC236}">
                <a16:creationId xmlns:a16="http://schemas.microsoft.com/office/drawing/2014/main" id="{6C9C1DC6-6FC7-4AA7-B952-4EF87CE516AB}"/>
              </a:ext>
            </a:extLst>
          </p:cNvPr>
          <p:cNvSpPr>
            <a:spLocks noGrp="1"/>
          </p:cNvSpPr>
          <p:nvPr>
            <p:ph type="pic" sz="quarter" idx="14" hasCustomPrompt="1"/>
          </p:nvPr>
        </p:nvSpPr>
        <p:spPr>
          <a:xfrm>
            <a:off x="1010193" y="2096236"/>
            <a:ext cx="2743201" cy="3380234"/>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r>
              <a:rPr lang="en-US" altLang="ko-KR" dirty="0"/>
              <a:t>Place Your Picture Here</a:t>
            </a:r>
            <a:endParaRPr lang="ko-KR" altLang="en-US" dirty="0"/>
          </a:p>
        </p:txBody>
      </p:sp>
      <p:sp>
        <p:nvSpPr>
          <p:cNvPr id="17" name="Text Placeholder 9">
            <a:extLst>
              <a:ext uri="{FF2B5EF4-FFF2-40B4-BE49-F238E27FC236}">
                <a16:creationId xmlns:a16="http://schemas.microsoft.com/office/drawing/2014/main" id="{3E12B4E4-E123-46BF-8F88-A9A3A930C1C9}"/>
              </a:ext>
            </a:extLst>
          </p:cNvPr>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19" name="Rectangle 8">
            <a:extLst>
              <a:ext uri="{FF2B5EF4-FFF2-40B4-BE49-F238E27FC236}">
                <a16:creationId xmlns:a16="http://schemas.microsoft.com/office/drawing/2014/main" id="{56F21C7B-C9C8-41AA-B248-9ACFA6BDF89B}"/>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Rectangle 8">
            <a:extLst>
              <a:ext uri="{FF2B5EF4-FFF2-40B4-BE49-F238E27FC236}">
                <a16:creationId xmlns:a16="http://schemas.microsoft.com/office/drawing/2014/main" id="{4EE74922-DCFE-4D14-BC2C-3D758C912A1F}"/>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0534984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Images and Contents Layout">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A2A84B4A-CEB2-40FB-A02E-8EB2AF478368}"/>
              </a:ext>
            </a:extLst>
          </p:cNvPr>
          <p:cNvGrpSpPr/>
          <p:nvPr userDrawn="1"/>
        </p:nvGrpSpPr>
        <p:grpSpPr>
          <a:xfrm>
            <a:off x="6473211" y="529630"/>
            <a:ext cx="5760640" cy="2937987"/>
            <a:chOff x="-612576" y="1705002"/>
            <a:chExt cx="5688632" cy="2537858"/>
          </a:xfrm>
        </p:grpSpPr>
        <p:sp>
          <p:nvSpPr>
            <p:cNvPr id="13" name="Oval 5">
              <a:extLst>
                <a:ext uri="{FF2B5EF4-FFF2-40B4-BE49-F238E27FC236}">
                  <a16:creationId xmlns:a16="http://schemas.microsoft.com/office/drawing/2014/main" id="{F8CA4E56-5CF0-4C8C-A69B-FEC333052C4C}"/>
                </a:ext>
              </a:extLst>
            </p:cNvPr>
            <p:cNvSpPr/>
            <p:nvPr userDrawn="1"/>
          </p:nvSpPr>
          <p:spPr>
            <a:xfrm>
              <a:off x="-612576" y="3738804"/>
              <a:ext cx="5688632" cy="504056"/>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pic>
          <p:nvPicPr>
            <p:cNvPr id="19" name="Picture 2" descr="E:\002-KIMS BUSINESS\000-B-KIMS-소스 분류-2014\00-kims-작업건별-재료모음\002-일러-모니터-모바일-타블렛\laptop-01.png">
              <a:extLst>
                <a:ext uri="{FF2B5EF4-FFF2-40B4-BE49-F238E27FC236}">
                  <a16:creationId xmlns:a16="http://schemas.microsoft.com/office/drawing/2014/main" id="{DBFF776C-2C37-432F-8D95-5002FD9DE65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58" y="1705002"/>
              <a:ext cx="4456634" cy="2516513"/>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Picture Placeholder 2">
            <a:extLst>
              <a:ext uri="{FF2B5EF4-FFF2-40B4-BE49-F238E27FC236}">
                <a16:creationId xmlns:a16="http://schemas.microsoft.com/office/drawing/2014/main" id="{07A15BD4-6D7E-4517-BDED-81FD478CEDAB}"/>
              </a:ext>
            </a:extLst>
          </p:cNvPr>
          <p:cNvSpPr>
            <a:spLocks noGrp="1"/>
          </p:cNvSpPr>
          <p:nvPr>
            <p:ph type="pic" idx="1" hasCustomPrompt="1"/>
          </p:nvPr>
        </p:nvSpPr>
        <p:spPr>
          <a:xfrm>
            <a:off x="8035116" y="898584"/>
            <a:ext cx="2736304" cy="20370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grpSp>
        <p:nvGrpSpPr>
          <p:cNvPr id="21" name="Group 14">
            <a:extLst>
              <a:ext uri="{FF2B5EF4-FFF2-40B4-BE49-F238E27FC236}">
                <a16:creationId xmlns:a16="http://schemas.microsoft.com/office/drawing/2014/main" id="{FB0AFAFC-8EB9-4974-915A-249E7E1C57A2}"/>
              </a:ext>
            </a:extLst>
          </p:cNvPr>
          <p:cNvGrpSpPr/>
          <p:nvPr userDrawn="1"/>
        </p:nvGrpSpPr>
        <p:grpSpPr>
          <a:xfrm>
            <a:off x="6473211" y="3363597"/>
            <a:ext cx="5760640" cy="2937987"/>
            <a:chOff x="-612576" y="1705002"/>
            <a:chExt cx="5688632" cy="2537858"/>
          </a:xfrm>
        </p:grpSpPr>
        <p:sp>
          <p:nvSpPr>
            <p:cNvPr id="22" name="Oval 15">
              <a:extLst>
                <a:ext uri="{FF2B5EF4-FFF2-40B4-BE49-F238E27FC236}">
                  <a16:creationId xmlns:a16="http://schemas.microsoft.com/office/drawing/2014/main" id="{59FEB9C5-5FA6-4880-B618-058738C37AD1}"/>
                </a:ext>
              </a:extLst>
            </p:cNvPr>
            <p:cNvSpPr/>
            <p:nvPr userDrawn="1"/>
          </p:nvSpPr>
          <p:spPr>
            <a:xfrm>
              <a:off x="-612576" y="3738804"/>
              <a:ext cx="5688632" cy="504056"/>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pic>
          <p:nvPicPr>
            <p:cNvPr id="23" name="Picture 2" descr="E:\002-KIMS BUSINESS\000-B-KIMS-소스 분류-2014\00-kims-작업건별-재료모음\002-일러-모니터-모바일-타블렛\laptop-01.png">
              <a:extLst>
                <a:ext uri="{FF2B5EF4-FFF2-40B4-BE49-F238E27FC236}">
                  <a16:creationId xmlns:a16="http://schemas.microsoft.com/office/drawing/2014/main" id="{3B06E91A-2C0E-4BB0-889E-F881F2C268A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58" y="1705002"/>
              <a:ext cx="4456634" cy="2516513"/>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Picture Placeholder 2">
            <a:extLst>
              <a:ext uri="{FF2B5EF4-FFF2-40B4-BE49-F238E27FC236}">
                <a16:creationId xmlns:a16="http://schemas.microsoft.com/office/drawing/2014/main" id="{CDA76C3D-8C5A-4664-AF41-B36993816A44}"/>
              </a:ext>
            </a:extLst>
          </p:cNvPr>
          <p:cNvSpPr>
            <a:spLocks noGrp="1"/>
          </p:cNvSpPr>
          <p:nvPr>
            <p:ph type="pic" idx="10" hasCustomPrompt="1"/>
          </p:nvPr>
        </p:nvSpPr>
        <p:spPr>
          <a:xfrm>
            <a:off x="8035116" y="3732551"/>
            <a:ext cx="2736304" cy="20370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14" name="Rectangle 8">
            <a:extLst>
              <a:ext uri="{FF2B5EF4-FFF2-40B4-BE49-F238E27FC236}">
                <a16:creationId xmlns:a16="http://schemas.microsoft.com/office/drawing/2014/main" id="{EB011BE6-AEC5-4748-9F4F-9C4C17AEF0FA}"/>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8">
            <a:extLst>
              <a:ext uri="{FF2B5EF4-FFF2-40B4-BE49-F238E27FC236}">
                <a16:creationId xmlns:a16="http://schemas.microsoft.com/office/drawing/2014/main" id="{E3FD5E11-19FF-42C9-8A8B-E2092EA988AD}"/>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148684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8"/>
            <a:ext cx="11573197" cy="724247"/>
          </a:xfrm>
          <a:prstGeom prst="rect">
            <a:avLst/>
          </a:prstGeom>
        </p:spPr>
        <p:txBody>
          <a:bodyPr anchor="ctr"/>
          <a:lstStyle>
            <a:lvl1pPr marL="0" indent="0" algn="ctr">
              <a:buNone/>
              <a:defRPr sz="5400" b="0" baseline="0">
                <a:solidFill>
                  <a:schemeClr val="tx1">
                    <a:lumMod val="65000"/>
                    <a:lumOff val="35000"/>
                  </a:schemeClr>
                </a:solidFill>
                <a:latin typeface="+mj-lt"/>
                <a:cs typeface="Arial" pitchFamily="34" charset="0"/>
              </a:defRPr>
            </a:lvl1pPr>
          </a:lstStyle>
          <a:p>
            <a:pPr lvl="0"/>
            <a:r>
              <a:rPr lang="en-US" altLang="ko-KR" dirty="0"/>
              <a:t>PNG LAYOUT</a:t>
            </a:r>
          </a:p>
        </p:txBody>
      </p:sp>
    </p:spTree>
    <p:extLst>
      <p:ext uri="{BB962C8B-B14F-4D97-AF65-F5344CB8AC3E}">
        <p14:creationId xmlns:p14="http://schemas.microsoft.com/office/powerpoint/2010/main" val="33886067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8"/>
            <a:ext cx="11573197" cy="724247"/>
          </a:xfrm>
          <a:prstGeom prst="rect">
            <a:avLst/>
          </a:prstGeom>
        </p:spPr>
        <p:txBody>
          <a:bodyPr anchor="ctr"/>
          <a:lstStyle>
            <a:lvl1pPr marL="0" indent="0" algn="ctr">
              <a:buNone/>
              <a:defRPr sz="5400" b="0" baseline="0">
                <a:solidFill>
                  <a:schemeClr val="tx1">
                    <a:lumMod val="65000"/>
                    <a:lumOff val="35000"/>
                  </a:schemeClr>
                </a:solidFill>
                <a:latin typeface="+mj-lt"/>
                <a:cs typeface="Arial" pitchFamily="34" charset="0"/>
              </a:defRPr>
            </a:lvl1pPr>
          </a:lstStyle>
          <a:p>
            <a:pPr lvl="0"/>
            <a:r>
              <a:rPr lang="en-US" altLang="ko-KR" dirty="0"/>
              <a:t>BASIC LAYOUT</a:t>
            </a:r>
          </a:p>
        </p:txBody>
      </p:sp>
      <p:sp>
        <p:nvSpPr>
          <p:cNvPr id="3" name="Rounded Rectangle 2"/>
          <p:cNvSpPr/>
          <p:nvPr userDrawn="1"/>
        </p:nvSpPr>
        <p:spPr>
          <a:xfrm>
            <a:off x="354009" y="1131590"/>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6"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3"/>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2"/>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450323"/>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13338715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3" name="Triangle">
            <a:extLst>
              <a:ext uri="{FF2B5EF4-FFF2-40B4-BE49-F238E27FC236}">
                <a16:creationId xmlns:a16="http://schemas.microsoft.com/office/drawing/2014/main" id="{FEE8F2CD-ED4F-FB47-BDA5-BE328CAB08A1}"/>
              </a:ext>
            </a:extLst>
          </p:cNvPr>
          <p:cNvSpPr/>
          <p:nvPr/>
        </p:nvSpPr>
        <p:spPr>
          <a:xfrm>
            <a:off x="0" y="0"/>
            <a:ext cx="1739902" cy="300228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0"/>
                </a:ln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sp>
        <p:nvSpPr>
          <p:cNvPr id="14" name="Shape">
            <a:extLst>
              <a:ext uri="{FF2B5EF4-FFF2-40B4-BE49-F238E27FC236}">
                <a16:creationId xmlns:a16="http://schemas.microsoft.com/office/drawing/2014/main" id="{2518F8BD-E004-B640-88B3-35F5DE8EE609}"/>
              </a:ext>
            </a:extLst>
          </p:cNvPr>
          <p:cNvSpPr/>
          <p:nvPr/>
        </p:nvSpPr>
        <p:spPr>
          <a:xfrm>
            <a:off x="520701" y="292100"/>
            <a:ext cx="10269222" cy="1149350"/>
          </a:xfrm>
          <a:custGeom>
            <a:avLst/>
            <a:gdLst/>
            <a:ahLst/>
            <a:cxnLst>
              <a:cxn ang="0">
                <a:pos x="wd2" y="hd2"/>
              </a:cxn>
              <a:cxn ang="5400000">
                <a:pos x="wd2" y="hd2"/>
              </a:cxn>
              <a:cxn ang="10800000">
                <a:pos x="wd2" y="hd2"/>
              </a:cxn>
              <a:cxn ang="16200000">
                <a:pos x="wd2" y="hd2"/>
              </a:cxn>
            </a:cxnLst>
            <a:rect l="0" t="0" r="r" b="b"/>
            <a:pathLst>
              <a:path w="21600" h="21600" extrusionOk="0">
                <a:moveTo>
                  <a:pt x="20184" y="21600"/>
                </a:moveTo>
                <a:lnTo>
                  <a:pt x="0" y="21600"/>
                </a:lnTo>
                <a:lnTo>
                  <a:pt x="1413" y="0"/>
                </a:lnTo>
                <a:lnTo>
                  <a:pt x="21600" y="0"/>
                </a:ln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a:p>
        </p:txBody>
      </p:sp>
      <p:sp>
        <p:nvSpPr>
          <p:cNvPr id="12" name="Title 1">
            <a:extLst>
              <a:ext uri="{FF2B5EF4-FFF2-40B4-BE49-F238E27FC236}">
                <a16:creationId xmlns:a16="http://schemas.microsoft.com/office/drawing/2014/main" id="{0D08B00A-9A13-4AB1-A72D-2F499BA2EBAB}"/>
              </a:ext>
            </a:extLst>
          </p:cNvPr>
          <p:cNvSpPr>
            <a:spLocks noGrp="1"/>
          </p:cNvSpPr>
          <p:nvPr userDrawn="1">
            <p:ph type="title"/>
          </p:nvPr>
        </p:nvSpPr>
        <p:spPr>
          <a:xfrm>
            <a:off x="1240220" y="365126"/>
            <a:ext cx="8693723" cy="1001220"/>
          </a:xfrm>
        </p:spPr>
        <p:txBody>
          <a:bodyPr/>
          <a:lstStyle/>
          <a:p>
            <a:r>
              <a:rPr lang="en-US"/>
              <a:t>Click to edit Master title style</a:t>
            </a:r>
          </a:p>
        </p:txBody>
      </p:sp>
      <p:sp>
        <p:nvSpPr>
          <p:cNvPr id="18" name="Content Placeholder 2">
            <a:extLst>
              <a:ext uri="{FF2B5EF4-FFF2-40B4-BE49-F238E27FC236}">
                <a16:creationId xmlns:a16="http://schemas.microsoft.com/office/drawing/2014/main" id="{489DC5E6-DDCD-4B67-B47F-0BD6C54B83D2}"/>
              </a:ext>
            </a:extLst>
          </p:cNvPr>
          <p:cNvSpPr>
            <a:spLocks noGrp="1"/>
          </p:cNvSpPr>
          <p:nvPr userDrawn="1">
            <p:ph idx="1"/>
          </p:nvPr>
        </p:nvSpPr>
        <p:spPr>
          <a:xfrm>
            <a:off x="838200" y="182562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864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5080FD5-E825-4102-A276-9AC57C035C95}"/>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a:xfrm>
            <a:off x="233259" y="234863"/>
            <a:ext cx="10711261" cy="255331"/>
          </a:xfrm>
        </p:spPr>
        <p:txBody>
          <a:bodyPr/>
          <a:lstStyle>
            <a:lvl1pPr>
              <a:defRPr sz="1800"/>
            </a:lvl1pPr>
          </a:lstStyle>
          <a:p>
            <a:r>
              <a:rPr lang="en-US"/>
              <a:t>Click to edit Master title style</a:t>
            </a:r>
          </a:p>
        </p:txBody>
      </p:sp>
      <p:pic>
        <p:nvPicPr>
          <p:cNvPr id="5" name="Picture 50" descr="http://digitaleyeuae.com/images/clients/events_photographers_dubai_4.gif">
            <a:extLst>
              <a:ext uri="{FF2B5EF4-FFF2-40B4-BE49-F238E27FC236}">
                <a16:creationId xmlns:a16="http://schemas.microsoft.com/office/drawing/2014/main" id="{C28E4AB2-3AC7-48C9-A511-5BE7345450E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486428" y="6411027"/>
            <a:ext cx="1101467" cy="243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65270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dirty="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pic>
        <p:nvPicPr>
          <p:cNvPr id="13" name="Picture 12" descr="A car parked on the side of a building&#10;&#10;Description automatically generated">
            <a:extLst>
              <a:ext uri="{FF2B5EF4-FFF2-40B4-BE49-F238E27FC236}">
                <a16:creationId xmlns:a16="http://schemas.microsoft.com/office/drawing/2014/main" id="{79F5D29D-1068-E442-854A-8034DF649956}"/>
              </a:ext>
            </a:extLst>
          </p:cNvPr>
          <p:cNvPicPr>
            <a:picLocks noChangeAspect="1"/>
          </p:cNvPicPr>
          <p:nvPr/>
        </p:nvPicPr>
        <p:blipFill rotWithShape="1">
          <a:blip r:embed="rId7"/>
          <a:srcRect t="17510"/>
          <a:stretch/>
        </p:blipFill>
        <p:spPr>
          <a:xfrm>
            <a:off x="-8550" y="-1"/>
            <a:ext cx="12207838" cy="5019882"/>
          </a:xfrm>
          <a:prstGeom prst="rect">
            <a:avLst/>
          </a:prstGeom>
        </p:spPr>
      </p:pic>
      <p:sp>
        <p:nvSpPr>
          <p:cNvPr id="14" name="Right Triangle 13">
            <a:extLst>
              <a:ext uri="{FF2B5EF4-FFF2-40B4-BE49-F238E27FC236}">
                <a16:creationId xmlns:a16="http://schemas.microsoft.com/office/drawing/2014/main" id="{3537947C-2F19-EF41-BEDA-940C10B9EF35}"/>
              </a:ext>
            </a:extLst>
          </p:cNvPr>
          <p:cNvSpPr/>
          <p:nvPr/>
        </p:nvSpPr>
        <p:spPr>
          <a:xfrm>
            <a:off x="-33298" y="2807829"/>
            <a:ext cx="9961139" cy="2207005"/>
          </a:xfrm>
          <a:prstGeom prst="rtTriangle">
            <a:avLst/>
          </a:prstGeom>
          <a:solidFill>
            <a:schemeClr val="tx1">
              <a:alpha val="3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Tree>
    <p:extLst>
      <p:ext uri="{BB962C8B-B14F-4D97-AF65-F5344CB8AC3E}">
        <p14:creationId xmlns:p14="http://schemas.microsoft.com/office/powerpoint/2010/main" val="603841991"/>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3653249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358738380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s slide layout">
    <p:bg>
      <p:bgPr>
        <a:solidFill>
          <a:schemeClr val="accent1"/>
        </a:solid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solidFill>
                  <a:schemeClr val="bg1"/>
                </a:solidFill>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2" y="4890455"/>
            <a:ext cx="12192000" cy="1739392"/>
          </a:xfrm>
          <a:prstGeom prst="rect">
            <a:avLst/>
          </a:prstGeom>
        </p:spPr>
      </p:pic>
    </p:spTree>
    <p:extLst>
      <p:ext uri="{BB962C8B-B14F-4D97-AF65-F5344CB8AC3E}">
        <p14:creationId xmlns:p14="http://schemas.microsoft.com/office/powerpoint/2010/main" val="2177817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65574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30524964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dirty="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pic>
        <p:nvPicPr>
          <p:cNvPr id="13" name="Picture 12" descr="A car parked on the side of a building&#10;&#10;Description automatically generated">
            <a:extLst>
              <a:ext uri="{FF2B5EF4-FFF2-40B4-BE49-F238E27FC236}">
                <a16:creationId xmlns:a16="http://schemas.microsoft.com/office/drawing/2014/main" id="{79F5D29D-1068-E442-854A-8034DF649956}"/>
              </a:ext>
            </a:extLst>
          </p:cNvPr>
          <p:cNvPicPr>
            <a:picLocks noChangeAspect="1"/>
          </p:cNvPicPr>
          <p:nvPr/>
        </p:nvPicPr>
        <p:blipFill rotWithShape="1">
          <a:blip r:embed="rId7"/>
          <a:srcRect t="17510"/>
          <a:stretch/>
        </p:blipFill>
        <p:spPr>
          <a:xfrm>
            <a:off x="-8550" y="-1"/>
            <a:ext cx="12207838" cy="5019882"/>
          </a:xfrm>
          <a:prstGeom prst="rect">
            <a:avLst/>
          </a:prstGeom>
        </p:spPr>
      </p:pic>
      <p:sp>
        <p:nvSpPr>
          <p:cNvPr id="14" name="Right Triangle 13">
            <a:extLst>
              <a:ext uri="{FF2B5EF4-FFF2-40B4-BE49-F238E27FC236}">
                <a16:creationId xmlns:a16="http://schemas.microsoft.com/office/drawing/2014/main" id="{3537947C-2F19-EF41-BEDA-940C10B9EF35}"/>
              </a:ext>
            </a:extLst>
          </p:cNvPr>
          <p:cNvSpPr/>
          <p:nvPr/>
        </p:nvSpPr>
        <p:spPr>
          <a:xfrm>
            <a:off x="-33298" y="2807829"/>
            <a:ext cx="9961139" cy="2207005"/>
          </a:xfrm>
          <a:prstGeom prst="rtTriangle">
            <a:avLst/>
          </a:prstGeom>
          <a:solidFill>
            <a:schemeClr val="tx1">
              <a:alpha val="3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Tree>
    <p:extLst>
      <p:ext uri="{BB962C8B-B14F-4D97-AF65-F5344CB8AC3E}">
        <p14:creationId xmlns:p14="http://schemas.microsoft.com/office/powerpoint/2010/main" val="1491466126"/>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191532758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414157840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288933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12/08/2020 04:05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5/07/2020 16:01 Arabian Standard Time</a:t>
            </a:r>
            <a:endParaRPr lang="x-none" sz="816" baseline="0" dirty="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pic>
        <p:nvPicPr>
          <p:cNvPr id="113240" name="Picture 600" descr="C:\Users\MYTHIL~1\AppData\Local\Temp\notes1FCF23\~b522205.TMP"/>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ltGray">
          <a:xfrm>
            <a:off x="8966559" y="6007013"/>
            <a:ext cx="3028144" cy="641999"/>
          </a:xfrm>
          <a:prstGeom prst="rect">
            <a:avLst/>
          </a:prstGeom>
          <a:noFill/>
          <a:extLst>
            <a:ext uri="{909E8E84-426E-40DD-AFC4-6F175D3DCCD1}">
              <a14:hiddenFill xmlns:a14="http://schemas.microsoft.com/office/drawing/2010/main">
                <a:solidFill>
                  <a:srgbClr val="FFFFFF"/>
                </a:solidFill>
              </a14:hiddenFill>
            </a:ext>
          </a:extLst>
        </p:spPr>
      </p:pic>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pic>
        <p:nvPicPr>
          <p:cNvPr id="9" name="Picture 8">
            <a:extLst>
              <a:ext uri="{FF2B5EF4-FFF2-40B4-BE49-F238E27FC236}">
                <a16:creationId xmlns:a16="http://schemas.microsoft.com/office/drawing/2014/main" id="{8619EF3A-3418-4F52-82F5-DEB9FFB4CD86}"/>
              </a:ext>
            </a:extLst>
          </p:cNvPr>
          <p:cNvPicPr>
            <a:picLocks noChangeAspect="1"/>
          </p:cNvPicPr>
          <p:nvPr userDrawn="1"/>
        </p:nvPicPr>
        <p:blipFill>
          <a:blip r:embed="rId6"/>
          <a:stretch>
            <a:fillRect/>
          </a:stretch>
        </p:blipFill>
        <p:spPr>
          <a:xfrm>
            <a:off x="1" y="0"/>
            <a:ext cx="12192000" cy="5011153"/>
          </a:xfrm>
          <a:prstGeom prst="rect">
            <a:avLst/>
          </a:prstGeom>
        </p:spPr>
      </p:pic>
    </p:spTree>
    <p:extLst>
      <p:ext uri="{BB962C8B-B14F-4D97-AF65-F5344CB8AC3E}">
        <p14:creationId xmlns:p14="http://schemas.microsoft.com/office/powerpoint/2010/main" val="2757842107"/>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42836507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42000555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48618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tyle slide layout">
    <p:spTree>
      <p:nvGrpSpPr>
        <p:cNvPr id="1" name=""/>
        <p:cNvGrpSpPr/>
        <p:nvPr/>
      </p:nvGrpSpPr>
      <p:grpSpPr>
        <a:xfrm>
          <a:off x="0" y="0"/>
          <a:ext cx="0" cy="0"/>
          <a:chOff x="0" y="0"/>
          <a:chExt cx="0" cy="0"/>
        </a:xfrm>
      </p:grpSpPr>
      <p:sp>
        <p:nvSpPr>
          <p:cNvPr id="7" name="Rectangle 6"/>
          <p:cNvSpPr/>
          <p:nvPr userDrawn="1"/>
        </p:nvSpPr>
        <p:spPr>
          <a:xfrm>
            <a:off x="0" y="0"/>
            <a:ext cx="318836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8913" y="3335252"/>
            <a:ext cx="1802732" cy="2929439"/>
          </a:xfrm>
          <a:prstGeom prst="rect">
            <a:avLst/>
          </a:prstGeom>
        </p:spPr>
      </p:pic>
    </p:spTree>
    <p:extLst>
      <p:ext uri="{BB962C8B-B14F-4D97-AF65-F5344CB8AC3E}">
        <p14:creationId xmlns:p14="http://schemas.microsoft.com/office/powerpoint/2010/main" val="14525464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0"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11"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01068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Rectangle 4"/>
          <p:cNvSpPr/>
          <p:nvPr userDrawn="1"/>
        </p:nvSpPr>
        <p:spPr>
          <a:xfrm>
            <a:off x="1" y="0"/>
            <a:ext cx="2159561" cy="6858000"/>
          </a:xfrm>
          <a:prstGeom prst="rect">
            <a:avLst/>
          </a:prstGeom>
          <a:gradFill>
            <a:gsLst>
              <a:gs pos="42000">
                <a:srgbClr val="F6F6F6">
                  <a:lumMod val="97000"/>
                </a:srgbClr>
              </a:gs>
              <a:gs pos="0">
                <a:schemeClr val="bg1">
                  <a:lumMod val="92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 name="Title 1"/>
          <p:cNvSpPr>
            <a:spLocks noGrp="1"/>
          </p:cNvSpPr>
          <p:nvPr>
            <p:ph type="title" hasCustomPrompt="1"/>
          </p:nvPr>
        </p:nvSpPr>
        <p:spPr>
          <a:xfrm>
            <a:off x="2112000" y="34314"/>
            <a:ext cx="10080000" cy="1035373"/>
          </a:xfrm>
          <a:prstGeom prst="rect">
            <a:avLst/>
          </a:prstGeom>
        </p:spPr>
        <p:txBody>
          <a:bodyPr anchor="ctr"/>
          <a:lstStyle>
            <a:lvl1pPr algn="l">
              <a:defRPr sz="4800" b="1">
                <a:solidFill>
                  <a:schemeClr val="tx1">
                    <a:lumMod val="75000"/>
                    <a:lumOff val="25000"/>
                  </a:schemeClr>
                </a:solidFill>
                <a:latin typeface="+mj-lt"/>
                <a:cs typeface="Arial" pitchFamily="34" charset="0"/>
              </a:defRPr>
            </a:lvl1pPr>
          </a:lstStyle>
          <a:p>
            <a:r>
              <a:rPr lang="en-US" altLang="ko-KR" dirty="0"/>
              <a:t>Free PPT _ Click to add title</a:t>
            </a:r>
            <a:endParaRPr lang="ko-KR" altLang="en-US" dirty="0"/>
          </a:p>
        </p:txBody>
      </p:sp>
      <p:pic>
        <p:nvPicPr>
          <p:cNvPr id="8"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4027" y="4442899"/>
            <a:ext cx="1449935" cy="2160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p:cNvCxnSpPr/>
          <p:nvPr userDrawn="1"/>
        </p:nvCxnSpPr>
        <p:spPr>
          <a:xfrm>
            <a:off x="948995" y="6602899"/>
            <a:ext cx="11243005" cy="0"/>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726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5035101" y="1682824"/>
            <a:ext cx="2112235" cy="2640000"/>
          </a:xfrm>
          <a:prstGeom prst="rect">
            <a:avLst/>
          </a:prstGeom>
          <a:solidFill>
            <a:schemeClr val="bg1">
              <a:lumMod val="95000"/>
            </a:schemeClr>
          </a:solidFill>
          <a:ln w="50800">
            <a:solidFill>
              <a:schemeClr val="accent1"/>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6" name="Rectangle 5"/>
          <p:cNvSpPr/>
          <p:nvPr userDrawn="1"/>
        </p:nvSpPr>
        <p:spPr>
          <a:xfrm>
            <a:off x="1" y="0"/>
            <a:ext cx="12144672" cy="1104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solidFill>
                <a:schemeClr val="tx1">
                  <a:lumMod val="75000"/>
                  <a:lumOff val="25000"/>
                </a:schemeClr>
              </a:solidFill>
              <a:latin typeface="+mj-lt"/>
              <a:cs typeface="Arial" pitchFamily="34" charset="0"/>
            </a:endParaRPr>
          </a:p>
        </p:txBody>
      </p:sp>
      <p:sp>
        <p:nvSpPr>
          <p:cNvPr id="7"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9" name="Picture Placeholder 2"/>
          <p:cNvSpPr>
            <a:spLocks noGrp="1"/>
          </p:cNvSpPr>
          <p:nvPr>
            <p:ph type="pic" idx="10" hasCustomPrompt="1"/>
          </p:nvPr>
        </p:nvSpPr>
        <p:spPr>
          <a:xfrm>
            <a:off x="2906512" y="1802824"/>
            <a:ext cx="1920213" cy="2400000"/>
          </a:xfrm>
          <a:prstGeom prst="rect">
            <a:avLst/>
          </a:prstGeom>
          <a:solidFill>
            <a:schemeClr val="bg1">
              <a:lumMod val="95000"/>
            </a:schemeClr>
          </a:solidFill>
          <a:ln w="50800">
            <a:solidFill>
              <a:schemeClr val="accent2"/>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0" name="Picture Placeholder 2"/>
          <p:cNvSpPr>
            <a:spLocks noGrp="1"/>
          </p:cNvSpPr>
          <p:nvPr>
            <p:ph type="pic" idx="11" hasCustomPrompt="1"/>
          </p:nvPr>
        </p:nvSpPr>
        <p:spPr>
          <a:xfrm>
            <a:off x="964577" y="1916954"/>
            <a:ext cx="1728192" cy="2159999"/>
          </a:xfrm>
          <a:prstGeom prst="rect">
            <a:avLst/>
          </a:prstGeom>
          <a:solidFill>
            <a:schemeClr val="bg1">
              <a:lumMod val="95000"/>
            </a:schemeClr>
          </a:solidFill>
          <a:ln w="50800">
            <a:solidFill>
              <a:schemeClr val="accent3"/>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1" name="Picture Placeholder 2"/>
          <p:cNvSpPr>
            <a:spLocks noGrp="1"/>
          </p:cNvSpPr>
          <p:nvPr>
            <p:ph type="pic" idx="12" hasCustomPrompt="1"/>
          </p:nvPr>
        </p:nvSpPr>
        <p:spPr>
          <a:xfrm>
            <a:off x="7355712" y="1802824"/>
            <a:ext cx="1920213" cy="2400000"/>
          </a:xfrm>
          <a:prstGeom prst="rect">
            <a:avLst/>
          </a:prstGeom>
          <a:solidFill>
            <a:schemeClr val="bg1">
              <a:lumMod val="95000"/>
            </a:schemeClr>
          </a:solidFill>
          <a:ln w="50800">
            <a:solidFill>
              <a:schemeClr val="accent2"/>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3" name="Picture Placeholder 2"/>
          <p:cNvSpPr>
            <a:spLocks noGrp="1"/>
          </p:cNvSpPr>
          <p:nvPr>
            <p:ph type="pic" idx="13" hasCustomPrompt="1"/>
          </p:nvPr>
        </p:nvSpPr>
        <p:spPr>
          <a:xfrm>
            <a:off x="9484301" y="1922826"/>
            <a:ext cx="1728192" cy="2159999"/>
          </a:xfrm>
          <a:prstGeom prst="rect">
            <a:avLst/>
          </a:prstGeom>
          <a:solidFill>
            <a:schemeClr val="bg1">
              <a:lumMod val="95000"/>
            </a:schemeClr>
          </a:solidFill>
          <a:ln w="50800">
            <a:solidFill>
              <a:schemeClr val="accent3"/>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pic>
        <p:nvPicPr>
          <p:cNvPr id="12"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83935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6" name="Picture Placeholder 2"/>
          <p:cNvSpPr>
            <a:spLocks noGrp="1"/>
          </p:cNvSpPr>
          <p:nvPr>
            <p:ph type="pic" idx="1" hasCustomPrompt="1"/>
          </p:nvPr>
        </p:nvSpPr>
        <p:spPr>
          <a:xfrm>
            <a:off x="240000" y="239400"/>
            <a:ext cx="11712000" cy="63792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2133126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Picture with Caption">
    <p:spTree>
      <p:nvGrpSpPr>
        <p:cNvPr id="1" name=""/>
        <p:cNvGrpSpPr/>
        <p:nvPr/>
      </p:nvGrpSpPr>
      <p:grpSpPr>
        <a:xfrm>
          <a:off x="0" y="0"/>
          <a:ext cx="0" cy="0"/>
          <a:chOff x="0" y="0"/>
          <a:chExt cx="0" cy="0"/>
        </a:xfrm>
      </p:grpSpPr>
      <p:sp>
        <p:nvSpPr>
          <p:cNvPr id="7" name="Rectangle 6"/>
          <p:cNvSpPr/>
          <p:nvPr userDrawn="1"/>
        </p:nvSpPr>
        <p:spPr>
          <a:xfrm>
            <a:off x="960000" y="590007"/>
            <a:ext cx="10272000" cy="57084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 name="Picture Placeholder 2"/>
          <p:cNvSpPr>
            <a:spLocks noGrp="1"/>
          </p:cNvSpPr>
          <p:nvPr>
            <p:ph type="pic" idx="1" hasCustomPrompt="1"/>
          </p:nvPr>
        </p:nvSpPr>
        <p:spPr>
          <a:xfrm>
            <a:off x="4367808" y="0"/>
            <a:ext cx="3456384" cy="6858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11705818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Picture with Caption">
    <p:spTree>
      <p:nvGrpSpPr>
        <p:cNvPr id="1" name=""/>
        <p:cNvGrpSpPr/>
        <p:nvPr/>
      </p:nvGrpSpPr>
      <p:grpSpPr>
        <a:xfrm>
          <a:off x="0" y="0"/>
          <a:ext cx="0" cy="0"/>
          <a:chOff x="0" y="0"/>
          <a:chExt cx="0" cy="0"/>
        </a:xfrm>
      </p:grpSpPr>
      <p:pic>
        <p:nvPicPr>
          <p:cNvPr id="7" name="그림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0107" y="2180862"/>
            <a:ext cx="5622861" cy="3080977"/>
          </a:xfrm>
          <a:prstGeom prst="rect">
            <a:avLst/>
          </a:prstGeom>
        </p:spPr>
      </p:pic>
      <p:sp>
        <p:nvSpPr>
          <p:cNvPr id="9" name="Picture Placeholder 2"/>
          <p:cNvSpPr>
            <a:spLocks noGrp="1"/>
          </p:cNvSpPr>
          <p:nvPr>
            <p:ph type="pic" idx="1" hasCustomPrompt="1"/>
          </p:nvPr>
        </p:nvSpPr>
        <p:spPr>
          <a:xfrm>
            <a:off x="1810352" y="2308196"/>
            <a:ext cx="3936437" cy="2540985"/>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0" name="Rectangle 9"/>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1"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8" name="Picture 2" descr="D:\KBM-정애\014-Fullppt\PNG이미지\paper-bul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7686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Picture with Caption">
    <p:spTree>
      <p:nvGrpSpPr>
        <p:cNvPr id="1" name=""/>
        <p:cNvGrpSpPr/>
        <p:nvPr/>
      </p:nvGrpSpPr>
      <p:grpSpPr>
        <a:xfrm>
          <a:off x="0" y="0"/>
          <a:ext cx="0" cy="0"/>
          <a:chOff x="0" y="0"/>
          <a:chExt cx="0" cy="0"/>
        </a:xfrm>
      </p:grpSpPr>
      <p:sp>
        <p:nvSpPr>
          <p:cNvPr id="6" name="Picture Placeholder 2"/>
          <p:cNvSpPr>
            <a:spLocks noGrp="1"/>
          </p:cNvSpPr>
          <p:nvPr>
            <p:ph type="pic" idx="1" hasCustomPrompt="1"/>
          </p:nvPr>
        </p:nvSpPr>
        <p:spPr>
          <a:xfrm>
            <a:off x="3407701" y="1685331"/>
            <a:ext cx="3696000" cy="4608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7" name="Rectangle 6"/>
          <p:cNvSpPr/>
          <p:nvPr userDrawn="1"/>
        </p:nvSpPr>
        <p:spPr>
          <a:xfrm>
            <a:off x="978336" y="1685331"/>
            <a:ext cx="2447701" cy="2304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 name="Rectangle 7"/>
          <p:cNvSpPr/>
          <p:nvPr userDrawn="1"/>
        </p:nvSpPr>
        <p:spPr>
          <a:xfrm>
            <a:off x="978336" y="3989075"/>
            <a:ext cx="2447701" cy="23042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 name="Rectangle 8"/>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0"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13"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4729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Picture with Caption">
    <p:spTree>
      <p:nvGrpSpPr>
        <p:cNvPr id="1" name=""/>
        <p:cNvGrpSpPr/>
        <p:nvPr/>
      </p:nvGrpSpPr>
      <p:grpSpPr>
        <a:xfrm>
          <a:off x="0" y="0"/>
          <a:ext cx="0" cy="0"/>
          <a:chOff x="0" y="0"/>
          <a:chExt cx="0" cy="0"/>
        </a:xfrm>
      </p:grpSpPr>
      <p:sp>
        <p:nvSpPr>
          <p:cNvPr id="8" name="Rectangle 7"/>
          <p:cNvSpPr/>
          <p:nvPr userDrawn="1"/>
        </p:nvSpPr>
        <p:spPr>
          <a:xfrm>
            <a:off x="3215680" y="5253203"/>
            <a:ext cx="2880320" cy="16047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 name="Rectangle 8"/>
          <p:cNvSpPr/>
          <p:nvPr userDrawn="1"/>
        </p:nvSpPr>
        <p:spPr>
          <a:xfrm>
            <a:off x="6096000" y="0"/>
            <a:ext cx="2880320" cy="1604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 name="Picture Placeholder 2"/>
          <p:cNvSpPr>
            <a:spLocks noGrp="1"/>
          </p:cNvSpPr>
          <p:nvPr>
            <p:ph type="pic" idx="1" hasCustomPrompt="1"/>
          </p:nvPr>
        </p:nvSpPr>
        <p:spPr>
          <a:xfrm>
            <a:off x="3215680" y="0"/>
            <a:ext cx="2880000" cy="5280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7" name="Picture Placeholder 2"/>
          <p:cNvSpPr>
            <a:spLocks noGrp="1"/>
          </p:cNvSpPr>
          <p:nvPr>
            <p:ph type="pic" idx="10" hasCustomPrompt="1"/>
          </p:nvPr>
        </p:nvSpPr>
        <p:spPr>
          <a:xfrm>
            <a:off x="6096320" y="1578000"/>
            <a:ext cx="2880000" cy="5280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7418076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0_Picture with Caption">
    <p:spTree>
      <p:nvGrpSpPr>
        <p:cNvPr id="1" name=""/>
        <p:cNvGrpSpPr/>
        <p:nvPr/>
      </p:nvGrpSpPr>
      <p:grpSpPr>
        <a:xfrm>
          <a:off x="0" y="0"/>
          <a:ext cx="0" cy="0"/>
          <a:chOff x="0" y="0"/>
          <a:chExt cx="0" cy="0"/>
        </a:xfrm>
      </p:grpSpPr>
      <p:sp>
        <p:nvSpPr>
          <p:cNvPr id="11" name="Rectangle 10"/>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2"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1026" name="Picture 2" descr="D:\Fullppt\005-PNG이미지\모니터.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9403" y="1748645"/>
            <a:ext cx="4525744" cy="4512501"/>
          </a:xfrm>
          <a:prstGeom prst="rect">
            <a:avLst/>
          </a:prstGeom>
          <a:noFill/>
          <a:extLst>
            <a:ext uri="{909E8E84-426E-40DD-AFC4-6F175D3DCCD1}">
              <a14:hiddenFill xmlns:a14="http://schemas.microsoft.com/office/drawing/2010/main">
                <a:solidFill>
                  <a:srgbClr val="FFFFFF"/>
                </a:solidFill>
              </a14:hiddenFill>
            </a:ext>
          </a:extLst>
        </p:spPr>
      </p:pic>
      <p:sp>
        <p:nvSpPr>
          <p:cNvPr id="8" name="Picture Placeholder 2"/>
          <p:cNvSpPr>
            <a:spLocks noGrp="1"/>
          </p:cNvSpPr>
          <p:nvPr>
            <p:ph type="pic" idx="1" hasCustomPrompt="1"/>
          </p:nvPr>
        </p:nvSpPr>
        <p:spPr>
          <a:xfrm>
            <a:off x="900822" y="1925232"/>
            <a:ext cx="4139060" cy="2847917"/>
          </a:xfrm>
          <a:prstGeom prst="rect">
            <a:avLst/>
          </a:prstGeom>
          <a:solidFill>
            <a:schemeClr val="bg1">
              <a:lumMod val="95000"/>
            </a:schemeClr>
          </a:solidFill>
        </p:spPr>
        <p:txBody>
          <a:bodyPr anchor="ctr"/>
          <a:lstStyle>
            <a:lvl1pPr marL="0" indent="0" algn="ctr">
              <a:buNone/>
              <a:defRPr sz="1600" baseline="0">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pic>
        <p:nvPicPr>
          <p:cNvPr id="7" name="Picture 2" descr="D:\KBM-정애\014-Fullppt\PNG이미지\paper-bul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9546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_Picture with Caption">
    <p:spTree>
      <p:nvGrpSpPr>
        <p:cNvPr id="1" name=""/>
        <p:cNvGrpSpPr/>
        <p:nvPr/>
      </p:nvGrpSpPr>
      <p:grpSpPr>
        <a:xfrm>
          <a:off x="0" y="0"/>
          <a:ext cx="0" cy="0"/>
          <a:chOff x="0" y="0"/>
          <a:chExt cx="0" cy="0"/>
        </a:xfrm>
      </p:grpSpPr>
      <p:sp>
        <p:nvSpPr>
          <p:cNvPr id="40" name="Rectangle 39"/>
          <p:cNvSpPr/>
          <p:nvPr userDrawn="1"/>
        </p:nvSpPr>
        <p:spPr>
          <a:xfrm>
            <a:off x="0" y="3853912"/>
            <a:ext cx="12192000" cy="30040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5" name="Group 14"/>
          <p:cNvGrpSpPr/>
          <p:nvPr userDrawn="1"/>
        </p:nvGrpSpPr>
        <p:grpSpPr>
          <a:xfrm>
            <a:off x="1227596" y="2070578"/>
            <a:ext cx="1731401" cy="2990604"/>
            <a:chOff x="2627784" y="1825002"/>
            <a:chExt cx="1198166" cy="2069560"/>
          </a:xfrm>
        </p:grpSpPr>
        <p:sp>
          <p:nvSpPr>
            <p:cNvPr id="9" name="Rounded Rectangle 8"/>
            <p:cNvSpPr/>
            <p:nvPr/>
          </p:nvSpPr>
          <p:spPr>
            <a:xfrm>
              <a:off x="2627784" y="1825002"/>
              <a:ext cx="1198166" cy="206956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Rectangle 9"/>
            <p:cNvSpPr/>
            <p:nvPr/>
          </p:nvSpPr>
          <p:spPr>
            <a:xfrm>
              <a:off x="3155241" y="1922844"/>
              <a:ext cx="143251" cy="27666"/>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1" name="Group 10"/>
            <p:cNvGrpSpPr/>
            <p:nvPr/>
          </p:nvGrpSpPr>
          <p:grpSpPr>
            <a:xfrm>
              <a:off x="3168829" y="3704452"/>
              <a:ext cx="116076" cy="127684"/>
              <a:chOff x="2453209" y="5151638"/>
              <a:chExt cx="191820" cy="211002"/>
            </a:xfrm>
          </p:grpSpPr>
          <p:sp>
            <p:nvSpPr>
              <p:cNvPr id="13" name="Oval 12"/>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Rounded Rectangle 13"/>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
        <p:nvSpPr>
          <p:cNvPr id="7" name="Picture Placeholder 2"/>
          <p:cNvSpPr>
            <a:spLocks noGrp="1"/>
          </p:cNvSpPr>
          <p:nvPr userDrawn="1">
            <p:ph type="pic" idx="1" hasCustomPrompt="1"/>
          </p:nvPr>
        </p:nvSpPr>
        <p:spPr>
          <a:xfrm>
            <a:off x="1326117" y="2323779"/>
            <a:ext cx="1524232" cy="240339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grpSp>
        <p:nvGrpSpPr>
          <p:cNvPr id="16" name="Group 15"/>
          <p:cNvGrpSpPr/>
          <p:nvPr userDrawn="1"/>
        </p:nvGrpSpPr>
        <p:grpSpPr>
          <a:xfrm>
            <a:off x="3880704" y="2784806"/>
            <a:ext cx="1731401" cy="2990604"/>
            <a:chOff x="2627784" y="1825002"/>
            <a:chExt cx="1198166" cy="2069560"/>
          </a:xfrm>
        </p:grpSpPr>
        <p:sp>
          <p:nvSpPr>
            <p:cNvPr id="17" name="Rounded Rectangle 16"/>
            <p:cNvSpPr/>
            <p:nvPr/>
          </p:nvSpPr>
          <p:spPr>
            <a:xfrm>
              <a:off x="2627784" y="1825002"/>
              <a:ext cx="1198166" cy="206956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Rectangle 17"/>
            <p:cNvSpPr/>
            <p:nvPr/>
          </p:nvSpPr>
          <p:spPr>
            <a:xfrm>
              <a:off x="3155241" y="1922844"/>
              <a:ext cx="143251" cy="27666"/>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9" name="Group 18"/>
            <p:cNvGrpSpPr/>
            <p:nvPr/>
          </p:nvGrpSpPr>
          <p:grpSpPr>
            <a:xfrm>
              <a:off x="3168829" y="3704452"/>
              <a:ext cx="116076" cy="127684"/>
              <a:chOff x="2453209" y="5151638"/>
              <a:chExt cx="191820" cy="211002"/>
            </a:xfrm>
          </p:grpSpPr>
          <p:sp>
            <p:nvSpPr>
              <p:cNvPr id="20" name="Oval 19"/>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1" name="Rounded Rectangle 20"/>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
        <p:nvSpPr>
          <p:cNvPr id="22" name="Picture Placeholder 2"/>
          <p:cNvSpPr>
            <a:spLocks noGrp="1"/>
          </p:cNvSpPr>
          <p:nvPr>
            <p:ph type="pic" idx="10" hasCustomPrompt="1"/>
          </p:nvPr>
        </p:nvSpPr>
        <p:spPr>
          <a:xfrm>
            <a:off x="3979225" y="3055712"/>
            <a:ext cx="1524232" cy="240339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grpSp>
        <p:nvGrpSpPr>
          <p:cNvPr id="23" name="Group 22"/>
          <p:cNvGrpSpPr/>
          <p:nvPr userDrawn="1"/>
        </p:nvGrpSpPr>
        <p:grpSpPr>
          <a:xfrm>
            <a:off x="6533812" y="1844491"/>
            <a:ext cx="1731401" cy="2990604"/>
            <a:chOff x="2627784" y="1825002"/>
            <a:chExt cx="1198166" cy="2069560"/>
          </a:xfrm>
        </p:grpSpPr>
        <p:sp>
          <p:nvSpPr>
            <p:cNvPr id="24" name="Rounded Rectangle 23"/>
            <p:cNvSpPr/>
            <p:nvPr/>
          </p:nvSpPr>
          <p:spPr>
            <a:xfrm>
              <a:off x="2627784" y="1825002"/>
              <a:ext cx="1198166" cy="206956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5" name="Rectangle 24"/>
            <p:cNvSpPr/>
            <p:nvPr/>
          </p:nvSpPr>
          <p:spPr>
            <a:xfrm>
              <a:off x="3155241" y="1922844"/>
              <a:ext cx="143251" cy="27666"/>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26" name="Group 25"/>
            <p:cNvGrpSpPr/>
            <p:nvPr/>
          </p:nvGrpSpPr>
          <p:grpSpPr>
            <a:xfrm>
              <a:off x="3168829" y="3704452"/>
              <a:ext cx="116076" cy="127684"/>
              <a:chOff x="2453209" y="5151638"/>
              <a:chExt cx="191820" cy="211002"/>
            </a:xfrm>
          </p:grpSpPr>
          <p:sp>
            <p:nvSpPr>
              <p:cNvPr id="27" name="Oval 26"/>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 name="Rounded Rectangle 27"/>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
        <p:nvSpPr>
          <p:cNvPr id="29" name="Picture Placeholder 2"/>
          <p:cNvSpPr>
            <a:spLocks noGrp="1"/>
          </p:cNvSpPr>
          <p:nvPr>
            <p:ph type="pic" idx="11" hasCustomPrompt="1"/>
          </p:nvPr>
        </p:nvSpPr>
        <p:spPr>
          <a:xfrm>
            <a:off x="6632333" y="2115398"/>
            <a:ext cx="1524232" cy="240339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grpSp>
        <p:nvGrpSpPr>
          <p:cNvPr id="30" name="Group 29"/>
          <p:cNvGrpSpPr/>
          <p:nvPr userDrawn="1"/>
        </p:nvGrpSpPr>
        <p:grpSpPr>
          <a:xfrm>
            <a:off x="9186918" y="3126695"/>
            <a:ext cx="1731401" cy="2990604"/>
            <a:chOff x="2627784" y="1825002"/>
            <a:chExt cx="1198166" cy="2069560"/>
          </a:xfrm>
        </p:grpSpPr>
        <p:sp>
          <p:nvSpPr>
            <p:cNvPr id="31" name="Rounded Rectangle 30"/>
            <p:cNvSpPr/>
            <p:nvPr/>
          </p:nvSpPr>
          <p:spPr>
            <a:xfrm>
              <a:off x="2627784" y="1825002"/>
              <a:ext cx="1198166" cy="206956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2" name="Rectangle 31"/>
            <p:cNvSpPr/>
            <p:nvPr/>
          </p:nvSpPr>
          <p:spPr>
            <a:xfrm>
              <a:off x="3155241" y="1922844"/>
              <a:ext cx="143251" cy="27666"/>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33" name="Group 32"/>
            <p:cNvGrpSpPr/>
            <p:nvPr/>
          </p:nvGrpSpPr>
          <p:grpSpPr>
            <a:xfrm>
              <a:off x="3168829" y="3704452"/>
              <a:ext cx="116076" cy="127684"/>
              <a:chOff x="2453209" y="5151638"/>
              <a:chExt cx="191820" cy="211002"/>
            </a:xfrm>
          </p:grpSpPr>
          <p:sp>
            <p:nvSpPr>
              <p:cNvPr id="34" name="Oval 33"/>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5" name="Rounded Rectangle 34"/>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
        <p:nvSpPr>
          <p:cNvPr id="36" name="Picture Placeholder 2"/>
          <p:cNvSpPr>
            <a:spLocks noGrp="1"/>
          </p:cNvSpPr>
          <p:nvPr>
            <p:ph type="pic" idx="12" hasCustomPrompt="1"/>
          </p:nvPr>
        </p:nvSpPr>
        <p:spPr>
          <a:xfrm>
            <a:off x="9285440" y="3397602"/>
            <a:ext cx="1524232" cy="240339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37" name="Rectangle 36"/>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38"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41"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71859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yle slide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505" y="192505"/>
            <a:ext cx="11790948" cy="647299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9728" y="5912018"/>
            <a:ext cx="1244874" cy="753477"/>
          </a:xfrm>
          <a:prstGeom prst="rect">
            <a:avLst/>
          </a:prstGeom>
        </p:spPr>
      </p:pic>
    </p:spTree>
    <p:extLst>
      <p:ext uri="{BB962C8B-B14F-4D97-AF65-F5344CB8AC3E}">
        <p14:creationId xmlns:p14="http://schemas.microsoft.com/office/powerpoint/2010/main" val="30828880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5333" b="0" baseline="0">
                <a:latin typeface="+mj-lt"/>
                <a:cs typeface="Arial" pitchFamily="34" charset="0"/>
              </a:defRPr>
            </a:lvl1pPr>
          </a:lstStyle>
          <a:p>
            <a:pPr lvl="0"/>
            <a:r>
              <a:rPr lang="en-US" altLang="ko-KR" dirty="0"/>
              <a:t>ICON SETS LAYOUT</a:t>
            </a:r>
          </a:p>
        </p:txBody>
      </p:sp>
      <p:sp>
        <p:nvSpPr>
          <p:cNvPr id="12" name="Rounded Rectangle 11"/>
          <p:cNvSpPr/>
          <p:nvPr userDrawn="1"/>
        </p:nvSpPr>
        <p:spPr>
          <a:xfrm>
            <a:off x="472011" y="1508786"/>
            <a:ext cx="3799787" cy="4865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mn-lt"/>
            </a:endParaRPr>
          </a:p>
        </p:txBody>
      </p:sp>
      <p:sp>
        <p:nvSpPr>
          <p:cNvPr id="15" name="Rounded Rectangle 14"/>
          <p:cNvSpPr/>
          <p:nvPr userDrawn="1"/>
        </p:nvSpPr>
        <p:spPr>
          <a:xfrm>
            <a:off x="709243" y="1796667"/>
            <a:ext cx="144693" cy="4320631"/>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schemeClr val="bg1"/>
              </a:solidFill>
              <a:latin typeface="+mn-lt"/>
            </a:endParaRPr>
          </a:p>
        </p:txBody>
      </p:sp>
      <p:sp>
        <p:nvSpPr>
          <p:cNvPr id="16" name="Half Frame 15"/>
          <p:cNvSpPr/>
          <p:nvPr userDrawn="1"/>
        </p:nvSpPr>
        <p:spPr>
          <a:xfrm rot="5400000">
            <a:off x="3456857" y="1650935"/>
            <a:ext cx="669775" cy="669775"/>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schemeClr val="tx1"/>
              </a:solidFill>
              <a:latin typeface="+mn-lt"/>
            </a:endParaRPr>
          </a:p>
        </p:txBody>
      </p:sp>
    </p:spTree>
    <p:extLst>
      <p:ext uri="{BB962C8B-B14F-4D97-AF65-F5344CB8AC3E}">
        <p14:creationId xmlns:p14="http://schemas.microsoft.com/office/powerpoint/2010/main" val="21315871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4376464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0198195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s slide layout">
    <p:bg>
      <p:bgPr>
        <a:solidFill>
          <a:schemeClr val="accent1"/>
        </a:solid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solidFill>
                  <a:schemeClr val="bg1"/>
                </a:solidFill>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2" y="4890455"/>
            <a:ext cx="12192000" cy="1739392"/>
          </a:xfrm>
          <a:prstGeom prst="rect">
            <a:avLst/>
          </a:prstGeom>
        </p:spPr>
      </p:pic>
    </p:spTree>
    <p:extLst>
      <p:ext uri="{BB962C8B-B14F-4D97-AF65-F5344CB8AC3E}">
        <p14:creationId xmlns:p14="http://schemas.microsoft.com/office/powerpoint/2010/main" val="991974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tyle slide layout">
    <p:spTree>
      <p:nvGrpSpPr>
        <p:cNvPr id="1" name=""/>
        <p:cNvGrpSpPr/>
        <p:nvPr/>
      </p:nvGrpSpPr>
      <p:grpSpPr>
        <a:xfrm>
          <a:off x="0" y="0"/>
          <a:ext cx="0" cy="0"/>
          <a:chOff x="0" y="0"/>
          <a:chExt cx="0" cy="0"/>
        </a:xfrm>
      </p:grpSpPr>
      <p:sp>
        <p:nvSpPr>
          <p:cNvPr id="7" name="Rectangle 6"/>
          <p:cNvSpPr/>
          <p:nvPr userDrawn="1"/>
        </p:nvSpPr>
        <p:spPr>
          <a:xfrm>
            <a:off x="0" y="0"/>
            <a:ext cx="318836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8913" y="3335252"/>
            <a:ext cx="1802732" cy="2929439"/>
          </a:xfrm>
          <a:prstGeom prst="rect">
            <a:avLst/>
          </a:prstGeom>
        </p:spPr>
      </p:pic>
    </p:spTree>
    <p:extLst>
      <p:ext uri="{BB962C8B-B14F-4D97-AF65-F5344CB8AC3E}">
        <p14:creationId xmlns:p14="http://schemas.microsoft.com/office/powerpoint/2010/main" val="3093363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yle slide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505" y="192505"/>
            <a:ext cx="11790948" cy="647299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9728" y="5912018"/>
            <a:ext cx="1244874" cy="753477"/>
          </a:xfrm>
          <a:prstGeom prst="rect">
            <a:avLst/>
          </a:prstGeom>
        </p:spPr>
      </p:pic>
    </p:spTree>
    <p:extLst>
      <p:ext uri="{BB962C8B-B14F-4D97-AF65-F5344CB8AC3E}">
        <p14:creationId xmlns:p14="http://schemas.microsoft.com/office/powerpoint/2010/main" val="1188480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a:extLst>
              <a:ext uri="{FF2B5EF4-FFF2-40B4-BE49-F238E27FC236}">
                <a16:creationId xmlns:a16="http://schemas.microsoft.com/office/drawing/2014/main" id="{1358E8E3-65D9-40AE-AB43-260FC8171432}"/>
              </a:ext>
            </a:extLst>
          </p:cNvPr>
          <p:cNvSpPr/>
          <p:nvPr userDrawn="1"/>
        </p:nvSpPr>
        <p:spPr>
          <a:xfrm>
            <a:off x="0" y="1516233"/>
            <a:ext cx="12192000" cy="3089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6" name="그림 개체 틀 2">
            <a:extLst>
              <a:ext uri="{FF2B5EF4-FFF2-40B4-BE49-F238E27FC236}">
                <a16:creationId xmlns:a16="http://schemas.microsoft.com/office/drawing/2014/main" id="{D314C571-5614-4B71-9ADB-250736C678B2}"/>
              </a:ext>
            </a:extLst>
          </p:cNvPr>
          <p:cNvSpPr>
            <a:spLocks noGrp="1"/>
          </p:cNvSpPr>
          <p:nvPr>
            <p:ph type="pic" sz="quarter" idx="14" hasCustomPrompt="1"/>
          </p:nvPr>
        </p:nvSpPr>
        <p:spPr>
          <a:xfrm>
            <a:off x="0" y="1516234"/>
            <a:ext cx="6096000" cy="3096344"/>
          </a:xfrm>
          <a:prstGeom prst="rect">
            <a:avLst/>
          </a:prstGeom>
          <a:solidFill>
            <a:schemeClr val="bg1">
              <a:lumMod val="95000"/>
            </a:schemeClr>
          </a:solidFill>
        </p:spPr>
        <p:txBody>
          <a:bodyPr anchor="ctr"/>
          <a:lstStyle>
            <a:lvl1pPr marL="0" indent="0" algn="ctr">
              <a:buNone/>
              <a:defRPr sz="1200"/>
            </a:lvl1pPr>
          </a:lstStyle>
          <a:p>
            <a:r>
              <a:rPr lang="en-US" altLang="ko-KR" dirty="0"/>
              <a:t>Place Your Picture Here</a:t>
            </a:r>
            <a:endParaRPr lang="ko-KR" altLang="en-US" dirty="0"/>
          </a:p>
        </p:txBody>
      </p:sp>
      <p:sp>
        <p:nvSpPr>
          <p:cNvPr id="7" name="Rectangle 6">
            <a:extLst>
              <a:ext uri="{FF2B5EF4-FFF2-40B4-BE49-F238E27FC236}">
                <a16:creationId xmlns:a16="http://schemas.microsoft.com/office/drawing/2014/main" id="{1E55FE90-4345-4608-89CB-8F5EA3EEC124}"/>
              </a:ext>
            </a:extLst>
          </p:cNvPr>
          <p:cNvSpPr/>
          <p:nvPr userDrawn="1"/>
        </p:nvSpPr>
        <p:spPr>
          <a:xfrm>
            <a:off x="0" y="1323451"/>
            <a:ext cx="12192000" cy="144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30672287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그림 개체 틀 2">
            <a:extLst>
              <a:ext uri="{FF2B5EF4-FFF2-40B4-BE49-F238E27FC236}">
                <a16:creationId xmlns:a16="http://schemas.microsoft.com/office/drawing/2014/main" id="{BBCFFAD4-9E7A-4DF6-B16B-DFEBD22106BA}"/>
              </a:ext>
            </a:extLst>
          </p:cNvPr>
          <p:cNvSpPr>
            <a:spLocks noGrp="1"/>
          </p:cNvSpPr>
          <p:nvPr>
            <p:ph type="pic" sz="quarter" idx="11" hasCustomPrompt="1"/>
          </p:nvPr>
        </p:nvSpPr>
        <p:spPr>
          <a:xfrm>
            <a:off x="3484228"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
        <p:nvSpPr>
          <p:cNvPr id="7" name="Rectangle 15">
            <a:extLst>
              <a:ext uri="{FF2B5EF4-FFF2-40B4-BE49-F238E27FC236}">
                <a16:creationId xmlns:a16="http://schemas.microsoft.com/office/drawing/2014/main" id="{AF0085D8-1383-4A9B-8F89-0CB7B767762F}"/>
              </a:ext>
            </a:extLst>
          </p:cNvPr>
          <p:cNvSpPr/>
          <p:nvPr userDrawn="1"/>
        </p:nvSpPr>
        <p:spPr>
          <a:xfrm>
            <a:off x="-1" y="1815714"/>
            <a:ext cx="3396343" cy="424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lumMod val="75000"/>
                  <a:lumOff val="25000"/>
                </a:schemeClr>
              </a:solidFill>
            </a:endParaRPr>
          </a:p>
        </p:txBody>
      </p:sp>
      <p:sp>
        <p:nvSpPr>
          <p:cNvPr id="8" name="그림 개체 틀 2">
            <a:extLst>
              <a:ext uri="{FF2B5EF4-FFF2-40B4-BE49-F238E27FC236}">
                <a16:creationId xmlns:a16="http://schemas.microsoft.com/office/drawing/2014/main" id="{1E639678-CC92-43F5-962A-57839CD7D95D}"/>
              </a:ext>
            </a:extLst>
          </p:cNvPr>
          <p:cNvSpPr>
            <a:spLocks noGrp="1"/>
          </p:cNvSpPr>
          <p:nvPr>
            <p:ph type="pic" sz="quarter" idx="12" hasCustomPrompt="1"/>
          </p:nvPr>
        </p:nvSpPr>
        <p:spPr>
          <a:xfrm>
            <a:off x="6416114"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
        <p:nvSpPr>
          <p:cNvPr id="10" name="그림 개체 틀 2">
            <a:extLst>
              <a:ext uri="{FF2B5EF4-FFF2-40B4-BE49-F238E27FC236}">
                <a16:creationId xmlns:a16="http://schemas.microsoft.com/office/drawing/2014/main" id="{13250D70-3F2E-4B11-A067-F0EB3806AA08}"/>
              </a:ext>
            </a:extLst>
          </p:cNvPr>
          <p:cNvSpPr>
            <a:spLocks noGrp="1"/>
          </p:cNvSpPr>
          <p:nvPr>
            <p:ph type="pic" sz="quarter" idx="13" hasCustomPrompt="1"/>
          </p:nvPr>
        </p:nvSpPr>
        <p:spPr>
          <a:xfrm>
            <a:off x="9348000"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13152109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3">
            <a:extLst>
              <a:ext uri="{FF2B5EF4-FFF2-40B4-BE49-F238E27FC236}">
                <a16:creationId xmlns:a16="http://schemas.microsoft.com/office/drawing/2014/main" id="{4997D227-4D92-4BB8-AFE5-3132D611D55B}"/>
              </a:ext>
            </a:extLst>
          </p:cNvPr>
          <p:cNvSpPr/>
          <p:nvPr userDrawn="1"/>
        </p:nvSpPr>
        <p:spPr>
          <a:xfrm>
            <a:off x="737687" y="1775623"/>
            <a:ext cx="3157167" cy="429178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7" name="그림 개체 틀 2">
            <a:extLst>
              <a:ext uri="{FF2B5EF4-FFF2-40B4-BE49-F238E27FC236}">
                <a16:creationId xmlns:a16="http://schemas.microsoft.com/office/drawing/2014/main" id="{CC229ECE-562F-4B43-9E46-3141C8F8D359}"/>
              </a:ext>
            </a:extLst>
          </p:cNvPr>
          <p:cNvSpPr>
            <a:spLocks noGrp="1"/>
          </p:cNvSpPr>
          <p:nvPr>
            <p:ph type="pic" sz="quarter" idx="14" hasCustomPrompt="1"/>
          </p:nvPr>
        </p:nvSpPr>
        <p:spPr>
          <a:xfrm>
            <a:off x="833698"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8" name="Rectangle 41">
            <a:extLst>
              <a:ext uri="{FF2B5EF4-FFF2-40B4-BE49-F238E27FC236}">
                <a16:creationId xmlns:a16="http://schemas.microsoft.com/office/drawing/2014/main" id="{8FFFAA17-0A28-451C-9F46-C90BFDBF9D33}"/>
              </a:ext>
            </a:extLst>
          </p:cNvPr>
          <p:cNvSpPr/>
          <p:nvPr userDrawn="1"/>
        </p:nvSpPr>
        <p:spPr>
          <a:xfrm>
            <a:off x="4514882" y="1775623"/>
            <a:ext cx="3157167" cy="4291783"/>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10" name="그림 개체 틀 2">
            <a:extLst>
              <a:ext uri="{FF2B5EF4-FFF2-40B4-BE49-F238E27FC236}">
                <a16:creationId xmlns:a16="http://schemas.microsoft.com/office/drawing/2014/main" id="{CFB0E704-31DD-46CF-BF65-8E73DB15AFBD}"/>
              </a:ext>
            </a:extLst>
          </p:cNvPr>
          <p:cNvSpPr>
            <a:spLocks noGrp="1"/>
          </p:cNvSpPr>
          <p:nvPr>
            <p:ph type="pic" sz="quarter" idx="56" hasCustomPrompt="1"/>
          </p:nvPr>
        </p:nvSpPr>
        <p:spPr>
          <a:xfrm>
            <a:off x="4610893"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1" name="Rectangle 47">
            <a:extLst>
              <a:ext uri="{FF2B5EF4-FFF2-40B4-BE49-F238E27FC236}">
                <a16:creationId xmlns:a16="http://schemas.microsoft.com/office/drawing/2014/main" id="{53475C43-50D4-4A83-B856-C382198C38DE}"/>
              </a:ext>
            </a:extLst>
          </p:cNvPr>
          <p:cNvSpPr/>
          <p:nvPr userDrawn="1"/>
        </p:nvSpPr>
        <p:spPr>
          <a:xfrm>
            <a:off x="8292077" y="1775623"/>
            <a:ext cx="3157167" cy="4291783"/>
          </a:xfrm>
          <a:prstGeom prst="rect">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12" name="그림 개체 틀 2">
            <a:extLst>
              <a:ext uri="{FF2B5EF4-FFF2-40B4-BE49-F238E27FC236}">
                <a16:creationId xmlns:a16="http://schemas.microsoft.com/office/drawing/2014/main" id="{92A4E35F-20A3-4C70-AC33-E2229FCFCB1F}"/>
              </a:ext>
            </a:extLst>
          </p:cNvPr>
          <p:cNvSpPr>
            <a:spLocks noGrp="1"/>
          </p:cNvSpPr>
          <p:nvPr>
            <p:ph type="pic" sz="quarter" idx="61" hasCustomPrompt="1"/>
          </p:nvPr>
        </p:nvSpPr>
        <p:spPr>
          <a:xfrm>
            <a:off x="8388088"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grpSp>
        <p:nvGrpSpPr>
          <p:cNvPr id="13" name="그룹 12">
            <a:extLst>
              <a:ext uri="{FF2B5EF4-FFF2-40B4-BE49-F238E27FC236}">
                <a16:creationId xmlns:a16="http://schemas.microsoft.com/office/drawing/2014/main" id="{036AF433-7ED9-4820-BD29-19A4B7AE53A2}"/>
              </a:ext>
            </a:extLst>
          </p:cNvPr>
          <p:cNvGrpSpPr/>
          <p:nvPr userDrawn="1"/>
        </p:nvGrpSpPr>
        <p:grpSpPr>
          <a:xfrm rot="16200000">
            <a:off x="10824756" y="5425593"/>
            <a:ext cx="482656" cy="482656"/>
            <a:chOff x="546346" y="5762189"/>
            <a:chExt cx="720080" cy="720080"/>
          </a:xfrm>
        </p:grpSpPr>
        <p:sp>
          <p:nvSpPr>
            <p:cNvPr id="14" name="직사각형 13">
              <a:extLst>
                <a:ext uri="{FF2B5EF4-FFF2-40B4-BE49-F238E27FC236}">
                  <a16:creationId xmlns:a16="http://schemas.microsoft.com/office/drawing/2014/main" id="{896FEB06-708E-4843-94A0-11B69EABDA35}"/>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a:extLst>
                <a:ext uri="{FF2B5EF4-FFF2-40B4-BE49-F238E27FC236}">
                  <a16:creationId xmlns:a16="http://schemas.microsoft.com/office/drawing/2014/main" id="{C2111B28-566B-4DD6-93D8-94C0C603E5DF}"/>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6" name="그룹 15">
            <a:extLst>
              <a:ext uri="{FF2B5EF4-FFF2-40B4-BE49-F238E27FC236}">
                <a16:creationId xmlns:a16="http://schemas.microsoft.com/office/drawing/2014/main" id="{1388EA2A-5A30-4DFD-AFED-328CD6C647DC}"/>
              </a:ext>
            </a:extLst>
          </p:cNvPr>
          <p:cNvGrpSpPr/>
          <p:nvPr userDrawn="1"/>
        </p:nvGrpSpPr>
        <p:grpSpPr>
          <a:xfrm rot="16200000">
            <a:off x="7040969" y="5425593"/>
            <a:ext cx="482656" cy="482656"/>
            <a:chOff x="546346" y="5762189"/>
            <a:chExt cx="720080" cy="720080"/>
          </a:xfrm>
        </p:grpSpPr>
        <p:sp>
          <p:nvSpPr>
            <p:cNvPr id="17" name="직사각형 16">
              <a:extLst>
                <a:ext uri="{FF2B5EF4-FFF2-40B4-BE49-F238E27FC236}">
                  <a16:creationId xmlns:a16="http://schemas.microsoft.com/office/drawing/2014/main" id="{F05D2727-C757-4276-8EDE-58574302BFF0}"/>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a:extLst>
                <a:ext uri="{FF2B5EF4-FFF2-40B4-BE49-F238E27FC236}">
                  <a16:creationId xmlns:a16="http://schemas.microsoft.com/office/drawing/2014/main" id="{2F104568-55BB-4691-BFF4-A45B904A1493}"/>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9" name="그룹 18">
            <a:extLst>
              <a:ext uri="{FF2B5EF4-FFF2-40B4-BE49-F238E27FC236}">
                <a16:creationId xmlns:a16="http://schemas.microsoft.com/office/drawing/2014/main" id="{06CC5C30-056D-4947-912F-9EBAC19142BC}"/>
              </a:ext>
            </a:extLst>
          </p:cNvPr>
          <p:cNvGrpSpPr/>
          <p:nvPr userDrawn="1"/>
        </p:nvGrpSpPr>
        <p:grpSpPr>
          <a:xfrm rot="16200000">
            <a:off x="3257182" y="5425593"/>
            <a:ext cx="482656" cy="482656"/>
            <a:chOff x="546346" y="5762189"/>
            <a:chExt cx="720080" cy="720080"/>
          </a:xfrm>
        </p:grpSpPr>
        <p:sp>
          <p:nvSpPr>
            <p:cNvPr id="20" name="직사각형 19">
              <a:extLst>
                <a:ext uri="{FF2B5EF4-FFF2-40B4-BE49-F238E27FC236}">
                  <a16:creationId xmlns:a16="http://schemas.microsoft.com/office/drawing/2014/main" id="{ABC97373-A817-48C5-BF1D-1D0B9C615E56}"/>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직사각형 20">
              <a:extLst>
                <a:ext uri="{FF2B5EF4-FFF2-40B4-BE49-F238E27FC236}">
                  <a16:creationId xmlns:a16="http://schemas.microsoft.com/office/drawing/2014/main" id="{947CD5E5-4814-4F42-851C-7E42B7CBCF31}"/>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8849839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IMAGE AND CONTENTS LAYOUT_22">
    <p:spTree>
      <p:nvGrpSpPr>
        <p:cNvPr id="1" name=""/>
        <p:cNvGrpSpPr/>
        <p:nvPr/>
      </p:nvGrpSpPr>
      <p:grpSpPr>
        <a:xfrm>
          <a:off x="0" y="0"/>
          <a:ext cx="0" cy="0"/>
          <a:chOff x="0" y="0"/>
          <a:chExt cx="0" cy="0"/>
        </a:xfrm>
      </p:grpSpPr>
      <p:sp>
        <p:nvSpPr>
          <p:cNvPr id="10" name="Rectangle 9"/>
          <p:cNvSpPr/>
          <p:nvPr userDrawn="1"/>
        </p:nvSpPr>
        <p:spPr>
          <a:xfrm>
            <a:off x="-1" y="-1"/>
            <a:ext cx="577378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그림 개체 틀 2"/>
          <p:cNvSpPr>
            <a:spLocks noGrp="1"/>
          </p:cNvSpPr>
          <p:nvPr>
            <p:ph type="pic" sz="quarter" idx="46" hasCustomPrompt="1"/>
          </p:nvPr>
        </p:nvSpPr>
        <p:spPr>
          <a:xfrm>
            <a:off x="5773782" y="0"/>
            <a:ext cx="6418217" cy="6858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grpSp>
        <p:nvGrpSpPr>
          <p:cNvPr id="4" name="그룹 3">
            <a:extLst>
              <a:ext uri="{FF2B5EF4-FFF2-40B4-BE49-F238E27FC236}">
                <a16:creationId xmlns:a16="http://schemas.microsoft.com/office/drawing/2014/main" id="{DDCCFA14-78AF-484A-B03D-5DB9A526DD68}"/>
              </a:ext>
            </a:extLst>
          </p:cNvPr>
          <p:cNvGrpSpPr/>
          <p:nvPr userDrawn="1"/>
        </p:nvGrpSpPr>
        <p:grpSpPr>
          <a:xfrm rot="10800000">
            <a:off x="4421055" y="393901"/>
            <a:ext cx="720080" cy="720080"/>
            <a:chOff x="546346" y="5762189"/>
            <a:chExt cx="720080" cy="720080"/>
          </a:xfrm>
        </p:grpSpPr>
        <p:sp>
          <p:nvSpPr>
            <p:cNvPr id="5" name="직사각형 4">
              <a:extLst>
                <a:ext uri="{FF2B5EF4-FFF2-40B4-BE49-F238E27FC236}">
                  <a16:creationId xmlns:a16="http://schemas.microsoft.com/office/drawing/2014/main" id="{B76B0EC3-E080-4BA9-82DD-875CE375664B}"/>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직사각형 5">
              <a:extLst>
                <a:ext uri="{FF2B5EF4-FFF2-40B4-BE49-F238E27FC236}">
                  <a16:creationId xmlns:a16="http://schemas.microsoft.com/office/drawing/2014/main" id="{1BE3A08B-D0A8-4636-B024-860C87DFA350}"/>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7" name="그룹 6">
            <a:extLst>
              <a:ext uri="{FF2B5EF4-FFF2-40B4-BE49-F238E27FC236}">
                <a16:creationId xmlns:a16="http://schemas.microsoft.com/office/drawing/2014/main" id="{F53B918C-F2E3-458F-9073-6D6E6D7F58A6}"/>
              </a:ext>
            </a:extLst>
          </p:cNvPr>
          <p:cNvGrpSpPr/>
          <p:nvPr userDrawn="1"/>
        </p:nvGrpSpPr>
        <p:grpSpPr>
          <a:xfrm>
            <a:off x="546346" y="5762189"/>
            <a:ext cx="720080" cy="720080"/>
            <a:chOff x="546346" y="5762189"/>
            <a:chExt cx="720080" cy="720080"/>
          </a:xfrm>
        </p:grpSpPr>
        <p:sp>
          <p:nvSpPr>
            <p:cNvPr id="8" name="직사각형 7">
              <a:extLst>
                <a:ext uri="{FF2B5EF4-FFF2-40B4-BE49-F238E27FC236}">
                  <a16:creationId xmlns:a16="http://schemas.microsoft.com/office/drawing/2014/main" id="{AABB30E9-0DAA-4772-8CC5-A6FEC253E5AF}"/>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541DDE2A-7C54-4715-8C70-DAACF06648DA}"/>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2230235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a:extLst>
              <a:ext uri="{FF2B5EF4-FFF2-40B4-BE49-F238E27FC236}">
                <a16:creationId xmlns:a16="http://schemas.microsoft.com/office/drawing/2014/main" id="{1358E8E3-65D9-40AE-AB43-260FC8171432}"/>
              </a:ext>
            </a:extLst>
          </p:cNvPr>
          <p:cNvSpPr/>
          <p:nvPr userDrawn="1"/>
        </p:nvSpPr>
        <p:spPr>
          <a:xfrm>
            <a:off x="0" y="1516233"/>
            <a:ext cx="12192000" cy="3089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6" name="그림 개체 틀 2">
            <a:extLst>
              <a:ext uri="{FF2B5EF4-FFF2-40B4-BE49-F238E27FC236}">
                <a16:creationId xmlns:a16="http://schemas.microsoft.com/office/drawing/2014/main" id="{D314C571-5614-4B71-9ADB-250736C678B2}"/>
              </a:ext>
            </a:extLst>
          </p:cNvPr>
          <p:cNvSpPr>
            <a:spLocks noGrp="1"/>
          </p:cNvSpPr>
          <p:nvPr>
            <p:ph type="pic" sz="quarter" idx="14" hasCustomPrompt="1"/>
          </p:nvPr>
        </p:nvSpPr>
        <p:spPr>
          <a:xfrm>
            <a:off x="0" y="1516234"/>
            <a:ext cx="6096000" cy="3096344"/>
          </a:xfrm>
          <a:prstGeom prst="rect">
            <a:avLst/>
          </a:prstGeom>
          <a:solidFill>
            <a:schemeClr val="bg1">
              <a:lumMod val="95000"/>
            </a:schemeClr>
          </a:solidFill>
        </p:spPr>
        <p:txBody>
          <a:bodyPr anchor="ctr"/>
          <a:lstStyle>
            <a:lvl1pPr marL="0" indent="0" algn="ctr">
              <a:buNone/>
              <a:defRPr sz="1200"/>
            </a:lvl1pPr>
          </a:lstStyle>
          <a:p>
            <a:r>
              <a:rPr lang="en-US" altLang="ko-KR" dirty="0"/>
              <a:t>Place Your Picture Here</a:t>
            </a:r>
            <a:endParaRPr lang="ko-KR" altLang="en-US" dirty="0"/>
          </a:p>
        </p:txBody>
      </p:sp>
      <p:sp>
        <p:nvSpPr>
          <p:cNvPr id="7" name="Rectangle 6">
            <a:extLst>
              <a:ext uri="{FF2B5EF4-FFF2-40B4-BE49-F238E27FC236}">
                <a16:creationId xmlns:a16="http://schemas.microsoft.com/office/drawing/2014/main" id="{1E55FE90-4345-4608-89CB-8F5EA3EEC124}"/>
              </a:ext>
            </a:extLst>
          </p:cNvPr>
          <p:cNvSpPr/>
          <p:nvPr userDrawn="1"/>
        </p:nvSpPr>
        <p:spPr>
          <a:xfrm>
            <a:off x="0" y="1323451"/>
            <a:ext cx="12192000" cy="144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19392082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IMAGE AND CONTENTS LAYOUT_22">
    <p:spTree>
      <p:nvGrpSpPr>
        <p:cNvPr id="1" name=""/>
        <p:cNvGrpSpPr/>
        <p:nvPr/>
      </p:nvGrpSpPr>
      <p:grpSpPr>
        <a:xfrm>
          <a:off x="0" y="0"/>
          <a:ext cx="0" cy="0"/>
          <a:chOff x="0" y="0"/>
          <a:chExt cx="0" cy="0"/>
        </a:xfrm>
      </p:grpSpPr>
      <p:sp>
        <p:nvSpPr>
          <p:cNvPr id="502" name="자유형: 도형 501">
            <a:extLst>
              <a:ext uri="{FF2B5EF4-FFF2-40B4-BE49-F238E27FC236}">
                <a16:creationId xmlns:a16="http://schemas.microsoft.com/office/drawing/2014/main" id="{CC336CE6-F83D-4CC2-86E2-B547FB7494DC}"/>
              </a:ext>
            </a:extLst>
          </p:cNvPr>
          <p:cNvSpPr>
            <a:spLocks noGrp="1"/>
          </p:cNvSpPr>
          <p:nvPr>
            <p:ph type="pic" sz="quarter" idx="46" hasCustomPrompt="1"/>
          </p:nvPr>
        </p:nvSpPr>
        <p:spPr>
          <a:xfrm>
            <a:off x="0" y="-826"/>
            <a:ext cx="12192185" cy="6859062"/>
          </a:xfrm>
          <a:custGeom>
            <a:avLst/>
            <a:gdLst>
              <a:gd name="connsiteX0" fmla="*/ 2948713 w 12192185"/>
              <a:gd name="connsiteY0" fmla="*/ 6851034 h 6859062"/>
              <a:gd name="connsiteX1" fmla="*/ 2951628 w 12192185"/>
              <a:gd name="connsiteY1" fmla="*/ 6852726 h 6859062"/>
              <a:gd name="connsiteX2" fmla="*/ 2952855 w 12192185"/>
              <a:gd name="connsiteY2" fmla="*/ 6855845 h 6859062"/>
              <a:gd name="connsiteX3" fmla="*/ 2956612 w 12192185"/>
              <a:gd name="connsiteY3" fmla="*/ 6857566 h 6859062"/>
              <a:gd name="connsiteX4" fmla="*/ 2969498 w 12192185"/>
              <a:gd name="connsiteY4" fmla="*/ 6857884 h 6859062"/>
              <a:gd name="connsiteX5" fmla="*/ 2973808 w 12192185"/>
              <a:gd name="connsiteY5" fmla="*/ 6858826 h 6859062"/>
              <a:gd name="connsiteX6" fmla="*/ 2946058 w 12192185"/>
              <a:gd name="connsiteY6" fmla="*/ 6858826 h 6859062"/>
              <a:gd name="connsiteX7" fmla="*/ 2948026 w 12192185"/>
              <a:gd name="connsiteY7" fmla="*/ 6856364 h 6859062"/>
              <a:gd name="connsiteX8" fmla="*/ 2947498 w 12192185"/>
              <a:gd name="connsiteY8" fmla="*/ 6854510 h 6859062"/>
              <a:gd name="connsiteX9" fmla="*/ 2948713 w 12192185"/>
              <a:gd name="connsiteY9" fmla="*/ 6851034 h 6859062"/>
              <a:gd name="connsiteX10" fmla="*/ 2304198 w 12192185"/>
              <a:gd name="connsiteY10" fmla="*/ 6843047 h 6859062"/>
              <a:gd name="connsiteX11" fmla="*/ 2316142 w 12192185"/>
              <a:gd name="connsiteY11" fmla="*/ 6844597 h 6859062"/>
              <a:gd name="connsiteX12" fmla="*/ 2324693 w 12192185"/>
              <a:gd name="connsiteY12" fmla="*/ 6858826 h 6859062"/>
              <a:gd name="connsiteX13" fmla="*/ 2283437 w 12192185"/>
              <a:gd name="connsiteY13" fmla="*/ 6858826 h 6859062"/>
              <a:gd name="connsiteX14" fmla="*/ 2285697 w 12192185"/>
              <a:gd name="connsiteY14" fmla="*/ 6850994 h 6859062"/>
              <a:gd name="connsiteX15" fmla="*/ 2292747 w 12192185"/>
              <a:gd name="connsiteY15" fmla="*/ 6846385 h 6859062"/>
              <a:gd name="connsiteX16" fmla="*/ 2304198 w 12192185"/>
              <a:gd name="connsiteY16" fmla="*/ 6843047 h 6859062"/>
              <a:gd name="connsiteX17" fmla="*/ 10040397 w 12192185"/>
              <a:gd name="connsiteY17" fmla="*/ 6832230 h 6859062"/>
              <a:gd name="connsiteX18" fmla="*/ 10040877 w 12192185"/>
              <a:gd name="connsiteY18" fmla="*/ 6832253 h 6859062"/>
              <a:gd name="connsiteX19" fmla="*/ 10040570 w 12192185"/>
              <a:gd name="connsiteY19" fmla="*/ 6832540 h 6859062"/>
              <a:gd name="connsiteX20" fmla="*/ 3416775 w 12192185"/>
              <a:gd name="connsiteY20" fmla="*/ 6821238 h 6859062"/>
              <a:gd name="connsiteX21" fmla="*/ 3431032 w 12192185"/>
              <a:gd name="connsiteY21" fmla="*/ 6825765 h 6859062"/>
              <a:gd name="connsiteX22" fmla="*/ 3444838 w 12192185"/>
              <a:gd name="connsiteY22" fmla="*/ 6830221 h 6859062"/>
              <a:gd name="connsiteX23" fmla="*/ 3461708 w 12192185"/>
              <a:gd name="connsiteY23" fmla="*/ 6853460 h 6859062"/>
              <a:gd name="connsiteX24" fmla="*/ 3463367 w 12192185"/>
              <a:gd name="connsiteY24" fmla="*/ 6858826 h 6859062"/>
              <a:gd name="connsiteX25" fmla="*/ 3359962 w 12192185"/>
              <a:gd name="connsiteY25" fmla="*/ 6858826 h 6859062"/>
              <a:gd name="connsiteX26" fmla="*/ 3364190 w 12192185"/>
              <a:gd name="connsiteY26" fmla="*/ 6853101 h 6859062"/>
              <a:gd name="connsiteX27" fmla="*/ 3375809 w 12192185"/>
              <a:gd name="connsiteY27" fmla="*/ 6835730 h 6859062"/>
              <a:gd name="connsiteX28" fmla="*/ 3383039 w 12192185"/>
              <a:gd name="connsiteY28" fmla="*/ 6830282 h 6859062"/>
              <a:gd name="connsiteX29" fmla="*/ 3393320 w 12192185"/>
              <a:gd name="connsiteY29" fmla="*/ 6825713 h 6859062"/>
              <a:gd name="connsiteX30" fmla="*/ 3401849 w 12192185"/>
              <a:gd name="connsiteY30" fmla="*/ 6823936 h 6859062"/>
              <a:gd name="connsiteX31" fmla="*/ 3416775 w 12192185"/>
              <a:gd name="connsiteY31" fmla="*/ 6821238 h 6859062"/>
              <a:gd name="connsiteX32" fmla="*/ 3909535 w 12192185"/>
              <a:gd name="connsiteY32" fmla="*/ 6807860 h 6859062"/>
              <a:gd name="connsiteX33" fmla="*/ 3920026 w 12192185"/>
              <a:gd name="connsiteY33" fmla="*/ 6810536 h 6859062"/>
              <a:gd name="connsiteX34" fmla="*/ 3939185 w 12192185"/>
              <a:gd name="connsiteY34" fmla="*/ 6820989 h 6859062"/>
              <a:gd name="connsiteX35" fmla="*/ 3943866 w 12192185"/>
              <a:gd name="connsiteY35" fmla="*/ 6825503 h 6859062"/>
              <a:gd name="connsiteX36" fmla="*/ 3948543 w 12192185"/>
              <a:gd name="connsiteY36" fmla="*/ 6832478 h 6859062"/>
              <a:gd name="connsiteX37" fmla="*/ 3950941 w 12192185"/>
              <a:gd name="connsiteY37" fmla="*/ 6838795 h 6859062"/>
              <a:gd name="connsiteX38" fmla="*/ 3951370 w 12192185"/>
              <a:gd name="connsiteY38" fmla="*/ 6854388 h 6859062"/>
              <a:gd name="connsiteX39" fmla="*/ 3951700 w 12192185"/>
              <a:gd name="connsiteY39" fmla="*/ 6858826 h 6859062"/>
              <a:gd name="connsiteX40" fmla="*/ 3880011 w 12192185"/>
              <a:gd name="connsiteY40" fmla="*/ 6858826 h 6859062"/>
              <a:gd name="connsiteX41" fmla="*/ 3878219 w 12192185"/>
              <a:gd name="connsiteY41" fmla="*/ 6850501 h 6859062"/>
              <a:gd name="connsiteX42" fmla="*/ 3877538 w 12192185"/>
              <a:gd name="connsiteY42" fmla="*/ 6844327 h 6859062"/>
              <a:gd name="connsiteX43" fmla="*/ 3878804 w 12192185"/>
              <a:gd name="connsiteY43" fmla="*/ 6838716 h 6859062"/>
              <a:gd name="connsiteX44" fmla="*/ 3880997 w 12192185"/>
              <a:gd name="connsiteY44" fmla="*/ 6834779 h 6859062"/>
              <a:gd name="connsiteX45" fmla="*/ 3885151 w 12192185"/>
              <a:gd name="connsiteY45" fmla="*/ 6826485 h 6859062"/>
              <a:gd name="connsiteX46" fmla="*/ 3886411 w 12192185"/>
              <a:gd name="connsiteY46" fmla="*/ 6823334 h 6859062"/>
              <a:gd name="connsiteX47" fmla="*/ 3889636 w 12192185"/>
              <a:gd name="connsiteY47" fmla="*/ 6815827 h 6859062"/>
              <a:gd name="connsiteX48" fmla="*/ 3909535 w 12192185"/>
              <a:gd name="connsiteY48" fmla="*/ 6807860 h 6859062"/>
              <a:gd name="connsiteX49" fmla="*/ 4369730 w 12192185"/>
              <a:gd name="connsiteY49" fmla="*/ 6800208 h 6859062"/>
              <a:gd name="connsiteX50" fmla="*/ 4379492 w 12192185"/>
              <a:gd name="connsiteY50" fmla="*/ 6802698 h 6859062"/>
              <a:gd name="connsiteX51" fmla="*/ 4397325 w 12192185"/>
              <a:gd name="connsiteY51" fmla="*/ 6812424 h 6859062"/>
              <a:gd name="connsiteX52" fmla="*/ 4401677 w 12192185"/>
              <a:gd name="connsiteY52" fmla="*/ 6816626 h 6859062"/>
              <a:gd name="connsiteX53" fmla="*/ 4406032 w 12192185"/>
              <a:gd name="connsiteY53" fmla="*/ 6823117 h 6859062"/>
              <a:gd name="connsiteX54" fmla="*/ 4408264 w 12192185"/>
              <a:gd name="connsiteY54" fmla="*/ 6828996 h 6859062"/>
              <a:gd name="connsiteX55" fmla="*/ 4408667 w 12192185"/>
              <a:gd name="connsiteY55" fmla="*/ 6843505 h 6859062"/>
              <a:gd name="connsiteX56" fmla="*/ 4409333 w 12192185"/>
              <a:gd name="connsiteY56" fmla="*/ 6852532 h 6859062"/>
              <a:gd name="connsiteX57" fmla="*/ 4408285 w 12192185"/>
              <a:gd name="connsiteY57" fmla="*/ 6856157 h 6859062"/>
              <a:gd name="connsiteX58" fmla="*/ 4405824 w 12192185"/>
              <a:gd name="connsiteY58" fmla="*/ 6858826 h 6859062"/>
              <a:gd name="connsiteX59" fmla="*/ 4347776 w 12192185"/>
              <a:gd name="connsiteY59" fmla="*/ 6858826 h 6859062"/>
              <a:gd name="connsiteX60" fmla="*/ 4343663 w 12192185"/>
              <a:gd name="connsiteY60" fmla="*/ 6854189 h 6859062"/>
              <a:gd name="connsiteX61" fmla="*/ 4340585 w 12192185"/>
              <a:gd name="connsiteY61" fmla="*/ 6839888 h 6859062"/>
              <a:gd name="connsiteX62" fmla="*/ 4339947 w 12192185"/>
              <a:gd name="connsiteY62" fmla="*/ 6834142 h 6859062"/>
              <a:gd name="connsiteX63" fmla="*/ 4341132 w 12192185"/>
              <a:gd name="connsiteY63" fmla="*/ 6828921 h 6859062"/>
              <a:gd name="connsiteX64" fmla="*/ 4343168 w 12192185"/>
              <a:gd name="connsiteY64" fmla="*/ 6825258 h 6859062"/>
              <a:gd name="connsiteX65" fmla="*/ 4347033 w 12192185"/>
              <a:gd name="connsiteY65" fmla="*/ 6817540 h 6859062"/>
              <a:gd name="connsiteX66" fmla="*/ 4348210 w 12192185"/>
              <a:gd name="connsiteY66" fmla="*/ 6814607 h 6859062"/>
              <a:gd name="connsiteX67" fmla="*/ 4351210 w 12192185"/>
              <a:gd name="connsiteY67" fmla="*/ 6807621 h 6859062"/>
              <a:gd name="connsiteX68" fmla="*/ 4369730 w 12192185"/>
              <a:gd name="connsiteY68" fmla="*/ 6800208 h 6859062"/>
              <a:gd name="connsiteX69" fmla="*/ 2039497 w 12192185"/>
              <a:gd name="connsiteY69" fmla="*/ 6782355 h 6859062"/>
              <a:gd name="connsiteX70" fmla="*/ 2049259 w 12192185"/>
              <a:gd name="connsiteY70" fmla="*/ 6784845 h 6859062"/>
              <a:gd name="connsiteX71" fmla="*/ 2067089 w 12192185"/>
              <a:gd name="connsiteY71" fmla="*/ 6794572 h 6859062"/>
              <a:gd name="connsiteX72" fmla="*/ 2071445 w 12192185"/>
              <a:gd name="connsiteY72" fmla="*/ 6798774 h 6859062"/>
              <a:gd name="connsiteX73" fmla="*/ 2075797 w 12192185"/>
              <a:gd name="connsiteY73" fmla="*/ 6805263 h 6859062"/>
              <a:gd name="connsiteX74" fmla="*/ 2078030 w 12192185"/>
              <a:gd name="connsiteY74" fmla="*/ 6811143 h 6859062"/>
              <a:gd name="connsiteX75" fmla="*/ 2078428 w 12192185"/>
              <a:gd name="connsiteY75" fmla="*/ 6825652 h 6859062"/>
              <a:gd name="connsiteX76" fmla="*/ 2079098 w 12192185"/>
              <a:gd name="connsiteY76" fmla="*/ 6834680 h 6859062"/>
              <a:gd name="connsiteX77" fmla="*/ 2078053 w 12192185"/>
              <a:gd name="connsiteY77" fmla="*/ 6838303 h 6859062"/>
              <a:gd name="connsiteX78" fmla="*/ 2072332 w 12192185"/>
              <a:gd name="connsiteY78" fmla="*/ 6844504 h 6859062"/>
              <a:gd name="connsiteX79" fmla="*/ 2061029 w 12192185"/>
              <a:gd name="connsiteY79" fmla="*/ 6853018 h 6859062"/>
              <a:gd name="connsiteX80" fmla="*/ 2057692 w 12192185"/>
              <a:gd name="connsiteY80" fmla="*/ 6856636 h 6859062"/>
              <a:gd name="connsiteX81" fmla="*/ 2053628 w 12192185"/>
              <a:gd name="connsiteY81" fmla="*/ 6857099 h 6859062"/>
              <a:gd name="connsiteX82" fmla="*/ 2046063 w 12192185"/>
              <a:gd name="connsiteY82" fmla="*/ 6857205 h 6859062"/>
              <a:gd name="connsiteX83" fmla="*/ 2043295 w 12192185"/>
              <a:gd name="connsiteY83" fmla="*/ 6857715 h 6859062"/>
              <a:gd name="connsiteX84" fmla="*/ 2033270 w 12192185"/>
              <a:gd name="connsiteY84" fmla="*/ 6856130 h 6859062"/>
              <a:gd name="connsiteX85" fmla="*/ 2030979 w 12192185"/>
              <a:gd name="connsiteY85" fmla="*/ 6856123 h 6859062"/>
              <a:gd name="connsiteX86" fmla="*/ 2013433 w 12192185"/>
              <a:gd name="connsiteY86" fmla="*/ 6836337 h 6859062"/>
              <a:gd name="connsiteX87" fmla="*/ 2010354 w 12192185"/>
              <a:gd name="connsiteY87" fmla="*/ 6822035 h 6859062"/>
              <a:gd name="connsiteX88" fmla="*/ 2009720 w 12192185"/>
              <a:gd name="connsiteY88" fmla="*/ 6816290 h 6859062"/>
              <a:gd name="connsiteX89" fmla="*/ 2010899 w 12192185"/>
              <a:gd name="connsiteY89" fmla="*/ 6811068 h 6859062"/>
              <a:gd name="connsiteX90" fmla="*/ 2012939 w 12192185"/>
              <a:gd name="connsiteY90" fmla="*/ 6807404 h 6859062"/>
              <a:gd name="connsiteX91" fmla="*/ 2016805 w 12192185"/>
              <a:gd name="connsiteY91" fmla="*/ 6799686 h 6859062"/>
              <a:gd name="connsiteX92" fmla="*/ 2017979 w 12192185"/>
              <a:gd name="connsiteY92" fmla="*/ 6796754 h 6859062"/>
              <a:gd name="connsiteX93" fmla="*/ 2020977 w 12192185"/>
              <a:gd name="connsiteY93" fmla="*/ 6789769 h 6859062"/>
              <a:gd name="connsiteX94" fmla="*/ 2039497 w 12192185"/>
              <a:gd name="connsiteY94" fmla="*/ 6782355 h 6859062"/>
              <a:gd name="connsiteX95" fmla="*/ 1708847 w 12192185"/>
              <a:gd name="connsiteY95" fmla="*/ 6763268 h 6859062"/>
              <a:gd name="connsiteX96" fmla="*/ 1711763 w 12192185"/>
              <a:gd name="connsiteY96" fmla="*/ 6764960 h 6859062"/>
              <a:gd name="connsiteX97" fmla="*/ 1712989 w 12192185"/>
              <a:gd name="connsiteY97" fmla="*/ 6768078 h 6859062"/>
              <a:gd name="connsiteX98" fmla="*/ 1716747 w 12192185"/>
              <a:gd name="connsiteY98" fmla="*/ 6769800 h 6859062"/>
              <a:gd name="connsiteX99" fmla="*/ 1729632 w 12192185"/>
              <a:gd name="connsiteY99" fmla="*/ 6770117 h 6859062"/>
              <a:gd name="connsiteX100" fmla="*/ 1744838 w 12192185"/>
              <a:gd name="connsiteY100" fmla="*/ 6773444 h 6859062"/>
              <a:gd name="connsiteX101" fmla="*/ 1747863 w 12192185"/>
              <a:gd name="connsiteY101" fmla="*/ 6776230 h 6859062"/>
              <a:gd name="connsiteX102" fmla="*/ 1756714 w 12192185"/>
              <a:gd name="connsiteY102" fmla="*/ 6783888 h 6859062"/>
              <a:gd name="connsiteX103" fmla="*/ 1758282 w 12192185"/>
              <a:gd name="connsiteY103" fmla="*/ 6785828 h 6859062"/>
              <a:gd name="connsiteX104" fmla="*/ 1763920 w 12192185"/>
              <a:gd name="connsiteY104" fmla="*/ 6798725 h 6859062"/>
              <a:gd name="connsiteX105" fmla="*/ 1764123 w 12192185"/>
              <a:gd name="connsiteY105" fmla="*/ 6817918 h 6859062"/>
              <a:gd name="connsiteX106" fmla="*/ 1764919 w 12192185"/>
              <a:gd name="connsiteY106" fmla="*/ 6824739 h 6859062"/>
              <a:gd name="connsiteX107" fmla="*/ 1761837 w 12192185"/>
              <a:gd name="connsiteY107" fmla="*/ 6833204 h 6859062"/>
              <a:gd name="connsiteX108" fmla="*/ 1758957 w 12192185"/>
              <a:gd name="connsiteY108" fmla="*/ 6840240 h 6859062"/>
              <a:gd name="connsiteX109" fmla="*/ 1758302 w 12192185"/>
              <a:gd name="connsiteY109" fmla="*/ 6843240 h 6859062"/>
              <a:gd name="connsiteX110" fmla="*/ 1742865 w 12192185"/>
              <a:gd name="connsiteY110" fmla="*/ 6853242 h 6859062"/>
              <a:gd name="connsiteX111" fmla="*/ 1729999 w 12192185"/>
              <a:gd name="connsiteY111" fmla="*/ 6856545 h 6859062"/>
              <a:gd name="connsiteX112" fmla="*/ 1725317 w 12192185"/>
              <a:gd name="connsiteY112" fmla="*/ 6858826 h 6859062"/>
              <a:gd name="connsiteX113" fmla="*/ 1644996 w 12192185"/>
              <a:gd name="connsiteY113" fmla="*/ 6858826 h 6859062"/>
              <a:gd name="connsiteX114" fmla="*/ 1648119 w 12192185"/>
              <a:gd name="connsiteY114" fmla="*/ 6853535 h 6859062"/>
              <a:gd name="connsiteX115" fmla="*/ 1652084 w 12192185"/>
              <a:gd name="connsiteY115" fmla="*/ 6850852 h 6859062"/>
              <a:gd name="connsiteX116" fmla="*/ 1663081 w 12192185"/>
              <a:gd name="connsiteY116" fmla="*/ 6842970 h 6859062"/>
              <a:gd name="connsiteX117" fmla="*/ 1668305 w 12192185"/>
              <a:gd name="connsiteY117" fmla="*/ 6842565 h 6859062"/>
              <a:gd name="connsiteX118" fmla="*/ 1689386 w 12192185"/>
              <a:gd name="connsiteY118" fmla="*/ 6842484 h 6859062"/>
              <a:gd name="connsiteX119" fmla="*/ 1690633 w 12192185"/>
              <a:gd name="connsiteY119" fmla="*/ 6838166 h 6859062"/>
              <a:gd name="connsiteX120" fmla="*/ 1685697 w 12192185"/>
              <a:gd name="connsiteY120" fmla="*/ 6836104 h 6859062"/>
              <a:gd name="connsiteX121" fmla="*/ 1681482 w 12192185"/>
              <a:gd name="connsiteY121" fmla="*/ 6837439 h 6859062"/>
              <a:gd name="connsiteX122" fmla="*/ 1678031 w 12192185"/>
              <a:gd name="connsiteY122" fmla="*/ 6836868 h 6859062"/>
              <a:gd name="connsiteX123" fmla="*/ 1679640 w 12192185"/>
              <a:gd name="connsiteY123" fmla="*/ 6833505 h 6859062"/>
              <a:gd name="connsiteX124" fmla="*/ 1683125 w 12192185"/>
              <a:gd name="connsiteY124" fmla="*/ 6831746 h 6859062"/>
              <a:gd name="connsiteX125" fmla="*/ 1685863 w 12192185"/>
              <a:gd name="connsiteY125" fmla="*/ 6825946 h 6859062"/>
              <a:gd name="connsiteX126" fmla="*/ 1680222 w 12192185"/>
              <a:gd name="connsiteY126" fmla="*/ 6825593 h 6859062"/>
              <a:gd name="connsiteX127" fmla="*/ 1675135 w 12192185"/>
              <a:gd name="connsiteY127" fmla="*/ 6827740 h 6859062"/>
              <a:gd name="connsiteX128" fmla="*/ 1671944 w 12192185"/>
              <a:gd name="connsiteY128" fmla="*/ 6824055 h 6859062"/>
              <a:gd name="connsiteX129" fmla="*/ 1679493 w 12192185"/>
              <a:gd name="connsiteY129" fmla="*/ 6814115 h 6859062"/>
              <a:gd name="connsiteX130" fmla="*/ 1682609 w 12192185"/>
              <a:gd name="connsiteY130" fmla="*/ 6803321 h 6859062"/>
              <a:gd name="connsiteX131" fmla="*/ 1679928 w 12192185"/>
              <a:gd name="connsiteY131" fmla="*/ 6797869 h 6859062"/>
              <a:gd name="connsiteX132" fmla="*/ 1679374 w 12192185"/>
              <a:gd name="connsiteY132" fmla="*/ 6795370 h 6859062"/>
              <a:gd name="connsiteX133" fmla="*/ 1681873 w 12192185"/>
              <a:gd name="connsiteY133" fmla="*/ 6794816 h 6859062"/>
              <a:gd name="connsiteX134" fmla="*/ 1687129 w 12192185"/>
              <a:gd name="connsiteY134" fmla="*/ 6792080 h 6859062"/>
              <a:gd name="connsiteX135" fmla="*/ 1694784 w 12192185"/>
              <a:gd name="connsiteY135" fmla="*/ 6784722 h 6859062"/>
              <a:gd name="connsiteX136" fmla="*/ 1696340 w 12192185"/>
              <a:gd name="connsiteY136" fmla="*/ 6780069 h 6859062"/>
              <a:gd name="connsiteX137" fmla="*/ 1695675 w 12192185"/>
              <a:gd name="connsiteY137" fmla="*/ 6776475 h 6859062"/>
              <a:gd name="connsiteX138" fmla="*/ 1699636 w 12192185"/>
              <a:gd name="connsiteY138" fmla="*/ 6775279 h 6859062"/>
              <a:gd name="connsiteX139" fmla="*/ 1702499 w 12192185"/>
              <a:gd name="connsiteY139" fmla="*/ 6775680 h 6859062"/>
              <a:gd name="connsiteX140" fmla="*/ 1708160 w 12192185"/>
              <a:gd name="connsiteY140" fmla="*/ 6768598 h 6859062"/>
              <a:gd name="connsiteX141" fmla="*/ 1707631 w 12192185"/>
              <a:gd name="connsiteY141" fmla="*/ 6766744 h 6859062"/>
              <a:gd name="connsiteX142" fmla="*/ 1708847 w 12192185"/>
              <a:gd name="connsiteY142" fmla="*/ 6763268 h 6859062"/>
              <a:gd name="connsiteX143" fmla="*/ 1064333 w 12192185"/>
              <a:gd name="connsiteY143" fmla="*/ 6755281 h 6859062"/>
              <a:gd name="connsiteX144" fmla="*/ 1076277 w 12192185"/>
              <a:gd name="connsiteY144" fmla="*/ 6756831 h 6859062"/>
              <a:gd name="connsiteX145" fmla="*/ 1085936 w 12192185"/>
              <a:gd name="connsiteY145" fmla="*/ 6772905 h 6859062"/>
              <a:gd name="connsiteX146" fmla="*/ 1087186 w 12192185"/>
              <a:gd name="connsiteY146" fmla="*/ 6778485 h 6859062"/>
              <a:gd name="connsiteX147" fmla="*/ 1092511 w 12192185"/>
              <a:gd name="connsiteY147" fmla="*/ 6791408 h 6859062"/>
              <a:gd name="connsiteX148" fmla="*/ 1097972 w 12192185"/>
              <a:gd name="connsiteY148" fmla="*/ 6797256 h 6859062"/>
              <a:gd name="connsiteX149" fmla="*/ 1099075 w 12192185"/>
              <a:gd name="connsiteY149" fmla="*/ 6816552 h 6859062"/>
              <a:gd name="connsiteX150" fmla="*/ 1090816 w 12192185"/>
              <a:gd name="connsiteY150" fmla="*/ 6830301 h 6859062"/>
              <a:gd name="connsiteX151" fmla="*/ 1075717 w 12192185"/>
              <a:gd name="connsiteY151" fmla="*/ 6836381 h 6859062"/>
              <a:gd name="connsiteX152" fmla="*/ 1073892 w 12192185"/>
              <a:gd name="connsiteY152" fmla="*/ 6837752 h 6859062"/>
              <a:gd name="connsiteX153" fmla="*/ 1065092 w 12192185"/>
              <a:gd name="connsiteY153" fmla="*/ 6835212 h 6859062"/>
              <a:gd name="connsiteX154" fmla="*/ 1056804 w 12192185"/>
              <a:gd name="connsiteY154" fmla="*/ 6827600 h 6859062"/>
              <a:gd name="connsiteX155" fmla="*/ 1052480 w 12192185"/>
              <a:gd name="connsiteY155" fmla="*/ 6817812 h 6859062"/>
              <a:gd name="connsiteX156" fmla="*/ 1051054 w 12192185"/>
              <a:gd name="connsiteY156" fmla="*/ 6804590 h 6859062"/>
              <a:gd name="connsiteX157" fmla="*/ 1048182 w 12192185"/>
              <a:gd name="connsiteY157" fmla="*/ 6791424 h 6859062"/>
              <a:gd name="connsiteX158" fmla="*/ 1041283 w 12192185"/>
              <a:gd name="connsiteY158" fmla="*/ 6778995 h 6859062"/>
              <a:gd name="connsiteX159" fmla="*/ 1045834 w 12192185"/>
              <a:gd name="connsiteY159" fmla="*/ 6763227 h 6859062"/>
              <a:gd name="connsiteX160" fmla="*/ 1052883 w 12192185"/>
              <a:gd name="connsiteY160" fmla="*/ 6758619 h 6859062"/>
              <a:gd name="connsiteX161" fmla="*/ 1064333 w 12192185"/>
              <a:gd name="connsiteY161" fmla="*/ 6755281 h 6859062"/>
              <a:gd name="connsiteX162" fmla="*/ 2176920 w 12192185"/>
              <a:gd name="connsiteY162" fmla="*/ 6733472 h 6859062"/>
              <a:gd name="connsiteX163" fmla="*/ 2191176 w 12192185"/>
              <a:gd name="connsiteY163" fmla="*/ 6737998 h 6859062"/>
              <a:gd name="connsiteX164" fmla="*/ 2204981 w 12192185"/>
              <a:gd name="connsiteY164" fmla="*/ 6742454 h 6859062"/>
              <a:gd name="connsiteX165" fmla="*/ 2221854 w 12192185"/>
              <a:gd name="connsiteY165" fmla="*/ 6765694 h 6859062"/>
              <a:gd name="connsiteX166" fmla="*/ 2220149 w 12192185"/>
              <a:gd name="connsiteY166" fmla="*/ 6776505 h 6859062"/>
              <a:gd name="connsiteX167" fmla="*/ 2219329 w 12192185"/>
              <a:gd name="connsiteY167" fmla="*/ 6780979 h 6859062"/>
              <a:gd name="connsiteX168" fmla="*/ 2218118 w 12192185"/>
              <a:gd name="connsiteY168" fmla="*/ 6793346 h 6859062"/>
              <a:gd name="connsiteX169" fmla="*/ 2217792 w 12192185"/>
              <a:gd name="connsiteY169" fmla="*/ 6799375 h 6859062"/>
              <a:gd name="connsiteX170" fmla="*/ 2215224 w 12192185"/>
              <a:gd name="connsiteY170" fmla="*/ 6806640 h 6859062"/>
              <a:gd name="connsiteX171" fmla="*/ 2210043 w 12192185"/>
              <a:gd name="connsiteY171" fmla="*/ 6813152 h 6859062"/>
              <a:gd name="connsiteX172" fmla="*/ 2195319 w 12192185"/>
              <a:gd name="connsiteY172" fmla="*/ 6828214 h 6859062"/>
              <a:gd name="connsiteX173" fmla="*/ 2158762 w 12192185"/>
              <a:gd name="connsiteY173" fmla="*/ 6838858 h 6859062"/>
              <a:gd name="connsiteX174" fmla="*/ 2155967 w 12192185"/>
              <a:gd name="connsiteY174" fmla="*/ 6837108 h 6859062"/>
              <a:gd name="connsiteX175" fmla="*/ 2142538 w 12192185"/>
              <a:gd name="connsiteY175" fmla="*/ 6831348 h 6859062"/>
              <a:gd name="connsiteX176" fmla="*/ 2139556 w 12192185"/>
              <a:gd name="connsiteY176" fmla="*/ 6828604 h 6859062"/>
              <a:gd name="connsiteX177" fmla="*/ 2130423 w 12192185"/>
              <a:gd name="connsiteY177" fmla="*/ 6822670 h 6859062"/>
              <a:gd name="connsiteX178" fmla="*/ 2125826 w 12192185"/>
              <a:gd name="connsiteY178" fmla="*/ 6818989 h 6859062"/>
              <a:gd name="connsiteX179" fmla="*/ 2124535 w 12192185"/>
              <a:gd name="connsiteY179" fmla="*/ 6812023 h 6859062"/>
              <a:gd name="connsiteX180" fmla="*/ 2117298 w 12192185"/>
              <a:gd name="connsiteY180" fmla="*/ 6792978 h 6859062"/>
              <a:gd name="connsiteX181" fmla="*/ 2115086 w 12192185"/>
              <a:gd name="connsiteY181" fmla="*/ 6781035 h 6859062"/>
              <a:gd name="connsiteX182" fmla="*/ 2116592 w 12192185"/>
              <a:gd name="connsiteY182" fmla="*/ 6775817 h 6859062"/>
              <a:gd name="connsiteX183" fmla="*/ 2124334 w 12192185"/>
              <a:gd name="connsiteY183" fmla="*/ 6765335 h 6859062"/>
              <a:gd name="connsiteX184" fmla="*/ 2135951 w 12192185"/>
              <a:gd name="connsiteY184" fmla="*/ 6747964 h 6859062"/>
              <a:gd name="connsiteX185" fmla="*/ 2143183 w 12192185"/>
              <a:gd name="connsiteY185" fmla="*/ 6742515 h 6859062"/>
              <a:gd name="connsiteX186" fmla="*/ 2153461 w 12192185"/>
              <a:gd name="connsiteY186" fmla="*/ 6737947 h 6859062"/>
              <a:gd name="connsiteX187" fmla="*/ 2161993 w 12192185"/>
              <a:gd name="connsiteY187" fmla="*/ 6736169 h 6859062"/>
              <a:gd name="connsiteX188" fmla="*/ 2176920 w 12192185"/>
              <a:gd name="connsiteY188" fmla="*/ 6733472 h 6859062"/>
              <a:gd name="connsiteX189" fmla="*/ 10141215 w 12192185"/>
              <a:gd name="connsiteY189" fmla="*/ 6731520 h 6859062"/>
              <a:gd name="connsiteX190" fmla="*/ 10144130 w 12192185"/>
              <a:gd name="connsiteY190" fmla="*/ 6733212 h 6859062"/>
              <a:gd name="connsiteX191" fmla="*/ 10145358 w 12192185"/>
              <a:gd name="connsiteY191" fmla="*/ 6736330 h 6859062"/>
              <a:gd name="connsiteX192" fmla="*/ 10149115 w 12192185"/>
              <a:gd name="connsiteY192" fmla="*/ 6738053 h 6859062"/>
              <a:gd name="connsiteX193" fmla="*/ 10161999 w 12192185"/>
              <a:gd name="connsiteY193" fmla="*/ 6738369 h 6859062"/>
              <a:gd name="connsiteX194" fmla="*/ 10177206 w 12192185"/>
              <a:gd name="connsiteY194" fmla="*/ 6741696 h 6859062"/>
              <a:gd name="connsiteX195" fmla="*/ 10180230 w 12192185"/>
              <a:gd name="connsiteY195" fmla="*/ 6744483 h 6859062"/>
              <a:gd name="connsiteX196" fmla="*/ 10189082 w 12192185"/>
              <a:gd name="connsiteY196" fmla="*/ 6752140 h 6859062"/>
              <a:gd name="connsiteX197" fmla="*/ 10190650 w 12192185"/>
              <a:gd name="connsiteY197" fmla="*/ 6754080 h 6859062"/>
              <a:gd name="connsiteX198" fmla="*/ 10196287 w 12192185"/>
              <a:gd name="connsiteY198" fmla="*/ 6766977 h 6859062"/>
              <a:gd name="connsiteX199" fmla="*/ 10196490 w 12192185"/>
              <a:gd name="connsiteY199" fmla="*/ 6786170 h 6859062"/>
              <a:gd name="connsiteX200" fmla="*/ 10197286 w 12192185"/>
              <a:gd name="connsiteY200" fmla="*/ 6792991 h 6859062"/>
              <a:gd name="connsiteX201" fmla="*/ 10194205 w 12192185"/>
              <a:gd name="connsiteY201" fmla="*/ 6801456 h 6859062"/>
              <a:gd name="connsiteX202" fmla="*/ 10191324 w 12192185"/>
              <a:gd name="connsiteY202" fmla="*/ 6808492 h 6859062"/>
              <a:gd name="connsiteX203" fmla="*/ 10190671 w 12192185"/>
              <a:gd name="connsiteY203" fmla="*/ 6811492 h 6859062"/>
              <a:gd name="connsiteX204" fmla="*/ 10175233 w 12192185"/>
              <a:gd name="connsiteY204" fmla="*/ 6821495 h 6859062"/>
              <a:gd name="connsiteX205" fmla="*/ 10162367 w 12192185"/>
              <a:gd name="connsiteY205" fmla="*/ 6824797 h 6859062"/>
              <a:gd name="connsiteX206" fmla="*/ 10151004 w 12192185"/>
              <a:gd name="connsiteY206" fmla="*/ 6833211 h 6859062"/>
              <a:gd name="connsiteX207" fmla="*/ 10151560 w 12192185"/>
              <a:gd name="connsiteY207" fmla="*/ 6835709 h 6859062"/>
              <a:gd name="connsiteX208" fmla="*/ 10159180 w 12192185"/>
              <a:gd name="connsiteY208" fmla="*/ 6852792 h 6859062"/>
              <a:gd name="connsiteX209" fmla="*/ 10159843 w 12192185"/>
              <a:gd name="connsiteY209" fmla="*/ 6856386 h 6859062"/>
              <a:gd name="connsiteX210" fmla="*/ 10159543 w 12192185"/>
              <a:gd name="connsiteY210" fmla="*/ 6858826 h 6859062"/>
              <a:gd name="connsiteX211" fmla="*/ 10063020 w 12192185"/>
              <a:gd name="connsiteY211" fmla="*/ 6858826 h 6859062"/>
              <a:gd name="connsiteX212" fmla="*/ 10061824 w 12192185"/>
              <a:gd name="connsiteY212" fmla="*/ 6852544 h 6859062"/>
              <a:gd name="connsiteX213" fmla="*/ 10059699 w 12192185"/>
              <a:gd name="connsiteY213" fmla="*/ 6849592 h 6859062"/>
              <a:gd name="connsiteX214" fmla="*/ 10064108 w 12192185"/>
              <a:gd name="connsiteY214" fmla="*/ 6848314 h 6859062"/>
              <a:gd name="connsiteX215" fmla="*/ 10064697 w 12192185"/>
              <a:gd name="connsiteY215" fmla="*/ 6848483 h 6859062"/>
              <a:gd name="connsiteX216" fmla="*/ 10070355 w 12192185"/>
              <a:gd name="connsiteY216" fmla="*/ 6842888 h 6859062"/>
              <a:gd name="connsiteX217" fmla="*/ 10073411 w 12192185"/>
              <a:gd name="connsiteY217" fmla="*/ 6833777 h 6859062"/>
              <a:gd name="connsiteX218" fmla="*/ 10080487 w 12192185"/>
              <a:gd name="connsiteY218" fmla="*/ 6821787 h 6859062"/>
              <a:gd name="connsiteX219" fmla="*/ 10084453 w 12192185"/>
              <a:gd name="connsiteY219" fmla="*/ 6819104 h 6859062"/>
              <a:gd name="connsiteX220" fmla="*/ 10095448 w 12192185"/>
              <a:gd name="connsiteY220" fmla="*/ 6811222 h 6859062"/>
              <a:gd name="connsiteX221" fmla="*/ 10100672 w 12192185"/>
              <a:gd name="connsiteY221" fmla="*/ 6810817 h 6859062"/>
              <a:gd name="connsiteX222" fmla="*/ 10121754 w 12192185"/>
              <a:gd name="connsiteY222" fmla="*/ 6810736 h 6859062"/>
              <a:gd name="connsiteX223" fmla="*/ 10123001 w 12192185"/>
              <a:gd name="connsiteY223" fmla="*/ 6806418 h 6859062"/>
              <a:gd name="connsiteX224" fmla="*/ 10118064 w 12192185"/>
              <a:gd name="connsiteY224" fmla="*/ 6804356 h 6859062"/>
              <a:gd name="connsiteX225" fmla="*/ 10113851 w 12192185"/>
              <a:gd name="connsiteY225" fmla="*/ 6805691 h 6859062"/>
              <a:gd name="connsiteX226" fmla="*/ 10110398 w 12192185"/>
              <a:gd name="connsiteY226" fmla="*/ 6805120 h 6859062"/>
              <a:gd name="connsiteX227" fmla="*/ 10112007 w 12192185"/>
              <a:gd name="connsiteY227" fmla="*/ 6801757 h 6859062"/>
              <a:gd name="connsiteX228" fmla="*/ 10115493 w 12192185"/>
              <a:gd name="connsiteY228" fmla="*/ 6799998 h 6859062"/>
              <a:gd name="connsiteX229" fmla="*/ 10118231 w 12192185"/>
              <a:gd name="connsiteY229" fmla="*/ 6794198 h 6859062"/>
              <a:gd name="connsiteX230" fmla="*/ 10112589 w 12192185"/>
              <a:gd name="connsiteY230" fmla="*/ 6793845 h 6859062"/>
              <a:gd name="connsiteX231" fmla="*/ 10107503 w 12192185"/>
              <a:gd name="connsiteY231" fmla="*/ 6795992 h 6859062"/>
              <a:gd name="connsiteX232" fmla="*/ 10104313 w 12192185"/>
              <a:gd name="connsiteY232" fmla="*/ 6792307 h 6859062"/>
              <a:gd name="connsiteX233" fmla="*/ 10111861 w 12192185"/>
              <a:gd name="connsiteY233" fmla="*/ 6782367 h 6859062"/>
              <a:gd name="connsiteX234" fmla="*/ 10114976 w 12192185"/>
              <a:gd name="connsiteY234" fmla="*/ 6771572 h 6859062"/>
              <a:gd name="connsiteX235" fmla="*/ 10112295 w 12192185"/>
              <a:gd name="connsiteY235" fmla="*/ 6766121 h 6859062"/>
              <a:gd name="connsiteX236" fmla="*/ 10111740 w 12192185"/>
              <a:gd name="connsiteY236" fmla="*/ 6763622 h 6859062"/>
              <a:gd name="connsiteX237" fmla="*/ 10114240 w 12192185"/>
              <a:gd name="connsiteY237" fmla="*/ 6763068 h 6859062"/>
              <a:gd name="connsiteX238" fmla="*/ 10119497 w 12192185"/>
              <a:gd name="connsiteY238" fmla="*/ 6760332 h 6859062"/>
              <a:gd name="connsiteX239" fmla="*/ 10127152 w 12192185"/>
              <a:gd name="connsiteY239" fmla="*/ 6752975 h 6859062"/>
              <a:gd name="connsiteX240" fmla="*/ 10128707 w 12192185"/>
              <a:gd name="connsiteY240" fmla="*/ 6748321 h 6859062"/>
              <a:gd name="connsiteX241" fmla="*/ 10128044 w 12192185"/>
              <a:gd name="connsiteY241" fmla="*/ 6744727 h 6859062"/>
              <a:gd name="connsiteX242" fmla="*/ 10132004 w 12192185"/>
              <a:gd name="connsiteY242" fmla="*/ 6743532 h 6859062"/>
              <a:gd name="connsiteX243" fmla="*/ 10134866 w 12192185"/>
              <a:gd name="connsiteY243" fmla="*/ 6743932 h 6859062"/>
              <a:gd name="connsiteX244" fmla="*/ 10140527 w 12192185"/>
              <a:gd name="connsiteY244" fmla="*/ 6736850 h 6859062"/>
              <a:gd name="connsiteX245" fmla="*/ 10139998 w 12192185"/>
              <a:gd name="connsiteY245" fmla="*/ 6734996 h 6859062"/>
              <a:gd name="connsiteX246" fmla="*/ 10141215 w 12192185"/>
              <a:gd name="connsiteY246" fmla="*/ 6731520 h 6859062"/>
              <a:gd name="connsiteX247" fmla="*/ 9496698 w 12192185"/>
              <a:gd name="connsiteY247" fmla="*/ 6723534 h 6859062"/>
              <a:gd name="connsiteX248" fmla="*/ 9508643 w 12192185"/>
              <a:gd name="connsiteY248" fmla="*/ 6725083 h 6859062"/>
              <a:gd name="connsiteX249" fmla="*/ 9518303 w 12192185"/>
              <a:gd name="connsiteY249" fmla="*/ 6741156 h 6859062"/>
              <a:gd name="connsiteX250" fmla="*/ 9519551 w 12192185"/>
              <a:gd name="connsiteY250" fmla="*/ 6746736 h 6859062"/>
              <a:gd name="connsiteX251" fmla="*/ 9524877 w 12192185"/>
              <a:gd name="connsiteY251" fmla="*/ 6759661 h 6859062"/>
              <a:gd name="connsiteX252" fmla="*/ 9530337 w 12192185"/>
              <a:gd name="connsiteY252" fmla="*/ 6765507 h 6859062"/>
              <a:gd name="connsiteX253" fmla="*/ 9531441 w 12192185"/>
              <a:gd name="connsiteY253" fmla="*/ 6784804 h 6859062"/>
              <a:gd name="connsiteX254" fmla="*/ 9523183 w 12192185"/>
              <a:gd name="connsiteY254" fmla="*/ 6798553 h 6859062"/>
              <a:gd name="connsiteX255" fmla="*/ 9508082 w 12192185"/>
              <a:gd name="connsiteY255" fmla="*/ 6804633 h 6859062"/>
              <a:gd name="connsiteX256" fmla="*/ 9506257 w 12192185"/>
              <a:gd name="connsiteY256" fmla="*/ 6806004 h 6859062"/>
              <a:gd name="connsiteX257" fmla="*/ 9497459 w 12192185"/>
              <a:gd name="connsiteY257" fmla="*/ 6803464 h 6859062"/>
              <a:gd name="connsiteX258" fmla="*/ 9489169 w 12192185"/>
              <a:gd name="connsiteY258" fmla="*/ 6795852 h 6859062"/>
              <a:gd name="connsiteX259" fmla="*/ 9484845 w 12192185"/>
              <a:gd name="connsiteY259" fmla="*/ 6786064 h 6859062"/>
              <a:gd name="connsiteX260" fmla="*/ 9483419 w 12192185"/>
              <a:gd name="connsiteY260" fmla="*/ 6772842 h 6859062"/>
              <a:gd name="connsiteX261" fmla="*/ 9480546 w 12192185"/>
              <a:gd name="connsiteY261" fmla="*/ 6759676 h 6859062"/>
              <a:gd name="connsiteX262" fmla="*/ 9473650 w 12192185"/>
              <a:gd name="connsiteY262" fmla="*/ 6747247 h 6859062"/>
              <a:gd name="connsiteX263" fmla="*/ 9478200 w 12192185"/>
              <a:gd name="connsiteY263" fmla="*/ 6731479 h 6859062"/>
              <a:gd name="connsiteX264" fmla="*/ 9485250 w 12192185"/>
              <a:gd name="connsiteY264" fmla="*/ 6726872 h 6859062"/>
              <a:gd name="connsiteX265" fmla="*/ 9496698 w 12192185"/>
              <a:gd name="connsiteY265" fmla="*/ 6723534 h 6859062"/>
              <a:gd name="connsiteX266" fmla="*/ 7316600 w 12192185"/>
              <a:gd name="connsiteY266" fmla="*/ 6721138 h 6859062"/>
              <a:gd name="connsiteX267" fmla="*/ 7329172 w 12192185"/>
              <a:gd name="connsiteY267" fmla="*/ 6724355 h 6859062"/>
              <a:gd name="connsiteX268" fmla="*/ 7341349 w 12192185"/>
              <a:gd name="connsiteY268" fmla="*/ 6727533 h 6859062"/>
              <a:gd name="connsiteX269" fmla="*/ 7357112 w 12192185"/>
              <a:gd name="connsiteY269" fmla="*/ 6746830 h 6859062"/>
              <a:gd name="connsiteX270" fmla="*/ 7356169 w 12192185"/>
              <a:gd name="connsiteY270" fmla="*/ 6756278 h 6859062"/>
              <a:gd name="connsiteX271" fmla="*/ 7355680 w 12192185"/>
              <a:gd name="connsiteY271" fmla="*/ 6760194 h 6859062"/>
              <a:gd name="connsiteX272" fmla="*/ 7355240 w 12192185"/>
              <a:gd name="connsiteY272" fmla="*/ 6770966 h 6859062"/>
              <a:gd name="connsiteX273" fmla="*/ 7355256 w 12192185"/>
              <a:gd name="connsiteY273" fmla="*/ 6776204 h 6859062"/>
              <a:gd name="connsiteX274" fmla="*/ 7353391 w 12192185"/>
              <a:gd name="connsiteY274" fmla="*/ 6782624 h 6859062"/>
              <a:gd name="connsiteX275" fmla="*/ 7349225 w 12192185"/>
              <a:gd name="connsiteY275" fmla="*/ 6788521 h 6859062"/>
              <a:gd name="connsiteX276" fmla="*/ 7337216 w 12192185"/>
              <a:gd name="connsiteY276" fmla="*/ 6802294 h 6859062"/>
              <a:gd name="connsiteX277" fmla="*/ 7306077 w 12192185"/>
              <a:gd name="connsiteY277" fmla="*/ 6813319 h 6859062"/>
              <a:gd name="connsiteX278" fmla="*/ 7303569 w 12192185"/>
              <a:gd name="connsiteY278" fmla="*/ 6811942 h 6859062"/>
              <a:gd name="connsiteX279" fmla="*/ 7291653 w 12192185"/>
              <a:gd name="connsiteY279" fmla="*/ 6807615 h 6859062"/>
              <a:gd name="connsiteX280" fmla="*/ 7288936 w 12192185"/>
              <a:gd name="connsiteY280" fmla="*/ 6805386 h 6859062"/>
              <a:gd name="connsiteX281" fmla="*/ 7280730 w 12192185"/>
              <a:gd name="connsiteY281" fmla="*/ 6800697 h 6859062"/>
              <a:gd name="connsiteX282" fmla="*/ 7276567 w 12192185"/>
              <a:gd name="connsiteY282" fmla="*/ 6797736 h 6859062"/>
              <a:gd name="connsiteX283" fmla="*/ 7275106 w 12192185"/>
              <a:gd name="connsiteY283" fmla="*/ 6791766 h 6859062"/>
              <a:gd name="connsiteX284" fmla="*/ 7267897 w 12192185"/>
              <a:gd name="connsiteY284" fmla="*/ 6775626 h 6859062"/>
              <a:gd name="connsiteX285" fmla="*/ 7265391 w 12192185"/>
              <a:gd name="connsiteY285" fmla="*/ 6765392 h 6859062"/>
              <a:gd name="connsiteX286" fmla="*/ 7266438 w 12192185"/>
              <a:gd name="connsiteY286" fmla="*/ 6760797 h 6859062"/>
              <a:gd name="connsiteX287" fmla="*/ 7272626 w 12192185"/>
              <a:gd name="connsiteY287" fmla="*/ 6751336 h 6859062"/>
              <a:gd name="connsiteX288" fmla="*/ 7281830 w 12192185"/>
              <a:gd name="connsiteY288" fmla="*/ 6735715 h 6859062"/>
              <a:gd name="connsiteX289" fmla="*/ 7287824 w 12192185"/>
              <a:gd name="connsiteY289" fmla="*/ 6730638 h 6859062"/>
              <a:gd name="connsiteX290" fmla="*/ 7296502 w 12192185"/>
              <a:gd name="connsiteY290" fmla="*/ 6726172 h 6859062"/>
              <a:gd name="connsiteX291" fmla="*/ 7303804 w 12192185"/>
              <a:gd name="connsiteY291" fmla="*/ 6724212 h 6859062"/>
              <a:gd name="connsiteX292" fmla="*/ 7316600 w 12192185"/>
              <a:gd name="connsiteY292" fmla="*/ 6721138 h 6859062"/>
              <a:gd name="connsiteX293" fmla="*/ 2669682 w 12192185"/>
              <a:gd name="connsiteY293" fmla="*/ 6720094 h 6859062"/>
              <a:gd name="connsiteX294" fmla="*/ 2680174 w 12192185"/>
              <a:gd name="connsiteY294" fmla="*/ 6722770 h 6859062"/>
              <a:gd name="connsiteX295" fmla="*/ 2699333 w 12192185"/>
              <a:gd name="connsiteY295" fmla="*/ 6733222 h 6859062"/>
              <a:gd name="connsiteX296" fmla="*/ 2704014 w 12192185"/>
              <a:gd name="connsiteY296" fmla="*/ 6737738 h 6859062"/>
              <a:gd name="connsiteX297" fmla="*/ 2708689 w 12192185"/>
              <a:gd name="connsiteY297" fmla="*/ 6744712 h 6859062"/>
              <a:gd name="connsiteX298" fmla="*/ 2711089 w 12192185"/>
              <a:gd name="connsiteY298" fmla="*/ 6751030 h 6859062"/>
              <a:gd name="connsiteX299" fmla="*/ 2711517 w 12192185"/>
              <a:gd name="connsiteY299" fmla="*/ 6766621 h 6859062"/>
              <a:gd name="connsiteX300" fmla="*/ 2712236 w 12192185"/>
              <a:gd name="connsiteY300" fmla="*/ 6776323 h 6859062"/>
              <a:gd name="connsiteX301" fmla="*/ 2711114 w 12192185"/>
              <a:gd name="connsiteY301" fmla="*/ 6780216 h 6859062"/>
              <a:gd name="connsiteX302" fmla="*/ 2704967 w 12192185"/>
              <a:gd name="connsiteY302" fmla="*/ 6786880 h 6859062"/>
              <a:gd name="connsiteX303" fmla="*/ 2692821 w 12192185"/>
              <a:gd name="connsiteY303" fmla="*/ 6796031 h 6859062"/>
              <a:gd name="connsiteX304" fmla="*/ 2689233 w 12192185"/>
              <a:gd name="connsiteY304" fmla="*/ 6799917 h 6859062"/>
              <a:gd name="connsiteX305" fmla="*/ 2684867 w 12192185"/>
              <a:gd name="connsiteY305" fmla="*/ 6800415 h 6859062"/>
              <a:gd name="connsiteX306" fmla="*/ 2676737 w 12192185"/>
              <a:gd name="connsiteY306" fmla="*/ 6800529 h 6859062"/>
              <a:gd name="connsiteX307" fmla="*/ 2673763 w 12192185"/>
              <a:gd name="connsiteY307" fmla="*/ 6801076 h 6859062"/>
              <a:gd name="connsiteX308" fmla="*/ 2662990 w 12192185"/>
              <a:gd name="connsiteY308" fmla="*/ 6799373 h 6859062"/>
              <a:gd name="connsiteX309" fmla="*/ 2660529 w 12192185"/>
              <a:gd name="connsiteY309" fmla="*/ 6799366 h 6859062"/>
              <a:gd name="connsiteX310" fmla="*/ 2641673 w 12192185"/>
              <a:gd name="connsiteY310" fmla="*/ 6778104 h 6859062"/>
              <a:gd name="connsiteX311" fmla="*/ 2638365 w 12192185"/>
              <a:gd name="connsiteY311" fmla="*/ 6762734 h 6859062"/>
              <a:gd name="connsiteX312" fmla="*/ 2637684 w 12192185"/>
              <a:gd name="connsiteY312" fmla="*/ 6756560 h 6859062"/>
              <a:gd name="connsiteX313" fmla="*/ 2638951 w 12192185"/>
              <a:gd name="connsiteY313" fmla="*/ 6750950 h 6859062"/>
              <a:gd name="connsiteX314" fmla="*/ 2641144 w 12192185"/>
              <a:gd name="connsiteY314" fmla="*/ 6747012 h 6859062"/>
              <a:gd name="connsiteX315" fmla="*/ 2645297 w 12192185"/>
              <a:gd name="connsiteY315" fmla="*/ 6738719 h 6859062"/>
              <a:gd name="connsiteX316" fmla="*/ 2646559 w 12192185"/>
              <a:gd name="connsiteY316" fmla="*/ 6735567 h 6859062"/>
              <a:gd name="connsiteX317" fmla="*/ 2649783 w 12192185"/>
              <a:gd name="connsiteY317" fmla="*/ 6728061 h 6859062"/>
              <a:gd name="connsiteX318" fmla="*/ 2669682 w 12192185"/>
              <a:gd name="connsiteY318" fmla="*/ 6720094 h 6859062"/>
              <a:gd name="connsiteX319" fmla="*/ 10609278 w 12192185"/>
              <a:gd name="connsiteY319" fmla="*/ 6701723 h 6859062"/>
              <a:gd name="connsiteX320" fmla="*/ 10623535 w 12192185"/>
              <a:gd name="connsiteY320" fmla="*/ 6706251 h 6859062"/>
              <a:gd name="connsiteX321" fmla="*/ 10637340 w 12192185"/>
              <a:gd name="connsiteY321" fmla="*/ 6710706 h 6859062"/>
              <a:gd name="connsiteX322" fmla="*/ 10654213 w 12192185"/>
              <a:gd name="connsiteY322" fmla="*/ 6733946 h 6859062"/>
              <a:gd name="connsiteX323" fmla="*/ 10652507 w 12192185"/>
              <a:gd name="connsiteY323" fmla="*/ 6744757 h 6859062"/>
              <a:gd name="connsiteX324" fmla="*/ 10651687 w 12192185"/>
              <a:gd name="connsiteY324" fmla="*/ 6749231 h 6859062"/>
              <a:gd name="connsiteX325" fmla="*/ 10650476 w 12192185"/>
              <a:gd name="connsiteY325" fmla="*/ 6761598 h 6859062"/>
              <a:gd name="connsiteX326" fmla="*/ 10650151 w 12192185"/>
              <a:gd name="connsiteY326" fmla="*/ 6767627 h 6859062"/>
              <a:gd name="connsiteX327" fmla="*/ 10647582 w 12192185"/>
              <a:gd name="connsiteY327" fmla="*/ 6774893 h 6859062"/>
              <a:gd name="connsiteX328" fmla="*/ 10642401 w 12192185"/>
              <a:gd name="connsiteY328" fmla="*/ 6781404 h 6859062"/>
              <a:gd name="connsiteX329" fmla="*/ 10627679 w 12192185"/>
              <a:gd name="connsiteY329" fmla="*/ 6796465 h 6859062"/>
              <a:gd name="connsiteX330" fmla="*/ 10591122 w 12192185"/>
              <a:gd name="connsiteY330" fmla="*/ 6807110 h 6859062"/>
              <a:gd name="connsiteX331" fmla="*/ 10588326 w 12192185"/>
              <a:gd name="connsiteY331" fmla="*/ 6805360 h 6859062"/>
              <a:gd name="connsiteX332" fmla="*/ 10574898 w 12192185"/>
              <a:gd name="connsiteY332" fmla="*/ 6799601 h 6859062"/>
              <a:gd name="connsiteX333" fmla="*/ 10571917 w 12192185"/>
              <a:gd name="connsiteY333" fmla="*/ 6796857 h 6859062"/>
              <a:gd name="connsiteX334" fmla="*/ 10562782 w 12192185"/>
              <a:gd name="connsiteY334" fmla="*/ 6790923 h 6859062"/>
              <a:gd name="connsiteX335" fmla="*/ 10558185 w 12192185"/>
              <a:gd name="connsiteY335" fmla="*/ 6787240 h 6859062"/>
              <a:gd name="connsiteX336" fmla="*/ 10556895 w 12192185"/>
              <a:gd name="connsiteY336" fmla="*/ 6780274 h 6859062"/>
              <a:gd name="connsiteX337" fmla="*/ 10549659 w 12192185"/>
              <a:gd name="connsiteY337" fmla="*/ 6761230 h 6859062"/>
              <a:gd name="connsiteX338" fmla="*/ 10547446 w 12192185"/>
              <a:gd name="connsiteY338" fmla="*/ 6749287 h 6859062"/>
              <a:gd name="connsiteX339" fmla="*/ 10548953 w 12192185"/>
              <a:gd name="connsiteY339" fmla="*/ 6744070 h 6859062"/>
              <a:gd name="connsiteX340" fmla="*/ 10556694 w 12192185"/>
              <a:gd name="connsiteY340" fmla="*/ 6733588 h 6859062"/>
              <a:gd name="connsiteX341" fmla="*/ 10568310 w 12192185"/>
              <a:gd name="connsiteY341" fmla="*/ 6716215 h 6859062"/>
              <a:gd name="connsiteX342" fmla="*/ 10575542 w 12192185"/>
              <a:gd name="connsiteY342" fmla="*/ 6710767 h 6859062"/>
              <a:gd name="connsiteX343" fmla="*/ 10585822 w 12192185"/>
              <a:gd name="connsiteY343" fmla="*/ 6706198 h 6859062"/>
              <a:gd name="connsiteX344" fmla="*/ 10594352 w 12192185"/>
              <a:gd name="connsiteY344" fmla="*/ 6704421 h 6859062"/>
              <a:gd name="connsiteX345" fmla="*/ 10609278 w 12192185"/>
              <a:gd name="connsiteY345" fmla="*/ 6701723 h 6859062"/>
              <a:gd name="connsiteX346" fmla="*/ 799646 w 12192185"/>
              <a:gd name="connsiteY346" fmla="*/ 6694588 h 6859062"/>
              <a:gd name="connsiteX347" fmla="*/ 809410 w 12192185"/>
              <a:gd name="connsiteY347" fmla="*/ 6697079 h 6859062"/>
              <a:gd name="connsiteX348" fmla="*/ 827240 w 12192185"/>
              <a:gd name="connsiteY348" fmla="*/ 6706805 h 6859062"/>
              <a:gd name="connsiteX349" fmla="*/ 831595 w 12192185"/>
              <a:gd name="connsiteY349" fmla="*/ 6711007 h 6859062"/>
              <a:gd name="connsiteX350" fmla="*/ 835946 w 12192185"/>
              <a:gd name="connsiteY350" fmla="*/ 6717498 h 6859062"/>
              <a:gd name="connsiteX351" fmla="*/ 838180 w 12192185"/>
              <a:gd name="connsiteY351" fmla="*/ 6723376 h 6859062"/>
              <a:gd name="connsiteX352" fmla="*/ 838578 w 12192185"/>
              <a:gd name="connsiteY352" fmla="*/ 6737887 h 6859062"/>
              <a:gd name="connsiteX353" fmla="*/ 839248 w 12192185"/>
              <a:gd name="connsiteY353" fmla="*/ 6746913 h 6859062"/>
              <a:gd name="connsiteX354" fmla="*/ 838202 w 12192185"/>
              <a:gd name="connsiteY354" fmla="*/ 6750538 h 6859062"/>
              <a:gd name="connsiteX355" fmla="*/ 832481 w 12192185"/>
              <a:gd name="connsiteY355" fmla="*/ 6756738 h 6859062"/>
              <a:gd name="connsiteX356" fmla="*/ 821180 w 12192185"/>
              <a:gd name="connsiteY356" fmla="*/ 6765252 h 6859062"/>
              <a:gd name="connsiteX357" fmla="*/ 817842 w 12192185"/>
              <a:gd name="connsiteY357" fmla="*/ 6768870 h 6859062"/>
              <a:gd name="connsiteX358" fmla="*/ 813777 w 12192185"/>
              <a:gd name="connsiteY358" fmla="*/ 6769332 h 6859062"/>
              <a:gd name="connsiteX359" fmla="*/ 806213 w 12192185"/>
              <a:gd name="connsiteY359" fmla="*/ 6769439 h 6859062"/>
              <a:gd name="connsiteX360" fmla="*/ 803445 w 12192185"/>
              <a:gd name="connsiteY360" fmla="*/ 6769948 h 6859062"/>
              <a:gd name="connsiteX361" fmla="*/ 793420 w 12192185"/>
              <a:gd name="connsiteY361" fmla="*/ 6768364 h 6859062"/>
              <a:gd name="connsiteX362" fmla="*/ 791130 w 12192185"/>
              <a:gd name="connsiteY362" fmla="*/ 6768358 h 6859062"/>
              <a:gd name="connsiteX363" fmla="*/ 773582 w 12192185"/>
              <a:gd name="connsiteY363" fmla="*/ 6748571 h 6859062"/>
              <a:gd name="connsiteX364" fmla="*/ 770504 w 12192185"/>
              <a:gd name="connsiteY364" fmla="*/ 6734269 h 6859062"/>
              <a:gd name="connsiteX365" fmla="*/ 769869 w 12192185"/>
              <a:gd name="connsiteY365" fmla="*/ 6728524 h 6859062"/>
              <a:gd name="connsiteX366" fmla="*/ 771049 w 12192185"/>
              <a:gd name="connsiteY366" fmla="*/ 6723302 h 6859062"/>
              <a:gd name="connsiteX367" fmla="*/ 773089 w 12192185"/>
              <a:gd name="connsiteY367" fmla="*/ 6719638 h 6859062"/>
              <a:gd name="connsiteX368" fmla="*/ 776954 w 12192185"/>
              <a:gd name="connsiteY368" fmla="*/ 6711921 h 6859062"/>
              <a:gd name="connsiteX369" fmla="*/ 778129 w 12192185"/>
              <a:gd name="connsiteY369" fmla="*/ 6708988 h 6859062"/>
              <a:gd name="connsiteX370" fmla="*/ 781128 w 12192185"/>
              <a:gd name="connsiteY370" fmla="*/ 6702002 h 6859062"/>
              <a:gd name="connsiteX371" fmla="*/ 799646 w 12192185"/>
              <a:gd name="connsiteY371" fmla="*/ 6694588 h 6859062"/>
              <a:gd name="connsiteX372" fmla="*/ 7874472 w 12192185"/>
              <a:gd name="connsiteY372" fmla="*/ 6640941 h 6859062"/>
              <a:gd name="connsiteX373" fmla="*/ 7881105 w 12192185"/>
              <a:gd name="connsiteY373" fmla="*/ 6643459 h 6859062"/>
              <a:gd name="connsiteX374" fmla="*/ 7904031 w 12192185"/>
              <a:gd name="connsiteY374" fmla="*/ 6654321 h 6859062"/>
              <a:gd name="connsiteX375" fmla="*/ 7909762 w 12192185"/>
              <a:gd name="connsiteY375" fmla="*/ 6659251 h 6859062"/>
              <a:gd name="connsiteX376" fmla="*/ 7915648 w 12192185"/>
              <a:gd name="connsiteY376" fmla="*/ 6667034 h 6859062"/>
              <a:gd name="connsiteX377" fmla="*/ 7918853 w 12192185"/>
              <a:gd name="connsiteY377" fmla="*/ 6674208 h 6859062"/>
              <a:gd name="connsiteX378" fmla="*/ 7920381 w 12192185"/>
              <a:gd name="connsiteY378" fmla="*/ 6692274 h 6859062"/>
              <a:gd name="connsiteX379" fmla="*/ 7921858 w 12192185"/>
              <a:gd name="connsiteY379" fmla="*/ 6703483 h 6859062"/>
              <a:gd name="connsiteX380" fmla="*/ 7920812 w 12192185"/>
              <a:gd name="connsiteY380" fmla="*/ 6708076 h 6859062"/>
              <a:gd name="connsiteX381" fmla="*/ 7914118 w 12192185"/>
              <a:gd name="connsiteY381" fmla="*/ 6716215 h 6859062"/>
              <a:gd name="connsiteX382" fmla="*/ 7900630 w 12192185"/>
              <a:gd name="connsiteY382" fmla="*/ 6727638 h 6859062"/>
              <a:gd name="connsiteX383" fmla="*/ 7896726 w 12192185"/>
              <a:gd name="connsiteY383" fmla="*/ 6732386 h 6859062"/>
              <a:gd name="connsiteX384" fmla="*/ 7891690 w 12192185"/>
              <a:gd name="connsiteY384" fmla="*/ 6733251 h 6859062"/>
              <a:gd name="connsiteX385" fmla="*/ 7882264 w 12192185"/>
              <a:gd name="connsiteY385" fmla="*/ 6733922 h 6859062"/>
              <a:gd name="connsiteX386" fmla="*/ 7878849 w 12192185"/>
              <a:gd name="connsiteY386" fmla="*/ 6734755 h 6859062"/>
              <a:gd name="connsiteX387" fmla="*/ 7866235 w 12192185"/>
              <a:gd name="connsiteY387" fmla="*/ 6733491 h 6859062"/>
              <a:gd name="connsiteX388" fmla="*/ 7863377 w 12192185"/>
              <a:gd name="connsiteY388" fmla="*/ 6733646 h 6859062"/>
              <a:gd name="connsiteX389" fmla="*/ 7840089 w 12192185"/>
              <a:gd name="connsiteY389" fmla="*/ 6710219 h 6859062"/>
              <a:gd name="connsiteX390" fmla="*/ 7835233 w 12192185"/>
              <a:gd name="connsiteY390" fmla="*/ 6692602 h 6859062"/>
              <a:gd name="connsiteX391" fmla="*/ 7834033 w 12192185"/>
              <a:gd name="connsiteY391" fmla="*/ 6685483 h 6859062"/>
              <a:gd name="connsiteX392" fmla="*/ 7835133 w 12192185"/>
              <a:gd name="connsiteY392" fmla="*/ 6678888 h 6859062"/>
              <a:gd name="connsiteX393" fmla="*/ 7837417 w 12192185"/>
              <a:gd name="connsiteY393" fmla="*/ 6674174 h 6859062"/>
              <a:gd name="connsiteX394" fmla="*/ 7841688 w 12192185"/>
              <a:gd name="connsiteY394" fmla="*/ 6664275 h 6859062"/>
              <a:gd name="connsiteX395" fmla="*/ 7842943 w 12192185"/>
              <a:gd name="connsiteY395" fmla="*/ 6660534 h 6859062"/>
              <a:gd name="connsiteX396" fmla="*/ 7846187 w 12192185"/>
              <a:gd name="connsiteY396" fmla="*/ 6651609 h 6859062"/>
              <a:gd name="connsiteX397" fmla="*/ 7868753 w 12192185"/>
              <a:gd name="connsiteY397" fmla="*/ 6641047 h 6859062"/>
              <a:gd name="connsiteX398" fmla="*/ 7874472 w 12192185"/>
              <a:gd name="connsiteY398" fmla="*/ 6640941 h 6859062"/>
              <a:gd name="connsiteX399" fmla="*/ 1429816 w 12192185"/>
              <a:gd name="connsiteY399" fmla="*/ 6632328 h 6859062"/>
              <a:gd name="connsiteX400" fmla="*/ 1440308 w 12192185"/>
              <a:gd name="connsiteY400" fmla="*/ 6635004 h 6859062"/>
              <a:gd name="connsiteX401" fmla="*/ 1459467 w 12192185"/>
              <a:gd name="connsiteY401" fmla="*/ 6645457 h 6859062"/>
              <a:gd name="connsiteX402" fmla="*/ 1464148 w 12192185"/>
              <a:gd name="connsiteY402" fmla="*/ 6649971 h 6859062"/>
              <a:gd name="connsiteX403" fmla="*/ 1468823 w 12192185"/>
              <a:gd name="connsiteY403" fmla="*/ 6656946 h 6859062"/>
              <a:gd name="connsiteX404" fmla="*/ 1471223 w 12192185"/>
              <a:gd name="connsiteY404" fmla="*/ 6663263 h 6859062"/>
              <a:gd name="connsiteX405" fmla="*/ 1471651 w 12192185"/>
              <a:gd name="connsiteY405" fmla="*/ 6678856 h 6859062"/>
              <a:gd name="connsiteX406" fmla="*/ 1472372 w 12192185"/>
              <a:gd name="connsiteY406" fmla="*/ 6688556 h 6859062"/>
              <a:gd name="connsiteX407" fmla="*/ 1471247 w 12192185"/>
              <a:gd name="connsiteY407" fmla="*/ 6692450 h 6859062"/>
              <a:gd name="connsiteX408" fmla="*/ 1465100 w 12192185"/>
              <a:gd name="connsiteY408" fmla="*/ 6699114 h 6859062"/>
              <a:gd name="connsiteX409" fmla="*/ 1452954 w 12192185"/>
              <a:gd name="connsiteY409" fmla="*/ 6708264 h 6859062"/>
              <a:gd name="connsiteX410" fmla="*/ 1449369 w 12192185"/>
              <a:gd name="connsiteY410" fmla="*/ 6712151 h 6859062"/>
              <a:gd name="connsiteX411" fmla="*/ 1445002 w 12192185"/>
              <a:gd name="connsiteY411" fmla="*/ 6712648 h 6859062"/>
              <a:gd name="connsiteX412" fmla="*/ 1436872 w 12192185"/>
              <a:gd name="connsiteY412" fmla="*/ 6712763 h 6859062"/>
              <a:gd name="connsiteX413" fmla="*/ 1433897 w 12192185"/>
              <a:gd name="connsiteY413" fmla="*/ 6713311 h 6859062"/>
              <a:gd name="connsiteX414" fmla="*/ 1423125 w 12192185"/>
              <a:gd name="connsiteY414" fmla="*/ 6711607 h 6859062"/>
              <a:gd name="connsiteX415" fmla="*/ 1420663 w 12192185"/>
              <a:gd name="connsiteY415" fmla="*/ 6711600 h 6859062"/>
              <a:gd name="connsiteX416" fmla="*/ 1401807 w 12192185"/>
              <a:gd name="connsiteY416" fmla="*/ 6690337 h 6859062"/>
              <a:gd name="connsiteX417" fmla="*/ 1398499 w 12192185"/>
              <a:gd name="connsiteY417" fmla="*/ 6674969 h 6859062"/>
              <a:gd name="connsiteX418" fmla="*/ 1397817 w 12192185"/>
              <a:gd name="connsiteY418" fmla="*/ 6668795 h 6859062"/>
              <a:gd name="connsiteX419" fmla="*/ 1399085 w 12192185"/>
              <a:gd name="connsiteY419" fmla="*/ 6663184 h 6859062"/>
              <a:gd name="connsiteX420" fmla="*/ 1401277 w 12192185"/>
              <a:gd name="connsiteY420" fmla="*/ 6659247 h 6859062"/>
              <a:gd name="connsiteX421" fmla="*/ 1405431 w 12192185"/>
              <a:gd name="connsiteY421" fmla="*/ 6650953 h 6859062"/>
              <a:gd name="connsiteX422" fmla="*/ 1406693 w 12192185"/>
              <a:gd name="connsiteY422" fmla="*/ 6647802 h 6859062"/>
              <a:gd name="connsiteX423" fmla="*/ 1409916 w 12192185"/>
              <a:gd name="connsiteY423" fmla="*/ 6640295 h 6859062"/>
              <a:gd name="connsiteX424" fmla="*/ 1429816 w 12192185"/>
              <a:gd name="connsiteY424" fmla="*/ 6632328 h 6859062"/>
              <a:gd name="connsiteX425" fmla="*/ 4841361 w 12192185"/>
              <a:gd name="connsiteY425" fmla="*/ 6629356 h 6859062"/>
              <a:gd name="connsiteX426" fmla="*/ 4842011 w 12192185"/>
              <a:gd name="connsiteY426" fmla="*/ 6629388 h 6859062"/>
              <a:gd name="connsiteX427" fmla="*/ 4841589 w 12192185"/>
              <a:gd name="connsiteY427" fmla="*/ 6629776 h 6859062"/>
              <a:gd name="connsiteX428" fmla="*/ 1800725 w 12192185"/>
              <a:gd name="connsiteY428" fmla="*/ 6625510 h 6859062"/>
              <a:gd name="connsiteX429" fmla="*/ 1810488 w 12192185"/>
              <a:gd name="connsiteY429" fmla="*/ 6628001 h 6859062"/>
              <a:gd name="connsiteX430" fmla="*/ 1828318 w 12192185"/>
              <a:gd name="connsiteY430" fmla="*/ 6637728 h 6859062"/>
              <a:gd name="connsiteX431" fmla="*/ 1832675 w 12192185"/>
              <a:gd name="connsiteY431" fmla="*/ 6641929 h 6859062"/>
              <a:gd name="connsiteX432" fmla="*/ 1837024 w 12192185"/>
              <a:gd name="connsiteY432" fmla="*/ 6648420 h 6859062"/>
              <a:gd name="connsiteX433" fmla="*/ 1839258 w 12192185"/>
              <a:gd name="connsiteY433" fmla="*/ 6654299 h 6859062"/>
              <a:gd name="connsiteX434" fmla="*/ 1839657 w 12192185"/>
              <a:gd name="connsiteY434" fmla="*/ 6668808 h 6859062"/>
              <a:gd name="connsiteX435" fmla="*/ 1840327 w 12192185"/>
              <a:gd name="connsiteY435" fmla="*/ 6677835 h 6859062"/>
              <a:gd name="connsiteX436" fmla="*/ 1839280 w 12192185"/>
              <a:gd name="connsiteY436" fmla="*/ 6681459 h 6859062"/>
              <a:gd name="connsiteX437" fmla="*/ 1833560 w 12192185"/>
              <a:gd name="connsiteY437" fmla="*/ 6687659 h 6859062"/>
              <a:gd name="connsiteX438" fmla="*/ 1822258 w 12192185"/>
              <a:gd name="connsiteY438" fmla="*/ 6696175 h 6859062"/>
              <a:gd name="connsiteX439" fmla="*/ 1818920 w 12192185"/>
              <a:gd name="connsiteY439" fmla="*/ 6699791 h 6859062"/>
              <a:gd name="connsiteX440" fmla="*/ 1814856 w 12192185"/>
              <a:gd name="connsiteY440" fmla="*/ 6700255 h 6859062"/>
              <a:gd name="connsiteX441" fmla="*/ 1807291 w 12192185"/>
              <a:gd name="connsiteY441" fmla="*/ 6700362 h 6859062"/>
              <a:gd name="connsiteX442" fmla="*/ 1804524 w 12192185"/>
              <a:gd name="connsiteY442" fmla="*/ 6700871 h 6859062"/>
              <a:gd name="connsiteX443" fmla="*/ 1794499 w 12192185"/>
              <a:gd name="connsiteY443" fmla="*/ 6699286 h 6859062"/>
              <a:gd name="connsiteX444" fmla="*/ 1792208 w 12192185"/>
              <a:gd name="connsiteY444" fmla="*/ 6699279 h 6859062"/>
              <a:gd name="connsiteX445" fmla="*/ 1774661 w 12192185"/>
              <a:gd name="connsiteY445" fmla="*/ 6679492 h 6859062"/>
              <a:gd name="connsiteX446" fmla="*/ 1771583 w 12192185"/>
              <a:gd name="connsiteY446" fmla="*/ 6665191 h 6859062"/>
              <a:gd name="connsiteX447" fmla="*/ 1770947 w 12192185"/>
              <a:gd name="connsiteY447" fmla="*/ 6659445 h 6859062"/>
              <a:gd name="connsiteX448" fmla="*/ 1772128 w 12192185"/>
              <a:gd name="connsiteY448" fmla="*/ 6654224 h 6859062"/>
              <a:gd name="connsiteX449" fmla="*/ 1774167 w 12192185"/>
              <a:gd name="connsiteY449" fmla="*/ 6650561 h 6859062"/>
              <a:gd name="connsiteX450" fmla="*/ 1778033 w 12192185"/>
              <a:gd name="connsiteY450" fmla="*/ 6642843 h 6859062"/>
              <a:gd name="connsiteX451" fmla="*/ 1779207 w 12192185"/>
              <a:gd name="connsiteY451" fmla="*/ 6639910 h 6859062"/>
              <a:gd name="connsiteX452" fmla="*/ 1782206 w 12192185"/>
              <a:gd name="connsiteY452" fmla="*/ 6632924 h 6859062"/>
              <a:gd name="connsiteX453" fmla="*/ 1800725 w 12192185"/>
              <a:gd name="connsiteY453" fmla="*/ 6625510 h 6859062"/>
              <a:gd name="connsiteX454" fmla="*/ 1890028 w 12192185"/>
              <a:gd name="connsiteY454" fmla="*/ 6624675 h 6859062"/>
              <a:gd name="connsiteX455" fmla="*/ 1899791 w 12192185"/>
              <a:gd name="connsiteY455" fmla="*/ 6627166 h 6859062"/>
              <a:gd name="connsiteX456" fmla="*/ 1917620 w 12192185"/>
              <a:gd name="connsiteY456" fmla="*/ 6636893 h 6859062"/>
              <a:gd name="connsiteX457" fmla="*/ 1921976 w 12192185"/>
              <a:gd name="connsiteY457" fmla="*/ 6641094 h 6859062"/>
              <a:gd name="connsiteX458" fmla="*/ 1926328 w 12192185"/>
              <a:gd name="connsiteY458" fmla="*/ 6647584 h 6859062"/>
              <a:gd name="connsiteX459" fmla="*/ 1928561 w 12192185"/>
              <a:gd name="connsiteY459" fmla="*/ 6653464 h 6859062"/>
              <a:gd name="connsiteX460" fmla="*/ 1928959 w 12192185"/>
              <a:gd name="connsiteY460" fmla="*/ 6667973 h 6859062"/>
              <a:gd name="connsiteX461" fmla="*/ 1929629 w 12192185"/>
              <a:gd name="connsiteY461" fmla="*/ 6677000 h 6859062"/>
              <a:gd name="connsiteX462" fmla="*/ 1928584 w 12192185"/>
              <a:gd name="connsiteY462" fmla="*/ 6680624 h 6859062"/>
              <a:gd name="connsiteX463" fmla="*/ 1922863 w 12192185"/>
              <a:gd name="connsiteY463" fmla="*/ 6686824 h 6859062"/>
              <a:gd name="connsiteX464" fmla="*/ 1911561 w 12192185"/>
              <a:gd name="connsiteY464" fmla="*/ 6695340 h 6859062"/>
              <a:gd name="connsiteX465" fmla="*/ 1908224 w 12192185"/>
              <a:gd name="connsiteY465" fmla="*/ 6698956 h 6859062"/>
              <a:gd name="connsiteX466" fmla="*/ 1904159 w 12192185"/>
              <a:gd name="connsiteY466" fmla="*/ 6699420 h 6859062"/>
              <a:gd name="connsiteX467" fmla="*/ 1896595 w 12192185"/>
              <a:gd name="connsiteY467" fmla="*/ 6699527 h 6859062"/>
              <a:gd name="connsiteX468" fmla="*/ 1893826 w 12192185"/>
              <a:gd name="connsiteY468" fmla="*/ 6700036 h 6859062"/>
              <a:gd name="connsiteX469" fmla="*/ 1883802 w 12192185"/>
              <a:gd name="connsiteY469" fmla="*/ 6698452 h 6859062"/>
              <a:gd name="connsiteX470" fmla="*/ 1881511 w 12192185"/>
              <a:gd name="connsiteY470" fmla="*/ 6698444 h 6859062"/>
              <a:gd name="connsiteX471" fmla="*/ 1863964 w 12192185"/>
              <a:gd name="connsiteY471" fmla="*/ 6678658 h 6859062"/>
              <a:gd name="connsiteX472" fmla="*/ 1860886 w 12192185"/>
              <a:gd name="connsiteY472" fmla="*/ 6664355 h 6859062"/>
              <a:gd name="connsiteX473" fmla="*/ 1860251 w 12192185"/>
              <a:gd name="connsiteY473" fmla="*/ 6658611 h 6859062"/>
              <a:gd name="connsiteX474" fmla="*/ 1861431 w 12192185"/>
              <a:gd name="connsiteY474" fmla="*/ 6653390 h 6859062"/>
              <a:gd name="connsiteX475" fmla="*/ 1863470 w 12192185"/>
              <a:gd name="connsiteY475" fmla="*/ 6649725 h 6859062"/>
              <a:gd name="connsiteX476" fmla="*/ 1867336 w 12192185"/>
              <a:gd name="connsiteY476" fmla="*/ 6642008 h 6859062"/>
              <a:gd name="connsiteX477" fmla="*/ 1868510 w 12192185"/>
              <a:gd name="connsiteY477" fmla="*/ 6639076 h 6859062"/>
              <a:gd name="connsiteX478" fmla="*/ 1871509 w 12192185"/>
              <a:gd name="connsiteY478" fmla="*/ 6632089 h 6859062"/>
              <a:gd name="connsiteX479" fmla="*/ 1890028 w 12192185"/>
              <a:gd name="connsiteY479" fmla="*/ 6624675 h 6859062"/>
              <a:gd name="connsiteX480" fmla="*/ 11264900 w 12192185"/>
              <a:gd name="connsiteY480" fmla="*/ 6616258 h 6859062"/>
              <a:gd name="connsiteX481" fmla="*/ 11289413 w 12192185"/>
              <a:gd name="connsiteY481" fmla="*/ 6620724 h 6859062"/>
              <a:gd name="connsiteX482" fmla="*/ 11294823 w 12192185"/>
              <a:gd name="connsiteY482" fmla="*/ 6628528 h 6859062"/>
              <a:gd name="connsiteX483" fmla="*/ 11296990 w 12192185"/>
              <a:gd name="connsiteY483" fmla="*/ 6631826 h 6859062"/>
              <a:gd name="connsiteX484" fmla="*/ 11303641 w 12192185"/>
              <a:gd name="connsiteY484" fmla="*/ 6640310 h 6859062"/>
              <a:gd name="connsiteX485" fmla="*/ 11307050 w 12192185"/>
              <a:gd name="connsiteY485" fmla="*/ 6644287 h 6859062"/>
              <a:gd name="connsiteX486" fmla="*/ 11309793 w 12192185"/>
              <a:gd name="connsiteY486" fmla="*/ 6650385 h 6859062"/>
              <a:gd name="connsiteX487" fmla="*/ 11310446 w 12192185"/>
              <a:gd name="connsiteY487" fmla="*/ 6657574 h 6859062"/>
              <a:gd name="connsiteX488" fmla="*/ 11310237 w 12192185"/>
              <a:gd name="connsiteY488" fmla="*/ 6675846 h 6859062"/>
              <a:gd name="connsiteX489" fmla="*/ 11293686 w 12192185"/>
              <a:gd name="connsiteY489" fmla="*/ 6704432 h 6859062"/>
              <a:gd name="connsiteX490" fmla="*/ 11290883 w 12192185"/>
              <a:gd name="connsiteY490" fmla="*/ 6705011 h 6859062"/>
              <a:gd name="connsiteX491" fmla="*/ 11279006 w 12192185"/>
              <a:gd name="connsiteY491" fmla="*/ 6709445 h 6859062"/>
              <a:gd name="connsiteX492" fmla="*/ 11275491 w 12192185"/>
              <a:gd name="connsiteY492" fmla="*/ 6709511 h 6859062"/>
              <a:gd name="connsiteX493" fmla="*/ 11266205 w 12192185"/>
              <a:gd name="connsiteY493" fmla="*/ 6711263 h 6859062"/>
              <a:gd name="connsiteX494" fmla="*/ 11261115 w 12192185"/>
              <a:gd name="connsiteY494" fmla="*/ 6711708 h 6859062"/>
              <a:gd name="connsiteX495" fmla="*/ 11256130 w 12192185"/>
              <a:gd name="connsiteY495" fmla="*/ 6708111 h 6859062"/>
              <a:gd name="connsiteX496" fmla="*/ 11240177 w 12192185"/>
              <a:gd name="connsiteY496" fmla="*/ 6700501 h 6859062"/>
              <a:gd name="connsiteX497" fmla="*/ 11231632 w 12192185"/>
              <a:gd name="connsiteY497" fmla="*/ 6694336 h 6859062"/>
              <a:gd name="connsiteX498" fmla="*/ 11229450 w 12192185"/>
              <a:gd name="connsiteY498" fmla="*/ 6690160 h 6859062"/>
              <a:gd name="connsiteX499" fmla="*/ 11228024 w 12192185"/>
              <a:gd name="connsiteY499" fmla="*/ 6678945 h 6859062"/>
              <a:gd name="connsiteX500" fmla="*/ 11224900 w 12192185"/>
              <a:gd name="connsiteY500" fmla="*/ 6661085 h 6859062"/>
              <a:gd name="connsiteX501" fmla="*/ 11226170 w 12192185"/>
              <a:gd name="connsiteY501" fmla="*/ 6653333 h 6859062"/>
              <a:gd name="connsiteX502" fmla="*/ 11229880 w 12192185"/>
              <a:gd name="connsiteY502" fmla="*/ 6644306 h 6859062"/>
              <a:gd name="connsiteX503" fmla="*/ 11234166 w 12192185"/>
              <a:gd name="connsiteY503" fmla="*/ 6638079 h 6859062"/>
              <a:gd name="connsiteX504" fmla="*/ 11253569 w 12192185"/>
              <a:gd name="connsiteY504" fmla="*/ 6621736 h 6859062"/>
              <a:gd name="connsiteX505" fmla="*/ 11264900 w 12192185"/>
              <a:gd name="connsiteY505" fmla="*/ 6616258 h 6859062"/>
              <a:gd name="connsiteX506" fmla="*/ 9839371 w 12192185"/>
              <a:gd name="connsiteY506" fmla="*/ 6615337 h 6859062"/>
              <a:gd name="connsiteX507" fmla="*/ 9810628 w 12192185"/>
              <a:gd name="connsiteY507" fmla="*/ 6624191 h 6859062"/>
              <a:gd name="connsiteX508" fmla="*/ 9810214 w 12192185"/>
              <a:gd name="connsiteY508" fmla="*/ 6624189 h 6859062"/>
              <a:gd name="connsiteX509" fmla="*/ 9805225 w 12192185"/>
              <a:gd name="connsiteY509" fmla="*/ 6625856 h 6859062"/>
              <a:gd name="connsiteX510" fmla="*/ 9810628 w 12192185"/>
              <a:gd name="connsiteY510" fmla="*/ 6624191 h 6859062"/>
              <a:gd name="connsiteX511" fmla="*/ 9813092 w 12192185"/>
              <a:gd name="connsiteY511" fmla="*/ 6624200 h 6859062"/>
              <a:gd name="connsiteX512" fmla="*/ 9804646 w 12192185"/>
              <a:gd name="connsiteY512" fmla="*/ 6630908 h 6859062"/>
              <a:gd name="connsiteX513" fmla="*/ 9801830 w 12192185"/>
              <a:gd name="connsiteY513" fmla="*/ 6633143 h 6859062"/>
              <a:gd name="connsiteX514" fmla="*/ 9834408 w 12192185"/>
              <a:gd name="connsiteY514" fmla="*/ 6625979 h 6859062"/>
              <a:gd name="connsiteX515" fmla="*/ 9837801 w 12192185"/>
              <a:gd name="connsiteY515" fmla="*/ 6619205 h 6859062"/>
              <a:gd name="connsiteX516" fmla="*/ 9839063 w 12192185"/>
              <a:gd name="connsiteY516" fmla="*/ 6616054 h 6859062"/>
              <a:gd name="connsiteX517" fmla="*/ 5312027 w 12192185"/>
              <a:gd name="connsiteY517" fmla="*/ 6606537 h 6859062"/>
              <a:gd name="connsiteX518" fmla="*/ 5319791 w 12192185"/>
              <a:gd name="connsiteY518" fmla="*/ 6607683 h 6859062"/>
              <a:gd name="connsiteX519" fmla="*/ 5328874 w 12192185"/>
              <a:gd name="connsiteY519" fmla="*/ 6611246 h 6859062"/>
              <a:gd name="connsiteX520" fmla="*/ 5335174 w 12192185"/>
              <a:gd name="connsiteY520" fmla="*/ 6615432 h 6859062"/>
              <a:gd name="connsiteX521" fmla="*/ 5351828 w 12192185"/>
              <a:gd name="connsiteY521" fmla="*/ 6634569 h 6859062"/>
              <a:gd name="connsiteX522" fmla="*/ 5357485 w 12192185"/>
              <a:gd name="connsiteY522" fmla="*/ 6645810 h 6859062"/>
              <a:gd name="connsiteX523" fmla="*/ 5353416 w 12192185"/>
              <a:gd name="connsiteY523" fmla="*/ 6670390 h 6859062"/>
              <a:gd name="connsiteX524" fmla="*/ 5345701 w 12192185"/>
              <a:gd name="connsiteY524" fmla="*/ 6675926 h 6859062"/>
              <a:gd name="connsiteX525" fmla="*/ 5342440 w 12192185"/>
              <a:gd name="connsiteY525" fmla="*/ 6678146 h 6859062"/>
              <a:gd name="connsiteX526" fmla="*/ 5334057 w 12192185"/>
              <a:gd name="connsiteY526" fmla="*/ 6684933 h 6859062"/>
              <a:gd name="connsiteX527" fmla="*/ 5330143 w 12192185"/>
              <a:gd name="connsiteY527" fmla="*/ 6688406 h 6859062"/>
              <a:gd name="connsiteX528" fmla="*/ 5324086 w 12192185"/>
              <a:gd name="connsiteY528" fmla="*/ 6691247 h 6859062"/>
              <a:gd name="connsiteX529" fmla="*/ 5316910 w 12192185"/>
              <a:gd name="connsiteY529" fmla="*/ 6692016 h 6859062"/>
              <a:gd name="connsiteX530" fmla="*/ 5298630 w 12192185"/>
              <a:gd name="connsiteY530" fmla="*/ 6692102 h 6859062"/>
              <a:gd name="connsiteX531" fmla="*/ 5269787 w 12192185"/>
              <a:gd name="connsiteY531" fmla="*/ 6676012 h 6859062"/>
              <a:gd name="connsiteX532" fmla="*/ 5269163 w 12192185"/>
              <a:gd name="connsiteY532" fmla="*/ 6673219 h 6859062"/>
              <a:gd name="connsiteX533" fmla="*/ 5264537 w 12192185"/>
              <a:gd name="connsiteY533" fmla="*/ 6661416 h 6859062"/>
              <a:gd name="connsiteX534" fmla="*/ 5264417 w 12192185"/>
              <a:gd name="connsiteY534" fmla="*/ 6657903 h 6859062"/>
              <a:gd name="connsiteX535" fmla="*/ 5262518 w 12192185"/>
              <a:gd name="connsiteY535" fmla="*/ 6648646 h 6859062"/>
              <a:gd name="connsiteX536" fmla="*/ 5261992 w 12192185"/>
              <a:gd name="connsiteY536" fmla="*/ 6643563 h 6859062"/>
              <a:gd name="connsiteX537" fmla="*/ 5265509 w 12192185"/>
              <a:gd name="connsiteY537" fmla="*/ 6638522 h 6859062"/>
              <a:gd name="connsiteX538" fmla="*/ 5272859 w 12192185"/>
              <a:gd name="connsiteY538" fmla="*/ 6622447 h 6859062"/>
              <a:gd name="connsiteX539" fmla="*/ 5278887 w 12192185"/>
              <a:gd name="connsiteY539" fmla="*/ 6613804 h 6859062"/>
              <a:gd name="connsiteX540" fmla="*/ 5283024 w 12192185"/>
              <a:gd name="connsiteY540" fmla="*/ 6611554 h 6859062"/>
              <a:gd name="connsiteX541" fmla="*/ 5294212 w 12192185"/>
              <a:gd name="connsiteY541" fmla="*/ 6609949 h 6859062"/>
              <a:gd name="connsiteX542" fmla="*/ 5312027 w 12192185"/>
              <a:gd name="connsiteY542" fmla="*/ 6606537 h 6859062"/>
              <a:gd name="connsiteX543" fmla="*/ 8848411 w 12192185"/>
              <a:gd name="connsiteY543" fmla="*/ 6600411 h 6859062"/>
              <a:gd name="connsiteX544" fmla="*/ 8857935 w 12192185"/>
              <a:gd name="connsiteY544" fmla="*/ 6606624 h 6859062"/>
              <a:gd name="connsiteX545" fmla="*/ 8848411 w 12192185"/>
              <a:gd name="connsiteY545" fmla="*/ 6600411 h 6859062"/>
              <a:gd name="connsiteX546" fmla="*/ 10322396 w 12192185"/>
              <a:gd name="connsiteY546" fmla="*/ 6592927 h 6859062"/>
              <a:gd name="connsiteX547" fmla="*/ 10332160 w 12192185"/>
              <a:gd name="connsiteY547" fmla="*/ 6595418 h 6859062"/>
              <a:gd name="connsiteX548" fmla="*/ 10349990 w 12192185"/>
              <a:gd name="connsiteY548" fmla="*/ 6605145 h 6859062"/>
              <a:gd name="connsiteX549" fmla="*/ 10354346 w 12192185"/>
              <a:gd name="connsiteY549" fmla="*/ 6609346 h 6859062"/>
              <a:gd name="connsiteX550" fmla="*/ 10358697 w 12192185"/>
              <a:gd name="connsiteY550" fmla="*/ 6615837 h 6859062"/>
              <a:gd name="connsiteX551" fmla="*/ 10360930 w 12192185"/>
              <a:gd name="connsiteY551" fmla="*/ 6621716 h 6859062"/>
              <a:gd name="connsiteX552" fmla="*/ 10361329 w 12192185"/>
              <a:gd name="connsiteY552" fmla="*/ 6636225 h 6859062"/>
              <a:gd name="connsiteX553" fmla="*/ 10361998 w 12192185"/>
              <a:gd name="connsiteY553" fmla="*/ 6645252 h 6859062"/>
              <a:gd name="connsiteX554" fmla="*/ 10360952 w 12192185"/>
              <a:gd name="connsiteY554" fmla="*/ 6648876 h 6859062"/>
              <a:gd name="connsiteX555" fmla="*/ 10355232 w 12192185"/>
              <a:gd name="connsiteY555" fmla="*/ 6655076 h 6859062"/>
              <a:gd name="connsiteX556" fmla="*/ 10343930 w 12192185"/>
              <a:gd name="connsiteY556" fmla="*/ 6663592 h 6859062"/>
              <a:gd name="connsiteX557" fmla="*/ 10340592 w 12192185"/>
              <a:gd name="connsiteY557" fmla="*/ 6667208 h 6859062"/>
              <a:gd name="connsiteX558" fmla="*/ 10336528 w 12192185"/>
              <a:gd name="connsiteY558" fmla="*/ 6667672 h 6859062"/>
              <a:gd name="connsiteX559" fmla="*/ 10328963 w 12192185"/>
              <a:gd name="connsiteY559" fmla="*/ 6667779 h 6859062"/>
              <a:gd name="connsiteX560" fmla="*/ 10326196 w 12192185"/>
              <a:gd name="connsiteY560" fmla="*/ 6668288 h 6859062"/>
              <a:gd name="connsiteX561" fmla="*/ 10316170 w 12192185"/>
              <a:gd name="connsiteY561" fmla="*/ 6666703 h 6859062"/>
              <a:gd name="connsiteX562" fmla="*/ 10313880 w 12192185"/>
              <a:gd name="connsiteY562" fmla="*/ 6666696 h 6859062"/>
              <a:gd name="connsiteX563" fmla="*/ 10296332 w 12192185"/>
              <a:gd name="connsiteY563" fmla="*/ 6646910 h 6859062"/>
              <a:gd name="connsiteX564" fmla="*/ 10293255 w 12192185"/>
              <a:gd name="connsiteY564" fmla="*/ 6632608 h 6859062"/>
              <a:gd name="connsiteX565" fmla="*/ 10292619 w 12192185"/>
              <a:gd name="connsiteY565" fmla="*/ 6626862 h 6859062"/>
              <a:gd name="connsiteX566" fmla="*/ 10293798 w 12192185"/>
              <a:gd name="connsiteY566" fmla="*/ 6621642 h 6859062"/>
              <a:gd name="connsiteX567" fmla="*/ 10295840 w 12192185"/>
              <a:gd name="connsiteY567" fmla="*/ 6617977 h 6859062"/>
              <a:gd name="connsiteX568" fmla="*/ 10299705 w 12192185"/>
              <a:gd name="connsiteY568" fmla="*/ 6610260 h 6859062"/>
              <a:gd name="connsiteX569" fmla="*/ 10300878 w 12192185"/>
              <a:gd name="connsiteY569" fmla="*/ 6607328 h 6859062"/>
              <a:gd name="connsiteX570" fmla="*/ 10303877 w 12192185"/>
              <a:gd name="connsiteY570" fmla="*/ 6600341 h 6859062"/>
              <a:gd name="connsiteX571" fmla="*/ 10322396 w 12192185"/>
              <a:gd name="connsiteY571" fmla="*/ 6592927 h 6859062"/>
              <a:gd name="connsiteX572" fmla="*/ 8098835 w 12192185"/>
              <a:gd name="connsiteY572" fmla="*/ 6569115 h 6859062"/>
              <a:gd name="connsiteX573" fmla="*/ 8098582 w 12192185"/>
              <a:gd name="connsiteY573" fmla="*/ 6569379 h 6859062"/>
              <a:gd name="connsiteX574" fmla="*/ 8098418 w 12192185"/>
              <a:gd name="connsiteY574" fmla="*/ 6569119 h 6859062"/>
              <a:gd name="connsiteX575" fmla="*/ 5776625 w 12192185"/>
              <a:gd name="connsiteY575" fmla="*/ 6567775 h 6859062"/>
              <a:gd name="connsiteX576" fmla="*/ 5780894 w 12192185"/>
              <a:gd name="connsiteY576" fmla="*/ 6570101 h 6859062"/>
              <a:gd name="connsiteX577" fmla="*/ 5782919 w 12192185"/>
              <a:gd name="connsiteY577" fmla="*/ 6572826 h 6859062"/>
              <a:gd name="connsiteX578" fmla="*/ 5793510 w 12192185"/>
              <a:gd name="connsiteY578" fmla="*/ 6571715 h 6859062"/>
              <a:gd name="connsiteX579" fmla="*/ 5794624 w 12192185"/>
              <a:gd name="connsiteY579" fmla="*/ 6569743 h 6859062"/>
              <a:gd name="connsiteX580" fmla="*/ 5798534 w 12192185"/>
              <a:gd name="connsiteY580" fmla="*/ 6567893 h 6859062"/>
              <a:gd name="connsiteX581" fmla="*/ 5799524 w 12192185"/>
              <a:gd name="connsiteY581" fmla="*/ 6571725 h 6859062"/>
              <a:gd name="connsiteX582" fmla="*/ 5797928 w 12192185"/>
              <a:gd name="connsiteY582" fmla="*/ 6575324 h 6859062"/>
              <a:gd name="connsiteX583" fmla="*/ 5799588 w 12192185"/>
              <a:gd name="connsiteY583" fmla="*/ 6579887 h 6859062"/>
              <a:gd name="connsiteX584" fmla="*/ 5809951 w 12192185"/>
              <a:gd name="connsiteY584" fmla="*/ 6590922 h 6859062"/>
              <a:gd name="connsiteX585" fmla="*/ 5819715 w 12192185"/>
              <a:gd name="connsiteY585" fmla="*/ 6606381 h 6859062"/>
              <a:gd name="connsiteX586" fmla="*/ 5819881 w 12192185"/>
              <a:gd name="connsiteY586" fmla="*/ 6611208 h 6859062"/>
              <a:gd name="connsiteX587" fmla="*/ 5820782 w 12192185"/>
              <a:gd name="connsiteY587" fmla="*/ 6624926 h 6859062"/>
              <a:gd name="connsiteX588" fmla="*/ 5820454 w 12192185"/>
              <a:gd name="connsiteY588" fmla="*/ 6627838 h 6859062"/>
              <a:gd name="connsiteX589" fmla="*/ 5814321 w 12192185"/>
              <a:gd name="connsiteY589" fmla="*/ 6643190 h 6859062"/>
              <a:gd name="connsiteX590" fmla="*/ 5798444 w 12192185"/>
              <a:gd name="connsiteY590" fmla="*/ 6659195 h 6859062"/>
              <a:gd name="connsiteX591" fmla="*/ 5793396 w 12192185"/>
              <a:gd name="connsiteY591" fmla="*/ 6665489 h 6859062"/>
              <a:gd name="connsiteX592" fmla="*/ 5783777 w 12192185"/>
              <a:gd name="connsiteY592" fmla="*/ 6669897 h 6859062"/>
              <a:gd name="connsiteX593" fmla="*/ 5775516 w 12192185"/>
              <a:gd name="connsiteY593" fmla="*/ 6673291 h 6859062"/>
              <a:gd name="connsiteX594" fmla="*/ 5772470 w 12192185"/>
              <a:gd name="connsiteY594" fmla="*/ 6675221 h 6859062"/>
              <a:gd name="connsiteX595" fmla="*/ 5751372 w 12192185"/>
              <a:gd name="connsiteY595" fmla="*/ 6670565 h 6859062"/>
              <a:gd name="connsiteX596" fmla="*/ 5737995 w 12192185"/>
              <a:gd name="connsiteY596" fmla="*/ 6662532 h 6859062"/>
              <a:gd name="connsiteX597" fmla="*/ 5721587 w 12192185"/>
              <a:gd name="connsiteY597" fmla="*/ 6659974 h 6859062"/>
              <a:gd name="connsiteX598" fmla="*/ 5719957 w 12192185"/>
              <a:gd name="connsiteY598" fmla="*/ 6662499 h 6859062"/>
              <a:gd name="connsiteX599" fmla="*/ 5711959 w 12192185"/>
              <a:gd name="connsiteY599" fmla="*/ 6682964 h 6859062"/>
              <a:gd name="connsiteX600" fmla="*/ 5709504 w 12192185"/>
              <a:gd name="connsiteY600" fmla="*/ 6686484 h 6859062"/>
              <a:gd name="connsiteX601" fmla="*/ 5699882 w 12192185"/>
              <a:gd name="connsiteY601" fmla="*/ 6693899 h 6859062"/>
              <a:gd name="connsiteX602" fmla="*/ 5689257 w 12192185"/>
              <a:gd name="connsiteY602" fmla="*/ 6703496 h 6859062"/>
              <a:gd name="connsiteX603" fmla="*/ 5684078 w 12192185"/>
              <a:gd name="connsiteY603" fmla="*/ 6706034 h 6859062"/>
              <a:gd name="connsiteX604" fmla="*/ 5650814 w 12192185"/>
              <a:gd name="connsiteY604" fmla="*/ 6709633 h 6859062"/>
              <a:gd name="connsiteX605" fmla="*/ 5647978 w 12192185"/>
              <a:gd name="connsiteY605" fmla="*/ 6708439 h 6859062"/>
              <a:gd name="connsiteX606" fmla="*/ 5634893 w 12192185"/>
              <a:gd name="connsiteY606" fmla="*/ 6698893 h 6859062"/>
              <a:gd name="connsiteX607" fmla="*/ 5630230 w 12192185"/>
              <a:gd name="connsiteY607" fmla="*/ 6694325 h 6859062"/>
              <a:gd name="connsiteX608" fmla="*/ 5623077 w 12192185"/>
              <a:gd name="connsiteY608" fmla="*/ 6686190 h 6859062"/>
              <a:gd name="connsiteX609" fmla="*/ 5613182 w 12192185"/>
              <a:gd name="connsiteY609" fmla="*/ 6682551 h 6859062"/>
              <a:gd name="connsiteX610" fmla="*/ 5610330 w 12192185"/>
              <a:gd name="connsiteY610" fmla="*/ 6680003 h 6859062"/>
              <a:gd name="connsiteX611" fmla="*/ 5612119 w 12192185"/>
              <a:gd name="connsiteY611" fmla="*/ 6676571 h 6859062"/>
              <a:gd name="connsiteX612" fmla="*/ 5614306 w 12192185"/>
              <a:gd name="connsiteY612" fmla="*/ 6674564 h 6859062"/>
              <a:gd name="connsiteX613" fmla="*/ 5616226 w 12192185"/>
              <a:gd name="connsiteY613" fmla="*/ 6671062 h 6859062"/>
              <a:gd name="connsiteX614" fmla="*/ 5612842 w 12192185"/>
              <a:gd name="connsiteY614" fmla="*/ 6669350 h 6859062"/>
              <a:gd name="connsiteX615" fmla="*/ 5610458 w 12192185"/>
              <a:gd name="connsiteY615" fmla="*/ 6662450 h 6859062"/>
              <a:gd name="connsiteX616" fmla="*/ 5612507 w 12192185"/>
              <a:gd name="connsiteY616" fmla="*/ 6659696 h 6859062"/>
              <a:gd name="connsiteX617" fmla="*/ 5611920 w 12192185"/>
              <a:gd name="connsiteY617" fmla="*/ 6655096 h 6859062"/>
              <a:gd name="connsiteX618" fmla="*/ 5607534 w 12192185"/>
              <a:gd name="connsiteY618" fmla="*/ 6655567 h 6859062"/>
              <a:gd name="connsiteX619" fmla="*/ 5604540 w 12192185"/>
              <a:gd name="connsiteY619" fmla="*/ 6657655 h 6859062"/>
              <a:gd name="connsiteX620" fmla="*/ 5611978 w 12192185"/>
              <a:gd name="connsiteY620" fmla="*/ 6632259 h 6859062"/>
              <a:gd name="connsiteX621" fmla="*/ 5613830 w 12192185"/>
              <a:gd name="connsiteY621" fmla="*/ 6632475 h 6859062"/>
              <a:gd name="connsiteX622" fmla="*/ 5616802 w 12192185"/>
              <a:gd name="connsiteY622" fmla="*/ 6628400 h 6859062"/>
              <a:gd name="connsiteX623" fmla="*/ 5616426 w 12192185"/>
              <a:gd name="connsiteY623" fmla="*/ 6623687 h 6859062"/>
              <a:gd name="connsiteX624" fmla="*/ 5620112 w 12192185"/>
              <a:gd name="connsiteY624" fmla="*/ 6618406 h 6859062"/>
              <a:gd name="connsiteX625" fmla="*/ 5631876 w 12192185"/>
              <a:gd name="connsiteY625" fmla="*/ 6601358 h 6859062"/>
              <a:gd name="connsiteX626" fmla="*/ 5632591 w 12192185"/>
              <a:gd name="connsiteY626" fmla="*/ 6597145 h 6859062"/>
              <a:gd name="connsiteX627" fmla="*/ 5637297 w 12192185"/>
              <a:gd name="connsiteY627" fmla="*/ 6599779 h 6859062"/>
              <a:gd name="connsiteX628" fmla="*/ 5637639 w 12192185"/>
              <a:gd name="connsiteY628" fmla="*/ 6600412 h 6859062"/>
              <a:gd name="connsiteX629" fmla="*/ 5646966 w 12192185"/>
              <a:gd name="connsiteY629" fmla="*/ 6600524 h 6859062"/>
              <a:gd name="connsiteX630" fmla="*/ 5657104 w 12192185"/>
              <a:gd name="connsiteY630" fmla="*/ 6595562 h 6859062"/>
              <a:gd name="connsiteX631" fmla="*/ 5672965 w 12192185"/>
              <a:gd name="connsiteY631" fmla="*/ 6591588 h 6859062"/>
              <a:gd name="connsiteX632" fmla="*/ 5678478 w 12192185"/>
              <a:gd name="connsiteY632" fmla="*/ 6592690 h 6859062"/>
              <a:gd name="connsiteX633" fmla="*/ 5694142 w 12192185"/>
              <a:gd name="connsiteY633" fmla="*/ 6595382 h 6859062"/>
              <a:gd name="connsiteX634" fmla="*/ 5698786 w 12192185"/>
              <a:gd name="connsiteY634" fmla="*/ 6599413 h 6859062"/>
              <a:gd name="connsiteX635" fmla="*/ 5716248 w 12192185"/>
              <a:gd name="connsiteY635" fmla="*/ 6616974 h 6859062"/>
              <a:gd name="connsiteX636" fmla="*/ 5720886 w 12192185"/>
              <a:gd name="connsiteY636" fmla="*/ 6614454 h 6859062"/>
              <a:gd name="connsiteX637" fmla="*/ 5718541 w 12192185"/>
              <a:gd name="connsiteY637" fmla="*/ 6608626 h 6859062"/>
              <a:gd name="connsiteX638" fmla="*/ 5713946 w 12192185"/>
              <a:gd name="connsiteY638" fmla="*/ 6606204 h 6859062"/>
              <a:gd name="connsiteX639" fmla="*/ 5711577 w 12192185"/>
              <a:gd name="connsiteY639" fmla="*/ 6602847 h 6859062"/>
              <a:gd name="connsiteX640" fmla="*/ 5715716 w 12192185"/>
              <a:gd name="connsiteY640" fmla="*/ 6601418 h 6859062"/>
              <a:gd name="connsiteX641" fmla="*/ 5720060 w 12192185"/>
              <a:gd name="connsiteY641" fmla="*/ 6602882 h 6859062"/>
              <a:gd name="connsiteX642" fmla="*/ 5727168 w 12192185"/>
              <a:gd name="connsiteY642" fmla="*/ 6600386 h 6859062"/>
              <a:gd name="connsiteX643" fmla="*/ 5722809 w 12192185"/>
              <a:gd name="connsiteY643" fmla="*/ 6595377 h 6859062"/>
              <a:gd name="connsiteX644" fmla="*/ 5716820 w 12192185"/>
              <a:gd name="connsiteY644" fmla="*/ 6592895 h 6859062"/>
              <a:gd name="connsiteX645" fmla="*/ 5717270 w 12192185"/>
              <a:gd name="connsiteY645" fmla="*/ 6587186 h 6859062"/>
              <a:gd name="connsiteX646" fmla="*/ 5731805 w 12192185"/>
              <a:gd name="connsiteY646" fmla="*/ 6585299 h 6859062"/>
              <a:gd name="connsiteX647" fmla="*/ 5743403 w 12192185"/>
              <a:gd name="connsiteY647" fmla="*/ 6578998 h 6859062"/>
              <a:gd name="connsiteX648" fmla="*/ 5745748 w 12192185"/>
              <a:gd name="connsiteY648" fmla="*/ 6572259 h 6859062"/>
              <a:gd name="connsiteX649" fmla="*/ 5747379 w 12192185"/>
              <a:gd name="connsiteY649" fmla="*/ 6569733 h 6859062"/>
              <a:gd name="connsiteX650" fmla="*/ 5749905 w 12192185"/>
              <a:gd name="connsiteY650" fmla="*/ 6571366 h 6859062"/>
              <a:gd name="connsiteX651" fmla="*/ 5756526 w 12192185"/>
              <a:gd name="connsiteY651" fmla="*/ 6573505 h 6859062"/>
              <a:gd name="connsiteX652" fmla="*/ 5768996 w 12192185"/>
              <a:gd name="connsiteY652" fmla="*/ 6573834 h 6859062"/>
              <a:gd name="connsiteX653" fmla="*/ 5774166 w 12192185"/>
              <a:gd name="connsiteY653" fmla="*/ 6571296 h 6859062"/>
              <a:gd name="connsiteX654" fmla="*/ 5776625 w 12192185"/>
              <a:gd name="connsiteY654" fmla="*/ 6567775 h 6859062"/>
              <a:gd name="connsiteX655" fmla="*/ 5631183 w 12192185"/>
              <a:gd name="connsiteY655" fmla="*/ 6566685 h 6859062"/>
              <a:gd name="connsiteX656" fmla="*/ 5631558 w 12192185"/>
              <a:gd name="connsiteY656" fmla="*/ 6567106 h 6859062"/>
              <a:gd name="connsiteX657" fmla="*/ 5631065 w 12192185"/>
              <a:gd name="connsiteY657" fmla="*/ 6567084 h 6859062"/>
              <a:gd name="connsiteX658" fmla="*/ 2214007 w 12192185"/>
              <a:gd name="connsiteY658" fmla="*/ 6557011 h 6859062"/>
              <a:gd name="connsiteX659" fmla="*/ 2224939 w 12192185"/>
              <a:gd name="connsiteY659" fmla="*/ 6562064 h 6859062"/>
              <a:gd name="connsiteX660" fmla="*/ 2232851 w 12192185"/>
              <a:gd name="connsiteY660" fmla="*/ 6570990 h 6859062"/>
              <a:gd name="connsiteX661" fmla="*/ 2236358 w 12192185"/>
              <a:gd name="connsiteY661" fmla="*/ 6578645 h 6859062"/>
              <a:gd name="connsiteX662" fmla="*/ 2231808 w 12192185"/>
              <a:gd name="connsiteY662" fmla="*/ 6594413 h 6859062"/>
              <a:gd name="connsiteX663" fmla="*/ 2219347 w 12192185"/>
              <a:gd name="connsiteY663" fmla="*/ 6601256 h 6859062"/>
              <a:gd name="connsiteX664" fmla="*/ 2209901 w 12192185"/>
              <a:gd name="connsiteY664" fmla="*/ 6610865 h 6859062"/>
              <a:gd name="connsiteX665" fmla="*/ 2201647 w 12192185"/>
              <a:gd name="connsiteY665" fmla="*/ 6621293 h 6859062"/>
              <a:gd name="connsiteX666" fmla="*/ 2192772 w 12192185"/>
              <a:gd name="connsiteY666" fmla="*/ 6627273 h 6859062"/>
              <a:gd name="connsiteX667" fmla="*/ 2181703 w 12192185"/>
              <a:gd name="connsiteY667" fmla="*/ 6629297 h 6859062"/>
              <a:gd name="connsiteX668" fmla="*/ 2172904 w 12192185"/>
              <a:gd name="connsiteY668" fmla="*/ 6626756 h 6859062"/>
              <a:gd name="connsiteX669" fmla="*/ 2172091 w 12192185"/>
              <a:gd name="connsiteY669" fmla="*/ 6624624 h 6859062"/>
              <a:gd name="connsiteX670" fmla="*/ 2162551 w 12192185"/>
              <a:gd name="connsiteY670" fmla="*/ 6611433 h 6859062"/>
              <a:gd name="connsiteX671" fmla="*/ 2162892 w 12192185"/>
              <a:gd name="connsiteY671" fmla="*/ 6595398 h 6859062"/>
              <a:gd name="connsiteX672" fmla="*/ 2174106 w 12192185"/>
              <a:gd name="connsiteY672" fmla="*/ 6579657 h 6859062"/>
              <a:gd name="connsiteX673" fmla="*/ 2181843 w 12192185"/>
              <a:gd name="connsiteY673" fmla="*/ 6577620 h 6859062"/>
              <a:gd name="connsiteX674" fmla="*/ 2193238 w 12192185"/>
              <a:gd name="connsiteY674" fmla="*/ 6569520 h 6859062"/>
              <a:gd name="connsiteX675" fmla="*/ 2197267 w 12192185"/>
              <a:gd name="connsiteY675" fmla="*/ 6565464 h 6859062"/>
              <a:gd name="connsiteX676" fmla="*/ 2214007 w 12192185"/>
              <a:gd name="connsiteY676" fmla="*/ 6557011 h 6859062"/>
              <a:gd name="connsiteX677" fmla="*/ 560874 w 12192185"/>
              <a:gd name="connsiteY677" fmla="*/ 6537744 h 6859062"/>
              <a:gd name="connsiteX678" fmla="*/ 570638 w 12192185"/>
              <a:gd name="connsiteY678" fmla="*/ 6540235 h 6859062"/>
              <a:gd name="connsiteX679" fmla="*/ 588468 w 12192185"/>
              <a:gd name="connsiteY679" fmla="*/ 6549962 h 6859062"/>
              <a:gd name="connsiteX680" fmla="*/ 592824 w 12192185"/>
              <a:gd name="connsiteY680" fmla="*/ 6554163 h 6859062"/>
              <a:gd name="connsiteX681" fmla="*/ 597174 w 12192185"/>
              <a:gd name="connsiteY681" fmla="*/ 6560653 h 6859062"/>
              <a:gd name="connsiteX682" fmla="*/ 599408 w 12192185"/>
              <a:gd name="connsiteY682" fmla="*/ 6566533 h 6859062"/>
              <a:gd name="connsiteX683" fmla="*/ 599806 w 12192185"/>
              <a:gd name="connsiteY683" fmla="*/ 6581042 h 6859062"/>
              <a:gd name="connsiteX684" fmla="*/ 600476 w 12192185"/>
              <a:gd name="connsiteY684" fmla="*/ 6590069 h 6859062"/>
              <a:gd name="connsiteX685" fmla="*/ 599431 w 12192185"/>
              <a:gd name="connsiteY685" fmla="*/ 6593693 h 6859062"/>
              <a:gd name="connsiteX686" fmla="*/ 593710 w 12192185"/>
              <a:gd name="connsiteY686" fmla="*/ 6599894 h 6859062"/>
              <a:gd name="connsiteX687" fmla="*/ 582407 w 12192185"/>
              <a:gd name="connsiteY687" fmla="*/ 6608409 h 6859062"/>
              <a:gd name="connsiteX688" fmla="*/ 579071 w 12192185"/>
              <a:gd name="connsiteY688" fmla="*/ 6612025 h 6859062"/>
              <a:gd name="connsiteX689" fmla="*/ 575006 w 12192185"/>
              <a:gd name="connsiteY689" fmla="*/ 6612489 h 6859062"/>
              <a:gd name="connsiteX690" fmla="*/ 567441 w 12192185"/>
              <a:gd name="connsiteY690" fmla="*/ 6612595 h 6859062"/>
              <a:gd name="connsiteX691" fmla="*/ 564674 w 12192185"/>
              <a:gd name="connsiteY691" fmla="*/ 6613105 h 6859062"/>
              <a:gd name="connsiteX692" fmla="*/ 554648 w 12192185"/>
              <a:gd name="connsiteY692" fmla="*/ 6611520 h 6859062"/>
              <a:gd name="connsiteX693" fmla="*/ 552357 w 12192185"/>
              <a:gd name="connsiteY693" fmla="*/ 6611513 h 6859062"/>
              <a:gd name="connsiteX694" fmla="*/ 534812 w 12192185"/>
              <a:gd name="connsiteY694" fmla="*/ 6591727 h 6859062"/>
              <a:gd name="connsiteX695" fmla="*/ 531733 w 12192185"/>
              <a:gd name="connsiteY695" fmla="*/ 6577424 h 6859062"/>
              <a:gd name="connsiteX696" fmla="*/ 531097 w 12192185"/>
              <a:gd name="connsiteY696" fmla="*/ 6571680 h 6859062"/>
              <a:gd name="connsiteX697" fmla="*/ 532277 w 12192185"/>
              <a:gd name="connsiteY697" fmla="*/ 6566459 h 6859062"/>
              <a:gd name="connsiteX698" fmla="*/ 534318 w 12192185"/>
              <a:gd name="connsiteY698" fmla="*/ 6562794 h 6859062"/>
              <a:gd name="connsiteX699" fmla="*/ 538183 w 12192185"/>
              <a:gd name="connsiteY699" fmla="*/ 6555077 h 6859062"/>
              <a:gd name="connsiteX700" fmla="*/ 539357 w 12192185"/>
              <a:gd name="connsiteY700" fmla="*/ 6552145 h 6859062"/>
              <a:gd name="connsiteX701" fmla="*/ 542356 w 12192185"/>
              <a:gd name="connsiteY701" fmla="*/ 6545158 h 6859062"/>
              <a:gd name="connsiteX702" fmla="*/ 560874 w 12192185"/>
              <a:gd name="connsiteY702" fmla="*/ 6537744 h 6859062"/>
              <a:gd name="connsiteX703" fmla="*/ 3655038 w 12192185"/>
              <a:gd name="connsiteY703" fmla="*/ 6528709 h 6859062"/>
              <a:gd name="connsiteX704" fmla="*/ 3641038 w 12192185"/>
              <a:gd name="connsiteY704" fmla="*/ 6529473 h 6859062"/>
              <a:gd name="connsiteX705" fmla="*/ 3614824 w 12192185"/>
              <a:gd name="connsiteY705" fmla="*/ 6529486 h 6859062"/>
              <a:gd name="connsiteX706" fmla="*/ 3616939 w 12192185"/>
              <a:gd name="connsiteY706" fmla="*/ 6533655 h 6859062"/>
              <a:gd name="connsiteX707" fmla="*/ 3632232 w 12192185"/>
              <a:gd name="connsiteY707" fmla="*/ 6543967 h 6859062"/>
              <a:gd name="connsiteX708" fmla="*/ 3642909 w 12192185"/>
              <a:gd name="connsiteY708" fmla="*/ 6553494 h 6859062"/>
              <a:gd name="connsiteX709" fmla="*/ 3646198 w 12192185"/>
              <a:gd name="connsiteY709" fmla="*/ 6543684 h 6859062"/>
              <a:gd name="connsiteX710" fmla="*/ 6583166 w 12192185"/>
              <a:gd name="connsiteY710" fmla="*/ 6523954 h 6859062"/>
              <a:gd name="connsiteX711" fmla="*/ 6583359 w 12192185"/>
              <a:gd name="connsiteY711" fmla="*/ 6529425 h 6859062"/>
              <a:gd name="connsiteX712" fmla="*/ 6583303 w 12192185"/>
              <a:gd name="connsiteY712" fmla="*/ 6529462 h 6859062"/>
              <a:gd name="connsiteX713" fmla="*/ 6577889 w 12192185"/>
              <a:gd name="connsiteY713" fmla="*/ 6529613 h 6859062"/>
              <a:gd name="connsiteX714" fmla="*/ 6580528 w 12192185"/>
              <a:gd name="connsiteY714" fmla="*/ 6526783 h 6859062"/>
              <a:gd name="connsiteX715" fmla="*/ 6583166 w 12192185"/>
              <a:gd name="connsiteY715" fmla="*/ 6523954 h 6859062"/>
              <a:gd name="connsiteX716" fmla="*/ 4761368 w 12192185"/>
              <a:gd name="connsiteY716" fmla="*/ 6510821 h 6859062"/>
              <a:gd name="connsiteX717" fmla="*/ 4778192 w 12192185"/>
              <a:gd name="connsiteY717" fmla="*/ 6513004 h 6859062"/>
              <a:gd name="connsiteX718" fmla="*/ 4791797 w 12192185"/>
              <a:gd name="connsiteY718" fmla="*/ 6535639 h 6859062"/>
              <a:gd name="connsiteX719" fmla="*/ 4793553 w 12192185"/>
              <a:gd name="connsiteY719" fmla="*/ 6543496 h 6859062"/>
              <a:gd name="connsiteX720" fmla="*/ 4801055 w 12192185"/>
              <a:gd name="connsiteY720" fmla="*/ 6561697 h 6859062"/>
              <a:gd name="connsiteX721" fmla="*/ 4808741 w 12192185"/>
              <a:gd name="connsiteY721" fmla="*/ 6569930 h 6859062"/>
              <a:gd name="connsiteX722" fmla="*/ 4810299 w 12192185"/>
              <a:gd name="connsiteY722" fmla="*/ 6597105 h 6859062"/>
              <a:gd name="connsiteX723" fmla="*/ 4798675 w 12192185"/>
              <a:gd name="connsiteY723" fmla="*/ 6616465 h 6859062"/>
              <a:gd name="connsiteX724" fmla="*/ 4777407 w 12192185"/>
              <a:gd name="connsiteY724" fmla="*/ 6625028 h 6859062"/>
              <a:gd name="connsiteX725" fmla="*/ 4774834 w 12192185"/>
              <a:gd name="connsiteY725" fmla="*/ 6626959 h 6859062"/>
              <a:gd name="connsiteX726" fmla="*/ 4762439 w 12192185"/>
              <a:gd name="connsiteY726" fmla="*/ 6623382 h 6859062"/>
              <a:gd name="connsiteX727" fmla="*/ 4750769 w 12192185"/>
              <a:gd name="connsiteY727" fmla="*/ 6612663 h 6859062"/>
              <a:gd name="connsiteX728" fmla="*/ 4744682 w 12192185"/>
              <a:gd name="connsiteY728" fmla="*/ 6598879 h 6859062"/>
              <a:gd name="connsiteX729" fmla="*/ 4742672 w 12192185"/>
              <a:gd name="connsiteY729" fmla="*/ 6580258 h 6859062"/>
              <a:gd name="connsiteX730" fmla="*/ 4738621 w 12192185"/>
              <a:gd name="connsiteY730" fmla="*/ 6561718 h 6859062"/>
              <a:gd name="connsiteX731" fmla="*/ 4728912 w 12192185"/>
              <a:gd name="connsiteY731" fmla="*/ 6544215 h 6859062"/>
              <a:gd name="connsiteX732" fmla="*/ 4735319 w 12192185"/>
              <a:gd name="connsiteY732" fmla="*/ 6522011 h 6859062"/>
              <a:gd name="connsiteX733" fmla="*/ 4745248 w 12192185"/>
              <a:gd name="connsiteY733" fmla="*/ 6515522 h 6859062"/>
              <a:gd name="connsiteX734" fmla="*/ 4761368 w 12192185"/>
              <a:gd name="connsiteY734" fmla="*/ 6510821 h 6859062"/>
              <a:gd name="connsiteX735" fmla="*/ 8993241 w 12192185"/>
              <a:gd name="connsiteY735" fmla="*/ 6505996 h 6859062"/>
              <a:gd name="connsiteX736" fmla="*/ 9003004 w 12192185"/>
              <a:gd name="connsiteY736" fmla="*/ 6508487 h 6859062"/>
              <a:gd name="connsiteX737" fmla="*/ 9020834 w 12192185"/>
              <a:gd name="connsiteY737" fmla="*/ 6518214 h 6859062"/>
              <a:gd name="connsiteX738" fmla="*/ 9025190 w 12192185"/>
              <a:gd name="connsiteY738" fmla="*/ 6522415 h 6859062"/>
              <a:gd name="connsiteX739" fmla="*/ 9029541 w 12192185"/>
              <a:gd name="connsiteY739" fmla="*/ 6528905 h 6859062"/>
              <a:gd name="connsiteX740" fmla="*/ 9031775 w 12192185"/>
              <a:gd name="connsiteY740" fmla="*/ 6534785 h 6859062"/>
              <a:gd name="connsiteX741" fmla="*/ 9032173 w 12192185"/>
              <a:gd name="connsiteY741" fmla="*/ 6549294 h 6859062"/>
              <a:gd name="connsiteX742" fmla="*/ 9032843 w 12192185"/>
              <a:gd name="connsiteY742" fmla="*/ 6558321 h 6859062"/>
              <a:gd name="connsiteX743" fmla="*/ 9031798 w 12192185"/>
              <a:gd name="connsiteY743" fmla="*/ 6561945 h 6859062"/>
              <a:gd name="connsiteX744" fmla="*/ 9026076 w 12192185"/>
              <a:gd name="connsiteY744" fmla="*/ 6568146 h 6859062"/>
              <a:gd name="connsiteX745" fmla="*/ 9014774 w 12192185"/>
              <a:gd name="connsiteY745" fmla="*/ 6576661 h 6859062"/>
              <a:gd name="connsiteX746" fmla="*/ 9011437 w 12192185"/>
              <a:gd name="connsiteY746" fmla="*/ 6580278 h 6859062"/>
              <a:gd name="connsiteX747" fmla="*/ 9007373 w 12192185"/>
              <a:gd name="connsiteY747" fmla="*/ 6580741 h 6859062"/>
              <a:gd name="connsiteX748" fmla="*/ 8999808 w 12192185"/>
              <a:gd name="connsiteY748" fmla="*/ 6580847 h 6859062"/>
              <a:gd name="connsiteX749" fmla="*/ 8997040 w 12192185"/>
              <a:gd name="connsiteY749" fmla="*/ 6581357 h 6859062"/>
              <a:gd name="connsiteX750" fmla="*/ 8987016 w 12192185"/>
              <a:gd name="connsiteY750" fmla="*/ 6579773 h 6859062"/>
              <a:gd name="connsiteX751" fmla="*/ 8984724 w 12192185"/>
              <a:gd name="connsiteY751" fmla="*/ 6579765 h 6859062"/>
              <a:gd name="connsiteX752" fmla="*/ 8967178 w 12192185"/>
              <a:gd name="connsiteY752" fmla="*/ 6559979 h 6859062"/>
              <a:gd name="connsiteX753" fmla="*/ 8964099 w 12192185"/>
              <a:gd name="connsiteY753" fmla="*/ 6545676 h 6859062"/>
              <a:gd name="connsiteX754" fmla="*/ 8963464 w 12192185"/>
              <a:gd name="connsiteY754" fmla="*/ 6539932 h 6859062"/>
              <a:gd name="connsiteX755" fmla="*/ 8964643 w 12192185"/>
              <a:gd name="connsiteY755" fmla="*/ 6534710 h 6859062"/>
              <a:gd name="connsiteX756" fmla="*/ 8966684 w 12192185"/>
              <a:gd name="connsiteY756" fmla="*/ 6531046 h 6859062"/>
              <a:gd name="connsiteX757" fmla="*/ 8970549 w 12192185"/>
              <a:gd name="connsiteY757" fmla="*/ 6523329 h 6859062"/>
              <a:gd name="connsiteX758" fmla="*/ 8971723 w 12192185"/>
              <a:gd name="connsiteY758" fmla="*/ 6520396 h 6859062"/>
              <a:gd name="connsiteX759" fmla="*/ 8974722 w 12192185"/>
              <a:gd name="connsiteY759" fmla="*/ 6513410 h 6859062"/>
              <a:gd name="connsiteX760" fmla="*/ 8993241 w 12192185"/>
              <a:gd name="connsiteY760" fmla="*/ 6505996 h 6859062"/>
              <a:gd name="connsiteX761" fmla="*/ 7622107 w 12192185"/>
              <a:gd name="connsiteY761" fmla="*/ 6501820 h 6859062"/>
              <a:gd name="connsiteX762" fmla="*/ 7632530 w 12192185"/>
              <a:gd name="connsiteY762" fmla="*/ 6502573 h 6859062"/>
              <a:gd name="connsiteX763" fmla="*/ 7641690 w 12192185"/>
              <a:gd name="connsiteY763" fmla="*/ 6516018 h 6859062"/>
              <a:gd name="connsiteX764" fmla="*/ 7643048 w 12192185"/>
              <a:gd name="connsiteY764" fmla="*/ 6520789 h 6859062"/>
              <a:gd name="connsiteX765" fmla="*/ 7648299 w 12192185"/>
              <a:gd name="connsiteY765" fmla="*/ 6531722 h 6859062"/>
              <a:gd name="connsiteX766" fmla="*/ 7653318 w 12192185"/>
              <a:gd name="connsiteY766" fmla="*/ 6536517 h 6859062"/>
              <a:gd name="connsiteX767" fmla="*/ 7655226 w 12192185"/>
              <a:gd name="connsiteY767" fmla="*/ 6553177 h 6859062"/>
              <a:gd name="connsiteX768" fmla="*/ 7648752 w 12192185"/>
              <a:gd name="connsiteY768" fmla="*/ 6565493 h 6859062"/>
              <a:gd name="connsiteX769" fmla="*/ 7635974 w 12192185"/>
              <a:gd name="connsiteY769" fmla="*/ 6571505 h 6859062"/>
              <a:gd name="connsiteX770" fmla="*/ 7634460 w 12192185"/>
              <a:gd name="connsiteY770" fmla="*/ 6572783 h 6859062"/>
              <a:gd name="connsiteX771" fmla="*/ 7626712 w 12192185"/>
              <a:gd name="connsiteY771" fmla="*/ 6571018 h 6859062"/>
              <a:gd name="connsiteX772" fmla="*/ 7619158 w 12192185"/>
              <a:gd name="connsiteY772" fmla="*/ 6564834 h 6859062"/>
              <a:gd name="connsiteX773" fmla="*/ 7614928 w 12192185"/>
              <a:gd name="connsiteY773" fmla="*/ 6556569 h 6859062"/>
              <a:gd name="connsiteX774" fmla="*/ 7613040 w 12192185"/>
              <a:gd name="connsiteY774" fmla="*/ 6545187 h 6859062"/>
              <a:gd name="connsiteX775" fmla="*/ 7609902 w 12192185"/>
              <a:gd name="connsiteY775" fmla="*/ 6533925 h 6859062"/>
              <a:gd name="connsiteX776" fmla="*/ 7603313 w 12192185"/>
              <a:gd name="connsiteY776" fmla="*/ 6523499 h 6859062"/>
              <a:gd name="connsiteX777" fmla="*/ 7606477 w 12192185"/>
              <a:gd name="connsiteY777" fmla="*/ 6509616 h 6859062"/>
              <a:gd name="connsiteX778" fmla="*/ 7612355 w 12192185"/>
              <a:gd name="connsiteY778" fmla="*/ 6505277 h 6859062"/>
              <a:gd name="connsiteX779" fmla="*/ 7622107 w 12192185"/>
              <a:gd name="connsiteY779" fmla="*/ 6501820 h 6859062"/>
              <a:gd name="connsiteX780" fmla="*/ 4977857 w 12192185"/>
              <a:gd name="connsiteY780" fmla="*/ 6493005 h 6859062"/>
              <a:gd name="connsiteX781" fmla="*/ 4981811 w 12192185"/>
              <a:gd name="connsiteY781" fmla="*/ 6495296 h 6859062"/>
              <a:gd name="connsiteX782" fmla="*/ 4983475 w 12192185"/>
              <a:gd name="connsiteY782" fmla="*/ 6499517 h 6859062"/>
              <a:gd name="connsiteX783" fmla="*/ 4988554 w 12192185"/>
              <a:gd name="connsiteY783" fmla="*/ 6501850 h 6859062"/>
              <a:gd name="connsiteX784" fmla="*/ 5006001 w 12192185"/>
              <a:gd name="connsiteY784" fmla="*/ 6502279 h 6859062"/>
              <a:gd name="connsiteX785" fmla="*/ 5026584 w 12192185"/>
              <a:gd name="connsiteY785" fmla="*/ 6506782 h 6859062"/>
              <a:gd name="connsiteX786" fmla="*/ 5030682 w 12192185"/>
              <a:gd name="connsiteY786" fmla="*/ 6510554 h 6859062"/>
              <a:gd name="connsiteX787" fmla="*/ 5042661 w 12192185"/>
              <a:gd name="connsiteY787" fmla="*/ 6520922 h 6859062"/>
              <a:gd name="connsiteX788" fmla="*/ 5044786 w 12192185"/>
              <a:gd name="connsiteY788" fmla="*/ 6523550 h 6859062"/>
              <a:gd name="connsiteX789" fmla="*/ 5052422 w 12192185"/>
              <a:gd name="connsiteY789" fmla="*/ 6541010 h 6859062"/>
              <a:gd name="connsiteX790" fmla="*/ 5052697 w 12192185"/>
              <a:gd name="connsiteY790" fmla="*/ 6566996 h 6859062"/>
              <a:gd name="connsiteX791" fmla="*/ 5053777 w 12192185"/>
              <a:gd name="connsiteY791" fmla="*/ 6576230 h 6859062"/>
              <a:gd name="connsiteX792" fmla="*/ 5049602 w 12192185"/>
              <a:gd name="connsiteY792" fmla="*/ 6587691 h 6859062"/>
              <a:gd name="connsiteX793" fmla="*/ 5045699 w 12192185"/>
              <a:gd name="connsiteY793" fmla="*/ 6597216 h 6859062"/>
              <a:gd name="connsiteX794" fmla="*/ 5044818 w 12192185"/>
              <a:gd name="connsiteY794" fmla="*/ 6601280 h 6859062"/>
              <a:gd name="connsiteX795" fmla="*/ 5023916 w 12192185"/>
              <a:gd name="connsiteY795" fmla="*/ 6614821 h 6859062"/>
              <a:gd name="connsiteX796" fmla="*/ 5006495 w 12192185"/>
              <a:gd name="connsiteY796" fmla="*/ 6619292 h 6859062"/>
              <a:gd name="connsiteX797" fmla="*/ 4991106 w 12192185"/>
              <a:gd name="connsiteY797" fmla="*/ 6630684 h 6859062"/>
              <a:gd name="connsiteX798" fmla="*/ 4991864 w 12192185"/>
              <a:gd name="connsiteY798" fmla="*/ 6634067 h 6859062"/>
              <a:gd name="connsiteX799" fmla="*/ 5002184 w 12192185"/>
              <a:gd name="connsiteY799" fmla="*/ 6657195 h 6859062"/>
              <a:gd name="connsiteX800" fmla="*/ 5003085 w 12192185"/>
              <a:gd name="connsiteY800" fmla="*/ 6662060 h 6859062"/>
              <a:gd name="connsiteX801" fmla="*/ 5001373 w 12192185"/>
              <a:gd name="connsiteY801" fmla="*/ 6675961 h 6859062"/>
              <a:gd name="connsiteX802" fmla="*/ 5000642 w 12192185"/>
              <a:gd name="connsiteY802" fmla="*/ 6692445 h 6859062"/>
              <a:gd name="connsiteX803" fmla="*/ 4998544 w 12192185"/>
              <a:gd name="connsiteY803" fmla="*/ 6698746 h 6859062"/>
              <a:gd name="connsiteX804" fmla="*/ 4974565 w 12192185"/>
              <a:gd name="connsiteY804" fmla="*/ 6728957 h 6859062"/>
              <a:gd name="connsiteX805" fmla="*/ 4971289 w 12192185"/>
              <a:gd name="connsiteY805" fmla="*/ 6730316 h 6859062"/>
              <a:gd name="connsiteX806" fmla="*/ 4952838 w 12192185"/>
              <a:gd name="connsiteY806" fmla="*/ 6733341 h 6859062"/>
              <a:gd name="connsiteX807" fmla="*/ 4945320 w 12192185"/>
              <a:gd name="connsiteY807" fmla="*/ 6733472 h 6859062"/>
              <a:gd name="connsiteX808" fmla="*/ 4932849 w 12192185"/>
              <a:gd name="connsiteY808" fmla="*/ 6732752 h 6859062"/>
              <a:gd name="connsiteX809" fmla="*/ 4921852 w 12192185"/>
              <a:gd name="connsiteY809" fmla="*/ 6737925 h 6859062"/>
              <a:gd name="connsiteX810" fmla="*/ 4917456 w 12192185"/>
              <a:gd name="connsiteY810" fmla="*/ 6738203 h 6859062"/>
              <a:gd name="connsiteX811" fmla="*/ 4916084 w 12192185"/>
              <a:gd name="connsiteY811" fmla="*/ 6733958 h 6859062"/>
              <a:gd name="connsiteX812" fmla="*/ 4916216 w 12192185"/>
              <a:gd name="connsiteY812" fmla="*/ 6730540 h 6859062"/>
              <a:gd name="connsiteX813" fmla="*/ 4914888 w 12192185"/>
              <a:gd name="connsiteY813" fmla="*/ 6726128 h 6859062"/>
              <a:gd name="connsiteX814" fmla="*/ 4910747 w 12192185"/>
              <a:gd name="connsiteY814" fmla="*/ 6727523 h 6859062"/>
              <a:gd name="connsiteX815" fmla="*/ 4903153 w 12192185"/>
              <a:gd name="connsiteY815" fmla="*/ 6723892 h 6859062"/>
              <a:gd name="connsiteX816" fmla="*/ 4902551 w 12192185"/>
              <a:gd name="connsiteY816" fmla="*/ 6719977 h 6859062"/>
              <a:gd name="connsiteX817" fmla="*/ 4898303 w 12192185"/>
              <a:gd name="connsiteY817" fmla="*/ 6716736 h 6859062"/>
              <a:gd name="connsiteX818" fmla="*/ 4895135 w 12192185"/>
              <a:gd name="connsiteY818" fmla="*/ 6720716 h 6859062"/>
              <a:gd name="connsiteX819" fmla="*/ 4894429 w 12192185"/>
              <a:gd name="connsiteY819" fmla="*/ 6724865 h 6859062"/>
              <a:gd name="connsiteX820" fmla="*/ 4879612 w 12192185"/>
              <a:gd name="connsiteY820" fmla="*/ 6698202 h 6859062"/>
              <a:gd name="connsiteX821" fmla="*/ 4881290 w 12192185"/>
              <a:gd name="connsiteY821" fmla="*/ 6696856 h 6859062"/>
              <a:gd name="connsiteX822" fmla="*/ 4880350 w 12192185"/>
              <a:gd name="connsiteY822" fmla="*/ 6691118 h 6859062"/>
              <a:gd name="connsiteX823" fmla="*/ 4876180 w 12192185"/>
              <a:gd name="connsiteY823" fmla="*/ 6687611 h 6859062"/>
              <a:gd name="connsiteX824" fmla="*/ 4874830 w 12192185"/>
              <a:gd name="connsiteY824" fmla="*/ 6680312 h 6859062"/>
              <a:gd name="connsiteX825" fmla="*/ 4870364 w 12192185"/>
              <a:gd name="connsiteY825" fmla="*/ 6656859 h 6859062"/>
              <a:gd name="connsiteX826" fmla="*/ 4867493 w 12192185"/>
              <a:gd name="connsiteY826" fmla="*/ 6652862 h 6859062"/>
              <a:gd name="connsiteX827" fmla="*/ 4873462 w 12192185"/>
              <a:gd name="connsiteY827" fmla="*/ 6651131 h 6859062"/>
              <a:gd name="connsiteX828" fmla="*/ 4874260 w 12192185"/>
              <a:gd name="connsiteY828" fmla="*/ 6651362 h 6859062"/>
              <a:gd name="connsiteX829" fmla="*/ 4881927 w 12192185"/>
              <a:gd name="connsiteY829" fmla="*/ 6643785 h 6859062"/>
              <a:gd name="connsiteX830" fmla="*/ 4886057 w 12192185"/>
              <a:gd name="connsiteY830" fmla="*/ 6631450 h 6859062"/>
              <a:gd name="connsiteX831" fmla="*/ 4895644 w 12192185"/>
              <a:gd name="connsiteY831" fmla="*/ 6615217 h 6859062"/>
              <a:gd name="connsiteX832" fmla="*/ 4901004 w 12192185"/>
              <a:gd name="connsiteY832" fmla="*/ 6611586 h 6859062"/>
              <a:gd name="connsiteX833" fmla="*/ 4915899 w 12192185"/>
              <a:gd name="connsiteY833" fmla="*/ 6600914 h 6859062"/>
              <a:gd name="connsiteX834" fmla="*/ 4922971 w 12192185"/>
              <a:gd name="connsiteY834" fmla="*/ 6600364 h 6859062"/>
              <a:gd name="connsiteX835" fmla="*/ 4951506 w 12192185"/>
              <a:gd name="connsiteY835" fmla="*/ 6600255 h 6859062"/>
              <a:gd name="connsiteX836" fmla="*/ 4953203 w 12192185"/>
              <a:gd name="connsiteY836" fmla="*/ 6594410 h 6859062"/>
              <a:gd name="connsiteX837" fmla="*/ 4946514 w 12192185"/>
              <a:gd name="connsiteY837" fmla="*/ 6591616 h 6859062"/>
              <a:gd name="connsiteX838" fmla="*/ 4940812 w 12192185"/>
              <a:gd name="connsiteY838" fmla="*/ 6593424 h 6859062"/>
              <a:gd name="connsiteX839" fmla="*/ 4936136 w 12192185"/>
              <a:gd name="connsiteY839" fmla="*/ 6592651 h 6859062"/>
              <a:gd name="connsiteX840" fmla="*/ 4938313 w 12192185"/>
              <a:gd name="connsiteY840" fmla="*/ 6588099 h 6859062"/>
              <a:gd name="connsiteX841" fmla="*/ 4943032 w 12192185"/>
              <a:gd name="connsiteY841" fmla="*/ 6585718 h 6859062"/>
              <a:gd name="connsiteX842" fmla="*/ 4946749 w 12192185"/>
              <a:gd name="connsiteY842" fmla="*/ 6577865 h 6859062"/>
              <a:gd name="connsiteX843" fmla="*/ 4939096 w 12192185"/>
              <a:gd name="connsiteY843" fmla="*/ 6577387 h 6859062"/>
              <a:gd name="connsiteX844" fmla="*/ 4932218 w 12192185"/>
              <a:gd name="connsiteY844" fmla="*/ 6580293 h 6859062"/>
              <a:gd name="connsiteX845" fmla="*/ 4927898 w 12192185"/>
              <a:gd name="connsiteY845" fmla="*/ 6575304 h 6859062"/>
              <a:gd name="connsiteX846" fmla="*/ 4938115 w 12192185"/>
              <a:gd name="connsiteY846" fmla="*/ 6561846 h 6859062"/>
              <a:gd name="connsiteX847" fmla="*/ 4942336 w 12192185"/>
              <a:gd name="connsiteY847" fmla="*/ 6547231 h 6859062"/>
              <a:gd name="connsiteX848" fmla="*/ 4938701 w 12192185"/>
              <a:gd name="connsiteY848" fmla="*/ 6539851 h 6859062"/>
              <a:gd name="connsiteX849" fmla="*/ 4937950 w 12192185"/>
              <a:gd name="connsiteY849" fmla="*/ 6536468 h 6859062"/>
              <a:gd name="connsiteX850" fmla="*/ 4941338 w 12192185"/>
              <a:gd name="connsiteY850" fmla="*/ 6535718 h 6859062"/>
              <a:gd name="connsiteX851" fmla="*/ 4948454 w 12192185"/>
              <a:gd name="connsiteY851" fmla="*/ 6532015 h 6859062"/>
              <a:gd name="connsiteX852" fmla="*/ 4958819 w 12192185"/>
              <a:gd name="connsiteY852" fmla="*/ 6522053 h 6859062"/>
              <a:gd name="connsiteX853" fmla="*/ 4960934 w 12192185"/>
              <a:gd name="connsiteY853" fmla="*/ 6515752 h 6859062"/>
              <a:gd name="connsiteX854" fmla="*/ 4960028 w 12192185"/>
              <a:gd name="connsiteY854" fmla="*/ 6510887 h 6859062"/>
              <a:gd name="connsiteX855" fmla="*/ 4965395 w 12192185"/>
              <a:gd name="connsiteY855" fmla="*/ 6509268 h 6859062"/>
              <a:gd name="connsiteX856" fmla="*/ 4969266 w 12192185"/>
              <a:gd name="connsiteY856" fmla="*/ 6509811 h 6859062"/>
              <a:gd name="connsiteX857" fmla="*/ 4976925 w 12192185"/>
              <a:gd name="connsiteY857" fmla="*/ 6500221 h 6859062"/>
              <a:gd name="connsiteX858" fmla="*/ 4976219 w 12192185"/>
              <a:gd name="connsiteY858" fmla="*/ 6497712 h 6859062"/>
              <a:gd name="connsiteX859" fmla="*/ 4977857 w 12192185"/>
              <a:gd name="connsiteY859" fmla="*/ 6493005 h 6859062"/>
              <a:gd name="connsiteX860" fmla="*/ 8180770 w 12192185"/>
              <a:gd name="connsiteY860" fmla="*/ 6476906 h 6859062"/>
              <a:gd name="connsiteX861" fmla="*/ 8183378 w 12192185"/>
              <a:gd name="connsiteY861" fmla="*/ 6478227 h 6859062"/>
              <a:gd name="connsiteX862" fmla="*/ 8184596 w 12192185"/>
              <a:gd name="connsiteY862" fmla="*/ 6480868 h 6859062"/>
              <a:gd name="connsiteX863" fmla="*/ 8187935 w 12192185"/>
              <a:gd name="connsiteY863" fmla="*/ 6482174 h 6859062"/>
              <a:gd name="connsiteX864" fmla="*/ 8199112 w 12192185"/>
              <a:gd name="connsiteY864" fmla="*/ 6481812 h 6859062"/>
              <a:gd name="connsiteX865" fmla="*/ 8212447 w 12192185"/>
              <a:gd name="connsiteY865" fmla="*/ 6483942 h 6859062"/>
              <a:gd name="connsiteX866" fmla="*/ 8215204 w 12192185"/>
              <a:gd name="connsiteY866" fmla="*/ 6486207 h 6859062"/>
              <a:gd name="connsiteX867" fmla="*/ 8223250 w 12192185"/>
              <a:gd name="connsiteY867" fmla="*/ 6492403 h 6859062"/>
              <a:gd name="connsiteX868" fmla="*/ 8224703 w 12192185"/>
              <a:gd name="connsiteY868" fmla="*/ 6494006 h 6859062"/>
              <a:gd name="connsiteX869" fmla="*/ 8230223 w 12192185"/>
              <a:gd name="connsiteY869" fmla="*/ 6504898 h 6859062"/>
              <a:gd name="connsiteX870" fmla="*/ 8231348 w 12192185"/>
              <a:gd name="connsiteY870" fmla="*/ 6521513 h 6859062"/>
              <a:gd name="connsiteX871" fmla="*/ 8232375 w 12192185"/>
              <a:gd name="connsiteY871" fmla="*/ 6527381 h 6859062"/>
              <a:gd name="connsiteX872" fmla="*/ 8230124 w 12192185"/>
              <a:gd name="connsiteY872" fmla="*/ 6534866 h 6859062"/>
              <a:gd name="connsiteX873" fmla="*/ 8227975 w 12192185"/>
              <a:gd name="connsiteY873" fmla="*/ 6541103 h 6859062"/>
              <a:gd name="connsiteX874" fmla="*/ 8227557 w 12192185"/>
              <a:gd name="connsiteY874" fmla="*/ 6543734 h 6859062"/>
              <a:gd name="connsiteX875" fmla="*/ 8214679 w 12192185"/>
              <a:gd name="connsiteY875" fmla="*/ 6553160 h 6859062"/>
              <a:gd name="connsiteX876" fmla="*/ 8203698 w 12192185"/>
              <a:gd name="connsiteY876" fmla="*/ 6556656 h 6859062"/>
              <a:gd name="connsiteX877" fmla="*/ 8194272 w 12192185"/>
              <a:gd name="connsiteY877" fmla="*/ 6564505 h 6859062"/>
              <a:gd name="connsiteX878" fmla="*/ 8194875 w 12192185"/>
              <a:gd name="connsiteY878" fmla="*/ 6566642 h 6859062"/>
              <a:gd name="connsiteX879" fmla="*/ 8202320 w 12192185"/>
              <a:gd name="connsiteY879" fmla="*/ 6581063 h 6859062"/>
              <a:gd name="connsiteX880" fmla="*/ 8203073 w 12192185"/>
              <a:gd name="connsiteY880" fmla="*/ 6584142 h 6859062"/>
              <a:gd name="connsiteX881" fmla="*/ 8202487 w 12192185"/>
              <a:gd name="connsiteY881" fmla="*/ 6593098 h 6859062"/>
              <a:gd name="connsiteX882" fmla="*/ 8202624 w 12192185"/>
              <a:gd name="connsiteY882" fmla="*/ 6603671 h 6859062"/>
              <a:gd name="connsiteX883" fmla="*/ 8201507 w 12192185"/>
              <a:gd name="connsiteY883" fmla="*/ 6607779 h 6859062"/>
              <a:gd name="connsiteX884" fmla="*/ 8187264 w 12192185"/>
              <a:gd name="connsiteY884" fmla="*/ 6627982 h 6859062"/>
              <a:gd name="connsiteX885" fmla="*/ 8185220 w 12192185"/>
              <a:gd name="connsiteY885" fmla="*/ 6628970 h 6859062"/>
              <a:gd name="connsiteX886" fmla="*/ 8173532 w 12192185"/>
              <a:gd name="connsiteY886" fmla="*/ 6631578 h 6859062"/>
              <a:gd name="connsiteX887" fmla="*/ 8168722 w 12192185"/>
              <a:gd name="connsiteY887" fmla="*/ 6631937 h 6859062"/>
              <a:gd name="connsiteX888" fmla="*/ 8160721 w 12192185"/>
              <a:gd name="connsiteY888" fmla="*/ 6631931 h 6859062"/>
              <a:gd name="connsiteX889" fmla="*/ 8153874 w 12192185"/>
              <a:gd name="connsiteY889" fmla="*/ 6635643 h 6859062"/>
              <a:gd name="connsiteX890" fmla="*/ 8151069 w 12192185"/>
              <a:gd name="connsiteY890" fmla="*/ 6635980 h 6859062"/>
              <a:gd name="connsiteX891" fmla="*/ 8150040 w 12192185"/>
              <a:gd name="connsiteY891" fmla="*/ 6633314 h 6859062"/>
              <a:gd name="connsiteX892" fmla="*/ 8149993 w 12192185"/>
              <a:gd name="connsiteY892" fmla="*/ 6631122 h 6859062"/>
              <a:gd name="connsiteX893" fmla="*/ 8148989 w 12192185"/>
              <a:gd name="connsiteY893" fmla="*/ 6628349 h 6859062"/>
              <a:gd name="connsiteX894" fmla="*/ 8146387 w 12192185"/>
              <a:gd name="connsiteY894" fmla="*/ 6629391 h 6859062"/>
              <a:gd name="connsiteX895" fmla="*/ 8141397 w 12192185"/>
              <a:gd name="connsiteY895" fmla="*/ 6627346 h 6859062"/>
              <a:gd name="connsiteX896" fmla="*/ 8140872 w 12192185"/>
              <a:gd name="connsiteY896" fmla="*/ 6624863 h 6859062"/>
              <a:gd name="connsiteX897" fmla="*/ 8138036 w 12192185"/>
              <a:gd name="connsiteY897" fmla="*/ 6622944 h 6859062"/>
              <a:gd name="connsiteX898" fmla="*/ 8136156 w 12192185"/>
              <a:gd name="connsiteY898" fmla="*/ 6625607 h 6859062"/>
              <a:gd name="connsiteX899" fmla="*/ 8135851 w 12192185"/>
              <a:gd name="connsiteY899" fmla="*/ 6628286 h 6859062"/>
              <a:gd name="connsiteX900" fmla="*/ 8125401 w 12192185"/>
              <a:gd name="connsiteY900" fmla="*/ 6611768 h 6859062"/>
              <a:gd name="connsiteX901" fmla="*/ 8126425 w 12192185"/>
              <a:gd name="connsiteY901" fmla="*/ 6610847 h 6859062"/>
              <a:gd name="connsiteX902" fmla="*/ 8125617 w 12192185"/>
              <a:gd name="connsiteY902" fmla="*/ 6607210 h 6859062"/>
              <a:gd name="connsiteX903" fmla="*/ 8122820 w 12192185"/>
              <a:gd name="connsiteY903" fmla="*/ 6605117 h 6859062"/>
              <a:gd name="connsiteX904" fmla="*/ 8121691 w 12192185"/>
              <a:gd name="connsiteY904" fmla="*/ 6600498 h 6859062"/>
              <a:gd name="connsiteX905" fmla="*/ 8117980 w 12192185"/>
              <a:gd name="connsiteY905" fmla="*/ 6585656 h 6859062"/>
              <a:gd name="connsiteX906" fmla="*/ 8115992 w 12192185"/>
              <a:gd name="connsiteY906" fmla="*/ 6583203 h 6859062"/>
              <a:gd name="connsiteX907" fmla="*/ 8119750 w 12192185"/>
              <a:gd name="connsiteY907" fmla="*/ 6581879 h 6859062"/>
              <a:gd name="connsiteX908" fmla="*/ 8120268 w 12192185"/>
              <a:gd name="connsiteY908" fmla="*/ 6581997 h 6859062"/>
              <a:gd name="connsiteX909" fmla="*/ 8124892 w 12192185"/>
              <a:gd name="connsiteY909" fmla="*/ 6576871 h 6859062"/>
              <a:gd name="connsiteX910" fmla="*/ 8127089 w 12192185"/>
              <a:gd name="connsiteY910" fmla="*/ 6568828 h 6859062"/>
              <a:gd name="connsiteX911" fmla="*/ 8132626 w 12192185"/>
              <a:gd name="connsiteY911" fmla="*/ 6558093 h 6859062"/>
              <a:gd name="connsiteX912" fmla="*/ 8135928 w 12192185"/>
              <a:gd name="connsiteY912" fmla="*/ 6555573 h 6859062"/>
              <a:gd name="connsiteX913" fmla="*/ 8145064 w 12192185"/>
              <a:gd name="connsiteY913" fmla="*/ 6548203 h 6859062"/>
              <a:gd name="connsiteX914" fmla="*/ 8149568 w 12192185"/>
              <a:gd name="connsiteY914" fmla="*/ 6547593 h 6859062"/>
              <a:gd name="connsiteX915" fmla="*/ 8167826 w 12192185"/>
              <a:gd name="connsiteY915" fmla="*/ 6546482 h 6859062"/>
              <a:gd name="connsiteX916" fmla="*/ 8168692 w 12192185"/>
              <a:gd name="connsiteY916" fmla="*/ 6542680 h 6859062"/>
              <a:gd name="connsiteX917" fmla="*/ 8164314 w 12192185"/>
              <a:gd name="connsiteY917" fmla="*/ 6541138 h 6859062"/>
              <a:gd name="connsiteX918" fmla="*/ 8160731 w 12192185"/>
              <a:gd name="connsiteY918" fmla="*/ 6542503 h 6859062"/>
              <a:gd name="connsiteX919" fmla="*/ 8157712 w 12192185"/>
              <a:gd name="connsiteY919" fmla="*/ 6542178 h 6859062"/>
              <a:gd name="connsiteX920" fmla="*/ 8158940 w 12192185"/>
              <a:gd name="connsiteY920" fmla="*/ 6539186 h 6859062"/>
              <a:gd name="connsiteX921" fmla="*/ 8161872 w 12192185"/>
              <a:gd name="connsiteY921" fmla="*/ 6537492 h 6859062"/>
              <a:gd name="connsiteX922" fmla="*/ 8163957 w 12192185"/>
              <a:gd name="connsiteY922" fmla="*/ 6532332 h 6859062"/>
              <a:gd name="connsiteX923" fmla="*/ 8159053 w 12192185"/>
              <a:gd name="connsiteY923" fmla="*/ 6532305 h 6859062"/>
              <a:gd name="connsiteX924" fmla="*/ 8154753 w 12192185"/>
              <a:gd name="connsiteY924" fmla="*/ 6534415 h 6859062"/>
              <a:gd name="connsiteX925" fmla="*/ 8151807 w 12192185"/>
              <a:gd name="connsiteY925" fmla="*/ 6531380 h 6859062"/>
              <a:gd name="connsiteX926" fmla="*/ 8157855 w 12192185"/>
              <a:gd name="connsiteY926" fmla="*/ 6522398 h 6859062"/>
              <a:gd name="connsiteX927" fmla="*/ 8160021 w 12192185"/>
              <a:gd name="connsiteY927" fmla="*/ 6512895 h 6859062"/>
              <a:gd name="connsiteX928" fmla="*/ 8157430 w 12192185"/>
              <a:gd name="connsiteY928" fmla="*/ 6508305 h 6859062"/>
              <a:gd name="connsiteX929" fmla="*/ 8156825 w 12192185"/>
              <a:gd name="connsiteY929" fmla="*/ 6506168 h 6859062"/>
              <a:gd name="connsiteX930" fmla="*/ 8158963 w 12192185"/>
              <a:gd name="connsiteY930" fmla="*/ 6505565 h 6859062"/>
              <a:gd name="connsiteX931" fmla="*/ 8163381 w 12192185"/>
              <a:gd name="connsiteY931" fmla="*/ 6502936 h 6859062"/>
              <a:gd name="connsiteX932" fmla="*/ 8169648 w 12192185"/>
              <a:gd name="connsiteY932" fmla="*/ 6496183 h 6859062"/>
              <a:gd name="connsiteX933" fmla="*/ 8170766 w 12192185"/>
              <a:gd name="connsiteY933" fmla="*/ 6492076 h 6859062"/>
              <a:gd name="connsiteX934" fmla="*/ 8170013 w 12192185"/>
              <a:gd name="connsiteY934" fmla="*/ 6488997 h 6859062"/>
              <a:gd name="connsiteX935" fmla="*/ 8173385 w 12192185"/>
              <a:gd name="connsiteY935" fmla="*/ 6487765 h 6859062"/>
              <a:gd name="connsiteX936" fmla="*/ 8175884 w 12192185"/>
              <a:gd name="connsiteY936" fmla="*/ 6487971 h 6859062"/>
              <a:gd name="connsiteX937" fmla="*/ 8180438 w 12192185"/>
              <a:gd name="connsiteY937" fmla="*/ 6481557 h 6859062"/>
              <a:gd name="connsiteX938" fmla="*/ 8179888 w 12192185"/>
              <a:gd name="connsiteY938" fmla="*/ 6479977 h 6859062"/>
              <a:gd name="connsiteX939" fmla="*/ 8180770 w 12192185"/>
              <a:gd name="connsiteY939" fmla="*/ 6476906 h 6859062"/>
              <a:gd name="connsiteX940" fmla="*/ 4424400 w 12192185"/>
              <a:gd name="connsiteY940" fmla="*/ 6472220 h 6859062"/>
              <a:gd name="connsiteX941" fmla="*/ 4434889 w 12192185"/>
              <a:gd name="connsiteY941" fmla="*/ 6474897 h 6859062"/>
              <a:gd name="connsiteX942" fmla="*/ 4454051 w 12192185"/>
              <a:gd name="connsiteY942" fmla="*/ 6485348 h 6859062"/>
              <a:gd name="connsiteX943" fmla="*/ 4458729 w 12192185"/>
              <a:gd name="connsiteY943" fmla="*/ 6489863 h 6859062"/>
              <a:gd name="connsiteX944" fmla="*/ 4463406 w 12192185"/>
              <a:gd name="connsiteY944" fmla="*/ 6496838 h 6859062"/>
              <a:gd name="connsiteX945" fmla="*/ 4465807 w 12192185"/>
              <a:gd name="connsiteY945" fmla="*/ 6503156 h 6859062"/>
              <a:gd name="connsiteX946" fmla="*/ 4466236 w 12192185"/>
              <a:gd name="connsiteY946" fmla="*/ 6518747 h 6859062"/>
              <a:gd name="connsiteX947" fmla="*/ 4466959 w 12192185"/>
              <a:gd name="connsiteY947" fmla="*/ 6528448 h 6859062"/>
              <a:gd name="connsiteX948" fmla="*/ 4465832 w 12192185"/>
              <a:gd name="connsiteY948" fmla="*/ 6532342 h 6859062"/>
              <a:gd name="connsiteX949" fmla="*/ 4459683 w 12192185"/>
              <a:gd name="connsiteY949" fmla="*/ 6539005 h 6859062"/>
              <a:gd name="connsiteX950" fmla="*/ 4447538 w 12192185"/>
              <a:gd name="connsiteY950" fmla="*/ 6548156 h 6859062"/>
              <a:gd name="connsiteX951" fmla="*/ 4443954 w 12192185"/>
              <a:gd name="connsiteY951" fmla="*/ 6552043 h 6859062"/>
              <a:gd name="connsiteX952" fmla="*/ 4439583 w 12192185"/>
              <a:gd name="connsiteY952" fmla="*/ 6552540 h 6859062"/>
              <a:gd name="connsiteX953" fmla="*/ 4431458 w 12192185"/>
              <a:gd name="connsiteY953" fmla="*/ 6552655 h 6859062"/>
              <a:gd name="connsiteX954" fmla="*/ 4428482 w 12192185"/>
              <a:gd name="connsiteY954" fmla="*/ 6553203 h 6859062"/>
              <a:gd name="connsiteX955" fmla="*/ 4417710 w 12192185"/>
              <a:gd name="connsiteY955" fmla="*/ 6551499 h 6859062"/>
              <a:gd name="connsiteX956" fmla="*/ 4415248 w 12192185"/>
              <a:gd name="connsiteY956" fmla="*/ 6551492 h 6859062"/>
              <a:gd name="connsiteX957" fmla="*/ 4396388 w 12192185"/>
              <a:gd name="connsiteY957" fmla="*/ 6530229 h 6859062"/>
              <a:gd name="connsiteX958" fmla="*/ 4393078 w 12192185"/>
              <a:gd name="connsiteY958" fmla="*/ 6514860 h 6859062"/>
              <a:gd name="connsiteX959" fmla="*/ 4392400 w 12192185"/>
              <a:gd name="connsiteY959" fmla="*/ 6508687 h 6859062"/>
              <a:gd name="connsiteX960" fmla="*/ 4393666 w 12192185"/>
              <a:gd name="connsiteY960" fmla="*/ 6503076 h 6859062"/>
              <a:gd name="connsiteX961" fmla="*/ 4395858 w 12192185"/>
              <a:gd name="connsiteY961" fmla="*/ 6499139 h 6859062"/>
              <a:gd name="connsiteX962" fmla="*/ 4400009 w 12192185"/>
              <a:gd name="connsiteY962" fmla="*/ 6490845 h 6859062"/>
              <a:gd name="connsiteX963" fmla="*/ 4401274 w 12192185"/>
              <a:gd name="connsiteY963" fmla="*/ 6487694 h 6859062"/>
              <a:gd name="connsiteX964" fmla="*/ 4404500 w 12192185"/>
              <a:gd name="connsiteY964" fmla="*/ 6480186 h 6859062"/>
              <a:gd name="connsiteX965" fmla="*/ 4424400 w 12192185"/>
              <a:gd name="connsiteY965" fmla="*/ 6472220 h 6859062"/>
              <a:gd name="connsiteX966" fmla="*/ 974144 w 12192185"/>
              <a:gd name="connsiteY966" fmla="*/ 6469245 h 6859062"/>
              <a:gd name="connsiteX967" fmla="*/ 985077 w 12192185"/>
              <a:gd name="connsiteY967" fmla="*/ 6474298 h 6859062"/>
              <a:gd name="connsiteX968" fmla="*/ 992986 w 12192185"/>
              <a:gd name="connsiteY968" fmla="*/ 6483224 h 6859062"/>
              <a:gd name="connsiteX969" fmla="*/ 996496 w 12192185"/>
              <a:gd name="connsiteY969" fmla="*/ 6490880 h 6859062"/>
              <a:gd name="connsiteX970" fmla="*/ 991945 w 12192185"/>
              <a:gd name="connsiteY970" fmla="*/ 6506648 h 6859062"/>
              <a:gd name="connsiteX971" fmla="*/ 979484 w 12192185"/>
              <a:gd name="connsiteY971" fmla="*/ 6513489 h 6859062"/>
              <a:gd name="connsiteX972" fmla="*/ 970038 w 12192185"/>
              <a:gd name="connsiteY972" fmla="*/ 6523099 h 6859062"/>
              <a:gd name="connsiteX973" fmla="*/ 961786 w 12192185"/>
              <a:gd name="connsiteY973" fmla="*/ 6533528 h 6859062"/>
              <a:gd name="connsiteX974" fmla="*/ 952911 w 12192185"/>
              <a:gd name="connsiteY974" fmla="*/ 6539507 h 6859062"/>
              <a:gd name="connsiteX975" fmla="*/ 941841 w 12192185"/>
              <a:gd name="connsiteY975" fmla="*/ 6541531 h 6859062"/>
              <a:gd name="connsiteX976" fmla="*/ 933041 w 12192185"/>
              <a:gd name="connsiteY976" fmla="*/ 6538991 h 6859062"/>
              <a:gd name="connsiteX977" fmla="*/ 932228 w 12192185"/>
              <a:gd name="connsiteY977" fmla="*/ 6536858 h 6859062"/>
              <a:gd name="connsiteX978" fmla="*/ 922690 w 12192185"/>
              <a:gd name="connsiteY978" fmla="*/ 6523666 h 6859062"/>
              <a:gd name="connsiteX979" fmla="*/ 923029 w 12192185"/>
              <a:gd name="connsiteY979" fmla="*/ 6507633 h 6859062"/>
              <a:gd name="connsiteX980" fmla="*/ 934244 w 12192185"/>
              <a:gd name="connsiteY980" fmla="*/ 6491891 h 6859062"/>
              <a:gd name="connsiteX981" fmla="*/ 941981 w 12192185"/>
              <a:gd name="connsiteY981" fmla="*/ 6489854 h 6859062"/>
              <a:gd name="connsiteX982" fmla="*/ 953375 w 12192185"/>
              <a:gd name="connsiteY982" fmla="*/ 6481754 h 6859062"/>
              <a:gd name="connsiteX983" fmla="*/ 957405 w 12192185"/>
              <a:gd name="connsiteY983" fmla="*/ 6477699 h 6859062"/>
              <a:gd name="connsiteX984" fmla="*/ 974144 w 12192185"/>
              <a:gd name="connsiteY984" fmla="*/ 6469245 h 6859062"/>
              <a:gd name="connsiteX985" fmla="*/ 7389842 w 12192185"/>
              <a:gd name="connsiteY985" fmla="*/ 6462321 h 6859062"/>
              <a:gd name="connsiteX986" fmla="*/ 7398422 w 12192185"/>
              <a:gd name="connsiteY986" fmla="*/ 6463997 h 6859062"/>
              <a:gd name="connsiteX987" fmla="*/ 7414346 w 12192185"/>
              <a:gd name="connsiteY987" fmla="*/ 6471541 h 6859062"/>
              <a:gd name="connsiteX988" fmla="*/ 7418326 w 12192185"/>
              <a:gd name="connsiteY988" fmla="*/ 6474965 h 6859062"/>
              <a:gd name="connsiteX989" fmla="*/ 7422415 w 12192185"/>
              <a:gd name="connsiteY989" fmla="*/ 6480372 h 6859062"/>
              <a:gd name="connsiteX990" fmla="*/ 7424641 w 12192185"/>
              <a:gd name="connsiteY990" fmla="*/ 6485355 h 6859062"/>
              <a:gd name="connsiteX991" fmla="*/ 7425702 w 12192185"/>
              <a:gd name="connsiteY991" fmla="*/ 6497902 h 6859062"/>
              <a:gd name="connsiteX992" fmla="*/ 7426729 w 12192185"/>
              <a:gd name="connsiteY992" fmla="*/ 6505689 h 6859062"/>
              <a:gd name="connsiteX993" fmla="*/ 7426001 w 12192185"/>
              <a:gd name="connsiteY993" fmla="*/ 6508879 h 6859062"/>
              <a:gd name="connsiteX994" fmla="*/ 7421353 w 12192185"/>
              <a:gd name="connsiteY994" fmla="*/ 6514532 h 6859062"/>
              <a:gd name="connsiteX995" fmla="*/ 7411984 w 12192185"/>
              <a:gd name="connsiteY995" fmla="*/ 6522467 h 6859062"/>
              <a:gd name="connsiteX996" fmla="*/ 7409271 w 12192185"/>
              <a:gd name="connsiteY996" fmla="*/ 6525764 h 6859062"/>
              <a:gd name="connsiteX997" fmla="*/ 7405774 w 12192185"/>
              <a:gd name="connsiteY997" fmla="*/ 6526365 h 6859062"/>
              <a:gd name="connsiteX998" fmla="*/ 7399227 w 12192185"/>
              <a:gd name="connsiteY998" fmla="*/ 6526831 h 6859062"/>
              <a:gd name="connsiteX999" fmla="*/ 7396854 w 12192185"/>
              <a:gd name="connsiteY999" fmla="*/ 6527410 h 6859062"/>
              <a:gd name="connsiteX1000" fmla="*/ 7388093 w 12192185"/>
              <a:gd name="connsiteY1000" fmla="*/ 6526532 h 6859062"/>
              <a:gd name="connsiteX1001" fmla="*/ 7386108 w 12192185"/>
              <a:gd name="connsiteY1001" fmla="*/ 6526639 h 6859062"/>
              <a:gd name="connsiteX1002" fmla="*/ 7369932 w 12192185"/>
              <a:gd name="connsiteY1002" fmla="*/ 6510367 h 6859062"/>
              <a:gd name="connsiteX1003" fmla="*/ 7366560 w 12192185"/>
              <a:gd name="connsiteY1003" fmla="*/ 6498131 h 6859062"/>
              <a:gd name="connsiteX1004" fmla="*/ 7365726 w 12192185"/>
              <a:gd name="connsiteY1004" fmla="*/ 6493186 h 6859062"/>
              <a:gd name="connsiteX1005" fmla="*/ 7366491 w 12192185"/>
              <a:gd name="connsiteY1005" fmla="*/ 6488606 h 6859062"/>
              <a:gd name="connsiteX1006" fmla="*/ 7368076 w 12192185"/>
              <a:gd name="connsiteY1006" fmla="*/ 6485331 h 6859062"/>
              <a:gd name="connsiteX1007" fmla="*/ 7371044 w 12192185"/>
              <a:gd name="connsiteY1007" fmla="*/ 6478455 h 6859062"/>
              <a:gd name="connsiteX1008" fmla="*/ 7371915 w 12192185"/>
              <a:gd name="connsiteY1008" fmla="*/ 6475857 h 6859062"/>
              <a:gd name="connsiteX1009" fmla="*/ 7374168 w 12192185"/>
              <a:gd name="connsiteY1009" fmla="*/ 6469658 h 6859062"/>
              <a:gd name="connsiteX1010" fmla="*/ 7389842 w 12192185"/>
              <a:gd name="connsiteY1010" fmla="*/ 6462321 h 6859062"/>
              <a:gd name="connsiteX1011" fmla="*/ 2361652 w 12192185"/>
              <a:gd name="connsiteY1011" fmla="*/ 6453824 h 6859062"/>
              <a:gd name="connsiteX1012" fmla="*/ 2362300 w 12192185"/>
              <a:gd name="connsiteY1012" fmla="*/ 6453855 h 6859062"/>
              <a:gd name="connsiteX1013" fmla="*/ 2361885 w 12192185"/>
              <a:gd name="connsiteY1013" fmla="*/ 6454244 h 6859062"/>
              <a:gd name="connsiteX1014" fmla="*/ 9623413 w 12192185"/>
              <a:gd name="connsiteY1014" fmla="*/ 6443737 h 6859062"/>
              <a:gd name="connsiteX1015" fmla="*/ 9633905 w 12192185"/>
              <a:gd name="connsiteY1015" fmla="*/ 6446413 h 6859062"/>
              <a:gd name="connsiteX1016" fmla="*/ 9653064 w 12192185"/>
              <a:gd name="connsiteY1016" fmla="*/ 6456865 h 6859062"/>
              <a:gd name="connsiteX1017" fmla="*/ 9657745 w 12192185"/>
              <a:gd name="connsiteY1017" fmla="*/ 6461381 h 6859062"/>
              <a:gd name="connsiteX1018" fmla="*/ 9662420 w 12192185"/>
              <a:gd name="connsiteY1018" fmla="*/ 6468355 h 6859062"/>
              <a:gd name="connsiteX1019" fmla="*/ 9664821 w 12192185"/>
              <a:gd name="connsiteY1019" fmla="*/ 6474673 h 6859062"/>
              <a:gd name="connsiteX1020" fmla="*/ 9665248 w 12192185"/>
              <a:gd name="connsiteY1020" fmla="*/ 6490264 h 6859062"/>
              <a:gd name="connsiteX1021" fmla="*/ 9665969 w 12192185"/>
              <a:gd name="connsiteY1021" fmla="*/ 6499965 h 6859062"/>
              <a:gd name="connsiteX1022" fmla="*/ 9664846 w 12192185"/>
              <a:gd name="connsiteY1022" fmla="*/ 6503859 h 6859062"/>
              <a:gd name="connsiteX1023" fmla="*/ 9658698 w 12192185"/>
              <a:gd name="connsiteY1023" fmla="*/ 6510522 h 6859062"/>
              <a:gd name="connsiteX1024" fmla="*/ 9646553 w 12192185"/>
              <a:gd name="connsiteY1024" fmla="*/ 6519674 h 6859062"/>
              <a:gd name="connsiteX1025" fmla="*/ 9642966 w 12192185"/>
              <a:gd name="connsiteY1025" fmla="*/ 6523560 h 6859062"/>
              <a:gd name="connsiteX1026" fmla="*/ 9638598 w 12192185"/>
              <a:gd name="connsiteY1026" fmla="*/ 6524057 h 6859062"/>
              <a:gd name="connsiteX1027" fmla="*/ 9630469 w 12192185"/>
              <a:gd name="connsiteY1027" fmla="*/ 6524172 h 6859062"/>
              <a:gd name="connsiteX1028" fmla="*/ 9627495 w 12192185"/>
              <a:gd name="connsiteY1028" fmla="*/ 6524719 h 6859062"/>
              <a:gd name="connsiteX1029" fmla="*/ 9616723 w 12192185"/>
              <a:gd name="connsiteY1029" fmla="*/ 6523016 h 6859062"/>
              <a:gd name="connsiteX1030" fmla="*/ 9614261 w 12192185"/>
              <a:gd name="connsiteY1030" fmla="*/ 6523009 h 6859062"/>
              <a:gd name="connsiteX1031" fmla="*/ 9595405 w 12192185"/>
              <a:gd name="connsiteY1031" fmla="*/ 6501747 h 6859062"/>
              <a:gd name="connsiteX1032" fmla="*/ 9592097 w 12192185"/>
              <a:gd name="connsiteY1032" fmla="*/ 6486377 h 6859062"/>
              <a:gd name="connsiteX1033" fmla="*/ 9591415 w 12192185"/>
              <a:gd name="connsiteY1033" fmla="*/ 6480203 h 6859062"/>
              <a:gd name="connsiteX1034" fmla="*/ 9592683 w 12192185"/>
              <a:gd name="connsiteY1034" fmla="*/ 6474593 h 6859062"/>
              <a:gd name="connsiteX1035" fmla="*/ 9594876 w 12192185"/>
              <a:gd name="connsiteY1035" fmla="*/ 6470655 h 6859062"/>
              <a:gd name="connsiteX1036" fmla="*/ 9599028 w 12192185"/>
              <a:gd name="connsiteY1036" fmla="*/ 6462363 h 6859062"/>
              <a:gd name="connsiteX1037" fmla="*/ 9600290 w 12192185"/>
              <a:gd name="connsiteY1037" fmla="*/ 6459210 h 6859062"/>
              <a:gd name="connsiteX1038" fmla="*/ 9603513 w 12192185"/>
              <a:gd name="connsiteY1038" fmla="*/ 6451703 h 6859062"/>
              <a:gd name="connsiteX1039" fmla="*/ 9623413 w 12192185"/>
              <a:gd name="connsiteY1039" fmla="*/ 6443737 h 6859062"/>
              <a:gd name="connsiteX1040" fmla="*/ 9406510 w 12192185"/>
              <a:gd name="connsiteY1040" fmla="*/ 6437496 h 6859062"/>
              <a:gd name="connsiteX1041" fmla="*/ 9417445 w 12192185"/>
              <a:gd name="connsiteY1041" fmla="*/ 6442550 h 6859062"/>
              <a:gd name="connsiteX1042" fmla="*/ 9425353 w 12192185"/>
              <a:gd name="connsiteY1042" fmla="*/ 6451476 h 6859062"/>
              <a:gd name="connsiteX1043" fmla="*/ 9428863 w 12192185"/>
              <a:gd name="connsiteY1043" fmla="*/ 6459132 h 6859062"/>
              <a:gd name="connsiteX1044" fmla="*/ 9424311 w 12192185"/>
              <a:gd name="connsiteY1044" fmla="*/ 6474899 h 6859062"/>
              <a:gd name="connsiteX1045" fmla="*/ 9411851 w 12192185"/>
              <a:gd name="connsiteY1045" fmla="*/ 6481741 h 6859062"/>
              <a:gd name="connsiteX1046" fmla="*/ 9402405 w 12192185"/>
              <a:gd name="connsiteY1046" fmla="*/ 6491351 h 6859062"/>
              <a:gd name="connsiteX1047" fmla="*/ 9394152 w 12192185"/>
              <a:gd name="connsiteY1047" fmla="*/ 6501780 h 6859062"/>
              <a:gd name="connsiteX1048" fmla="*/ 9385278 w 12192185"/>
              <a:gd name="connsiteY1048" fmla="*/ 6507759 h 6859062"/>
              <a:gd name="connsiteX1049" fmla="*/ 9374208 w 12192185"/>
              <a:gd name="connsiteY1049" fmla="*/ 6509783 h 6859062"/>
              <a:gd name="connsiteX1050" fmla="*/ 9365408 w 12192185"/>
              <a:gd name="connsiteY1050" fmla="*/ 6507243 h 6859062"/>
              <a:gd name="connsiteX1051" fmla="*/ 9364595 w 12192185"/>
              <a:gd name="connsiteY1051" fmla="*/ 6505110 h 6859062"/>
              <a:gd name="connsiteX1052" fmla="*/ 9355057 w 12192185"/>
              <a:gd name="connsiteY1052" fmla="*/ 6491918 h 6859062"/>
              <a:gd name="connsiteX1053" fmla="*/ 9355395 w 12192185"/>
              <a:gd name="connsiteY1053" fmla="*/ 6475885 h 6859062"/>
              <a:gd name="connsiteX1054" fmla="*/ 9366611 w 12192185"/>
              <a:gd name="connsiteY1054" fmla="*/ 6460142 h 6859062"/>
              <a:gd name="connsiteX1055" fmla="*/ 9374349 w 12192185"/>
              <a:gd name="connsiteY1055" fmla="*/ 6458106 h 6859062"/>
              <a:gd name="connsiteX1056" fmla="*/ 9385742 w 12192185"/>
              <a:gd name="connsiteY1056" fmla="*/ 6450007 h 6859062"/>
              <a:gd name="connsiteX1057" fmla="*/ 9389772 w 12192185"/>
              <a:gd name="connsiteY1057" fmla="*/ 6445951 h 6859062"/>
              <a:gd name="connsiteX1058" fmla="*/ 9406510 w 12192185"/>
              <a:gd name="connsiteY1058" fmla="*/ 6437496 h 6859062"/>
              <a:gd name="connsiteX1059" fmla="*/ 5632863 w 12192185"/>
              <a:gd name="connsiteY1059" fmla="*/ 6435786 h 6859062"/>
              <a:gd name="connsiteX1060" fmla="*/ 5642898 w 12192185"/>
              <a:gd name="connsiteY1060" fmla="*/ 6437963 h 6859062"/>
              <a:gd name="connsiteX1061" fmla="*/ 5655624 w 12192185"/>
              <a:gd name="connsiteY1061" fmla="*/ 6445055 h 6859062"/>
              <a:gd name="connsiteX1062" fmla="*/ 5664524 w 12192185"/>
              <a:gd name="connsiteY1062" fmla="*/ 6456772 h 6859062"/>
              <a:gd name="connsiteX1063" fmla="*/ 5658834 w 12192185"/>
              <a:gd name="connsiteY1063" fmla="*/ 6478965 h 6859062"/>
              <a:gd name="connsiteX1064" fmla="*/ 5655056 w 12192185"/>
              <a:gd name="connsiteY1064" fmla="*/ 6484840 h 6859062"/>
              <a:gd name="connsiteX1065" fmla="*/ 5648384 w 12192185"/>
              <a:gd name="connsiteY1065" fmla="*/ 6500562 h 6859062"/>
              <a:gd name="connsiteX1066" fmla="*/ 5647986 w 12192185"/>
              <a:gd name="connsiteY1066" fmla="*/ 6510329 h 6859062"/>
              <a:gd name="connsiteX1067" fmla="*/ 5632170 w 12192185"/>
              <a:gd name="connsiteY1067" fmla="*/ 6527847 h 6859062"/>
              <a:gd name="connsiteX1068" fmla="*/ 5613133 w 12192185"/>
              <a:gd name="connsiteY1068" fmla="*/ 6532464 h 6859062"/>
              <a:gd name="connsiteX1069" fmla="*/ 5594887 w 12192185"/>
              <a:gd name="connsiteY1069" fmla="*/ 6524549 h 6859062"/>
              <a:gd name="connsiteX1070" fmla="*/ 5592130 w 12192185"/>
              <a:gd name="connsiteY1070" fmla="*/ 6524138 h 6859062"/>
              <a:gd name="connsiteX1071" fmla="*/ 5586784 w 12192185"/>
              <a:gd name="connsiteY1071" fmla="*/ 6514306 h 6859062"/>
              <a:gd name="connsiteX1072" fmla="*/ 5586298 w 12192185"/>
              <a:gd name="connsiteY1072" fmla="*/ 6500566 h 6859062"/>
              <a:gd name="connsiteX1073" fmla="*/ 5591099 w 12192185"/>
              <a:gd name="connsiteY1073" fmla="*/ 6488406 h 6859062"/>
              <a:gd name="connsiteX1074" fmla="*/ 5601374 w 12192185"/>
              <a:gd name="connsiteY1074" fmla="*/ 6475819 h 6859062"/>
              <a:gd name="connsiteX1075" fmla="*/ 5610359 w 12192185"/>
              <a:gd name="connsiteY1075" fmla="*/ 6462023 h 6859062"/>
              <a:gd name="connsiteX1076" fmla="*/ 5615244 w 12192185"/>
              <a:gd name="connsiteY1076" fmla="*/ 6445358 h 6859062"/>
              <a:gd name="connsiteX1077" fmla="*/ 5632863 w 12192185"/>
              <a:gd name="connsiteY1077" fmla="*/ 6435786 h 6859062"/>
              <a:gd name="connsiteX1078" fmla="*/ 8584726 w 12192185"/>
              <a:gd name="connsiteY1078" fmla="*/ 6427979 h 6859062"/>
              <a:gd name="connsiteX1079" fmla="*/ 8597298 w 12192185"/>
              <a:gd name="connsiteY1079" fmla="*/ 6431196 h 6859062"/>
              <a:gd name="connsiteX1080" fmla="*/ 8609476 w 12192185"/>
              <a:gd name="connsiteY1080" fmla="*/ 6434374 h 6859062"/>
              <a:gd name="connsiteX1081" fmla="*/ 8625239 w 12192185"/>
              <a:gd name="connsiteY1081" fmla="*/ 6453670 h 6859062"/>
              <a:gd name="connsiteX1082" fmla="*/ 8624295 w 12192185"/>
              <a:gd name="connsiteY1082" fmla="*/ 6463119 h 6859062"/>
              <a:gd name="connsiteX1083" fmla="*/ 8623807 w 12192185"/>
              <a:gd name="connsiteY1083" fmla="*/ 6467035 h 6859062"/>
              <a:gd name="connsiteX1084" fmla="*/ 8623367 w 12192185"/>
              <a:gd name="connsiteY1084" fmla="*/ 6477807 h 6859062"/>
              <a:gd name="connsiteX1085" fmla="*/ 8623383 w 12192185"/>
              <a:gd name="connsiteY1085" fmla="*/ 6483045 h 6859062"/>
              <a:gd name="connsiteX1086" fmla="*/ 8621517 w 12192185"/>
              <a:gd name="connsiteY1086" fmla="*/ 6489465 h 6859062"/>
              <a:gd name="connsiteX1087" fmla="*/ 8617352 w 12192185"/>
              <a:gd name="connsiteY1087" fmla="*/ 6495361 h 6859062"/>
              <a:gd name="connsiteX1088" fmla="*/ 8605343 w 12192185"/>
              <a:gd name="connsiteY1088" fmla="*/ 6509134 h 6859062"/>
              <a:gd name="connsiteX1089" fmla="*/ 8574204 w 12192185"/>
              <a:gd name="connsiteY1089" fmla="*/ 6520159 h 6859062"/>
              <a:gd name="connsiteX1090" fmla="*/ 8571697 w 12192185"/>
              <a:gd name="connsiteY1090" fmla="*/ 6518783 h 6859062"/>
              <a:gd name="connsiteX1091" fmla="*/ 8559780 w 12192185"/>
              <a:gd name="connsiteY1091" fmla="*/ 6514457 h 6859062"/>
              <a:gd name="connsiteX1092" fmla="*/ 8557063 w 12192185"/>
              <a:gd name="connsiteY1092" fmla="*/ 6512227 h 6859062"/>
              <a:gd name="connsiteX1093" fmla="*/ 8548857 w 12192185"/>
              <a:gd name="connsiteY1093" fmla="*/ 6507539 h 6859062"/>
              <a:gd name="connsiteX1094" fmla="*/ 8544694 w 12192185"/>
              <a:gd name="connsiteY1094" fmla="*/ 6504576 h 6859062"/>
              <a:gd name="connsiteX1095" fmla="*/ 8543233 w 12192185"/>
              <a:gd name="connsiteY1095" fmla="*/ 6498606 h 6859062"/>
              <a:gd name="connsiteX1096" fmla="*/ 8536023 w 12192185"/>
              <a:gd name="connsiteY1096" fmla="*/ 6482468 h 6859062"/>
              <a:gd name="connsiteX1097" fmla="*/ 8533518 w 12192185"/>
              <a:gd name="connsiteY1097" fmla="*/ 6472232 h 6859062"/>
              <a:gd name="connsiteX1098" fmla="*/ 8534564 w 12192185"/>
              <a:gd name="connsiteY1098" fmla="*/ 6467639 h 6859062"/>
              <a:gd name="connsiteX1099" fmla="*/ 8540753 w 12192185"/>
              <a:gd name="connsiteY1099" fmla="*/ 6458176 h 6859062"/>
              <a:gd name="connsiteX1100" fmla="*/ 8549956 w 12192185"/>
              <a:gd name="connsiteY1100" fmla="*/ 6442556 h 6859062"/>
              <a:gd name="connsiteX1101" fmla="*/ 8555951 w 12192185"/>
              <a:gd name="connsiteY1101" fmla="*/ 6437479 h 6859062"/>
              <a:gd name="connsiteX1102" fmla="*/ 8564629 w 12192185"/>
              <a:gd name="connsiteY1102" fmla="*/ 6433014 h 6859062"/>
              <a:gd name="connsiteX1103" fmla="*/ 8571931 w 12192185"/>
              <a:gd name="connsiteY1103" fmla="*/ 6431053 h 6859062"/>
              <a:gd name="connsiteX1104" fmla="*/ 8584726 w 12192185"/>
              <a:gd name="connsiteY1104" fmla="*/ 6427979 h 6859062"/>
              <a:gd name="connsiteX1105" fmla="*/ 10794010 w 12192185"/>
              <a:gd name="connsiteY1105" fmla="*/ 6422076 h 6859062"/>
              <a:gd name="connsiteX1106" fmla="*/ 10794660 w 12192185"/>
              <a:gd name="connsiteY1106" fmla="*/ 6422108 h 6859062"/>
              <a:gd name="connsiteX1107" fmla="*/ 10794243 w 12192185"/>
              <a:gd name="connsiteY1107" fmla="*/ 6422496 h 6859062"/>
              <a:gd name="connsiteX1108" fmla="*/ 2569200 w 12192185"/>
              <a:gd name="connsiteY1108" fmla="*/ 6412508 h 6859062"/>
              <a:gd name="connsiteX1109" fmla="*/ 2564152 w 12192185"/>
              <a:gd name="connsiteY1109" fmla="*/ 6415073 h 6859062"/>
              <a:gd name="connsiteX1110" fmla="*/ 2565991 w 12192185"/>
              <a:gd name="connsiteY1110" fmla="*/ 6421684 h 6859062"/>
              <a:gd name="connsiteX1111" fmla="*/ 2565102 w 12192185"/>
              <a:gd name="connsiteY1111" fmla="*/ 6425747 h 6859062"/>
              <a:gd name="connsiteX1112" fmla="*/ 2556553 w 12192185"/>
              <a:gd name="connsiteY1112" fmla="*/ 6431288 h 6859062"/>
              <a:gd name="connsiteX1113" fmla="*/ 2574707 w 12192185"/>
              <a:gd name="connsiteY1113" fmla="*/ 6439157 h 6859062"/>
              <a:gd name="connsiteX1114" fmla="*/ 2623617 w 12192185"/>
              <a:gd name="connsiteY1114" fmla="*/ 6452507 h 6859062"/>
              <a:gd name="connsiteX1115" fmla="*/ 2601164 w 12192185"/>
              <a:gd name="connsiteY1115" fmla="*/ 6426962 h 6859062"/>
              <a:gd name="connsiteX1116" fmla="*/ 1179321 w 12192185"/>
              <a:gd name="connsiteY1116" fmla="*/ 6405005 h 6859062"/>
              <a:gd name="connsiteX1117" fmla="*/ 1187093 w 12192185"/>
              <a:gd name="connsiteY1117" fmla="*/ 6406151 h 6859062"/>
              <a:gd name="connsiteX1118" fmla="*/ 1196178 w 12192185"/>
              <a:gd name="connsiteY1118" fmla="*/ 6409716 h 6859062"/>
              <a:gd name="connsiteX1119" fmla="*/ 1202473 w 12192185"/>
              <a:gd name="connsiteY1119" fmla="*/ 6413901 h 6859062"/>
              <a:gd name="connsiteX1120" fmla="*/ 1219127 w 12192185"/>
              <a:gd name="connsiteY1120" fmla="*/ 6433038 h 6859062"/>
              <a:gd name="connsiteX1121" fmla="*/ 1224788 w 12192185"/>
              <a:gd name="connsiteY1121" fmla="*/ 6444279 h 6859062"/>
              <a:gd name="connsiteX1122" fmla="*/ 1220717 w 12192185"/>
              <a:gd name="connsiteY1122" fmla="*/ 6468860 h 6859062"/>
              <a:gd name="connsiteX1123" fmla="*/ 1213000 w 12192185"/>
              <a:gd name="connsiteY1123" fmla="*/ 6474395 h 6859062"/>
              <a:gd name="connsiteX1124" fmla="*/ 1209738 w 12192185"/>
              <a:gd name="connsiteY1124" fmla="*/ 6476615 h 6859062"/>
              <a:gd name="connsiteX1125" fmla="*/ 1208876 w 12192185"/>
              <a:gd name="connsiteY1125" fmla="*/ 6480071 h 6859062"/>
              <a:gd name="connsiteX1126" fmla="*/ 1212341 w 12192185"/>
              <a:gd name="connsiteY1126" fmla="*/ 6480973 h 6859062"/>
              <a:gd name="connsiteX1127" fmla="*/ 1220696 w 12192185"/>
              <a:gd name="connsiteY1127" fmla="*/ 6488613 h 6859062"/>
              <a:gd name="connsiteX1128" fmla="*/ 1225377 w 12192185"/>
              <a:gd name="connsiteY1128" fmla="*/ 6493129 h 6859062"/>
              <a:gd name="connsiteX1129" fmla="*/ 1230052 w 12192185"/>
              <a:gd name="connsiteY1129" fmla="*/ 6500103 h 6859062"/>
              <a:gd name="connsiteX1130" fmla="*/ 1232452 w 12192185"/>
              <a:gd name="connsiteY1130" fmla="*/ 6506421 h 6859062"/>
              <a:gd name="connsiteX1131" fmla="*/ 1232880 w 12192185"/>
              <a:gd name="connsiteY1131" fmla="*/ 6522012 h 6859062"/>
              <a:gd name="connsiteX1132" fmla="*/ 1233600 w 12192185"/>
              <a:gd name="connsiteY1132" fmla="*/ 6531714 h 6859062"/>
              <a:gd name="connsiteX1133" fmla="*/ 1232475 w 12192185"/>
              <a:gd name="connsiteY1133" fmla="*/ 6535607 h 6859062"/>
              <a:gd name="connsiteX1134" fmla="*/ 1226329 w 12192185"/>
              <a:gd name="connsiteY1134" fmla="*/ 6542270 h 6859062"/>
              <a:gd name="connsiteX1135" fmla="*/ 1214184 w 12192185"/>
              <a:gd name="connsiteY1135" fmla="*/ 6551422 h 6859062"/>
              <a:gd name="connsiteX1136" fmla="*/ 1210597 w 12192185"/>
              <a:gd name="connsiteY1136" fmla="*/ 6555308 h 6859062"/>
              <a:gd name="connsiteX1137" fmla="*/ 1206230 w 12192185"/>
              <a:gd name="connsiteY1137" fmla="*/ 6555806 h 6859062"/>
              <a:gd name="connsiteX1138" fmla="*/ 1198101 w 12192185"/>
              <a:gd name="connsiteY1138" fmla="*/ 6555920 h 6859062"/>
              <a:gd name="connsiteX1139" fmla="*/ 1195127 w 12192185"/>
              <a:gd name="connsiteY1139" fmla="*/ 6556467 h 6859062"/>
              <a:gd name="connsiteX1140" fmla="*/ 1184354 w 12192185"/>
              <a:gd name="connsiteY1140" fmla="*/ 6554764 h 6859062"/>
              <a:gd name="connsiteX1141" fmla="*/ 1181891 w 12192185"/>
              <a:gd name="connsiteY1141" fmla="*/ 6554757 h 6859062"/>
              <a:gd name="connsiteX1142" fmla="*/ 1163037 w 12192185"/>
              <a:gd name="connsiteY1142" fmla="*/ 6533495 h 6859062"/>
              <a:gd name="connsiteX1143" fmla="*/ 1159728 w 12192185"/>
              <a:gd name="connsiteY1143" fmla="*/ 6518125 h 6859062"/>
              <a:gd name="connsiteX1144" fmla="*/ 1159046 w 12192185"/>
              <a:gd name="connsiteY1144" fmla="*/ 6511951 h 6859062"/>
              <a:gd name="connsiteX1145" fmla="*/ 1160313 w 12192185"/>
              <a:gd name="connsiteY1145" fmla="*/ 6506342 h 6859062"/>
              <a:gd name="connsiteX1146" fmla="*/ 1162506 w 12192185"/>
              <a:gd name="connsiteY1146" fmla="*/ 6502403 h 6859062"/>
              <a:gd name="connsiteX1147" fmla="*/ 1166660 w 12192185"/>
              <a:gd name="connsiteY1147" fmla="*/ 6494111 h 6859062"/>
              <a:gd name="connsiteX1148" fmla="*/ 1167922 w 12192185"/>
              <a:gd name="connsiteY1148" fmla="*/ 6490959 h 6859062"/>
              <a:gd name="connsiteX1149" fmla="*/ 1168093 w 12192185"/>
              <a:gd name="connsiteY1149" fmla="*/ 6490561 h 6859062"/>
              <a:gd name="connsiteX1150" fmla="*/ 1165937 w 12192185"/>
              <a:gd name="connsiteY1150" fmla="*/ 6490571 h 6859062"/>
              <a:gd name="connsiteX1151" fmla="*/ 1137089 w 12192185"/>
              <a:gd name="connsiteY1151" fmla="*/ 6474480 h 6859062"/>
              <a:gd name="connsiteX1152" fmla="*/ 1136465 w 12192185"/>
              <a:gd name="connsiteY1152" fmla="*/ 6471687 h 6859062"/>
              <a:gd name="connsiteX1153" fmla="*/ 1131839 w 12192185"/>
              <a:gd name="connsiteY1153" fmla="*/ 6459885 h 6859062"/>
              <a:gd name="connsiteX1154" fmla="*/ 1131718 w 12192185"/>
              <a:gd name="connsiteY1154" fmla="*/ 6456372 h 6859062"/>
              <a:gd name="connsiteX1155" fmla="*/ 1129817 w 12192185"/>
              <a:gd name="connsiteY1155" fmla="*/ 6447115 h 6859062"/>
              <a:gd name="connsiteX1156" fmla="*/ 1129289 w 12192185"/>
              <a:gd name="connsiteY1156" fmla="*/ 6442032 h 6859062"/>
              <a:gd name="connsiteX1157" fmla="*/ 1132805 w 12192185"/>
              <a:gd name="connsiteY1157" fmla="*/ 6436991 h 6859062"/>
              <a:gd name="connsiteX1158" fmla="*/ 1140156 w 12192185"/>
              <a:gd name="connsiteY1158" fmla="*/ 6420916 h 6859062"/>
              <a:gd name="connsiteX1159" fmla="*/ 1146183 w 12192185"/>
              <a:gd name="connsiteY1159" fmla="*/ 6412273 h 6859062"/>
              <a:gd name="connsiteX1160" fmla="*/ 1150324 w 12192185"/>
              <a:gd name="connsiteY1160" fmla="*/ 6410024 h 6859062"/>
              <a:gd name="connsiteX1161" fmla="*/ 1161515 w 12192185"/>
              <a:gd name="connsiteY1161" fmla="*/ 6408417 h 6859062"/>
              <a:gd name="connsiteX1162" fmla="*/ 1179321 w 12192185"/>
              <a:gd name="connsiteY1162" fmla="*/ 6405005 h 6859062"/>
              <a:gd name="connsiteX1163" fmla="*/ 2439253 w 12192185"/>
              <a:gd name="connsiteY1163" fmla="*/ 6402313 h 6859062"/>
              <a:gd name="connsiteX1164" fmla="*/ 2434458 w 12192185"/>
              <a:gd name="connsiteY1164" fmla="*/ 6407681 h 6859062"/>
              <a:gd name="connsiteX1165" fmla="*/ 2447440 w 12192185"/>
              <a:gd name="connsiteY1165" fmla="*/ 6424831 h 6859062"/>
              <a:gd name="connsiteX1166" fmla="*/ 2458847 w 12192185"/>
              <a:gd name="connsiteY1166" fmla="*/ 6430446 h 6859062"/>
              <a:gd name="connsiteX1167" fmla="*/ 2471799 w 12192185"/>
              <a:gd name="connsiteY1167" fmla="*/ 6424723 h 6859062"/>
              <a:gd name="connsiteX1168" fmla="*/ 2473487 w 12192185"/>
              <a:gd name="connsiteY1168" fmla="*/ 6418877 h 6859062"/>
              <a:gd name="connsiteX1169" fmla="*/ 2466804 w 12192185"/>
              <a:gd name="connsiteY1169" fmla="*/ 6416085 h 6859062"/>
              <a:gd name="connsiteX1170" fmla="*/ 2461099 w 12192185"/>
              <a:gd name="connsiteY1170" fmla="*/ 6417892 h 6859062"/>
              <a:gd name="connsiteX1171" fmla="*/ 2456424 w 12192185"/>
              <a:gd name="connsiteY1171" fmla="*/ 6417120 h 6859062"/>
              <a:gd name="connsiteX1172" fmla="*/ 2458605 w 12192185"/>
              <a:gd name="connsiteY1172" fmla="*/ 6412567 h 6859062"/>
              <a:gd name="connsiteX1173" fmla="*/ 2460774 w 12192185"/>
              <a:gd name="connsiteY1173" fmla="*/ 6411472 h 6859062"/>
              <a:gd name="connsiteX1174" fmla="*/ 2455478 w 12192185"/>
              <a:gd name="connsiteY1174" fmla="*/ 6409407 h 6859062"/>
              <a:gd name="connsiteX1175" fmla="*/ 2439253 w 12192185"/>
              <a:gd name="connsiteY1175" fmla="*/ 6402313 h 6859062"/>
              <a:gd name="connsiteX1176" fmla="*/ 2330398 w 12192185"/>
              <a:gd name="connsiteY1176" fmla="*/ 6400383 h 6859062"/>
              <a:gd name="connsiteX1177" fmla="*/ 2332104 w 12192185"/>
              <a:gd name="connsiteY1177" fmla="*/ 6407896 h 6859062"/>
              <a:gd name="connsiteX1178" fmla="*/ 2330589 w 12192185"/>
              <a:gd name="connsiteY1178" fmla="*/ 6421573 h 6859062"/>
              <a:gd name="connsiteX1179" fmla="*/ 2318961 w 12192185"/>
              <a:gd name="connsiteY1179" fmla="*/ 6440934 h 6859062"/>
              <a:gd name="connsiteX1180" fmla="*/ 2311179 w 12192185"/>
              <a:gd name="connsiteY1180" fmla="*/ 6447534 h 6859062"/>
              <a:gd name="connsiteX1181" fmla="*/ 2391252 w 12192185"/>
              <a:gd name="connsiteY1181" fmla="*/ 6484433 h 6859062"/>
              <a:gd name="connsiteX1182" fmla="*/ 2390661 w 12192185"/>
              <a:gd name="connsiteY1182" fmla="*/ 6481327 h 6859062"/>
              <a:gd name="connsiteX1183" fmla="*/ 2387782 w 12192185"/>
              <a:gd name="connsiteY1183" fmla="*/ 6477330 h 6859062"/>
              <a:gd name="connsiteX1184" fmla="*/ 2393753 w 12192185"/>
              <a:gd name="connsiteY1184" fmla="*/ 6475599 h 6859062"/>
              <a:gd name="connsiteX1185" fmla="*/ 2394552 w 12192185"/>
              <a:gd name="connsiteY1185" fmla="*/ 6475830 h 6859062"/>
              <a:gd name="connsiteX1186" fmla="*/ 2402211 w 12192185"/>
              <a:gd name="connsiteY1186" fmla="*/ 6468253 h 6859062"/>
              <a:gd name="connsiteX1187" fmla="*/ 2406347 w 12192185"/>
              <a:gd name="connsiteY1187" fmla="*/ 6455918 h 6859062"/>
              <a:gd name="connsiteX1188" fmla="*/ 2414571 w 12192185"/>
              <a:gd name="connsiteY1188" fmla="*/ 6441983 h 6859062"/>
              <a:gd name="connsiteX1189" fmla="*/ 10111327 w 12192185"/>
              <a:gd name="connsiteY1189" fmla="*/ 6382824 h 6859062"/>
              <a:gd name="connsiteX1190" fmla="*/ 10121819 w 12192185"/>
              <a:gd name="connsiteY1190" fmla="*/ 6385500 h 6859062"/>
              <a:gd name="connsiteX1191" fmla="*/ 10140978 w 12192185"/>
              <a:gd name="connsiteY1191" fmla="*/ 6395952 h 6859062"/>
              <a:gd name="connsiteX1192" fmla="*/ 10145660 w 12192185"/>
              <a:gd name="connsiteY1192" fmla="*/ 6400468 h 6859062"/>
              <a:gd name="connsiteX1193" fmla="*/ 10150335 w 12192185"/>
              <a:gd name="connsiteY1193" fmla="*/ 6407442 h 6859062"/>
              <a:gd name="connsiteX1194" fmla="*/ 10152736 w 12192185"/>
              <a:gd name="connsiteY1194" fmla="*/ 6413760 h 6859062"/>
              <a:gd name="connsiteX1195" fmla="*/ 10153162 w 12192185"/>
              <a:gd name="connsiteY1195" fmla="*/ 6429351 h 6859062"/>
              <a:gd name="connsiteX1196" fmla="*/ 10153883 w 12192185"/>
              <a:gd name="connsiteY1196" fmla="*/ 6439053 h 6859062"/>
              <a:gd name="connsiteX1197" fmla="*/ 10152760 w 12192185"/>
              <a:gd name="connsiteY1197" fmla="*/ 6442946 h 6859062"/>
              <a:gd name="connsiteX1198" fmla="*/ 10146612 w 12192185"/>
              <a:gd name="connsiteY1198" fmla="*/ 6449609 h 6859062"/>
              <a:gd name="connsiteX1199" fmla="*/ 10134467 w 12192185"/>
              <a:gd name="connsiteY1199" fmla="*/ 6458761 h 6859062"/>
              <a:gd name="connsiteX1200" fmla="*/ 10130880 w 12192185"/>
              <a:gd name="connsiteY1200" fmla="*/ 6462647 h 6859062"/>
              <a:gd name="connsiteX1201" fmla="*/ 10126512 w 12192185"/>
              <a:gd name="connsiteY1201" fmla="*/ 6463145 h 6859062"/>
              <a:gd name="connsiteX1202" fmla="*/ 10118383 w 12192185"/>
              <a:gd name="connsiteY1202" fmla="*/ 6463259 h 6859062"/>
              <a:gd name="connsiteX1203" fmla="*/ 10115410 w 12192185"/>
              <a:gd name="connsiteY1203" fmla="*/ 6463807 h 6859062"/>
              <a:gd name="connsiteX1204" fmla="*/ 10104636 w 12192185"/>
              <a:gd name="connsiteY1204" fmla="*/ 6462103 h 6859062"/>
              <a:gd name="connsiteX1205" fmla="*/ 10102174 w 12192185"/>
              <a:gd name="connsiteY1205" fmla="*/ 6462096 h 6859062"/>
              <a:gd name="connsiteX1206" fmla="*/ 10083319 w 12192185"/>
              <a:gd name="connsiteY1206" fmla="*/ 6440833 h 6859062"/>
              <a:gd name="connsiteX1207" fmla="*/ 10080011 w 12192185"/>
              <a:gd name="connsiteY1207" fmla="*/ 6425464 h 6859062"/>
              <a:gd name="connsiteX1208" fmla="*/ 10079330 w 12192185"/>
              <a:gd name="connsiteY1208" fmla="*/ 6419290 h 6859062"/>
              <a:gd name="connsiteX1209" fmla="*/ 10080597 w 12192185"/>
              <a:gd name="connsiteY1209" fmla="*/ 6413681 h 6859062"/>
              <a:gd name="connsiteX1210" fmla="*/ 10082790 w 12192185"/>
              <a:gd name="connsiteY1210" fmla="*/ 6409742 h 6859062"/>
              <a:gd name="connsiteX1211" fmla="*/ 10086942 w 12192185"/>
              <a:gd name="connsiteY1211" fmla="*/ 6401450 h 6859062"/>
              <a:gd name="connsiteX1212" fmla="*/ 10088204 w 12192185"/>
              <a:gd name="connsiteY1212" fmla="*/ 6398298 h 6859062"/>
              <a:gd name="connsiteX1213" fmla="*/ 10091427 w 12192185"/>
              <a:gd name="connsiteY1213" fmla="*/ 6390790 h 6859062"/>
              <a:gd name="connsiteX1214" fmla="*/ 10111327 w 12192185"/>
              <a:gd name="connsiteY1214" fmla="*/ 6382824 h 6859062"/>
              <a:gd name="connsiteX1215" fmla="*/ 7932612 w 12192185"/>
              <a:gd name="connsiteY1215" fmla="*/ 6377269 h 6859062"/>
              <a:gd name="connsiteX1216" fmla="*/ 7941833 w 12192185"/>
              <a:gd name="connsiteY1216" fmla="*/ 6379069 h 6859062"/>
              <a:gd name="connsiteX1217" fmla="*/ 7958945 w 12192185"/>
              <a:gd name="connsiteY1217" fmla="*/ 6387176 h 6859062"/>
              <a:gd name="connsiteX1218" fmla="*/ 7963222 w 12192185"/>
              <a:gd name="connsiteY1218" fmla="*/ 6390856 h 6859062"/>
              <a:gd name="connsiteX1219" fmla="*/ 7967616 w 12192185"/>
              <a:gd name="connsiteY1219" fmla="*/ 6396666 h 6859062"/>
              <a:gd name="connsiteX1220" fmla="*/ 7970008 w 12192185"/>
              <a:gd name="connsiteY1220" fmla="*/ 6402021 h 6859062"/>
              <a:gd name="connsiteX1221" fmla="*/ 7971148 w 12192185"/>
              <a:gd name="connsiteY1221" fmla="*/ 6415504 h 6859062"/>
              <a:gd name="connsiteX1222" fmla="*/ 7972251 w 12192185"/>
              <a:gd name="connsiteY1222" fmla="*/ 6423871 h 6859062"/>
              <a:gd name="connsiteX1223" fmla="*/ 7971469 w 12192185"/>
              <a:gd name="connsiteY1223" fmla="*/ 6427300 h 6859062"/>
              <a:gd name="connsiteX1224" fmla="*/ 7966474 w 12192185"/>
              <a:gd name="connsiteY1224" fmla="*/ 6433375 h 6859062"/>
              <a:gd name="connsiteX1225" fmla="*/ 7956406 w 12192185"/>
              <a:gd name="connsiteY1225" fmla="*/ 6441902 h 6859062"/>
              <a:gd name="connsiteX1226" fmla="*/ 7953492 w 12192185"/>
              <a:gd name="connsiteY1226" fmla="*/ 6445445 h 6859062"/>
              <a:gd name="connsiteX1227" fmla="*/ 7949734 w 12192185"/>
              <a:gd name="connsiteY1227" fmla="*/ 6446091 h 6859062"/>
              <a:gd name="connsiteX1228" fmla="*/ 7942698 w 12192185"/>
              <a:gd name="connsiteY1228" fmla="*/ 6446592 h 6859062"/>
              <a:gd name="connsiteX1229" fmla="*/ 7940148 w 12192185"/>
              <a:gd name="connsiteY1229" fmla="*/ 6447213 h 6859062"/>
              <a:gd name="connsiteX1230" fmla="*/ 7930733 w 12192185"/>
              <a:gd name="connsiteY1230" fmla="*/ 6446271 h 6859062"/>
              <a:gd name="connsiteX1231" fmla="*/ 7928600 w 12192185"/>
              <a:gd name="connsiteY1231" fmla="*/ 6446386 h 6859062"/>
              <a:gd name="connsiteX1232" fmla="*/ 7911218 w 12192185"/>
              <a:gd name="connsiteY1232" fmla="*/ 6428899 h 6859062"/>
              <a:gd name="connsiteX1233" fmla="*/ 7907593 w 12192185"/>
              <a:gd name="connsiteY1233" fmla="*/ 6415750 h 6859062"/>
              <a:gd name="connsiteX1234" fmla="*/ 7906698 w 12192185"/>
              <a:gd name="connsiteY1234" fmla="*/ 6410437 h 6859062"/>
              <a:gd name="connsiteX1235" fmla="*/ 7907518 w 12192185"/>
              <a:gd name="connsiteY1235" fmla="*/ 6405514 h 6859062"/>
              <a:gd name="connsiteX1236" fmla="*/ 7909223 w 12192185"/>
              <a:gd name="connsiteY1236" fmla="*/ 6401995 h 6859062"/>
              <a:gd name="connsiteX1237" fmla="*/ 7912411 w 12192185"/>
              <a:gd name="connsiteY1237" fmla="*/ 6394607 h 6859062"/>
              <a:gd name="connsiteX1238" fmla="*/ 7913348 w 12192185"/>
              <a:gd name="connsiteY1238" fmla="*/ 6391815 h 6859062"/>
              <a:gd name="connsiteX1239" fmla="*/ 7915769 w 12192185"/>
              <a:gd name="connsiteY1239" fmla="*/ 6385153 h 6859062"/>
              <a:gd name="connsiteX1240" fmla="*/ 7932612 w 12192185"/>
              <a:gd name="connsiteY1240" fmla="*/ 6377269 h 6859062"/>
              <a:gd name="connsiteX1241" fmla="*/ 11154450 w 12192185"/>
              <a:gd name="connsiteY1241" fmla="*/ 6374057 h 6859062"/>
              <a:gd name="connsiteX1242" fmla="*/ 11159701 w 12192185"/>
              <a:gd name="connsiteY1242" fmla="*/ 6374082 h 6859062"/>
              <a:gd name="connsiteX1243" fmla="*/ 11166320 w 12192185"/>
              <a:gd name="connsiteY1243" fmla="*/ 6375546 h 6859062"/>
              <a:gd name="connsiteX1244" fmla="*/ 11171246 w 12192185"/>
              <a:gd name="connsiteY1244" fmla="*/ 6377895 h 6859062"/>
              <a:gd name="connsiteX1245" fmla="*/ 11180192 w 12192185"/>
              <a:gd name="connsiteY1245" fmla="*/ 6386758 h 6859062"/>
              <a:gd name="connsiteX1246" fmla="*/ 11186021 w 12192185"/>
              <a:gd name="connsiteY1246" fmla="*/ 6392019 h 6859062"/>
              <a:gd name="connsiteX1247" fmla="*/ 11187537 w 12192185"/>
              <a:gd name="connsiteY1247" fmla="*/ 6394919 h 6859062"/>
              <a:gd name="connsiteX1248" fmla="*/ 11187665 w 12192185"/>
              <a:gd name="connsiteY1248" fmla="*/ 6402238 h 6859062"/>
              <a:gd name="connsiteX1249" fmla="*/ 11185679 w 12192185"/>
              <a:gd name="connsiteY1249" fmla="*/ 6414354 h 6859062"/>
              <a:gd name="connsiteX1250" fmla="*/ 11185752 w 12192185"/>
              <a:gd name="connsiteY1250" fmla="*/ 6418622 h 6859062"/>
              <a:gd name="connsiteX1251" fmla="*/ 11183480 w 12192185"/>
              <a:gd name="connsiteY1251" fmla="*/ 6421349 h 6859062"/>
              <a:gd name="connsiteX1252" fmla="*/ 11178800 w 12192185"/>
              <a:gd name="connsiteY1252" fmla="*/ 6425949 h 6859062"/>
              <a:gd name="connsiteX1253" fmla="*/ 11177368 w 12192185"/>
              <a:gd name="connsiteY1253" fmla="*/ 6427927 h 6859062"/>
              <a:gd name="connsiteX1254" fmla="*/ 11170130 w 12192185"/>
              <a:gd name="connsiteY1254" fmla="*/ 6432942 h 6859062"/>
              <a:gd name="connsiteX1255" fmla="*/ 11168688 w 12192185"/>
              <a:gd name="connsiteY1255" fmla="*/ 6434311 h 6859062"/>
              <a:gd name="connsiteX1256" fmla="*/ 11145822 w 12192185"/>
              <a:gd name="connsiteY1256" fmla="*/ 6432415 h 6859062"/>
              <a:gd name="connsiteX1257" fmla="*/ 11135321 w 12192185"/>
              <a:gd name="connsiteY1257" fmla="*/ 6425288 h 6859062"/>
              <a:gd name="connsiteX1258" fmla="*/ 11131478 w 12192185"/>
              <a:gd name="connsiteY1258" fmla="*/ 6422064 h 6859062"/>
              <a:gd name="connsiteX1259" fmla="*/ 11129090 w 12192185"/>
              <a:gd name="connsiteY1259" fmla="*/ 6418082 h 6859062"/>
              <a:gd name="connsiteX1260" fmla="*/ 11128173 w 12192185"/>
              <a:gd name="connsiteY1260" fmla="*/ 6414561 h 6859062"/>
              <a:gd name="connsiteX1261" fmla="*/ 11125972 w 12192185"/>
              <a:gd name="connsiteY1261" fmla="*/ 6407403 h 6859062"/>
              <a:gd name="connsiteX1262" fmla="*/ 11124951 w 12192185"/>
              <a:gd name="connsiteY1262" fmla="*/ 6404859 h 6859062"/>
              <a:gd name="connsiteX1263" fmla="*/ 11122645 w 12192185"/>
              <a:gd name="connsiteY1263" fmla="*/ 6398680 h 6859062"/>
              <a:gd name="connsiteX1264" fmla="*/ 11129819 w 12192185"/>
              <a:gd name="connsiteY1264" fmla="*/ 6382931 h 6859062"/>
              <a:gd name="connsiteX1265" fmla="*/ 11137436 w 12192185"/>
              <a:gd name="connsiteY1265" fmla="*/ 6378642 h 6859062"/>
              <a:gd name="connsiteX1266" fmla="*/ 11154450 w 12192185"/>
              <a:gd name="connsiteY1266" fmla="*/ 6374057 h 6859062"/>
              <a:gd name="connsiteX1267" fmla="*/ 5218909 w 12192185"/>
              <a:gd name="connsiteY1267" fmla="*/ 6372328 h 6859062"/>
              <a:gd name="connsiteX1268" fmla="*/ 5222439 w 12192185"/>
              <a:gd name="connsiteY1268" fmla="*/ 6372622 h 6859062"/>
              <a:gd name="connsiteX1269" fmla="*/ 5238311 w 12192185"/>
              <a:gd name="connsiteY1269" fmla="*/ 6379540 h 6859062"/>
              <a:gd name="connsiteX1270" fmla="*/ 5242724 w 12192185"/>
              <a:gd name="connsiteY1270" fmla="*/ 6387088 h 6859062"/>
              <a:gd name="connsiteX1271" fmla="*/ 5247585 w 12192185"/>
              <a:gd name="connsiteY1271" fmla="*/ 6404026 h 6859062"/>
              <a:gd name="connsiteX1272" fmla="*/ 5247647 w 12192185"/>
              <a:gd name="connsiteY1272" fmla="*/ 6409276 h 6859062"/>
              <a:gd name="connsiteX1273" fmla="*/ 5246293 w 12192185"/>
              <a:gd name="connsiteY1273" fmla="*/ 6415917 h 6859062"/>
              <a:gd name="connsiteX1274" fmla="*/ 5244019 w 12192185"/>
              <a:gd name="connsiteY1274" fmla="*/ 6420881 h 6859062"/>
              <a:gd name="connsiteX1275" fmla="*/ 5235293 w 12192185"/>
              <a:gd name="connsiteY1275" fmla="*/ 6429968 h 6859062"/>
              <a:gd name="connsiteX1276" fmla="*/ 5230127 w 12192185"/>
              <a:gd name="connsiteY1276" fmla="*/ 6435881 h 6859062"/>
              <a:gd name="connsiteX1277" fmla="*/ 5227250 w 12192185"/>
              <a:gd name="connsiteY1277" fmla="*/ 6437444 h 6859062"/>
              <a:gd name="connsiteX1278" fmla="*/ 5219928 w 12192185"/>
              <a:gd name="connsiteY1278" fmla="*/ 6437689 h 6859062"/>
              <a:gd name="connsiteX1279" fmla="*/ 5207790 w 12192185"/>
              <a:gd name="connsiteY1279" fmla="*/ 6435899 h 6859062"/>
              <a:gd name="connsiteX1280" fmla="*/ 5203518 w 12192185"/>
              <a:gd name="connsiteY1280" fmla="*/ 6436042 h 6859062"/>
              <a:gd name="connsiteX1281" fmla="*/ 5200754 w 12192185"/>
              <a:gd name="connsiteY1281" fmla="*/ 6433814 h 6859062"/>
              <a:gd name="connsiteX1282" fmla="*/ 5196085 w 12192185"/>
              <a:gd name="connsiteY1282" fmla="*/ 6429207 h 6859062"/>
              <a:gd name="connsiteX1283" fmla="*/ 5194084 w 12192185"/>
              <a:gd name="connsiteY1283" fmla="*/ 6427808 h 6859062"/>
              <a:gd name="connsiteX1284" fmla="*/ 5188954 w 12192185"/>
              <a:gd name="connsiteY1284" fmla="*/ 6420652 h 6859062"/>
              <a:gd name="connsiteX1285" fmla="*/ 5187570 w 12192185"/>
              <a:gd name="connsiteY1285" fmla="*/ 6419232 h 6859062"/>
              <a:gd name="connsiteX1286" fmla="*/ 5189096 w 12192185"/>
              <a:gd name="connsiteY1286" fmla="*/ 6396340 h 6859062"/>
              <a:gd name="connsiteX1287" fmla="*/ 5196052 w 12192185"/>
              <a:gd name="connsiteY1287" fmla="*/ 6385723 h 6859062"/>
              <a:gd name="connsiteX1288" fmla="*/ 5199201 w 12192185"/>
              <a:gd name="connsiteY1288" fmla="*/ 6381830 h 6859062"/>
              <a:gd name="connsiteX1289" fmla="*/ 5203152 w 12192185"/>
              <a:gd name="connsiteY1289" fmla="*/ 6379377 h 6859062"/>
              <a:gd name="connsiteX1290" fmla="*/ 5206649 w 12192185"/>
              <a:gd name="connsiteY1290" fmla="*/ 6378404 h 6859062"/>
              <a:gd name="connsiteX1291" fmla="*/ 5213765 w 12192185"/>
              <a:gd name="connsiteY1291" fmla="*/ 6376089 h 6859062"/>
              <a:gd name="connsiteX1292" fmla="*/ 5216292 w 12192185"/>
              <a:gd name="connsiteY1292" fmla="*/ 6375027 h 6859062"/>
              <a:gd name="connsiteX1293" fmla="*/ 5218909 w 12192185"/>
              <a:gd name="connsiteY1293" fmla="*/ 6372328 h 6859062"/>
              <a:gd name="connsiteX1294" fmla="*/ 1643973 w 12192185"/>
              <a:gd name="connsiteY1294" fmla="*/ 6366244 h 6859062"/>
              <a:gd name="connsiteX1295" fmla="*/ 1648240 w 12192185"/>
              <a:gd name="connsiteY1295" fmla="*/ 6368570 h 6859062"/>
              <a:gd name="connsiteX1296" fmla="*/ 1650266 w 12192185"/>
              <a:gd name="connsiteY1296" fmla="*/ 6371294 h 6859062"/>
              <a:gd name="connsiteX1297" fmla="*/ 1660859 w 12192185"/>
              <a:gd name="connsiteY1297" fmla="*/ 6370183 h 6859062"/>
              <a:gd name="connsiteX1298" fmla="*/ 1661973 w 12192185"/>
              <a:gd name="connsiteY1298" fmla="*/ 6368213 h 6859062"/>
              <a:gd name="connsiteX1299" fmla="*/ 1665882 w 12192185"/>
              <a:gd name="connsiteY1299" fmla="*/ 6366362 h 6859062"/>
              <a:gd name="connsiteX1300" fmla="*/ 1666873 w 12192185"/>
              <a:gd name="connsiteY1300" fmla="*/ 6370194 h 6859062"/>
              <a:gd name="connsiteX1301" fmla="*/ 1665278 w 12192185"/>
              <a:gd name="connsiteY1301" fmla="*/ 6373794 h 6859062"/>
              <a:gd name="connsiteX1302" fmla="*/ 1666937 w 12192185"/>
              <a:gd name="connsiteY1302" fmla="*/ 6378356 h 6859062"/>
              <a:gd name="connsiteX1303" fmla="*/ 1677302 w 12192185"/>
              <a:gd name="connsiteY1303" fmla="*/ 6389391 h 6859062"/>
              <a:gd name="connsiteX1304" fmla="*/ 1687067 w 12192185"/>
              <a:gd name="connsiteY1304" fmla="*/ 6404849 h 6859062"/>
              <a:gd name="connsiteX1305" fmla="*/ 1687232 w 12192185"/>
              <a:gd name="connsiteY1305" fmla="*/ 6409677 h 6859062"/>
              <a:gd name="connsiteX1306" fmla="*/ 1687677 w 12192185"/>
              <a:gd name="connsiteY1306" fmla="*/ 6416457 h 6859062"/>
              <a:gd name="connsiteX1307" fmla="*/ 1689449 w 12192185"/>
              <a:gd name="connsiteY1307" fmla="*/ 6417248 h 6859062"/>
              <a:gd name="connsiteX1308" fmla="*/ 1708609 w 12192185"/>
              <a:gd name="connsiteY1308" fmla="*/ 6427700 h 6859062"/>
              <a:gd name="connsiteX1309" fmla="*/ 1713289 w 12192185"/>
              <a:gd name="connsiteY1309" fmla="*/ 6432215 h 6859062"/>
              <a:gd name="connsiteX1310" fmla="*/ 1717964 w 12192185"/>
              <a:gd name="connsiteY1310" fmla="*/ 6439190 h 6859062"/>
              <a:gd name="connsiteX1311" fmla="*/ 1720364 w 12192185"/>
              <a:gd name="connsiteY1311" fmla="*/ 6445508 h 6859062"/>
              <a:gd name="connsiteX1312" fmla="*/ 1720793 w 12192185"/>
              <a:gd name="connsiteY1312" fmla="*/ 6461100 h 6859062"/>
              <a:gd name="connsiteX1313" fmla="*/ 1721513 w 12192185"/>
              <a:gd name="connsiteY1313" fmla="*/ 6470800 h 6859062"/>
              <a:gd name="connsiteX1314" fmla="*/ 1720389 w 12192185"/>
              <a:gd name="connsiteY1314" fmla="*/ 6474694 h 6859062"/>
              <a:gd name="connsiteX1315" fmla="*/ 1714241 w 12192185"/>
              <a:gd name="connsiteY1315" fmla="*/ 6481358 h 6859062"/>
              <a:gd name="connsiteX1316" fmla="*/ 1702096 w 12192185"/>
              <a:gd name="connsiteY1316" fmla="*/ 6490508 h 6859062"/>
              <a:gd name="connsiteX1317" fmla="*/ 1698510 w 12192185"/>
              <a:gd name="connsiteY1317" fmla="*/ 6494395 h 6859062"/>
              <a:gd name="connsiteX1318" fmla="*/ 1694142 w 12192185"/>
              <a:gd name="connsiteY1318" fmla="*/ 6494892 h 6859062"/>
              <a:gd name="connsiteX1319" fmla="*/ 1686013 w 12192185"/>
              <a:gd name="connsiteY1319" fmla="*/ 6495007 h 6859062"/>
              <a:gd name="connsiteX1320" fmla="*/ 1683039 w 12192185"/>
              <a:gd name="connsiteY1320" fmla="*/ 6495555 h 6859062"/>
              <a:gd name="connsiteX1321" fmla="*/ 1672266 w 12192185"/>
              <a:gd name="connsiteY1321" fmla="*/ 6493851 h 6859062"/>
              <a:gd name="connsiteX1322" fmla="*/ 1669804 w 12192185"/>
              <a:gd name="connsiteY1322" fmla="*/ 6493844 h 6859062"/>
              <a:gd name="connsiteX1323" fmla="*/ 1650950 w 12192185"/>
              <a:gd name="connsiteY1323" fmla="*/ 6472581 h 6859062"/>
              <a:gd name="connsiteX1324" fmla="*/ 1649958 w 12192185"/>
              <a:gd name="connsiteY1324" fmla="*/ 6467976 h 6859062"/>
              <a:gd name="connsiteX1325" fmla="*/ 1645828 w 12192185"/>
              <a:gd name="connsiteY1325" fmla="*/ 6466598 h 6859062"/>
              <a:gd name="connsiteX1326" fmla="*/ 1642865 w 12192185"/>
              <a:gd name="connsiteY1326" fmla="*/ 6471760 h 6859062"/>
              <a:gd name="connsiteX1327" fmla="*/ 1639817 w 12192185"/>
              <a:gd name="connsiteY1327" fmla="*/ 6473690 h 6859062"/>
              <a:gd name="connsiteX1328" fmla="*/ 1618718 w 12192185"/>
              <a:gd name="connsiteY1328" fmla="*/ 6469034 h 6859062"/>
              <a:gd name="connsiteX1329" fmla="*/ 1605342 w 12192185"/>
              <a:gd name="connsiteY1329" fmla="*/ 6461001 h 6859062"/>
              <a:gd name="connsiteX1330" fmla="*/ 1588933 w 12192185"/>
              <a:gd name="connsiteY1330" fmla="*/ 6458442 h 6859062"/>
              <a:gd name="connsiteX1331" fmla="*/ 1587301 w 12192185"/>
              <a:gd name="connsiteY1331" fmla="*/ 6460968 h 6859062"/>
              <a:gd name="connsiteX1332" fmla="*/ 1579305 w 12192185"/>
              <a:gd name="connsiteY1332" fmla="*/ 6481433 h 6859062"/>
              <a:gd name="connsiteX1333" fmla="*/ 1576848 w 12192185"/>
              <a:gd name="connsiteY1333" fmla="*/ 6484953 h 6859062"/>
              <a:gd name="connsiteX1334" fmla="*/ 1567224 w 12192185"/>
              <a:gd name="connsiteY1334" fmla="*/ 6492368 h 6859062"/>
              <a:gd name="connsiteX1335" fmla="*/ 1556600 w 12192185"/>
              <a:gd name="connsiteY1335" fmla="*/ 6501966 h 6859062"/>
              <a:gd name="connsiteX1336" fmla="*/ 1551426 w 12192185"/>
              <a:gd name="connsiteY1336" fmla="*/ 6504504 h 6859062"/>
              <a:gd name="connsiteX1337" fmla="*/ 1518153 w 12192185"/>
              <a:gd name="connsiteY1337" fmla="*/ 6508101 h 6859062"/>
              <a:gd name="connsiteX1338" fmla="*/ 1515320 w 12192185"/>
              <a:gd name="connsiteY1338" fmla="*/ 6506908 h 6859062"/>
              <a:gd name="connsiteX1339" fmla="*/ 1502216 w 12192185"/>
              <a:gd name="connsiteY1339" fmla="*/ 6497362 h 6859062"/>
              <a:gd name="connsiteX1340" fmla="*/ 1497548 w 12192185"/>
              <a:gd name="connsiteY1340" fmla="*/ 6492795 h 6859062"/>
              <a:gd name="connsiteX1341" fmla="*/ 1490397 w 12192185"/>
              <a:gd name="connsiteY1341" fmla="*/ 6484658 h 6859062"/>
              <a:gd name="connsiteX1342" fmla="*/ 1480501 w 12192185"/>
              <a:gd name="connsiteY1342" fmla="*/ 6481020 h 6859062"/>
              <a:gd name="connsiteX1343" fmla="*/ 1477649 w 12192185"/>
              <a:gd name="connsiteY1343" fmla="*/ 6478471 h 6859062"/>
              <a:gd name="connsiteX1344" fmla="*/ 1479437 w 12192185"/>
              <a:gd name="connsiteY1344" fmla="*/ 6475041 h 6859062"/>
              <a:gd name="connsiteX1345" fmla="*/ 1481623 w 12192185"/>
              <a:gd name="connsiteY1345" fmla="*/ 6473033 h 6859062"/>
              <a:gd name="connsiteX1346" fmla="*/ 1483543 w 12192185"/>
              <a:gd name="connsiteY1346" fmla="*/ 6469531 h 6859062"/>
              <a:gd name="connsiteX1347" fmla="*/ 1480156 w 12192185"/>
              <a:gd name="connsiteY1347" fmla="*/ 6467820 h 6859062"/>
              <a:gd name="connsiteX1348" fmla="*/ 1477771 w 12192185"/>
              <a:gd name="connsiteY1348" fmla="*/ 6460919 h 6859062"/>
              <a:gd name="connsiteX1349" fmla="*/ 1479825 w 12192185"/>
              <a:gd name="connsiteY1349" fmla="*/ 6458164 h 6859062"/>
              <a:gd name="connsiteX1350" fmla="*/ 1479239 w 12192185"/>
              <a:gd name="connsiteY1350" fmla="*/ 6453565 h 6859062"/>
              <a:gd name="connsiteX1351" fmla="*/ 1474852 w 12192185"/>
              <a:gd name="connsiteY1351" fmla="*/ 6454036 h 6859062"/>
              <a:gd name="connsiteX1352" fmla="*/ 1471856 w 12192185"/>
              <a:gd name="connsiteY1352" fmla="*/ 6456123 h 6859062"/>
              <a:gd name="connsiteX1353" fmla="*/ 1479295 w 12192185"/>
              <a:gd name="connsiteY1353" fmla="*/ 6430729 h 6859062"/>
              <a:gd name="connsiteX1354" fmla="*/ 1481146 w 12192185"/>
              <a:gd name="connsiteY1354" fmla="*/ 6430944 h 6859062"/>
              <a:gd name="connsiteX1355" fmla="*/ 1484121 w 12192185"/>
              <a:gd name="connsiteY1355" fmla="*/ 6426869 h 6859062"/>
              <a:gd name="connsiteX1356" fmla="*/ 1483745 w 12192185"/>
              <a:gd name="connsiteY1356" fmla="*/ 6422156 h 6859062"/>
              <a:gd name="connsiteX1357" fmla="*/ 1487430 w 12192185"/>
              <a:gd name="connsiteY1357" fmla="*/ 6416876 h 6859062"/>
              <a:gd name="connsiteX1358" fmla="*/ 1499194 w 12192185"/>
              <a:gd name="connsiteY1358" fmla="*/ 6399828 h 6859062"/>
              <a:gd name="connsiteX1359" fmla="*/ 1499908 w 12192185"/>
              <a:gd name="connsiteY1359" fmla="*/ 6395614 h 6859062"/>
              <a:gd name="connsiteX1360" fmla="*/ 1504616 w 12192185"/>
              <a:gd name="connsiteY1360" fmla="*/ 6398248 h 6859062"/>
              <a:gd name="connsiteX1361" fmla="*/ 1504961 w 12192185"/>
              <a:gd name="connsiteY1361" fmla="*/ 6398881 h 6859062"/>
              <a:gd name="connsiteX1362" fmla="*/ 1514306 w 12192185"/>
              <a:gd name="connsiteY1362" fmla="*/ 6398994 h 6859062"/>
              <a:gd name="connsiteX1363" fmla="*/ 1524445 w 12192185"/>
              <a:gd name="connsiteY1363" fmla="*/ 6394032 h 6859062"/>
              <a:gd name="connsiteX1364" fmla="*/ 1540308 w 12192185"/>
              <a:gd name="connsiteY1364" fmla="*/ 6390057 h 6859062"/>
              <a:gd name="connsiteX1365" fmla="*/ 1545823 w 12192185"/>
              <a:gd name="connsiteY1365" fmla="*/ 6391159 h 6859062"/>
              <a:gd name="connsiteX1366" fmla="*/ 1561485 w 12192185"/>
              <a:gd name="connsiteY1366" fmla="*/ 6393850 h 6859062"/>
              <a:gd name="connsiteX1367" fmla="*/ 1566133 w 12192185"/>
              <a:gd name="connsiteY1367" fmla="*/ 6397882 h 6859062"/>
              <a:gd name="connsiteX1368" fmla="*/ 1583593 w 12192185"/>
              <a:gd name="connsiteY1368" fmla="*/ 6415444 h 6859062"/>
              <a:gd name="connsiteX1369" fmla="*/ 1588231 w 12192185"/>
              <a:gd name="connsiteY1369" fmla="*/ 6412923 h 6859062"/>
              <a:gd name="connsiteX1370" fmla="*/ 1585884 w 12192185"/>
              <a:gd name="connsiteY1370" fmla="*/ 6407095 h 6859062"/>
              <a:gd name="connsiteX1371" fmla="*/ 1581292 w 12192185"/>
              <a:gd name="connsiteY1371" fmla="*/ 6404673 h 6859062"/>
              <a:gd name="connsiteX1372" fmla="*/ 1578921 w 12192185"/>
              <a:gd name="connsiteY1372" fmla="*/ 6401316 h 6859062"/>
              <a:gd name="connsiteX1373" fmla="*/ 1583060 w 12192185"/>
              <a:gd name="connsiteY1373" fmla="*/ 6399887 h 6859062"/>
              <a:gd name="connsiteX1374" fmla="*/ 1587405 w 12192185"/>
              <a:gd name="connsiteY1374" fmla="*/ 6401351 h 6859062"/>
              <a:gd name="connsiteX1375" fmla="*/ 1594514 w 12192185"/>
              <a:gd name="connsiteY1375" fmla="*/ 6398854 h 6859062"/>
              <a:gd name="connsiteX1376" fmla="*/ 1590154 w 12192185"/>
              <a:gd name="connsiteY1376" fmla="*/ 6393846 h 6859062"/>
              <a:gd name="connsiteX1377" fmla="*/ 1584164 w 12192185"/>
              <a:gd name="connsiteY1377" fmla="*/ 6391363 h 6859062"/>
              <a:gd name="connsiteX1378" fmla="*/ 1584612 w 12192185"/>
              <a:gd name="connsiteY1378" fmla="*/ 6385656 h 6859062"/>
              <a:gd name="connsiteX1379" fmla="*/ 1599152 w 12192185"/>
              <a:gd name="connsiteY1379" fmla="*/ 6383768 h 6859062"/>
              <a:gd name="connsiteX1380" fmla="*/ 1610747 w 12192185"/>
              <a:gd name="connsiteY1380" fmla="*/ 6377466 h 6859062"/>
              <a:gd name="connsiteX1381" fmla="*/ 1613094 w 12192185"/>
              <a:gd name="connsiteY1381" fmla="*/ 6370728 h 6859062"/>
              <a:gd name="connsiteX1382" fmla="*/ 1614724 w 12192185"/>
              <a:gd name="connsiteY1382" fmla="*/ 6368202 h 6859062"/>
              <a:gd name="connsiteX1383" fmla="*/ 1617251 w 12192185"/>
              <a:gd name="connsiteY1383" fmla="*/ 6369835 h 6859062"/>
              <a:gd name="connsiteX1384" fmla="*/ 1623874 w 12192185"/>
              <a:gd name="connsiteY1384" fmla="*/ 6371974 h 6859062"/>
              <a:gd name="connsiteX1385" fmla="*/ 1636341 w 12192185"/>
              <a:gd name="connsiteY1385" fmla="*/ 6372303 h 6859062"/>
              <a:gd name="connsiteX1386" fmla="*/ 1641516 w 12192185"/>
              <a:gd name="connsiteY1386" fmla="*/ 6369765 h 6859062"/>
              <a:gd name="connsiteX1387" fmla="*/ 1643973 w 12192185"/>
              <a:gd name="connsiteY1387" fmla="*/ 6366244 h 6859062"/>
              <a:gd name="connsiteX1388" fmla="*/ 1498502 w 12192185"/>
              <a:gd name="connsiteY1388" fmla="*/ 6365153 h 6859062"/>
              <a:gd name="connsiteX1389" fmla="*/ 1498879 w 12192185"/>
              <a:gd name="connsiteY1389" fmla="*/ 6365575 h 6859062"/>
              <a:gd name="connsiteX1390" fmla="*/ 1498385 w 12192185"/>
              <a:gd name="connsiteY1390" fmla="*/ 6365554 h 6859062"/>
              <a:gd name="connsiteX1391" fmla="*/ 5026133 w 12192185"/>
              <a:gd name="connsiteY1391" fmla="*/ 6352014 h 6859062"/>
              <a:gd name="connsiteX1392" fmla="*/ 5029281 w 12192185"/>
              <a:gd name="connsiteY1392" fmla="*/ 6353733 h 6859062"/>
              <a:gd name="connsiteX1393" fmla="*/ 5030778 w 12192185"/>
              <a:gd name="connsiteY1393" fmla="*/ 6355745 h 6859062"/>
              <a:gd name="connsiteX1394" fmla="*/ 5038603 w 12192185"/>
              <a:gd name="connsiteY1394" fmla="*/ 6354925 h 6859062"/>
              <a:gd name="connsiteX1395" fmla="*/ 5039429 w 12192185"/>
              <a:gd name="connsiteY1395" fmla="*/ 6353469 h 6859062"/>
              <a:gd name="connsiteX1396" fmla="*/ 5042311 w 12192185"/>
              <a:gd name="connsiteY1396" fmla="*/ 6352101 h 6859062"/>
              <a:gd name="connsiteX1397" fmla="*/ 5043043 w 12192185"/>
              <a:gd name="connsiteY1397" fmla="*/ 6354932 h 6859062"/>
              <a:gd name="connsiteX1398" fmla="*/ 5041867 w 12192185"/>
              <a:gd name="connsiteY1398" fmla="*/ 6357590 h 6859062"/>
              <a:gd name="connsiteX1399" fmla="*/ 5043092 w 12192185"/>
              <a:gd name="connsiteY1399" fmla="*/ 6360960 h 6859062"/>
              <a:gd name="connsiteX1400" fmla="*/ 5050746 w 12192185"/>
              <a:gd name="connsiteY1400" fmla="*/ 6369111 h 6859062"/>
              <a:gd name="connsiteX1401" fmla="*/ 5057958 w 12192185"/>
              <a:gd name="connsiteY1401" fmla="*/ 6380528 h 6859062"/>
              <a:gd name="connsiteX1402" fmla="*/ 5058081 w 12192185"/>
              <a:gd name="connsiteY1402" fmla="*/ 6384095 h 6859062"/>
              <a:gd name="connsiteX1403" fmla="*/ 5058749 w 12192185"/>
              <a:gd name="connsiteY1403" fmla="*/ 6394227 h 6859062"/>
              <a:gd name="connsiteX1404" fmla="*/ 5058503 w 12192185"/>
              <a:gd name="connsiteY1404" fmla="*/ 6396377 h 6859062"/>
              <a:gd name="connsiteX1405" fmla="*/ 5053978 w 12192185"/>
              <a:gd name="connsiteY1405" fmla="*/ 6407718 h 6859062"/>
              <a:gd name="connsiteX1406" fmla="*/ 5042241 w 12192185"/>
              <a:gd name="connsiteY1406" fmla="*/ 6419539 h 6859062"/>
              <a:gd name="connsiteX1407" fmla="*/ 5038516 w 12192185"/>
              <a:gd name="connsiteY1407" fmla="*/ 6424188 h 6859062"/>
              <a:gd name="connsiteX1408" fmla="*/ 5031410 w 12192185"/>
              <a:gd name="connsiteY1408" fmla="*/ 6427443 h 6859062"/>
              <a:gd name="connsiteX1409" fmla="*/ 5025310 w 12192185"/>
              <a:gd name="connsiteY1409" fmla="*/ 6429951 h 6859062"/>
              <a:gd name="connsiteX1410" fmla="*/ 5023055 w 12192185"/>
              <a:gd name="connsiteY1410" fmla="*/ 6431375 h 6859062"/>
              <a:gd name="connsiteX1411" fmla="*/ 5007472 w 12192185"/>
              <a:gd name="connsiteY1411" fmla="*/ 6427937 h 6859062"/>
              <a:gd name="connsiteX1412" fmla="*/ 4997599 w 12192185"/>
              <a:gd name="connsiteY1412" fmla="*/ 6422003 h 6859062"/>
              <a:gd name="connsiteX1413" fmla="*/ 4985477 w 12192185"/>
              <a:gd name="connsiteY1413" fmla="*/ 6420113 h 6859062"/>
              <a:gd name="connsiteX1414" fmla="*/ 4984276 w 12192185"/>
              <a:gd name="connsiteY1414" fmla="*/ 6421978 h 6859062"/>
              <a:gd name="connsiteX1415" fmla="*/ 4978371 w 12192185"/>
              <a:gd name="connsiteY1415" fmla="*/ 6437094 h 6859062"/>
              <a:gd name="connsiteX1416" fmla="*/ 4976566 w 12192185"/>
              <a:gd name="connsiteY1416" fmla="*/ 6439695 h 6859062"/>
              <a:gd name="connsiteX1417" fmla="*/ 4969456 w 12192185"/>
              <a:gd name="connsiteY1417" fmla="*/ 6445171 h 6859062"/>
              <a:gd name="connsiteX1418" fmla="*/ 4961609 w 12192185"/>
              <a:gd name="connsiteY1418" fmla="*/ 6452260 h 6859062"/>
              <a:gd name="connsiteX1419" fmla="*/ 4957776 w 12192185"/>
              <a:gd name="connsiteY1419" fmla="*/ 6454135 h 6859062"/>
              <a:gd name="connsiteX1420" fmla="*/ 4933201 w 12192185"/>
              <a:gd name="connsiteY1420" fmla="*/ 6456791 h 6859062"/>
              <a:gd name="connsiteX1421" fmla="*/ 4931104 w 12192185"/>
              <a:gd name="connsiteY1421" fmla="*/ 6455911 h 6859062"/>
              <a:gd name="connsiteX1422" fmla="*/ 4921429 w 12192185"/>
              <a:gd name="connsiteY1422" fmla="*/ 6448860 h 6859062"/>
              <a:gd name="connsiteX1423" fmla="*/ 4917977 w 12192185"/>
              <a:gd name="connsiteY1423" fmla="*/ 6445486 h 6859062"/>
              <a:gd name="connsiteX1424" fmla="*/ 4912703 w 12192185"/>
              <a:gd name="connsiteY1424" fmla="*/ 6439477 h 6859062"/>
              <a:gd name="connsiteX1425" fmla="*/ 4905374 w 12192185"/>
              <a:gd name="connsiteY1425" fmla="*/ 6436790 h 6859062"/>
              <a:gd name="connsiteX1426" fmla="*/ 4903268 w 12192185"/>
              <a:gd name="connsiteY1426" fmla="*/ 6434907 h 6859062"/>
              <a:gd name="connsiteX1427" fmla="*/ 4904591 w 12192185"/>
              <a:gd name="connsiteY1427" fmla="*/ 6432373 h 6859062"/>
              <a:gd name="connsiteX1428" fmla="*/ 4906210 w 12192185"/>
              <a:gd name="connsiteY1428" fmla="*/ 6430890 h 6859062"/>
              <a:gd name="connsiteX1429" fmla="*/ 4907627 w 12192185"/>
              <a:gd name="connsiteY1429" fmla="*/ 6428303 h 6859062"/>
              <a:gd name="connsiteX1430" fmla="*/ 4905121 w 12192185"/>
              <a:gd name="connsiteY1430" fmla="*/ 6427039 h 6859062"/>
              <a:gd name="connsiteX1431" fmla="*/ 4903368 w 12192185"/>
              <a:gd name="connsiteY1431" fmla="*/ 6421942 h 6859062"/>
              <a:gd name="connsiteX1432" fmla="*/ 4904880 w 12192185"/>
              <a:gd name="connsiteY1432" fmla="*/ 6419907 h 6859062"/>
              <a:gd name="connsiteX1433" fmla="*/ 4904447 w 12192185"/>
              <a:gd name="connsiteY1433" fmla="*/ 6416511 h 6859062"/>
              <a:gd name="connsiteX1434" fmla="*/ 4901208 w 12192185"/>
              <a:gd name="connsiteY1434" fmla="*/ 6416858 h 6859062"/>
              <a:gd name="connsiteX1435" fmla="*/ 4898991 w 12192185"/>
              <a:gd name="connsiteY1435" fmla="*/ 6418400 h 6859062"/>
              <a:gd name="connsiteX1436" fmla="*/ 4904482 w 12192185"/>
              <a:gd name="connsiteY1436" fmla="*/ 6399643 h 6859062"/>
              <a:gd name="connsiteX1437" fmla="*/ 4905855 w 12192185"/>
              <a:gd name="connsiteY1437" fmla="*/ 6399802 h 6859062"/>
              <a:gd name="connsiteX1438" fmla="*/ 4908054 w 12192185"/>
              <a:gd name="connsiteY1438" fmla="*/ 6396793 h 6859062"/>
              <a:gd name="connsiteX1439" fmla="*/ 4907772 w 12192185"/>
              <a:gd name="connsiteY1439" fmla="*/ 6393311 h 6859062"/>
              <a:gd name="connsiteX1440" fmla="*/ 4910504 w 12192185"/>
              <a:gd name="connsiteY1440" fmla="*/ 6389411 h 6859062"/>
              <a:gd name="connsiteX1441" fmla="*/ 4919189 w 12192185"/>
              <a:gd name="connsiteY1441" fmla="*/ 6376819 h 6859062"/>
              <a:gd name="connsiteX1442" fmla="*/ 4919722 w 12192185"/>
              <a:gd name="connsiteY1442" fmla="*/ 6373707 h 6859062"/>
              <a:gd name="connsiteX1443" fmla="*/ 4923203 w 12192185"/>
              <a:gd name="connsiteY1443" fmla="*/ 6375652 h 6859062"/>
              <a:gd name="connsiteX1444" fmla="*/ 4923436 w 12192185"/>
              <a:gd name="connsiteY1444" fmla="*/ 6376120 h 6859062"/>
              <a:gd name="connsiteX1445" fmla="*/ 4930346 w 12192185"/>
              <a:gd name="connsiteY1445" fmla="*/ 6376203 h 6859062"/>
              <a:gd name="connsiteX1446" fmla="*/ 4937848 w 12192185"/>
              <a:gd name="connsiteY1446" fmla="*/ 6372538 h 6859062"/>
              <a:gd name="connsiteX1447" fmla="*/ 4949571 w 12192185"/>
              <a:gd name="connsiteY1447" fmla="*/ 6369602 h 6859062"/>
              <a:gd name="connsiteX1448" fmla="*/ 4953637 w 12192185"/>
              <a:gd name="connsiteY1448" fmla="*/ 6370417 h 6859062"/>
              <a:gd name="connsiteX1449" fmla="*/ 4965213 w 12192185"/>
              <a:gd name="connsiteY1449" fmla="*/ 6372404 h 6859062"/>
              <a:gd name="connsiteX1450" fmla="*/ 4968649 w 12192185"/>
              <a:gd name="connsiteY1450" fmla="*/ 6375383 h 6859062"/>
              <a:gd name="connsiteX1451" fmla="*/ 4981540 w 12192185"/>
              <a:gd name="connsiteY1451" fmla="*/ 6388354 h 6859062"/>
              <a:gd name="connsiteX1452" fmla="*/ 4984960 w 12192185"/>
              <a:gd name="connsiteY1452" fmla="*/ 6386492 h 6859062"/>
              <a:gd name="connsiteX1453" fmla="*/ 4983240 w 12192185"/>
              <a:gd name="connsiteY1453" fmla="*/ 6382187 h 6859062"/>
              <a:gd name="connsiteX1454" fmla="*/ 4979844 w 12192185"/>
              <a:gd name="connsiteY1454" fmla="*/ 6380398 h 6859062"/>
              <a:gd name="connsiteX1455" fmla="*/ 4978086 w 12192185"/>
              <a:gd name="connsiteY1455" fmla="*/ 6377918 h 6859062"/>
              <a:gd name="connsiteX1456" fmla="*/ 4981147 w 12192185"/>
              <a:gd name="connsiteY1456" fmla="*/ 6376864 h 6859062"/>
              <a:gd name="connsiteX1457" fmla="*/ 4984352 w 12192185"/>
              <a:gd name="connsiteY1457" fmla="*/ 6377945 h 6859062"/>
              <a:gd name="connsiteX1458" fmla="*/ 4989603 w 12192185"/>
              <a:gd name="connsiteY1458" fmla="*/ 6376101 h 6859062"/>
              <a:gd name="connsiteX1459" fmla="*/ 4986387 w 12192185"/>
              <a:gd name="connsiteY1459" fmla="*/ 6372401 h 6859062"/>
              <a:gd name="connsiteX1460" fmla="*/ 4981964 w 12192185"/>
              <a:gd name="connsiteY1460" fmla="*/ 6370568 h 6859062"/>
              <a:gd name="connsiteX1461" fmla="*/ 4982292 w 12192185"/>
              <a:gd name="connsiteY1461" fmla="*/ 6366353 h 6859062"/>
              <a:gd name="connsiteX1462" fmla="*/ 4993027 w 12192185"/>
              <a:gd name="connsiteY1462" fmla="*/ 6364957 h 6859062"/>
              <a:gd name="connsiteX1463" fmla="*/ 5001586 w 12192185"/>
              <a:gd name="connsiteY1463" fmla="*/ 6360303 h 6859062"/>
              <a:gd name="connsiteX1464" fmla="*/ 5003323 w 12192185"/>
              <a:gd name="connsiteY1464" fmla="*/ 6355326 h 6859062"/>
              <a:gd name="connsiteX1465" fmla="*/ 5004524 w 12192185"/>
              <a:gd name="connsiteY1465" fmla="*/ 6353460 h 6859062"/>
              <a:gd name="connsiteX1466" fmla="*/ 5006394 w 12192185"/>
              <a:gd name="connsiteY1466" fmla="*/ 6354667 h 6859062"/>
              <a:gd name="connsiteX1467" fmla="*/ 5011279 w 12192185"/>
              <a:gd name="connsiteY1467" fmla="*/ 6356246 h 6859062"/>
              <a:gd name="connsiteX1468" fmla="*/ 5020499 w 12192185"/>
              <a:gd name="connsiteY1468" fmla="*/ 6356490 h 6859062"/>
              <a:gd name="connsiteX1469" fmla="*/ 5024317 w 12192185"/>
              <a:gd name="connsiteY1469" fmla="*/ 6354615 h 6859062"/>
              <a:gd name="connsiteX1470" fmla="*/ 5026133 w 12192185"/>
              <a:gd name="connsiteY1470" fmla="*/ 6352014 h 6859062"/>
              <a:gd name="connsiteX1471" fmla="*/ 4918672 w 12192185"/>
              <a:gd name="connsiteY1471" fmla="*/ 6351208 h 6859062"/>
              <a:gd name="connsiteX1472" fmla="*/ 4918959 w 12192185"/>
              <a:gd name="connsiteY1472" fmla="*/ 6351519 h 6859062"/>
              <a:gd name="connsiteX1473" fmla="*/ 4918591 w 12192185"/>
              <a:gd name="connsiteY1473" fmla="*/ 6351503 h 6859062"/>
              <a:gd name="connsiteX1474" fmla="*/ 8330861 w 12192185"/>
              <a:gd name="connsiteY1474" fmla="*/ 6347911 h 6859062"/>
              <a:gd name="connsiteX1475" fmla="*/ 8339441 w 12192185"/>
              <a:gd name="connsiteY1475" fmla="*/ 6349587 h 6859062"/>
              <a:gd name="connsiteX1476" fmla="*/ 8355365 w 12192185"/>
              <a:gd name="connsiteY1476" fmla="*/ 6357130 h 6859062"/>
              <a:gd name="connsiteX1477" fmla="*/ 8359346 w 12192185"/>
              <a:gd name="connsiteY1477" fmla="*/ 6360555 h 6859062"/>
              <a:gd name="connsiteX1478" fmla="*/ 8363435 w 12192185"/>
              <a:gd name="connsiteY1478" fmla="*/ 6365962 h 6859062"/>
              <a:gd name="connsiteX1479" fmla="*/ 8365660 w 12192185"/>
              <a:gd name="connsiteY1479" fmla="*/ 6370944 h 6859062"/>
              <a:gd name="connsiteX1480" fmla="*/ 8366721 w 12192185"/>
              <a:gd name="connsiteY1480" fmla="*/ 6383493 h 6859062"/>
              <a:gd name="connsiteX1481" fmla="*/ 8367747 w 12192185"/>
              <a:gd name="connsiteY1481" fmla="*/ 6391278 h 6859062"/>
              <a:gd name="connsiteX1482" fmla="*/ 8367021 w 12192185"/>
              <a:gd name="connsiteY1482" fmla="*/ 6394469 h 6859062"/>
              <a:gd name="connsiteX1483" fmla="*/ 8362372 w 12192185"/>
              <a:gd name="connsiteY1483" fmla="*/ 6400122 h 6859062"/>
              <a:gd name="connsiteX1484" fmla="*/ 8353002 w 12192185"/>
              <a:gd name="connsiteY1484" fmla="*/ 6408057 h 6859062"/>
              <a:gd name="connsiteX1485" fmla="*/ 8350291 w 12192185"/>
              <a:gd name="connsiteY1485" fmla="*/ 6411354 h 6859062"/>
              <a:gd name="connsiteX1486" fmla="*/ 8346793 w 12192185"/>
              <a:gd name="connsiteY1486" fmla="*/ 6411955 h 6859062"/>
              <a:gd name="connsiteX1487" fmla="*/ 8340245 w 12192185"/>
              <a:gd name="connsiteY1487" fmla="*/ 6412421 h 6859062"/>
              <a:gd name="connsiteX1488" fmla="*/ 8337874 w 12192185"/>
              <a:gd name="connsiteY1488" fmla="*/ 6413000 h 6859062"/>
              <a:gd name="connsiteX1489" fmla="*/ 8329112 w 12192185"/>
              <a:gd name="connsiteY1489" fmla="*/ 6412122 h 6859062"/>
              <a:gd name="connsiteX1490" fmla="*/ 8327127 w 12192185"/>
              <a:gd name="connsiteY1490" fmla="*/ 6412229 h 6859062"/>
              <a:gd name="connsiteX1491" fmla="*/ 8310952 w 12192185"/>
              <a:gd name="connsiteY1491" fmla="*/ 6395957 h 6859062"/>
              <a:gd name="connsiteX1492" fmla="*/ 8307578 w 12192185"/>
              <a:gd name="connsiteY1492" fmla="*/ 6383721 h 6859062"/>
              <a:gd name="connsiteX1493" fmla="*/ 8306745 w 12192185"/>
              <a:gd name="connsiteY1493" fmla="*/ 6378776 h 6859062"/>
              <a:gd name="connsiteX1494" fmla="*/ 8307509 w 12192185"/>
              <a:gd name="connsiteY1494" fmla="*/ 6374195 h 6859062"/>
              <a:gd name="connsiteX1495" fmla="*/ 8309095 w 12192185"/>
              <a:gd name="connsiteY1495" fmla="*/ 6370921 h 6859062"/>
              <a:gd name="connsiteX1496" fmla="*/ 8312062 w 12192185"/>
              <a:gd name="connsiteY1496" fmla="*/ 6364045 h 6859062"/>
              <a:gd name="connsiteX1497" fmla="*/ 8312934 w 12192185"/>
              <a:gd name="connsiteY1497" fmla="*/ 6361447 h 6859062"/>
              <a:gd name="connsiteX1498" fmla="*/ 8315187 w 12192185"/>
              <a:gd name="connsiteY1498" fmla="*/ 6355248 h 6859062"/>
              <a:gd name="connsiteX1499" fmla="*/ 8330861 w 12192185"/>
              <a:gd name="connsiteY1499" fmla="*/ 6347911 h 6859062"/>
              <a:gd name="connsiteX1500" fmla="*/ 2422289 w 12192185"/>
              <a:gd name="connsiteY1500" fmla="*/ 6344213 h 6859062"/>
              <a:gd name="connsiteX1501" fmla="*/ 2423151 w 12192185"/>
              <a:gd name="connsiteY1501" fmla="*/ 6345497 h 6859062"/>
              <a:gd name="connsiteX1502" fmla="*/ 2425384 w 12192185"/>
              <a:gd name="connsiteY1502" fmla="*/ 6351377 h 6859062"/>
              <a:gd name="connsiteX1503" fmla="*/ 2425782 w 12192185"/>
              <a:gd name="connsiteY1503" fmla="*/ 6365886 h 6859062"/>
              <a:gd name="connsiteX1504" fmla="*/ 2426016 w 12192185"/>
              <a:gd name="connsiteY1504" fmla="*/ 6369016 h 6859062"/>
              <a:gd name="connsiteX1505" fmla="*/ 2458776 w 12192185"/>
              <a:gd name="connsiteY1505" fmla="*/ 6385027 h 6859062"/>
              <a:gd name="connsiteX1506" fmla="*/ 2462623 w 12192185"/>
              <a:gd name="connsiteY1506" fmla="*/ 6371700 h 6859062"/>
              <a:gd name="connsiteX1507" fmla="*/ 2458992 w 12192185"/>
              <a:gd name="connsiteY1507" fmla="*/ 6364319 h 6859062"/>
              <a:gd name="connsiteX1508" fmla="*/ 2458588 w 12192185"/>
              <a:gd name="connsiteY1508" fmla="*/ 6362492 h 6859062"/>
              <a:gd name="connsiteX1509" fmla="*/ 2451593 w 12192185"/>
              <a:gd name="connsiteY1509" fmla="*/ 6359329 h 6859062"/>
              <a:gd name="connsiteX1510" fmla="*/ 1906981 w 12192185"/>
              <a:gd name="connsiteY1510" fmla="*/ 6342342 h 6859062"/>
              <a:gd name="connsiteX1511" fmla="*/ 1907473 w 12192185"/>
              <a:gd name="connsiteY1511" fmla="*/ 6342619 h 6859062"/>
              <a:gd name="connsiteX1512" fmla="*/ 1907107 w 12192185"/>
              <a:gd name="connsiteY1512" fmla="*/ 6342819 h 6859062"/>
              <a:gd name="connsiteX1513" fmla="*/ 7175276 w 12192185"/>
              <a:gd name="connsiteY1513" fmla="*/ 6338259 h 6859062"/>
              <a:gd name="connsiteX1514" fmla="*/ 7183856 w 12192185"/>
              <a:gd name="connsiteY1514" fmla="*/ 6339935 h 6859062"/>
              <a:gd name="connsiteX1515" fmla="*/ 7199780 w 12192185"/>
              <a:gd name="connsiteY1515" fmla="*/ 6347479 h 6859062"/>
              <a:gd name="connsiteX1516" fmla="*/ 7203760 w 12192185"/>
              <a:gd name="connsiteY1516" fmla="*/ 6350903 h 6859062"/>
              <a:gd name="connsiteX1517" fmla="*/ 7207849 w 12192185"/>
              <a:gd name="connsiteY1517" fmla="*/ 6356310 h 6859062"/>
              <a:gd name="connsiteX1518" fmla="*/ 7210075 w 12192185"/>
              <a:gd name="connsiteY1518" fmla="*/ 6361293 h 6859062"/>
              <a:gd name="connsiteX1519" fmla="*/ 7211136 w 12192185"/>
              <a:gd name="connsiteY1519" fmla="*/ 6373840 h 6859062"/>
              <a:gd name="connsiteX1520" fmla="*/ 7212163 w 12192185"/>
              <a:gd name="connsiteY1520" fmla="*/ 6381627 h 6859062"/>
              <a:gd name="connsiteX1521" fmla="*/ 7211436 w 12192185"/>
              <a:gd name="connsiteY1521" fmla="*/ 6384817 h 6859062"/>
              <a:gd name="connsiteX1522" fmla="*/ 7206787 w 12192185"/>
              <a:gd name="connsiteY1522" fmla="*/ 6390470 h 6859062"/>
              <a:gd name="connsiteX1523" fmla="*/ 7197418 w 12192185"/>
              <a:gd name="connsiteY1523" fmla="*/ 6398405 h 6859062"/>
              <a:gd name="connsiteX1524" fmla="*/ 7194706 w 12192185"/>
              <a:gd name="connsiteY1524" fmla="*/ 6401702 h 6859062"/>
              <a:gd name="connsiteX1525" fmla="*/ 7191208 w 12192185"/>
              <a:gd name="connsiteY1525" fmla="*/ 6402303 h 6859062"/>
              <a:gd name="connsiteX1526" fmla="*/ 7184661 w 12192185"/>
              <a:gd name="connsiteY1526" fmla="*/ 6402769 h 6859062"/>
              <a:gd name="connsiteX1527" fmla="*/ 7182288 w 12192185"/>
              <a:gd name="connsiteY1527" fmla="*/ 6403348 h 6859062"/>
              <a:gd name="connsiteX1528" fmla="*/ 7173527 w 12192185"/>
              <a:gd name="connsiteY1528" fmla="*/ 6402470 h 6859062"/>
              <a:gd name="connsiteX1529" fmla="*/ 7171542 w 12192185"/>
              <a:gd name="connsiteY1529" fmla="*/ 6402577 h 6859062"/>
              <a:gd name="connsiteX1530" fmla="*/ 7155367 w 12192185"/>
              <a:gd name="connsiteY1530" fmla="*/ 6386305 h 6859062"/>
              <a:gd name="connsiteX1531" fmla="*/ 7151993 w 12192185"/>
              <a:gd name="connsiteY1531" fmla="*/ 6374069 h 6859062"/>
              <a:gd name="connsiteX1532" fmla="*/ 7151160 w 12192185"/>
              <a:gd name="connsiteY1532" fmla="*/ 6369124 h 6859062"/>
              <a:gd name="connsiteX1533" fmla="*/ 7151924 w 12192185"/>
              <a:gd name="connsiteY1533" fmla="*/ 6364544 h 6859062"/>
              <a:gd name="connsiteX1534" fmla="*/ 7153510 w 12192185"/>
              <a:gd name="connsiteY1534" fmla="*/ 6361269 h 6859062"/>
              <a:gd name="connsiteX1535" fmla="*/ 7156477 w 12192185"/>
              <a:gd name="connsiteY1535" fmla="*/ 6354393 h 6859062"/>
              <a:gd name="connsiteX1536" fmla="*/ 7157349 w 12192185"/>
              <a:gd name="connsiteY1536" fmla="*/ 6351795 h 6859062"/>
              <a:gd name="connsiteX1537" fmla="*/ 7159603 w 12192185"/>
              <a:gd name="connsiteY1537" fmla="*/ 6345596 h 6859062"/>
              <a:gd name="connsiteX1538" fmla="*/ 7175276 w 12192185"/>
              <a:gd name="connsiteY1538" fmla="*/ 6338259 h 6859062"/>
              <a:gd name="connsiteX1539" fmla="*/ 2552774 w 12192185"/>
              <a:gd name="connsiteY1539" fmla="*/ 6338132 h 6859062"/>
              <a:gd name="connsiteX1540" fmla="*/ 2555173 w 12192185"/>
              <a:gd name="connsiteY1540" fmla="*/ 6342282 h 6859062"/>
              <a:gd name="connsiteX1541" fmla="*/ 2562956 w 12192185"/>
              <a:gd name="connsiteY1541" fmla="*/ 6345390 h 6859062"/>
              <a:gd name="connsiteX1542" fmla="*/ 2565077 w 12192185"/>
              <a:gd name="connsiteY1542" fmla="*/ 6348018 h 6859062"/>
              <a:gd name="connsiteX1543" fmla="*/ 2572708 w 12192185"/>
              <a:gd name="connsiteY1543" fmla="*/ 6365477 h 6859062"/>
              <a:gd name="connsiteX1544" fmla="*/ 2572820 w 12192185"/>
              <a:gd name="connsiteY1544" fmla="*/ 6375849 h 6859062"/>
              <a:gd name="connsiteX1545" fmla="*/ 2636723 w 12192185"/>
              <a:gd name="connsiteY1545" fmla="*/ 6404509 h 6859062"/>
              <a:gd name="connsiteX1546" fmla="*/ 3079353 w 12192185"/>
              <a:gd name="connsiteY1546" fmla="*/ 6537515 h 6859062"/>
              <a:gd name="connsiteX1547" fmla="*/ 3619727 w 12192185"/>
              <a:gd name="connsiteY1547" fmla="*/ 6583165 h 6859062"/>
              <a:gd name="connsiteX1548" fmla="*/ 3633124 w 12192185"/>
              <a:gd name="connsiteY1548" fmla="*/ 6582820 h 6859062"/>
              <a:gd name="connsiteX1549" fmla="*/ 3630512 w 12192185"/>
              <a:gd name="connsiteY1549" fmla="*/ 6569093 h 6859062"/>
              <a:gd name="connsiteX1550" fmla="*/ 3627634 w 12192185"/>
              <a:gd name="connsiteY1550" fmla="*/ 6565096 h 6859062"/>
              <a:gd name="connsiteX1551" fmla="*/ 3633604 w 12192185"/>
              <a:gd name="connsiteY1551" fmla="*/ 6563366 h 6859062"/>
              <a:gd name="connsiteX1552" fmla="*/ 3634403 w 12192185"/>
              <a:gd name="connsiteY1552" fmla="*/ 6563595 h 6859062"/>
              <a:gd name="connsiteX1553" fmla="*/ 3640843 w 12192185"/>
              <a:gd name="connsiteY1553" fmla="*/ 6557225 h 6859062"/>
              <a:gd name="connsiteX1554" fmla="*/ 3579037 w 12192185"/>
              <a:gd name="connsiteY1554" fmla="*/ 6563261 h 6859062"/>
              <a:gd name="connsiteX1555" fmla="*/ 3512801 w 12192185"/>
              <a:gd name="connsiteY1555" fmla="*/ 6559915 h 6859062"/>
              <a:gd name="connsiteX1556" fmla="*/ 2627723 w 12192185"/>
              <a:gd name="connsiteY1556" fmla="*/ 6371582 h 6859062"/>
              <a:gd name="connsiteX1557" fmla="*/ 8097965 w 12192185"/>
              <a:gd name="connsiteY1557" fmla="*/ 6337619 h 6859062"/>
              <a:gd name="connsiteX1558" fmla="*/ 8137222 w 12192185"/>
              <a:gd name="connsiteY1558" fmla="*/ 6352366 h 6859062"/>
              <a:gd name="connsiteX1559" fmla="*/ 8178137 w 12192185"/>
              <a:gd name="connsiteY1559" fmla="*/ 6374981 h 6859062"/>
              <a:gd name="connsiteX1560" fmla="*/ 8198843 w 12192185"/>
              <a:gd name="connsiteY1560" fmla="*/ 6395274 h 6859062"/>
              <a:gd name="connsiteX1561" fmla="*/ 8269490 w 12192185"/>
              <a:gd name="connsiteY1561" fmla="*/ 6426422 h 6859062"/>
              <a:gd name="connsiteX1562" fmla="*/ 8290776 w 12192185"/>
              <a:gd name="connsiteY1562" fmla="*/ 6441665 h 6859062"/>
              <a:gd name="connsiteX1563" fmla="*/ 8296408 w 12192185"/>
              <a:gd name="connsiteY1563" fmla="*/ 6437192 h 6859062"/>
              <a:gd name="connsiteX1564" fmla="*/ 8393971 w 12192185"/>
              <a:gd name="connsiteY1564" fmla="*/ 6479112 h 6859062"/>
              <a:gd name="connsiteX1565" fmla="*/ 8498824 w 12192185"/>
              <a:gd name="connsiteY1565" fmla="*/ 6524427 h 6859062"/>
              <a:gd name="connsiteX1566" fmla="*/ 8500481 w 12192185"/>
              <a:gd name="connsiteY1566" fmla="*/ 6532294 h 6859062"/>
              <a:gd name="connsiteX1567" fmla="*/ 8592495 w 12192185"/>
              <a:gd name="connsiteY1567" fmla="*/ 6555661 h 6859062"/>
              <a:gd name="connsiteX1568" fmla="*/ 8644094 w 12192185"/>
              <a:gd name="connsiteY1568" fmla="*/ 6574383 h 6859062"/>
              <a:gd name="connsiteX1569" fmla="*/ 8644672 w 12192185"/>
              <a:gd name="connsiteY1569" fmla="*/ 6569331 h 6859062"/>
              <a:gd name="connsiteX1570" fmla="*/ 8696850 w 12192185"/>
              <a:gd name="connsiteY1570" fmla="*/ 6583003 h 6859062"/>
              <a:gd name="connsiteX1571" fmla="*/ 8710847 w 12192185"/>
              <a:gd name="connsiteY1571" fmla="*/ 6594847 h 6859062"/>
              <a:gd name="connsiteX1572" fmla="*/ 8678796 w 12192185"/>
              <a:gd name="connsiteY1572" fmla="*/ 6606522 h 6859062"/>
              <a:gd name="connsiteX1573" fmla="*/ 8776443 w 12192185"/>
              <a:gd name="connsiteY1573" fmla="*/ 6625416 h 6859062"/>
              <a:gd name="connsiteX1574" fmla="*/ 8774206 w 12192185"/>
              <a:gd name="connsiteY1574" fmla="*/ 6622600 h 6859062"/>
              <a:gd name="connsiteX1575" fmla="*/ 8766917 w 12192185"/>
              <a:gd name="connsiteY1575" fmla="*/ 6619204 h 6859062"/>
              <a:gd name="connsiteX1576" fmla="*/ 8777021 w 12192185"/>
              <a:gd name="connsiteY1576" fmla="*/ 6620364 h 6859062"/>
              <a:gd name="connsiteX1577" fmla="*/ 8804519 w 12192185"/>
              <a:gd name="connsiteY1577" fmla="*/ 6626082 h 6859062"/>
              <a:gd name="connsiteX1578" fmla="*/ 8812387 w 12192185"/>
              <a:gd name="connsiteY1578" fmla="*/ 6624425 h 6859062"/>
              <a:gd name="connsiteX1579" fmla="*/ 8814621 w 12192185"/>
              <a:gd name="connsiteY1579" fmla="*/ 6627242 h 6859062"/>
              <a:gd name="connsiteX1580" fmla="*/ 8816858 w 12192185"/>
              <a:gd name="connsiteY1580" fmla="*/ 6630059 h 6859062"/>
              <a:gd name="connsiteX1581" fmla="*/ 8811806 w 12192185"/>
              <a:gd name="connsiteY1581" fmla="*/ 6629478 h 6859062"/>
              <a:gd name="connsiteX1582" fmla="*/ 8820254 w 12192185"/>
              <a:gd name="connsiteY1582" fmla="*/ 6622771 h 6859062"/>
              <a:gd name="connsiteX1583" fmla="*/ 8830938 w 12192185"/>
              <a:gd name="connsiteY1583" fmla="*/ 6618880 h 6859062"/>
              <a:gd name="connsiteX1584" fmla="*/ 8816939 w 12192185"/>
              <a:gd name="connsiteY1584" fmla="*/ 6607033 h 6859062"/>
              <a:gd name="connsiteX1585" fmla="*/ 8857935 w 12192185"/>
              <a:gd name="connsiteY1585" fmla="*/ 6606624 h 6859062"/>
              <a:gd name="connsiteX1586" fmla="*/ 8900588 w 12192185"/>
              <a:gd name="connsiteY1586" fmla="*/ 6614083 h 6859062"/>
              <a:gd name="connsiteX1587" fmla="*/ 8869117 w 12192185"/>
              <a:gd name="connsiteY1587" fmla="*/ 6620704 h 6859062"/>
              <a:gd name="connsiteX1588" fmla="*/ 8885931 w 12192185"/>
              <a:gd name="connsiteY1588" fmla="*/ 6630315 h 6859062"/>
              <a:gd name="connsiteX1589" fmla="*/ 8908953 w 12192185"/>
              <a:gd name="connsiteY1589" fmla="*/ 6630401 h 6859062"/>
              <a:gd name="connsiteX1590" fmla="*/ 9103746 w 12192185"/>
              <a:gd name="connsiteY1590" fmla="*/ 6650215 h 6859062"/>
              <a:gd name="connsiteX1591" fmla="*/ 9136874 w 12192185"/>
              <a:gd name="connsiteY1591" fmla="*/ 6651461 h 6859062"/>
              <a:gd name="connsiteX1592" fmla="*/ 9185159 w 12192185"/>
              <a:gd name="connsiteY1592" fmla="*/ 6654448 h 6859062"/>
              <a:gd name="connsiteX1593" fmla="*/ 9190790 w 12192185"/>
              <a:gd name="connsiteY1593" fmla="*/ 6649975 h 6859062"/>
              <a:gd name="connsiteX1594" fmla="*/ 9272780 w 12192185"/>
              <a:gd name="connsiteY1594" fmla="*/ 6649155 h 6859062"/>
              <a:gd name="connsiteX1595" fmla="*/ 9344088 w 12192185"/>
              <a:gd name="connsiteY1595" fmla="*/ 6652227 h 6859062"/>
              <a:gd name="connsiteX1596" fmla="*/ 9337958 w 12192185"/>
              <a:gd name="connsiteY1596" fmla="*/ 6638728 h 6859062"/>
              <a:gd name="connsiteX1597" fmla="*/ 9348642 w 12192185"/>
              <a:gd name="connsiteY1597" fmla="*/ 6634836 h 6859062"/>
              <a:gd name="connsiteX1598" fmla="*/ 9407609 w 12192185"/>
              <a:gd name="connsiteY1598" fmla="*/ 6633931 h 6859062"/>
              <a:gd name="connsiteX1599" fmla="*/ 9412082 w 12192185"/>
              <a:gd name="connsiteY1599" fmla="*/ 6639563 h 6859062"/>
              <a:gd name="connsiteX1600" fmla="*/ 9390715 w 12192185"/>
              <a:gd name="connsiteY1600" fmla="*/ 6647346 h 6859062"/>
              <a:gd name="connsiteX1601" fmla="*/ 9467654 w 12192185"/>
              <a:gd name="connsiteY1601" fmla="*/ 6645945 h 6859062"/>
              <a:gd name="connsiteX1602" fmla="*/ 9539542 w 12192185"/>
              <a:gd name="connsiteY1602" fmla="*/ 6643966 h 6859062"/>
              <a:gd name="connsiteX1603" fmla="*/ 9672133 w 12192185"/>
              <a:gd name="connsiteY1603" fmla="*/ 6625925 h 6859062"/>
              <a:gd name="connsiteX1604" fmla="*/ 9671056 w 12192185"/>
              <a:gd name="connsiteY1604" fmla="*/ 6613004 h 6859062"/>
              <a:gd name="connsiteX1605" fmla="*/ 9694659 w 12192185"/>
              <a:gd name="connsiteY1605" fmla="*/ 6608037 h 6859062"/>
              <a:gd name="connsiteX1606" fmla="*/ 9697974 w 12192185"/>
              <a:gd name="connsiteY1606" fmla="*/ 6623775 h 6859062"/>
              <a:gd name="connsiteX1607" fmla="*/ 9771599 w 12192185"/>
              <a:gd name="connsiteY1607" fmla="*/ 6606637 h 6859062"/>
              <a:gd name="connsiteX1608" fmla="*/ 10008210 w 12192185"/>
              <a:gd name="connsiteY1608" fmla="*/ 6551916 h 6859062"/>
              <a:gd name="connsiteX1609" fmla="*/ 9937320 w 12192185"/>
              <a:gd name="connsiteY1609" fmla="*/ 6589842 h 6859062"/>
              <a:gd name="connsiteX1610" fmla="*/ 9876365 w 12192185"/>
              <a:gd name="connsiteY1610" fmla="*/ 6604215 h 6859062"/>
              <a:gd name="connsiteX1611" fmla="*/ 9883482 w 12192185"/>
              <a:gd name="connsiteY1611" fmla="*/ 6606067 h 6859062"/>
              <a:gd name="connsiteX1612" fmla="*/ 9891837 w 12192185"/>
              <a:gd name="connsiteY1612" fmla="*/ 6613708 h 6859062"/>
              <a:gd name="connsiteX1613" fmla="*/ 9893849 w 12192185"/>
              <a:gd name="connsiteY1613" fmla="*/ 6615650 h 6859062"/>
              <a:gd name="connsiteX1614" fmla="*/ 9927133 w 12192185"/>
              <a:gd name="connsiteY1614" fmla="*/ 6611706 h 6859062"/>
              <a:gd name="connsiteX1615" fmla="*/ 9990075 w 12192185"/>
              <a:gd name="connsiteY1615" fmla="*/ 6598462 h 6859062"/>
              <a:gd name="connsiteX1616" fmla="*/ 9912475 w 12192185"/>
              <a:gd name="connsiteY1616" fmla="*/ 6627938 h 6859062"/>
              <a:gd name="connsiteX1617" fmla="*/ 9915871 w 12192185"/>
              <a:gd name="connsiteY1617" fmla="*/ 6620650 h 6859062"/>
              <a:gd name="connsiteX1618" fmla="*/ 9901507 w 12192185"/>
              <a:gd name="connsiteY1618" fmla="*/ 6626026 h 6859062"/>
              <a:gd name="connsiteX1619" fmla="*/ 9903594 w 12192185"/>
              <a:gd name="connsiteY1619" fmla="*/ 6631516 h 6859062"/>
              <a:gd name="connsiteX1620" fmla="*/ 9904020 w 12192185"/>
              <a:gd name="connsiteY1620" fmla="*/ 6647108 h 6859062"/>
              <a:gd name="connsiteX1621" fmla="*/ 9904741 w 12192185"/>
              <a:gd name="connsiteY1621" fmla="*/ 6656808 h 6859062"/>
              <a:gd name="connsiteX1622" fmla="*/ 9903617 w 12192185"/>
              <a:gd name="connsiteY1622" fmla="*/ 6660702 h 6859062"/>
              <a:gd name="connsiteX1623" fmla="*/ 9897469 w 12192185"/>
              <a:gd name="connsiteY1623" fmla="*/ 6667366 h 6859062"/>
              <a:gd name="connsiteX1624" fmla="*/ 9885324 w 12192185"/>
              <a:gd name="connsiteY1624" fmla="*/ 6676516 h 6859062"/>
              <a:gd name="connsiteX1625" fmla="*/ 9881739 w 12192185"/>
              <a:gd name="connsiteY1625" fmla="*/ 6680403 h 6859062"/>
              <a:gd name="connsiteX1626" fmla="*/ 9877370 w 12192185"/>
              <a:gd name="connsiteY1626" fmla="*/ 6680900 h 6859062"/>
              <a:gd name="connsiteX1627" fmla="*/ 9869242 w 12192185"/>
              <a:gd name="connsiteY1627" fmla="*/ 6681015 h 6859062"/>
              <a:gd name="connsiteX1628" fmla="*/ 9866268 w 12192185"/>
              <a:gd name="connsiteY1628" fmla="*/ 6681563 h 6859062"/>
              <a:gd name="connsiteX1629" fmla="*/ 9855494 w 12192185"/>
              <a:gd name="connsiteY1629" fmla="*/ 6679859 h 6859062"/>
              <a:gd name="connsiteX1630" fmla="*/ 9853032 w 12192185"/>
              <a:gd name="connsiteY1630" fmla="*/ 6679852 h 6859062"/>
              <a:gd name="connsiteX1631" fmla="*/ 9834178 w 12192185"/>
              <a:gd name="connsiteY1631" fmla="*/ 6658589 h 6859062"/>
              <a:gd name="connsiteX1632" fmla="*/ 9830870 w 12192185"/>
              <a:gd name="connsiteY1632" fmla="*/ 6643220 h 6859062"/>
              <a:gd name="connsiteX1633" fmla="*/ 9830678 w 12192185"/>
              <a:gd name="connsiteY1633" fmla="*/ 6641488 h 6859062"/>
              <a:gd name="connsiteX1634" fmla="*/ 9792224 w 12192185"/>
              <a:gd name="connsiteY1634" fmla="*/ 6649956 h 6859062"/>
              <a:gd name="connsiteX1635" fmla="*/ 9773672 w 12192185"/>
              <a:gd name="connsiteY1635" fmla="*/ 6655502 h 6859062"/>
              <a:gd name="connsiteX1636" fmla="*/ 9586585 w 12192185"/>
              <a:gd name="connsiteY1636" fmla="*/ 6680081 h 6859062"/>
              <a:gd name="connsiteX1637" fmla="*/ 9529854 w 12192185"/>
              <a:gd name="connsiteY1637" fmla="*/ 6683803 h 6859062"/>
              <a:gd name="connsiteX1638" fmla="*/ 9495568 w 12192185"/>
              <a:gd name="connsiteY1638" fmla="*/ 6692661 h 6859062"/>
              <a:gd name="connsiteX1639" fmla="*/ 9488858 w 12192185"/>
              <a:gd name="connsiteY1639" fmla="*/ 6684213 h 6859062"/>
              <a:gd name="connsiteX1640" fmla="*/ 9618636 w 12192185"/>
              <a:gd name="connsiteY1640" fmla="*/ 6668406 h 6859062"/>
              <a:gd name="connsiteX1641" fmla="*/ 9624268 w 12192185"/>
              <a:gd name="connsiteY1641" fmla="*/ 6663934 h 6859062"/>
              <a:gd name="connsiteX1642" fmla="*/ 9616399 w 12192185"/>
              <a:gd name="connsiteY1642" fmla="*/ 6665591 h 6859062"/>
              <a:gd name="connsiteX1643" fmla="*/ 9606296 w 12192185"/>
              <a:gd name="connsiteY1643" fmla="*/ 6664431 h 6859062"/>
              <a:gd name="connsiteX1644" fmla="*/ 9614165 w 12192185"/>
              <a:gd name="connsiteY1644" fmla="*/ 6662774 h 6859062"/>
              <a:gd name="connsiteX1645" fmla="*/ 9616980 w 12192185"/>
              <a:gd name="connsiteY1645" fmla="*/ 6660539 h 6859062"/>
              <a:gd name="connsiteX1646" fmla="*/ 9472626 w 12192185"/>
              <a:gd name="connsiteY1646" fmla="*/ 6669552 h 6859062"/>
              <a:gd name="connsiteX1647" fmla="*/ 9326035 w 12192185"/>
              <a:gd name="connsiteY1647" fmla="*/ 6675747 h 6859062"/>
              <a:gd name="connsiteX1648" fmla="*/ 9297380 w 12192185"/>
              <a:gd name="connsiteY1648" fmla="*/ 6680135 h 6859062"/>
              <a:gd name="connsiteX1649" fmla="*/ 9264680 w 12192185"/>
              <a:gd name="connsiteY1649" fmla="*/ 6680328 h 6859062"/>
              <a:gd name="connsiteX1650" fmla="*/ 9268313 w 12192185"/>
              <a:gd name="connsiteY1650" fmla="*/ 6685750 h 6859062"/>
              <a:gd name="connsiteX1651" fmla="*/ 9270547 w 12192185"/>
              <a:gd name="connsiteY1651" fmla="*/ 6691628 h 6859062"/>
              <a:gd name="connsiteX1652" fmla="*/ 9270946 w 12192185"/>
              <a:gd name="connsiteY1652" fmla="*/ 6706139 h 6859062"/>
              <a:gd name="connsiteX1653" fmla="*/ 9271615 w 12192185"/>
              <a:gd name="connsiteY1653" fmla="*/ 6715165 h 6859062"/>
              <a:gd name="connsiteX1654" fmla="*/ 9270569 w 12192185"/>
              <a:gd name="connsiteY1654" fmla="*/ 6718790 h 6859062"/>
              <a:gd name="connsiteX1655" fmla="*/ 9264849 w 12192185"/>
              <a:gd name="connsiteY1655" fmla="*/ 6724990 h 6859062"/>
              <a:gd name="connsiteX1656" fmla="*/ 9253547 w 12192185"/>
              <a:gd name="connsiteY1656" fmla="*/ 6733504 h 6859062"/>
              <a:gd name="connsiteX1657" fmla="*/ 9250209 w 12192185"/>
              <a:gd name="connsiteY1657" fmla="*/ 6737122 h 6859062"/>
              <a:gd name="connsiteX1658" fmla="*/ 9246146 w 12192185"/>
              <a:gd name="connsiteY1658" fmla="*/ 6737584 h 6859062"/>
              <a:gd name="connsiteX1659" fmla="*/ 9238580 w 12192185"/>
              <a:gd name="connsiteY1659" fmla="*/ 6737691 h 6859062"/>
              <a:gd name="connsiteX1660" fmla="*/ 9235813 w 12192185"/>
              <a:gd name="connsiteY1660" fmla="*/ 6738200 h 6859062"/>
              <a:gd name="connsiteX1661" fmla="*/ 9225787 w 12192185"/>
              <a:gd name="connsiteY1661" fmla="*/ 6736616 h 6859062"/>
              <a:gd name="connsiteX1662" fmla="*/ 9223497 w 12192185"/>
              <a:gd name="connsiteY1662" fmla="*/ 6736610 h 6859062"/>
              <a:gd name="connsiteX1663" fmla="*/ 9205949 w 12192185"/>
              <a:gd name="connsiteY1663" fmla="*/ 6716823 h 6859062"/>
              <a:gd name="connsiteX1664" fmla="*/ 9202872 w 12192185"/>
              <a:gd name="connsiteY1664" fmla="*/ 6702521 h 6859062"/>
              <a:gd name="connsiteX1665" fmla="*/ 9202236 w 12192185"/>
              <a:gd name="connsiteY1665" fmla="*/ 6696776 h 6859062"/>
              <a:gd name="connsiteX1666" fmla="*/ 9203415 w 12192185"/>
              <a:gd name="connsiteY1666" fmla="*/ 6691554 h 6859062"/>
              <a:gd name="connsiteX1667" fmla="*/ 9205457 w 12192185"/>
              <a:gd name="connsiteY1667" fmla="*/ 6687890 h 6859062"/>
              <a:gd name="connsiteX1668" fmla="*/ 9209322 w 12192185"/>
              <a:gd name="connsiteY1668" fmla="*/ 6680173 h 6859062"/>
              <a:gd name="connsiteX1669" fmla="*/ 9209850 w 12192185"/>
              <a:gd name="connsiteY1669" fmla="*/ 6678851 h 6859062"/>
              <a:gd name="connsiteX1670" fmla="*/ 9185078 w 12192185"/>
              <a:gd name="connsiteY1670" fmla="*/ 6677473 h 6859062"/>
              <a:gd name="connsiteX1671" fmla="*/ 9178287 w 12192185"/>
              <a:gd name="connsiteY1671" fmla="*/ 6692048 h 6859062"/>
              <a:gd name="connsiteX1672" fmla="*/ 9154683 w 12192185"/>
              <a:gd name="connsiteY1672" fmla="*/ 6697015 h 6859062"/>
              <a:gd name="connsiteX1673" fmla="*/ 9159737 w 12192185"/>
              <a:gd name="connsiteY1673" fmla="*/ 6697596 h 6859062"/>
              <a:gd name="connsiteX1674" fmla="*/ 9161972 w 12192185"/>
              <a:gd name="connsiteY1674" fmla="*/ 6700412 h 6859062"/>
              <a:gd name="connsiteX1675" fmla="*/ 9151869 w 12192185"/>
              <a:gd name="connsiteY1675" fmla="*/ 6699251 h 6859062"/>
              <a:gd name="connsiteX1676" fmla="*/ 9146816 w 12192185"/>
              <a:gd name="connsiteY1676" fmla="*/ 6698671 h 6859062"/>
              <a:gd name="connsiteX1677" fmla="*/ 9102426 w 12192185"/>
              <a:gd name="connsiteY1677" fmla="*/ 6706367 h 6859062"/>
              <a:gd name="connsiteX1678" fmla="*/ 9021593 w 12192185"/>
              <a:gd name="connsiteY1678" fmla="*/ 6697084 h 6859062"/>
              <a:gd name="connsiteX1679" fmla="*/ 9037327 w 12192185"/>
              <a:gd name="connsiteY1679" fmla="*/ 6693772 h 6859062"/>
              <a:gd name="connsiteX1680" fmla="*/ 9032276 w 12192185"/>
              <a:gd name="connsiteY1680" fmla="*/ 6693193 h 6859062"/>
              <a:gd name="connsiteX1681" fmla="*/ 9024988 w 12192185"/>
              <a:gd name="connsiteY1681" fmla="*/ 6689796 h 6859062"/>
              <a:gd name="connsiteX1682" fmla="*/ 9030040 w 12192185"/>
              <a:gd name="connsiteY1682" fmla="*/ 6690376 h 6859062"/>
              <a:gd name="connsiteX1683" fmla="*/ 9032856 w 12192185"/>
              <a:gd name="connsiteY1683" fmla="*/ 6688140 h 6859062"/>
              <a:gd name="connsiteX1684" fmla="*/ 9003124 w 12192185"/>
              <a:gd name="connsiteY1684" fmla="*/ 6679605 h 6859062"/>
              <a:gd name="connsiteX1685" fmla="*/ 9046934 w 12192185"/>
              <a:gd name="connsiteY1685" fmla="*/ 6676961 h 6859062"/>
              <a:gd name="connsiteX1686" fmla="*/ 9041882 w 12192185"/>
              <a:gd name="connsiteY1686" fmla="*/ 6676379 h 6859062"/>
              <a:gd name="connsiteX1687" fmla="*/ 9031779 w 12192185"/>
              <a:gd name="connsiteY1687" fmla="*/ 6675219 h 6859062"/>
              <a:gd name="connsiteX1688" fmla="*/ 9034595 w 12192185"/>
              <a:gd name="connsiteY1688" fmla="*/ 6672984 h 6859062"/>
              <a:gd name="connsiteX1689" fmla="*/ 9039645 w 12192185"/>
              <a:gd name="connsiteY1689" fmla="*/ 6673563 h 6859062"/>
              <a:gd name="connsiteX1690" fmla="*/ 9012150 w 12192185"/>
              <a:gd name="connsiteY1690" fmla="*/ 6667847 h 6859062"/>
              <a:gd name="connsiteX1691" fmla="*/ 8867877 w 12192185"/>
              <a:gd name="connsiteY1691" fmla="*/ 6653834 h 6859062"/>
              <a:gd name="connsiteX1692" fmla="*/ 8828040 w 12192185"/>
              <a:gd name="connsiteY1692" fmla="*/ 6644140 h 6859062"/>
              <a:gd name="connsiteX1693" fmla="*/ 8692794 w 12192185"/>
              <a:gd name="connsiteY1693" fmla="*/ 6618368 h 6859062"/>
              <a:gd name="connsiteX1694" fmla="*/ 8613699 w 12192185"/>
              <a:gd name="connsiteY1694" fmla="*/ 6593926 h 6859062"/>
              <a:gd name="connsiteX1695" fmla="*/ 8611463 w 12192185"/>
              <a:gd name="connsiteY1695" fmla="*/ 6591110 h 6859062"/>
              <a:gd name="connsiteX1696" fmla="*/ 8606411 w 12192185"/>
              <a:gd name="connsiteY1696" fmla="*/ 6590530 h 6859062"/>
              <a:gd name="connsiteX1697" fmla="*/ 8599124 w 12192185"/>
              <a:gd name="connsiteY1697" fmla="*/ 6587133 h 6859062"/>
              <a:gd name="connsiteX1698" fmla="*/ 8604176 w 12192185"/>
              <a:gd name="connsiteY1698" fmla="*/ 6587714 h 6859062"/>
              <a:gd name="connsiteX1699" fmla="*/ 8609227 w 12192185"/>
              <a:gd name="connsiteY1699" fmla="*/ 6588295 h 6859062"/>
              <a:gd name="connsiteX1700" fmla="*/ 8564919 w 12192185"/>
              <a:gd name="connsiteY1700" fmla="*/ 6572968 h 6859062"/>
              <a:gd name="connsiteX1701" fmla="*/ 8556552 w 12192185"/>
              <a:gd name="connsiteY1701" fmla="*/ 6556651 h 6859062"/>
              <a:gd name="connsiteX1702" fmla="*/ 8364158 w 12192185"/>
              <a:gd name="connsiteY1702" fmla="*/ 6493602 h 6859062"/>
              <a:gd name="connsiteX1703" fmla="*/ 8246467 w 12192185"/>
              <a:gd name="connsiteY1703" fmla="*/ 6426338 h 6859062"/>
              <a:gd name="connsiteX1704" fmla="*/ 8229654 w 12192185"/>
              <a:gd name="connsiteY1704" fmla="*/ 6416728 h 6859062"/>
              <a:gd name="connsiteX1705" fmla="*/ 8154534 w 12192185"/>
              <a:gd name="connsiteY1705" fmla="*/ 6379947 h 6859062"/>
              <a:gd name="connsiteX1706" fmla="*/ 8097965 w 12192185"/>
              <a:gd name="connsiteY1706" fmla="*/ 6337619 h 6859062"/>
              <a:gd name="connsiteX1707" fmla="*/ 7162037 w 12192185"/>
              <a:gd name="connsiteY1707" fmla="*/ 6317881 h 6859062"/>
              <a:gd name="connsiteX1708" fmla="*/ 7092451 w 12192185"/>
              <a:gd name="connsiteY1708" fmla="*/ 6364086 h 6859062"/>
              <a:gd name="connsiteX1709" fmla="*/ 7027373 w 12192185"/>
              <a:gd name="connsiteY1709" fmla="*/ 6382750 h 6859062"/>
              <a:gd name="connsiteX1710" fmla="*/ 7027566 w 12192185"/>
              <a:gd name="connsiteY1710" fmla="*/ 6388220 h 6859062"/>
              <a:gd name="connsiteX1711" fmla="*/ 7013984 w 12192185"/>
              <a:gd name="connsiteY1711" fmla="*/ 6391424 h 6859062"/>
              <a:gd name="connsiteX1712" fmla="*/ 7008513 w 12192185"/>
              <a:gd name="connsiteY1712" fmla="*/ 6391611 h 6859062"/>
              <a:gd name="connsiteX1713" fmla="*/ 7011345 w 12192185"/>
              <a:gd name="connsiteY1713" fmla="*/ 6394253 h 6859062"/>
              <a:gd name="connsiteX1714" fmla="*/ 6954763 w 12192185"/>
              <a:gd name="connsiteY1714" fmla="*/ 6420841 h 6859062"/>
              <a:gd name="connsiteX1715" fmla="*/ 6952123 w 12192185"/>
              <a:gd name="connsiteY1715" fmla="*/ 6423670 h 6859062"/>
              <a:gd name="connsiteX1716" fmla="*/ 6949485 w 12192185"/>
              <a:gd name="connsiteY1716" fmla="*/ 6426499 h 6859062"/>
              <a:gd name="connsiteX1717" fmla="*/ 6946844 w 12192185"/>
              <a:gd name="connsiteY1717" fmla="*/ 6429327 h 6859062"/>
              <a:gd name="connsiteX1718" fmla="*/ 6944013 w 12192185"/>
              <a:gd name="connsiteY1718" fmla="*/ 6426686 h 6859062"/>
              <a:gd name="connsiteX1719" fmla="*/ 6944204 w 12192185"/>
              <a:gd name="connsiteY1719" fmla="*/ 6432157 h 6859062"/>
              <a:gd name="connsiteX1720" fmla="*/ 6917425 w 12192185"/>
              <a:gd name="connsiteY1720" fmla="*/ 6449507 h 6859062"/>
              <a:gd name="connsiteX1721" fmla="*/ 6939502 w 12192185"/>
              <a:gd name="connsiteY1721" fmla="*/ 6454228 h 6859062"/>
              <a:gd name="connsiteX1722" fmla="*/ 6932806 w 12192185"/>
              <a:gd name="connsiteY1722" fmla="*/ 6458566 h 6859062"/>
              <a:gd name="connsiteX1723" fmla="*/ 6929459 w 12192185"/>
              <a:gd name="connsiteY1723" fmla="*/ 6460735 h 6859062"/>
              <a:gd name="connsiteX1724" fmla="*/ 6928752 w 12192185"/>
              <a:gd name="connsiteY1724" fmla="*/ 6460075 h 6859062"/>
              <a:gd name="connsiteX1725" fmla="*/ 6926112 w 12192185"/>
              <a:gd name="connsiteY1725" fmla="*/ 6462904 h 6859062"/>
              <a:gd name="connsiteX1726" fmla="*/ 6929459 w 12192185"/>
              <a:gd name="connsiteY1726" fmla="*/ 6460735 h 6859062"/>
              <a:gd name="connsiteX1727" fmla="*/ 6931583 w 12192185"/>
              <a:gd name="connsiteY1727" fmla="*/ 6462716 h 6859062"/>
              <a:gd name="connsiteX1728" fmla="*/ 6928944 w 12192185"/>
              <a:gd name="connsiteY1728" fmla="*/ 6465545 h 6859062"/>
              <a:gd name="connsiteX1729" fmla="*/ 6926304 w 12192185"/>
              <a:gd name="connsiteY1729" fmla="*/ 6468375 h 6859062"/>
              <a:gd name="connsiteX1730" fmla="*/ 6904612 w 12192185"/>
              <a:gd name="connsiteY1730" fmla="*/ 6474595 h 6859062"/>
              <a:gd name="connsiteX1731" fmla="*/ 6899141 w 12192185"/>
              <a:gd name="connsiteY1731" fmla="*/ 6474783 h 6859062"/>
              <a:gd name="connsiteX1732" fmla="*/ 6891030 w 12192185"/>
              <a:gd name="connsiteY1732" fmla="*/ 6477799 h 6859062"/>
              <a:gd name="connsiteX1733" fmla="*/ 6885558 w 12192185"/>
              <a:gd name="connsiteY1733" fmla="*/ 6477987 h 6859062"/>
              <a:gd name="connsiteX1734" fmla="*/ 6893669 w 12192185"/>
              <a:gd name="connsiteY1734" fmla="*/ 6474970 h 6859062"/>
              <a:gd name="connsiteX1735" fmla="*/ 6901780 w 12192185"/>
              <a:gd name="connsiteY1735" fmla="*/ 6471953 h 6859062"/>
              <a:gd name="connsiteX1736" fmla="*/ 6874425 w 12192185"/>
              <a:gd name="connsiteY1736" fmla="*/ 6472891 h 6859062"/>
              <a:gd name="connsiteX1737" fmla="*/ 6873850 w 12192185"/>
              <a:gd name="connsiteY1737" fmla="*/ 6456478 h 6859062"/>
              <a:gd name="connsiteX1738" fmla="*/ 6703338 w 12192185"/>
              <a:gd name="connsiteY1738" fmla="*/ 6514357 h 6859062"/>
              <a:gd name="connsiteX1739" fmla="*/ 6695226 w 12192185"/>
              <a:gd name="connsiteY1739" fmla="*/ 6517375 h 6859062"/>
              <a:gd name="connsiteX1740" fmla="*/ 6689756 w 12192185"/>
              <a:gd name="connsiteY1740" fmla="*/ 6517562 h 6859062"/>
              <a:gd name="connsiteX1741" fmla="*/ 6619208 w 12192185"/>
              <a:gd name="connsiteY1741" fmla="*/ 6536413 h 6859062"/>
              <a:gd name="connsiteX1742" fmla="*/ 6532441 w 12192185"/>
              <a:gd name="connsiteY1742" fmla="*/ 6561296 h 6859062"/>
              <a:gd name="connsiteX1743" fmla="*/ 6439817 w 12192185"/>
              <a:gd name="connsiteY1743" fmla="*/ 6575425 h 6859062"/>
              <a:gd name="connsiteX1744" fmla="*/ 6303617 w 12192185"/>
              <a:gd name="connsiteY1744" fmla="*/ 6596526 h 6859062"/>
              <a:gd name="connsiteX1745" fmla="*/ 6196648 w 12192185"/>
              <a:gd name="connsiteY1745" fmla="*/ 6591976 h 6859062"/>
              <a:gd name="connsiteX1746" fmla="*/ 6213057 w 12192185"/>
              <a:gd name="connsiteY1746" fmla="*/ 6591413 h 6859062"/>
              <a:gd name="connsiteX1747" fmla="*/ 6204758 w 12192185"/>
              <a:gd name="connsiteY1747" fmla="*/ 6588959 h 6859062"/>
              <a:gd name="connsiteX1748" fmla="*/ 6199288 w 12192185"/>
              <a:gd name="connsiteY1748" fmla="*/ 6589146 h 6859062"/>
              <a:gd name="connsiteX1749" fmla="*/ 6207396 w 12192185"/>
              <a:gd name="connsiteY1749" fmla="*/ 6586131 h 6859062"/>
              <a:gd name="connsiteX1750" fmla="*/ 6210034 w 12192185"/>
              <a:gd name="connsiteY1750" fmla="*/ 6583301 h 6859062"/>
              <a:gd name="connsiteX1751" fmla="*/ 6089873 w 12192185"/>
              <a:gd name="connsiteY1751" fmla="*/ 6592897 h 6859062"/>
              <a:gd name="connsiteX1752" fmla="*/ 5971585 w 12192185"/>
              <a:gd name="connsiteY1752" fmla="*/ 6577780 h 6859062"/>
              <a:gd name="connsiteX1753" fmla="*/ 6171356 w 12192185"/>
              <a:gd name="connsiteY1753" fmla="*/ 6573672 h 6859062"/>
              <a:gd name="connsiteX1754" fmla="*/ 6195686 w 12192185"/>
              <a:gd name="connsiteY1754" fmla="*/ 6564622 h 6859062"/>
              <a:gd name="connsiteX1755" fmla="*/ 6250588 w 12192185"/>
              <a:gd name="connsiteY1755" fmla="*/ 6568218 h 6859062"/>
              <a:gd name="connsiteX1756" fmla="*/ 6293972 w 12192185"/>
              <a:gd name="connsiteY1756" fmla="*/ 6555775 h 6859062"/>
              <a:gd name="connsiteX1757" fmla="*/ 6351705 w 12192185"/>
              <a:gd name="connsiteY1757" fmla="*/ 6562013 h 6859062"/>
              <a:gd name="connsiteX1758" fmla="*/ 6352088 w 12192185"/>
              <a:gd name="connsiteY1758" fmla="*/ 6572955 h 6859062"/>
              <a:gd name="connsiteX1759" fmla="*/ 6393025 w 12192185"/>
              <a:gd name="connsiteY1759" fmla="*/ 6568813 h 6859062"/>
              <a:gd name="connsiteX1760" fmla="*/ 6390194 w 12192185"/>
              <a:gd name="connsiteY1760" fmla="*/ 6566171 h 6859062"/>
              <a:gd name="connsiteX1761" fmla="*/ 6384723 w 12192185"/>
              <a:gd name="connsiteY1761" fmla="*/ 6566359 h 6859062"/>
              <a:gd name="connsiteX1762" fmla="*/ 6387362 w 12192185"/>
              <a:gd name="connsiteY1762" fmla="*/ 6563530 h 6859062"/>
              <a:gd name="connsiteX1763" fmla="*/ 6376229 w 12192185"/>
              <a:gd name="connsiteY1763" fmla="*/ 6558434 h 6859062"/>
              <a:gd name="connsiteX1764" fmla="*/ 6406223 w 12192185"/>
              <a:gd name="connsiteY1764" fmla="*/ 6554668 h 6859062"/>
              <a:gd name="connsiteX1765" fmla="*/ 6408863 w 12192185"/>
              <a:gd name="connsiteY1765" fmla="*/ 6551838 h 6859062"/>
              <a:gd name="connsiteX1766" fmla="*/ 6411695 w 12192185"/>
              <a:gd name="connsiteY1766" fmla="*/ 6554480 h 6859062"/>
              <a:gd name="connsiteX1767" fmla="*/ 6419804 w 12192185"/>
              <a:gd name="connsiteY1767" fmla="*/ 6551463 h 6859062"/>
              <a:gd name="connsiteX1768" fmla="*/ 6422636 w 12192185"/>
              <a:gd name="connsiteY1768" fmla="*/ 6554105 h 6859062"/>
              <a:gd name="connsiteX1769" fmla="*/ 6474130 w 12192185"/>
              <a:gd name="connsiteY1769" fmla="*/ 6538645 h 6859062"/>
              <a:gd name="connsiteX1770" fmla="*/ 6518091 w 12192185"/>
              <a:gd name="connsiteY1770" fmla="*/ 6542617 h 6859062"/>
              <a:gd name="connsiteX1771" fmla="*/ 6523563 w 12192185"/>
              <a:gd name="connsiteY1771" fmla="*/ 6542429 h 6859062"/>
              <a:gd name="connsiteX1772" fmla="*/ 6534503 w 12192185"/>
              <a:gd name="connsiteY1772" fmla="*/ 6542054 h 6859062"/>
              <a:gd name="connsiteX1773" fmla="*/ 6531864 w 12192185"/>
              <a:gd name="connsiteY1773" fmla="*/ 6544883 h 6859062"/>
              <a:gd name="connsiteX1774" fmla="*/ 6526394 w 12192185"/>
              <a:gd name="connsiteY1774" fmla="*/ 6545070 h 6859062"/>
              <a:gd name="connsiteX1775" fmla="*/ 6523754 w 12192185"/>
              <a:gd name="connsiteY1775" fmla="*/ 6547901 h 6859062"/>
              <a:gd name="connsiteX1776" fmla="*/ 6553556 w 12192185"/>
              <a:gd name="connsiteY1776" fmla="*/ 6538663 h 6859062"/>
              <a:gd name="connsiteX1777" fmla="*/ 6548085 w 12192185"/>
              <a:gd name="connsiteY1777" fmla="*/ 6538851 h 6859062"/>
              <a:gd name="connsiteX1778" fmla="*/ 6550724 w 12192185"/>
              <a:gd name="connsiteY1778" fmla="*/ 6536020 h 6859062"/>
              <a:gd name="connsiteX1779" fmla="*/ 6553364 w 12192185"/>
              <a:gd name="connsiteY1779" fmla="*/ 6533192 h 6859062"/>
              <a:gd name="connsiteX1780" fmla="*/ 6545061 w 12192185"/>
              <a:gd name="connsiteY1780" fmla="*/ 6530738 h 6859062"/>
              <a:gd name="connsiteX1781" fmla="*/ 6572417 w 12192185"/>
              <a:gd name="connsiteY1781" fmla="*/ 6529800 h 6859062"/>
              <a:gd name="connsiteX1782" fmla="*/ 6577889 w 12192185"/>
              <a:gd name="connsiteY1782" fmla="*/ 6529613 h 6859062"/>
              <a:gd name="connsiteX1783" fmla="*/ 6581685 w 12192185"/>
              <a:gd name="connsiteY1783" fmla="*/ 6530509 h 6859062"/>
              <a:gd name="connsiteX1784" fmla="*/ 6583303 w 12192185"/>
              <a:gd name="connsiteY1784" fmla="*/ 6529462 h 6859062"/>
              <a:gd name="connsiteX1785" fmla="*/ 6630900 w 12192185"/>
              <a:gd name="connsiteY1785" fmla="*/ 6528138 h 6859062"/>
              <a:gd name="connsiteX1786" fmla="*/ 6689563 w 12192185"/>
              <a:gd name="connsiteY1786" fmla="*/ 6512091 h 6859062"/>
              <a:gd name="connsiteX1787" fmla="*/ 6695034 w 12192185"/>
              <a:gd name="connsiteY1787" fmla="*/ 6511904 h 6859062"/>
              <a:gd name="connsiteX1788" fmla="*/ 6703144 w 12192185"/>
              <a:gd name="connsiteY1788" fmla="*/ 6508888 h 6859062"/>
              <a:gd name="connsiteX1789" fmla="*/ 6700505 w 12192185"/>
              <a:gd name="connsiteY1789" fmla="*/ 6511716 h 6859062"/>
              <a:gd name="connsiteX1790" fmla="*/ 6735395 w 12192185"/>
              <a:gd name="connsiteY1790" fmla="*/ 6491350 h 6859062"/>
              <a:gd name="connsiteX1791" fmla="*/ 6727284 w 12192185"/>
              <a:gd name="connsiteY1791" fmla="*/ 6494367 h 6859062"/>
              <a:gd name="connsiteX1792" fmla="*/ 6724454 w 12192185"/>
              <a:gd name="connsiteY1792" fmla="*/ 6491725 h 6859062"/>
              <a:gd name="connsiteX1793" fmla="*/ 6732564 w 12192185"/>
              <a:gd name="connsiteY1793" fmla="*/ 6488708 h 6859062"/>
              <a:gd name="connsiteX1794" fmla="*/ 6733523 w 12192185"/>
              <a:gd name="connsiteY1794" fmla="*/ 6487679 h 6859062"/>
              <a:gd name="connsiteX1795" fmla="*/ 6735936 w 12192185"/>
              <a:gd name="connsiteY1795" fmla="*/ 6487223 h 6859062"/>
              <a:gd name="connsiteX1796" fmla="*/ 6740674 w 12192185"/>
              <a:gd name="connsiteY1796" fmla="*/ 6485691 h 6859062"/>
              <a:gd name="connsiteX1797" fmla="*/ 6735202 w 12192185"/>
              <a:gd name="connsiteY1797" fmla="*/ 6485879 h 6859062"/>
              <a:gd name="connsiteX1798" fmla="*/ 6733523 w 12192185"/>
              <a:gd name="connsiteY1798" fmla="*/ 6487679 h 6859062"/>
              <a:gd name="connsiteX1799" fmla="*/ 6727092 w 12192185"/>
              <a:gd name="connsiteY1799" fmla="*/ 6488896 h 6859062"/>
              <a:gd name="connsiteX1800" fmla="*/ 6889302 w 12192185"/>
              <a:gd name="connsiteY1800" fmla="*/ 6428561 h 6859062"/>
              <a:gd name="connsiteX1801" fmla="*/ 6913827 w 12192185"/>
              <a:gd name="connsiteY1801" fmla="*/ 6424982 h 6859062"/>
              <a:gd name="connsiteX1802" fmla="*/ 6916275 w 12192185"/>
              <a:gd name="connsiteY1802" fmla="*/ 6416683 h 6859062"/>
              <a:gd name="connsiteX1803" fmla="*/ 6921746 w 12192185"/>
              <a:gd name="connsiteY1803" fmla="*/ 6416496 h 6859062"/>
              <a:gd name="connsiteX1804" fmla="*/ 6929855 w 12192185"/>
              <a:gd name="connsiteY1804" fmla="*/ 6413479 h 6859062"/>
              <a:gd name="connsiteX1805" fmla="*/ 6972459 w 12192185"/>
              <a:gd name="connsiteY1805" fmla="*/ 6398324 h 6859062"/>
              <a:gd name="connsiteX1806" fmla="*/ 6999750 w 12192185"/>
              <a:gd name="connsiteY1806" fmla="*/ 6392500 h 6859062"/>
              <a:gd name="connsiteX1807" fmla="*/ 7001369 w 12192185"/>
              <a:gd name="connsiteY1807" fmla="*/ 6392882 h 6859062"/>
              <a:gd name="connsiteX1808" fmla="*/ 7003042 w 12192185"/>
              <a:gd name="connsiteY1808" fmla="*/ 6391798 h 6859062"/>
              <a:gd name="connsiteX1809" fmla="*/ 6999750 w 12192185"/>
              <a:gd name="connsiteY1809" fmla="*/ 6392500 h 6859062"/>
              <a:gd name="connsiteX1810" fmla="*/ 6997571 w 12192185"/>
              <a:gd name="connsiteY1810" fmla="*/ 6391986 h 6859062"/>
              <a:gd name="connsiteX1811" fmla="*/ 6997379 w 12192185"/>
              <a:gd name="connsiteY1811" fmla="*/ 6386515 h 6859062"/>
              <a:gd name="connsiteX1812" fmla="*/ 7002850 w 12192185"/>
              <a:gd name="connsiteY1812" fmla="*/ 6386328 h 6859062"/>
              <a:gd name="connsiteX1813" fmla="*/ 7005490 w 12192185"/>
              <a:gd name="connsiteY1813" fmla="*/ 6383500 h 6859062"/>
              <a:gd name="connsiteX1814" fmla="*/ 7073206 w 12192185"/>
              <a:gd name="connsiteY1814" fmla="*/ 6362007 h 6859062"/>
              <a:gd name="connsiteX1815" fmla="*/ 7162037 w 12192185"/>
              <a:gd name="connsiteY1815" fmla="*/ 6317881 h 6859062"/>
              <a:gd name="connsiteX1816" fmla="*/ 10714022 w 12192185"/>
              <a:gd name="connsiteY1816" fmla="*/ 6303541 h 6859062"/>
              <a:gd name="connsiteX1817" fmla="*/ 10730841 w 12192185"/>
              <a:gd name="connsiteY1817" fmla="*/ 6305724 h 6859062"/>
              <a:gd name="connsiteX1818" fmla="*/ 10744445 w 12192185"/>
              <a:gd name="connsiteY1818" fmla="*/ 6328359 h 6859062"/>
              <a:gd name="connsiteX1819" fmla="*/ 10746203 w 12192185"/>
              <a:gd name="connsiteY1819" fmla="*/ 6336217 h 6859062"/>
              <a:gd name="connsiteX1820" fmla="*/ 10753702 w 12192185"/>
              <a:gd name="connsiteY1820" fmla="*/ 6354417 h 6859062"/>
              <a:gd name="connsiteX1821" fmla="*/ 10761394 w 12192185"/>
              <a:gd name="connsiteY1821" fmla="*/ 6362650 h 6859062"/>
              <a:gd name="connsiteX1822" fmla="*/ 10762946 w 12192185"/>
              <a:gd name="connsiteY1822" fmla="*/ 6389825 h 6859062"/>
              <a:gd name="connsiteX1823" fmla="*/ 10751317 w 12192185"/>
              <a:gd name="connsiteY1823" fmla="*/ 6409186 h 6859062"/>
              <a:gd name="connsiteX1824" fmla="*/ 10730053 w 12192185"/>
              <a:gd name="connsiteY1824" fmla="*/ 6417747 h 6859062"/>
              <a:gd name="connsiteX1825" fmla="*/ 10727483 w 12192185"/>
              <a:gd name="connsiteY1825" fmla="*/ 6419679 h 6859062"/>
              <a:gd name="connsiteX1826" fmla="*/ 10715091 w 12192185"/>
              <a:gd name="connsiteY1826" fmla="*/ 6416102 h 6859062"/>
              <a:gd name="connsiteX1827" fmla="*/ 10703418 w 12192185"/>
              <a:gd name="connsiteY1827" fmla="*/ 6405383 h 6859062"/>
              <a:gd name="connsiteX1828" fmla="*/ 10697330 w 12192185"/>
              <a:gd name="connsiteY1828" fmla="*/ 6391599 h 6859062"/>
              <a:gd name="connsiteX1829" fmla="*/ 10695321 w 12192185"/>
              <a:gd name="connsiteY1829" fmla="*/ 6372978 h 6859062"/>
              <a:gd name="connsiteX1830" fmla="*/ 10691277 w 12192185"/>
              <a:gd name="connsiteY1830" fmla="*/ 6354439 h 6859062"/>
              <a:gd name="connsiteX1831" fmla="*/ 10681562 w 12192185"/>
              <a:gd name="connsiteY1831" fmla="*/ 6336935 h 6859062"/>
              <a:gd name="connsiteX1832" fmla="*/ 10687972 w 12192185"/>
              <a:gd name="connsiteY1832" fmla="*/ 6314731 h 6859062"/>
              <a:gd name="connsiteX1833" fmla="*/ 10697898 w 12192185"/>
              <a:gd name="connsiteY1833" fmla="*/ 6308242 h 6859062"/>
              <a:gd name="connsiteX1834" fmla="*/ 10714022 w 12192185"/>
              <a:gd name="connsiteY1834" fmla="*/ 6303541 h 6859062"/>
              <a:gd name="connsiteX1835" fmla="*/ 10930506 w 12192185"/>
              <a:gd name="connsiteY1835" fmla="*/ 6285725 h 6859062"/>
              <a:gd name="connsiteX1836" fmla="*/ 10934452 w 12192185"/>
              <a:gd name="connsiteY1836" fmla="*/ 6288017 h 6859062"/>
              <a:gd name="connsiteX1837" fmla="*/ 10936114 w 12192185"/>
              <a:gd name="connsiteY1837" fmla="*/ 6292237 h 6859062"/>
              <a:gd name="connsiteX1838" fmla="*/ 10941200 w 12192185"/>
              <a:gd name="connsiteY1838" fmla="*/ 6294570 h 6859062"/>
              <a:gd name="connsiteX1839" fmla="*/ 10958645 w 12192185"/>
              <a:gd name="connsiteY1839" fmla="*/ 6294999 h 6859062"/>
              <a:gd name="connsiteX1840" fmla="*/ 10979233 w 12192185"/>
              <a:gd name="connsiteY1840" fmla="*/ 6299503 h 6859062"/>
              <a:gd name="connsiteX1841" fmla="*/ 10983328 w 12192185"/>
              <a:gd name="connsiteY1841" fmla="*/ 6303274 h 6859062"/>
              <a:gd name="connsiteX1842" fmla="*/ 10995312 w 12192185"/>
              <a:gd name="connsiteY1842" fmla="*/ 6313642 h 6859062"/>
              <a:gd name="connsiteX1843" fmla="*/ 10997433 w 12192185"/>
              <a:gd name="connsiteY1843" fmla="*/ 6316270 h 6859062"/>
              <a:gd name="connsiteX1844" fmla="*/ 11005067 w 12192185"/>
              <a:gd name="connsiteY1844" fmla="*/ 6333729 h 6859062"/>
              <a:gd name="connsiteX1845" fmla="*/ 11005341 w 12192185"/>
              <a:gd name="connsiteY1845" fmla="*/ 6359715 h 6859062"/>
              <a:gd name="connsiteX1846" fmla="*/ 11006419 w 12192185"/>
              <a:gd name="connsiteY1846" fmla="*/ 6368950 h 6859062"/>
              <a:gd name="connsiteX1847" fmla="*/ 11002247 w 12192185"/>
              <a:gd name="connsiteY1847" fmla="*/ 6380412 h 6859062"/>
              <a:gd name="connsiteX1848" fmla="*/ 10998347 w 12192185"/>
              <a:gd name="connsiteY1848" fmla="*/ 6389936 h 6859062"/>
              <a:gd name="connsiteX1849" fmla="*/ 10997463 w 12192185"/>
              <a:gd name="connsiteY1849" fmla="*/ 6393999 h 6859062"/>
              <a:gd name="connsiteX1850" fmla="*/ 10976561 w 12192185"/>
              <a:gd name="connsiteY1850" fmla="*/ 6407541 h 6859062"/>
              <a:gd name="connsiteX1851" fmla="*/ 10959143 w 12192185"/>
              <a:gd name="connsiteY1851" fmla="*/ 6412012 h 6859062"/>
              <a:gd name="connsiteX1852" fmla="*/ 10943758 w 12192185"/>
              <a:gd name="connsiteY1852" fmla="*/ 6423403 h 6859062"/>
              <a:gd name="connsiteX1853" fmla="*/ 10944511 w 12192185"/>
              <a:gd name="connsiteY1853" fmla="*/ 6426787 h 6859062"/>
              <a:gd name="connsiteX1854" fmla="*/ 10954826 w 12192185"/>
              <a:gd name="connsiteY1854" fmla="*/ 6449915 h 6859062"/>
              <a:gd name="connsiteX1855" fmla="*/ 10955727 w 12192185"/>
              <a:gd name="connsiteY1855" fmla="*/ 6454780 h 6859062"/>
              <a:gd name="connsiteX1856" fmla="*/ 10954018 w 12192185"/>
              <a:gd name="connsiteY1856" fmla="*/ 6468680 h 6859062"/>
              <a:gd name="connsiteX1857" fmla="*/ 10953291 w 12192185"/>
              <a:gd name="connsiteY1857" fmla="*/ 6485165 h 6859062"/>
              <a:gd name="connsiteX1858" fmla="*/ 10951185 w 12192185"/>
              <a:gd name="connsiteY1858" fmla="*/ 6491466 h 6859062"/>
              <a:gd name="connsiteX1859" fmla="*/ 10927201 w 12192185"/>
              <a:gd name="connsiteY1859" fmla="*/ 6521677 h 6859062"/>
              <a:gd name="connsiteX1860" fmla="*/ 10923929 w 12192185"/>
              <a:gd name="connsiteY1860" fmla="*/ 6523036 h 6859062"/>
              <a:gd name="connsiteX1861" fmla="*/ 10905488 w 12192185"/>
              <a:gd name="connsiteY1861" fmla="*/ 6526061 h 6859062"/>
              <a:gd name="connsiteX1862" fmla="*/ 10897962 w 12192185"/>
              <a:gd name="connsiteY1862" fmla="*/ 6526191 h 6859062"/>
              <a:gd name="connsiteX1863" fmla="*/ 10885497 w 12192185"/>
              <a:gd name="connsiteY1863" fmla="*/ 6525472 h 6859062"/>
              <a:gd name="connsiteX1864" fmla="*/ 10874500 w 12192185"/>
              <a:gd name="connsiteY1864" fmla="*/ 6530645 h 6859062"/>
              <a:gd name="connsiteX1865" fmla="*/ 10870101 w 12192185"/>
              <a:gd name="connsiteY1865" fmla="*/ 6530923 h 6859062"/>
              <a:gd name="connsiteX1866" fmla="*/ 10868734 w 12192185"/>
              <a:gd name="connsiteY1866" fmla="*/ 6526678 h 6859062"/>
              <a:gd name="connsiteX1867" fmla="*/ 10868856 w 12192185"/>
              <a:gd name="connsiteY1867" fmla="*/ 6523259 h 6859062"/>
              <a:gd name="connsiteX1868" fmla="*/ 10867538 w 12192185"/>
              <a:gd name="connsiteY1868" fmla="*/ 6518848 h 6859062"/>
              <a:gd name="connsiteX1869" fmla="*/ 10863391 w 12192185"/>
              <a:gd name="connsiteY1869" fmla="*/ 6520243 h 6859062"/>
              <a:gd name="connsiteX1870" fmla="*/ 10855799 w 12192185"/>
              <a:gd name="connsiteY1870" fmla="*/ 6516612 h 6859062"/>
              <a:gd name="connsiteX1871" fmla="*/ 10855202 w 12192185"/>
              <a:gd name="connsiteY1871" fmla="*/ 6512697 h 6859062"/>
              <a:gd name="connsiteX1872" fmla="*/ 10850952 w 12192185"/>
              <a:gd name="connsiteY1872" fmla="*/ 6509456 h 6859062"/>
              <a:gd name="connsiteX1873" fmla="*/ 10847787 w 12192185"/>
              <a:gd name="connsiteY1873" fmla="*/ 6513436 h 6859062"/>
              <a:gd name="connsiteX1874" fmla="*/ 10847076 w 12192185"/>
              <a:gd name="connsiteY1874" fmla="*/ 6517585 h 6859062"/>
              <a:gd name="connsiteX1875" fmla="*/ 10832262 w 12192185"/>
              <a:gd name="connsiteY1875" fmla="*/ 6490922 h 6859062"/>
              <a:gd name="connsiteX1876" fmla="*/ 10833938 w 12192185"/>
              <a:gd name="connsiteY1876" fmla="*/ 6489576 h 6859062"/>
              <a:gd name="connsiteX1877" fmla="*/ 10833002 w 12192185"/>
              <a:gd name="connsiteY1877" fmla="*/ 6483838 h 6859062"/>
              <a:gd name="connsiteX1878" fmla="*/ 10828832 w 12192185"/>
              <a:gd name="connsiteY1878" fmla="*/ 6480331 h 6859062"/>
              <a:gd name="connsiteX1879" fmla="*/ 10827481 w 12192185"/>
              <a:gd name="connsiteY1879" fmla="*/ 6473032 h 6859062"/>
              <a:gd name="connsiteX1880" fmla="*/ 10823019 w 12192185"/>
              <a:gd name="connsiteY1880" fmla="*/ 6449579 h 6859062"/>
              <a:gd name="connsiteX1881" fmla="*/ 10820141 w 12192185"/>
              <a:gd name="connsiteY1881" fmla="*/ 6445582 h 6859062"/>
              <a:gd name="connsiteX1882" fmla="*/ 10826112 w 12192185"/>
              <a:gd name="connsiteY1882" fmla="*/ 6443852 h 6859062"/>
              <a:gd name="connsiteX1883" fmla="*/ 10826909 w 12192185"/>
              <a:gd name="connsiteY1883" fmla="*/ 6444082 h 6859062"/>
              <a:gd name="connsiteX1884" fmla="*/ 10834569 w 12192185"/>
              <a:gd name="connsiteY1884" fmla="*/ 6436505 h 6859062"/>
              <a:gd name="connsiteX1885" fmla="*/ 10838706 w 12192185"/>
              <a:gd name="connsiteY1885" fmla="*/ 6424170 h 6859062"/>
              <a:gd name="connsiteX1886" fmla="*/ 10848286 w 12192185"/>
              <a:gd name="connsiteY1886" fmla="*/ 6407938 h 6859062"/>
              <a:gd name="connsiteX1887" fmla="*/ 10853655 w 12192185"/>
              <a:gd name="connsiteY1887" fmla="*/ 6404305 h 6859062"/>
              <a:gd name="connsiteX1888" fmla="*/ 10868543 w 12192185"/>
              <a:gd name="connsiteY1888" fmla="*/ 6393634 h 6859062"/>
              <a:gd name="connsiteX1889" fmla="*/ 10875613 w 12192185"/>
              <a:gd name="connsiteY1889" fmla="*/ 6393084 h 6859062"/>
              <a:gd name="connsiteX1890" fmla="*/ 10904157 w 12192185"/>
              <a:gd name="connsiteY1890" fmla="*/ 6392975 h 6859062"/>
              <a:gd name="connsiteX1891" fmla="*/ 10905844 w 12192185"/>
              <a:gd name="connsiteY1891" fmla="*/ 6387129 h 6859062"/>
              <a:gd name="connsiteX1892" fmla="*/ 10899163 w 12192185"/>
              <a:gd name="connsiteY1892" fmla="*/ 6384336 h 6859062"/>
              <a:gd name="connsiteX1893" fmla="*/ 10893456 w 12192185"/>
              <a:gd name="connsiteY1893" fmla="*/ 6386144 h 6859062"/>
              <a:gd name="connsiteX1894" fmla="*/ 10888784 w 12192185"/>
              <a:gd name="connsiteY1894" fmla="*/ 6385371 h 6859062"/>
              <a:gd name="connsiteX1895" fmla="*/ 10890962 w 12192185"/>
              <a:gd name="connsiteY1895" fmla="*/ 6380819 h 6859062"/>
              <a:gd name="connsiteX1896" fmla="*/ 10895682 w 12192185"/>
              <a:gd name="connsiteY1896" fmla="*/ 6378439 h 6859062"/>
              <a:gd name="connsiteX1897" fmla="*/ 10899388 w 12192185"/>
              <a:gd name="connsiteY1897" fmla="*/ 6370585 h 6859062"/>
              <a:gd name="connsiteX1898" fmla="*/ 10891750 w 12192185"/>
              <a:gd name="connsiteY1898" fmla="*/ 6370107 h 6859062"/>
              <a:gd name="connsiteX1899" fmla="*/ 10884863 w 12192185"/>
              <a:gd name="connsiteY1899" fmla="*/ 6373014 h 6859062"/>
              <a:gd name="connsiteX1900" fmla="*/ 10880543 w 12192185"/>
              <a:gd name="connsiteY1900" fmla="*/ 6368024 h 6859062"/>
              <a:gd name="connsiteX1901" fmla="*/ 10890763 w 12192185"/>
              <a:gd name="connsiteY1901" fmla="*/ 6354566 h 6859062"/>
              <a:gd name="connsiteX1902" fmla="*/ 10894981 w 12192185"/>
              <a:gd name="connsiteY1902" fmla="*/ 6339952 h 6859062"/>
              <a:gd name="connsiteX1903" fmla="*/ 10891351 w 12192185"/>
              <a:gd name="connsiteY1903" fmla="*/ 6332572 h 6859062"/>
              <a:gd name="connsiteX1904" fmla="*/ 10890600 w 12192185"/>
              <a:gd name="connsiteY1904" fmla="*/ 6329188 h 6859062"/>
              <a:gd name="connsiteX1905" fmla="*/ 10893984 w 12192185"/>
              <a:gd name="connsiteY1905" fmla="*/ 6328437 h 6859062"/>
              <a:gd name="connsiteX1906" fmla="*/ 10901102 w 12192185"/>
              <a:gd name="connsiteY1906" fmla="*/ 6324735 h 6859062"/>
              <a:gd name="connsiteX1907" fmla="*/ 10911465 w 12192185"/>
              <a:gd name="connsiteY1907" fmla="*/ 6314773 h 6859062"/>
              <a:gd name="connsiteX1908" fmla="*/ 10913572 w 12192185"/>
              <a:gd name="connsiteY1908" fmla="*/ 6308472 h 6859062"/>
              <a:gd name="connsiteX1909" fmla="*/ 10912673 w 12192185"/>
              <a:gd name="connsiteY1909" fmla="*/ 6303606 h 6859062"/>
              <a:gd name="connsiteX1910" fmla="*/ 10918036 w 12192185"/>
              <a:gd name="connsiteY1910" fmla="*/ 6301988 h 6859062"/>
              <a:gd name="connsiteX1911" fmla="*/ 10921910 w 12192185"/>
              <a:gd name="connsiteY1911" fmla="*/ 6302530 h 6859062"/>
              <a:gd name="connsiteX1912" fmla="*/ 10929575 w 12192185"/>
              <a:gd name="connsiteY1912" fmla="*/ 6292941 h 6859062"/>
              <a:gd name="connsiteX1913" fmla="*/ 10928858 w 12192185"/>
              <a:gd name="connsiteY1913" fmla="*/ 6290432 h 6859062"/>
              <a:gd name="connsiteX1914" fmla="*/ 10930506 w 12192185"/>
              <a:gd name="connsiteY1914" fmla="*/ 6285725 h 6859062"/>
              <a:gd name="connsiteX1915" fmla="*/ 2103880 w 12192185"/>
              <a:gd name="connsiteY1915" fmla="*/ 6280946 h 6859062"/>
              <a:gd name="connsiteX1916" fmla="*/ 2107977 w 12192185"/>
              <a:gd name="connsiteY1916" fmla="*/ 6287982 h 6859062"/>
              <a:gd name="connsiteX1917" fmla="*/ 2106271 w 12192185"/>
              <a:gd name="connsiteY1917" fmla="*/ 6298794 h 6859062"/>
              <a:gd name="connsiteX1918" fmla="*/ 2105452 w 12192185"/>
              <a:gd name="connsiteY1918" fmla="*/ 6303268 h 6859062"/>
              <a:gd name="connsiteX1919" fmla="*/ 2104240 w 12192185"/>
              <a:gd name="connsiteY1919" fmla="*/ 6315635 h 6859062"/>
              <a:gd name="connsiteX1920" fmla="*/ 2103914 w 12192185"/>
              <a:gd name="connsiteY1920" fmla="*/ 6321664 h 6859062"/>
              <a:gd name="connsiteX1921" fmla="*/ 2101883 w 12192185"/>
              <a:gd name="connsiteY1921" fmla="*/ 6327409 h 6859062"/>
              <a:gd name="connsiteX1922" fmla="*/ 2264908 w 12192185"/>
              <a:gd name="connsiteY1922" fmla="*/ 6422757 h 6859062"/>
              <a:gd name="connsiteX1923" fmla="*/ 2262963 w 12192185"/>
              <a:gd name="connsiteY1923" fmla="*/ 6404727 h 6859062"/>
              <a:gd name="connsiteX1924" fmla="*/ 2258919 w 12192185"/>
              <a:gd name="connsiteY1924" fmla="*/ 6386187 h 6859062"/>
              <a:gd name="connsiteX1925" fmla="*/ 2249206 w 12192185"/>
              <a:gd name="connsiteY1925" fmla="*/ 6368683 h 6859062"/>
              <a:gd name="connsiteX1926" fmla="*/ 2251459 w 12192185"/>
              <a:gd name="connsiteY1926" fmla="*/ 6360877 h 6859062"/>
              <a:gd name="connsiteX1927" fmla="*/ 2159578 w 12192185"/>
              <a:gd name="connsiteY1927" fmla="*/ 6314529 h 6859062"/>
              <a:gd name="connsiteX1928" fmla="*/ 7529861 w 12192185"/>
              <a:gd name="connsiteY1928" fmla="*/ 6258515 h 6859062"/>
              <a:gd name="connsiteX1929" fmla="*/ 7539581 w 12192185"/>
              <a:gd name="connsiteY1929" fmla="*/ 6262352 h 6859062"/>
              <a:gd name="connsiteX1930" fmla="*/ 7546873 w 12192185"/>
              <a:gd name="connsiteY1930" fmla="*/ 6269693 h 6859062"/>
              <a:gd name="connsiteX1931" fmla="*/ 7550290 w 12192185"/>
              <a:gd name="connsiteY1931" fmla="*/ 6276150 h 6859062"/>
              <a:gd name="connsiteX1932" fmla="*/ 7547127 w 12192185"/>
              <a:gd name="connsiteY1932" fmla="*/ 6290033 h 6859062"/>
              <a:gd name="connsiteX1933" fmla="*/ 7536672 w 12192185"/>
              <a:gd name="connsiteY1933" fmla="*/ 6296575 h 6859062"/>
              <a:gd name="connsiteX1934" fmla="*/ 7528965 w 12192185"/>
              <a:gd name="connsiteY1934" fmla="*/ 6305365 h 6859062"/>
              <a:gd name="connsiteX1935" fmla="*/ 7522331 w 12192185"/>
              <a:gd name="connsiteY1935" fmla="*/ 6314806 h 6859062"/>
              <a:gd name="connsiteX1936" fmla="*/ 7514939 w 12192185"/>
              <a:gd name="connsiteY1936" fmla="*/ 6320424 h 6859062"/>
              <a:gd name="connsiteX1937" fmla="*/ 7505451 w 12192185"/>
              <a:gd name="connsiteY1937" fmla="*/ 6322723 h 6859062"/>
              <a:gd name="connsiteX1938" fmla="*/ 7497703 w 12192185"/>
              <a:gd name="connsiteY1938" fmla="*/ 6320958 h 6859062"/>
              <a:gd name="connsiteX1939" fmla="*/ 7496894 w 12192185"/>
              <a:gd name="connsiteY1939" fmla="*/ 6319151 h 6859062"/>
              <a:gd name="connsiteX1940" fmla="*/ 7487980 w 12192185"/>
              <a:gd name="connsiteY1940" fmla="*/ 6308196 h 6859062"/>
              <a:gd name="connsiteX1941" fmla="*/ 7487482 w 12192185"/>
              <a:gd name="connsiteY1941" fmla="*/ 6294290 h 6859062"/>
              <a:gd name="connsiteX1942" fmla="*/ 7496419 w 12192185"/>
              <a:gd name="connsiteY1942" fmla="*/ 6280100 h 6859062"/>
              <a:gd name="connsiteX1943" fmla="*/ 7503021 w 12192185"/>
              <a:gd name="connsiteY1943" fmla="*/ 6277954 h 6859062"/>
              <a:gd name="connsiteX1944" fmla="*/ 7512489 w 12192185"/>
              <a:gd name="connsiteY1944" fmla="*/ 6270376 h 6859062"/>
              <a:gd name="connsiteX1945" fmla="*/ 7515780 w 12192185"/>
              <a:gd name="connsiteY1945" fmla="*/ 6266665 h 6859062"/>
              <a:gd name="connsiteX1946" fmla="*/ 7529861 w 12192185"/>
              <a:gd name="connsiteY1946" fmla="*/ 6258515 h 6859062"/>
              <a:gd name="connsiteX1947" fmla="*/ 11340656 w 12192185"/>
              <a:gd name="connsiteY1947" fmla="*/ 6256183 h 6859062"/>
              <a:gd name="connsiteX1948" fmla="*/ 11356349 w 12192185"/>
              <a:gd name="connsiteY1948" fmla="*/ 6260477 h 6859062"/>
              <a:gd name="connsiteX1949" fmla="*/ 11360476 w 12192185"/>
              <a:gd name="connsiteY1949" fmla="*/ 6263228 h 6859062"/>
              <a:gd name="connsiteX1950" fmla="*/ 11371564 w 12192185"/>
              <a:gd name="connsiteY1950" fmla="*/ 6268145 h 6859062"/>
              <a:gd name="connsiteX1951" fmla="*/ 11378493 w 12192185"/>
              <a:gd name="connsiteY1951" fmla="*/ 6268539 h 6859062"/>
              <a:gd name="connsiteX1952" fmla="*/ 11390751 w 12192185"/>
              <a:gd name="connsiteY1952" fmla="*/ 6279983 h 6859062"/>
              <a:gd name="connsiteX1953" fmla="*/ 11393810 w 12192185"/>
              <a:gd name="connsiteY1953" fmla="*/ 6293558 h 6859062"/>
              <a:gd name="connsiteX1954" fmla="*/ 11387982 w 12192185"/>
              <a:gd name="connsiteY1954" fmla="*/ 6306421 h 6859062"/>
              <a:gd name="connsiteX1955" fmla="*/ 11387658 w 12192185"/>
              <a:gd name="connsiteY1955" fmla="*/ 6308376 h 6859062"/>
              <a:gd name="connsiteX1956" fmla="*/ 11380617 w 12192185"/>
              <a:gd name="connsiteY1956" fmla="*/ 6312056 h 6859062"/>
              <a:gd name="connsiteX1957" fmla="*/ 11370855 w 12192185"/>
              <a:gd name="connsiteY1957" fmla="*/ 6312248 h 6859062"/>
              <a:gd name="connsiteX1958" fmla="*/ 11362276 w 12192185"/>
              <a:gd name="connsiteY1958" fmla="*/ 6308699 h 6859062"/>
              <a:gd name="connsiteX1959" fmla="*/ 11353456 w 12192185"/>
              <a:gd name="connsiteY1959" fmla="*/ 6301260 h 6859062"/>
              <a:gd name="connsiteX1960" fmla="*/ 11343764 w 12192185"/>
              <a:gd name="connsiteY1960" fmla="*/ 6294723 h 6859062"/>
              <a:gd name="connsiteX1961" fmla="*/ 11331987 w 12192185"/>
              <a:gd name="connsiteY1961" fmla="*/ 6291060 h 6859062"/>
              <a:gd name="connsiteX1962" fmla="*/ 11325393 w 12192185"/>
              <a:gd name="connsiteY1962" fmla="*/ 6278441 h 6859062"/>
              <a:gd name="connsiteX1963" fmla="*/ 11327054 w 12192185"/>
              <a:gd name="connsiteY1963" fmla="*/ 6271326 h 6859062"/>
              <a:gd name="connsiteX1964" fmla="*/ 11332234 w 12192185"/>
              <a:gd name="connsiteY1964" fmla="*/ 6262370 h 6859062"/>
              <a:gd name="connsiteX1965" fmla="*/ 11340656 w 12192185"/>
              <a:gd name="connsiteY1965" fmla="*/ 6256183 h 6859062"/>
              <a:gd name="connsiteX1966" fmla="*/ 667131 w 12192185"/>
              <a:gd name="connsiteY1966" fmla="*/ 6254575 h 6859062"/>
              <a:gd name="connsiteX1967" fmla="*/ 667623 w 12192185"/>
              <a:gd name="connsiteY1967" fmla="*/ 6254852 h 6859062"/>
              <a:gd name="connsiteX1968" fmla="*/ 667257 w 12192185"/>
              <a:gd name="connsiteY1968" fmla="*/ 6255054 h 6859062"/>
              <a:gd name="connsiteX1969" fmla="*/ 7718045 w 12192185"/>
              <a:gd name="connsiteY1969" fmla="*/ 6253207 h 6859062"/>
              <a:gd name="connsiteX1970" fmla="*/ 7727266 w 12192185"/>
              <a:gd name="connsiteY1970" fmla="*/ 6255007 h 6859062"/>
              <a:gd name="connsiteX1971" fmla="*/ 7744378 w 12192185"/>
              <a:gd name="connsiteY1971" fmla="*/ 6263115 h 6859062"/>
              <a:gd name="connsiteX1972" fmla="*/ 7748655 w 12192185"/>
              <a:gd name="connsiteY1972" fmla="*/ 6266794 h 6859062"/>
              <a:gd name="connsiteX1973" fmla="*/ 7753049 w 12192185"/>
              <a:gd name="connsiteY1973" fmla="*/ 6272605 h 6859062"/>
              <a:gd name="connsiteX1974" fmla="*/ 7755441 w 12192185"/>
              <a:gd name="connsiteY1974" fmla="*/ 6277959 h 6859062"/>
              <a:gd name="connsiteX1975" fmla="*/ 7756581 w 12192185"/>
              <a:gd name="connsiteY1975" fmla="*/ 6291443 h 6859062"/>
              <a:gd name="connsiteX1976" fmla="*/ 7757684 w 12192185"/>
              <a:gd name="connsiteY1976" fmla="*/ 6299809 h 6859062"/>
              <a:gd name="connsiteX1977" fmla="*/ 7756903 w 12192185"/>
              <a:gd name="connsiteY1977" fmla="*/ 6303238 h 6859062"/>
              <a:gd name="connsiteX1978" fmla="*/ 7751907 w 12192185"/>
              <a:gd name="connsiteY1978" fmla="*/ 6309313 h 6859062"/>
              <a:gd name="connsiteX1979" fmla="*/ 7741840 w 12192185"/>
              <a:gd name="connsiteY1979" fmla="*/ 6317840 h 6859062"/>
              <a:gd name="connsiteX1980" fmla="*/ 7738925 w 12192185"/>
              <a:gd name="connsiteY1980" fmla="*/ 6321383 h 6859062"/>
              <a:gd name="connsiteX1981" fmla="*/ 7735166 w 12192185"/>
              <a:gd name="connsiteY1981" fmla="*/ 6322029 h 6859062"/>
              <a:gd name="connsiteX1982" fmla="*/ 7728130 w 12192185"/>
              <a:gd name="connsiteY1982" fmla="*/ 6322530 h 6859062"/>
              <a:gd name="connsiteX1983" fmla="*/ 7725581 w 12192185"/>
              <a:gd name="connsiteY1983" fmla="*/ 6323151 h 6859062"/>
              <a:gd name="connsiteX1984" fmla="*/ 7716166 w 12192185"/>
              <a:gd name="connsiteY1984" fmla="*/ 6322208 h 6859062"/>
              <a:gd name="connsiteX1985" fmla="*/ 7714033 w 12192185"/>
              <a:gd name="connsiteY1985" fmla="*/ 6322323 h 6859062"/>
              <a:gd name="connsiteX1986" fmla="*/ 7696651 w 12192185"/>
              <a:gd name="connsiteY1986" fmla="*/ 6304837 h 6859062"/>
              <a:gd name="connsiteX1987" fmla="*/ 7693026 w 12192185"/>
              <a:gd name="connsiteY1987" fmla="*/ 6291688 h 6859062"/>
              <a:gd name="connsiteX1988" fmla="*/ 7692130 w 12192185"/>
              <a:gd name="connsiteY1988" fmla="*/ 6286374 h 6859062"/>
              <a:gd name="connsiteX1989" fmla="*/ 7692951 w 12192185"/>
              <a:gd name="connsiteY1989" fmla="*/ 6281452 h 6859062"/>
              <a:gd name="connsiteX1990" fmla="*/ 7694655 w 12192185"/>
              <a:gd name="connsiteY1990" fmla="*/ 6277933 h 6859062"/>
              <a:gd name="connsiteX1991" fmla="*/ 7697844 w 12192185"/>
              <a:gd name="connsiteY1991" fmla="*/ 6270545 h 6859062"/>
              <a:gd name="connsiteX1992" fmla="*/ 7698781 w 12192185"/>
              <a:gd name="connsiteY1992" fmla="*/ 6267752 h 6859062"/>
              <a:gd name="connsiteX1993" fmla="*/ 7701202 w 12192185"/>
              <a:gd name="connsiteY1993" fmla="*/ 6261091 h 6859062"/>
              <a:gd name="connsiteX1994" fmla="*/ 7718045 w 12192185"/>
              <a:gd name="connsiteY1994" fmla="*/ 6253207 h 6859062"/>
              <a:gd name="connsiteX1995" fmla="*/ 1146984 w 12192185"/>
              <a:gd name="connsiteY1995" fmla="*/ 6234822 h 6859062"/>
              <a:gd name="connsiteX1996" fmla="*/ 1146985 w 12192185"/>
              <a:gd name="connsiteY1996" fmla="*/ 6234822 h 6859062"/>
              <a:gd name="connsiteX1997" fmla="*/ 1146986 w 12192185"/>
              <a:gd name="connsiteY1997" fmla="*/ 6234822 h 6859062"/>
              <a:gd name="connsiteX1998" fmla="*/ 1156749 w 12192185"/>
              <a:gd name="connsiteY1998" fmla="*/ 6237313 h 6859062"/>
              <a:gd name="connsiteX1999" fmla="*/ 1174579 w 12192185"/>
              <a:gd name="connsiteY1999" fmla="*/ 6247040 h 6859062"/>
              <a:gd name="connsiteX2000" fmla="*/ 1178934 w 12192185"/>
              <a:gd name="connsiteY2000" fmla="*/ 6251241 h 6859062"/>
              <a:gd name="connsiteX2001" fmla="*/ 1183285 w 12192185"/>
              <a:gd name="connsiteY2001" fmla="*/ 6257732 h 6859062"/>
              <a:gd name="connsiteX2002" fmla="*/ 1185519 w 12192185"/>
              <a:gd name="connsiteY2002" fmla="*/ 6263610 h 6859062"/>
              <a:gd name="connsiteX2003" fmla="*/ 1185917 w 12192185"/>
              <a:gd name="connsiteY2003" fmla="*/ 6278120 h 6859062"/>
              <a:gd name="connsiteX2004" fmla="*/ 1186588 w 12192185"/>
              <a:gd name="connsiteY2004" fmla="*/ 6287147 h 6859062"/>
              <a:gd name="connsiteX2005" fmla="*/ 1185541 w 12192185"/>
              <a:gd name="connsiteY2005" fmla="*/ 6290771 h 6859062"/>
              <a:gd name="connsiteX2006" fmla="*/ 1179820 w 12192185"/>
              <a:gd name="connsiteY2006" fmla="*/ 6296972 h 6859062"/>
              <a:gd name="connsiteX2007" fmla="*/ 1168519 w 12192185"/>
              <a:gd name="connsiteY2007" fmla="*/ 6305487 h 6859062"/>
              <a:gd name="connsiteX2008" fmla="*/ 1165181 w 12192185"/>
              <a:gd name="connsiteY2008" fmla="*/ 6309104 h 6859062"/>
              <a:gd name="connsiteX2009" fmla="*/ 1161117 w 12192185"/>
              <a:gd name="connsiteY2009" fmla="*/ 6309566 h 6859062"/>
              <a:gd name="connsiteX2010" fmla="*/ 1161117 w 12192185"/>
              <a:gd name="connsiteY2010" fmla="*/ 6309566 h 6859062"/>
              <a:gd name="connsiteX2011" fmla="*/ 1161115 w 12192185"/>
              <a:gd name="connsiteY2011" fmla="*/ 6309567 h 6859062"/>
              <a:gd name="connsiteX2012" fmla="*/ 1157196 w 12192185"/>
              <a:gd name="connsiteY2012" fmla="*/ 6306268 h 6859062"/>
              <a:gd name="connsiteX2013" fmla="*/ 1153552 w 12192185"/>
              <a:gd name="connsiteY2013" fmla="*/ 6309673 h 6859062"/>
              <a:gd name="connsiteX2014" fmla="*/ 1150785 w 12192185"/>
              <a:gd name="connsiteY2014" fmla="*/ 6310183 h 6859062"/>
              <a:gd name="connsiteX2015" fmla="*/ 1150784 w 12192185"/>
              <a:gd name="connsiteY2015" fmla="*/ 6310183 h 6859062"/>
              <a:gd name="connsiteX2016" fmla="*/ 1146150 w 12192185"/>
              <a:gd name="connsiteY2016" fmla="*/ 6306802 h 6859062"/>
              <a:gd name="connsiteX2017" fmla="*/ 1140760 w 12192185"/>
              <a:gd name="connsiteY2017" fmla="*/ 6308598 h 6859062"/>
              <a:gd name="connsiteX2018" fmla="*/ 1140758 w 12192185"/>
              <a:gd name="connsiteY2018" fmla="*/ 6308598 h 6859062"/>
              <a:gd name="connsiteX2019" fmla="*/ 1138468 w 12192185"/>
              <a:gd name="connsiteY2019" fmla="*/ 6308591 h 6859062"/>
              <a:gd name="connsiteX2020" fmla="*/ 1120920 w 12192185"/>
              <a:gd name="connsiteY2020" fmla="*/ 6288804 h 6859062"/>
              <a:gd name="connsiteX2021" fmla="*/ 1117843 w 12192185"/>
              <a:gd name="connsiteY2021" fmla="*/ 6274503 h 6859062"/>
              <a:gd name="connsiteX2022" fmla="*/ 1117208 w 12192185"/>
              <a:gd name="connsiteY2022" fmla="*/ 6268758 h 6859062"/>
              <a:gd name="connsiteX2023" fmla="*/ 1118387 w 12192185"/>
              <a:gd name="connsiteY2023" fmla="*/ 6263536 h 6859062"/>
              <a:gd name="connsiteX2024" fmla="*/ 1120428 w 12192185"/>
              <a:gd name="connsiteY2024" fmla="*/ 6259873 h 6859062"/>
              <a:gd name="connsiteX2025" fmla="*/ 1124293 w 12192185"/>
              <a:gd name="connsiteY2025" fmla="*/ 6252155 h 6859062"/>
              <a:gd name="connsiteX2026" fmla="*/ 1125467 w 12192185"/>
              <a:gd name="connsiteY2026" fmla="*/ 6249222 h 6859062"/>
              <a:gd name="connsiteX2027" fmla="*/ 1128466 w 12192185"/>
              <a:gd name="connsiteY2027" fmla="*/ 6242236 h 6859062"/>
              <a:gd name="connsiteX2028" fmla="*/ 1146984 w 12192185"/>
              <a:gd name="connsiteY2028" fmla="*/ 6234822 h 6859062"/>
              <a:gd name="connsiteX2029" fmla="*/ 1500181 w 12192185"/>
              <a:gd name="connsiteY2029" fmla="*/ 6234254 h 6859062"/>
              <a:gd name="connsiteX2030" fmla="*/ 1510237 w 12192185"/>
              <a:gd name="connsiteY2030" fmla="*/ 6236431 h 6859062"/>
              <a:gd name="connsiteX2031" fmla="*/ 1522965 w 12192185"/>
              <a:gd name="connsiteY2031" fmla="*/ 6243523 h 6859062"/>
              <a:gd name="connsiteX2032" fmla="*/ 1531868 w 12192185"/>
              <a:gd name="connsiteY2032" fmla="*/ 6255242 h 6859062"/>
              <a:gd name="connsiteX2033" fmla="*/ 1526177 w 12192185"/>
              <a:gd name="connsiteY2033" fmla="*/ 6277435 h 6859062"/>
              <a:gd name="connsiteX2034" fmla="*/ 1522397 w 12192185"/>
              <a:gd name="connsiteY2034" fmla="*/ 6283309 h 6859062"/>
              <a:gd name="connsiteX2035" fmla="*/ 1515726 w 12192185"/>
              <a:gd name="connsiteY2035" fmla="*/ 6299031 h 6859062"/>
              <a:gd name="connsiteX2036" fmla="*/ 1515328 w 12192185"/>
              <a:gd name="connsiteY2036" fmla="*/ 6308798 h 6859062"/>
              <a:gd name="connsiteX2037" fmla="*/ 1499492 w 12192185"/>
              <a:gd name="connsiteY2037" fmla="*/ 6326316 h 6859062"/>
              <a:gd name="connsiteX2038" fmla="*/ 1480449 w 12192185"/>
              <a:gd name="connsiteY2038" fmla="*/ 6330933 h 6859062"/>
              <a:gd name="connsiteX2039" fmla="*/ 1462205 w 12192185"/>
              <a:gd name="connsiteY2039" fmla="*/ 6323018 h 6859062"/>
              <a:gd name="connsiteX2040" fmla="*/ 1459445 w 12192185"/>
              <a:gd name="connsiteY2040" fmla="*/ 6322606 h 6859062"/>
              <a:gd name="connsiteX2041" fmla="*/ 1454104 w 12192185"/>
              <a:gd name="connsiteY2041" fmla="*/ 6312774 h 6859062"/>
              <a:gd name="connsiteX2042" fmla="*/ 1453610 w 12192185"/>
              <a:gd name="connsiteY2042" fmla="*/ 6299035 h 6859062"/>
              <a:gd name="connsiteX2043" fmla="*/ 1458412 w 12192185"/>
              <a:gd name="connsiteY2043" fmla="*/ 6286875 h 6859062"/>
              <a:gd name="connsiteX2044" fmla="*/ 1468688 w 12192185"/>
              <a:gd name="connsiteY2044" fmla="*/ 6274287 h 6859062"/>
              <a:gd name="connsiteX2045" fmla="*/ 1477674 w 12192185"/>
              <a:gd name="connsiteY2045" fmla="*/ 6260492 h 6859062"/>
              <a:gd name="connsiteX2046" fmla="*/ 1482564 w 12192185"/>
              <a:gd name="connsiteY2046" fmla="*/ 6243827 h 6859062"/>
              <a:gd name="connsiteX2047" fmla="*/ 1500181 w 12192185"/>
              <a:gd name="connsiteY2047" fmla="*/ 6234254 h 6859062"/>
              <a:gd name="connsiteX2048" fmla="*/ 5453324 w 12192185"/>
              <a:gd name="connsiteY2048" fmla="*/ 6205687 h 6859062"/>
              <a:gd name="connsiteX2049" fmla="*/ 5457123 w 12192185"/>
              <a:gd name="connsiteY2049" fmla="*/ 6206003 h 6859062"/>
              <a:gd name="connsiteX2050" fmla="*/ 5474169 w 12192185"/>
              <a:gd name="connsiteY2050" fmla="*/ 6213437 h 6859062"/>
              <a:gd name="connsiteX2051" fmla="*/ 5478907 w 12192185"/>
              <a:gd name="connsiteY2051" fmla="*/ 6221547 h 6859062"/>
              <a:gd name="connsiteX2052" fmla="*/ 5484127 w 12192185"/>
              <a:gd name="connsiteY2052" fmla="*/ 6239750 h 6859062"/>
              <a:gd name="connsiteX2053" fmla="*/ 5484190 w 12192185"/>
              <a:gd name="connsiteY2053" fmla="*/ 6245391 h 6859062"/>
              <a:gd name="connsiteX2054" fmla="*/ 5482728 w 12192185"/>
              <a:gd name="connsiteY2054" fmla="*/ 6252528 h 6859062"/>
              <a:gd name="connsiteX2055" fmla="*/ 5480292 w 12192185"/>
              <a:gd name="connsiteY2055" fmla="*/ 6257860 h 6859062"/>
              <a:gd name="connsiteX2056" fmla="*/ 5470927 w 12192185"/>
              <a:gd name="connsiteY2056" fmla="*/ 6267626 h 6859062"/>
              <a:gd name="connsiteX2057" fmla="*/ 5465373 w 12192185"/>
              <a:gd name="connsiteY2057" fmla="*/ 6273982 h 6859062"/>
              <a:gd name="connsiteX2058" fmla="*/ 5462283 w 12192185"/>
              <a:gd name="connsiteY2058" fmla="*/ 6275660 h 6859062"/>
              <a:gd name="connsiteX2059" fmla="*/ 5454427 w 12192185"/>
              <a:gd name="connsiteY2059" fmla="*/ 6275925 h 6859062"/>
              <a:gd name="connsiteX2060" fmla="*/ 5441372 w 12192185"/>
              <a:gd name="connsiteY2060" fmla="*/ 6274000 h 6859062"/>
              <a:gd name="connsiteX2061" fmla="*/ 5436788 w 12192185"/>
              <a:gd name="connsiteY2061" fmla="*/ 6274155 h 6859062"/>
              <a:gd name="connsiteX2062" fmla="*/ 5433819 w 12192185"/>
              <a:gd name="connsiteY2062" fmla="*/ 6271760 h 6859062"/>
              <a:gd name="connsiteX2063" fmla="*/ 5428800 w 12192185"/>
              <a:gd name="connsiteY2063" fmla="*/ 6266809 h 6859062"/>
              <a:gd name="connsiteX2064" fmla="*/ 5426644 w 12192185"/>
              <a:gd name="connsiteY2064" fmla="*/ 6265306 h 6859062"/>
              <a:gd name="connsiteX2065" fmla="*/ 5421138 w 12192185"/>
              <a:gd name="connsiteY2065" fmla="*/ 6257616 h 6859062"/>
              <a:gd name="connsiteX2066" fmla="*/ 5419638 w 12192185"/>
              <a:gd name="connsiteY2066" fmla="*/ 6256090 h 6859062"/>
              <a:gd name="connsiteX2067" fmla="*/ 5421283 w 12192185"/>
              <a:gd name="connsiteY2067" fmla="*/ 6231489 h 6859062"/>
              <a:gd name="connsiteX2068" fmla="*/ 5428754 w 12192185"/>
              <a:gd name="connsiteY2068" fmla="*/ 6220081 h 6859062"/>
              <a:gd name="connsiteX2069" fmla="*/ 5432152 w 12192185"/>
              <a:gd name="connsiteY2069" fmla="*/ 6215898 h 6859062"/>
              <a:gd name="connsiteX2070" fmla="*/ 5436390 w 12192185"/>
              <a:gd name="connsiteY2070" fmla="*/ 6213262 h 6859062"/>
              <a:gd name="connsiteX2071" fmla="*/ 5440157 w 12192185"/>
              <a:gd name="connsiteY2071" fmla="*/ 6212216 h 6859062"/>
              <a:gd name="connsiteX2072" fmla="*/ 5447808 w 12192185"/>
              <a:gd name="connsiteY2072" fmla="*/ 6209728 h 6859062"/>
              <a:gd name="connsiteX2073" fmla="*/ 5450528 w 12192185"/>
              <a:gd name="connsiteY2073" fmla="*/ 6208587 h 6859062"/>
              <a:gd name="connsiteX2074" fmla="*/ 5453324 w 12192185"/>
              <a:gd name="connsiteY2074" fmla="*/ 6205687 h 6859062"/>
              <a:gd name="connsiteX2075" fmla="*/ 11645733 w 12192185"/>
              <a:gd name="connsiteY2075" fmla="*/ 6195621 h 6859062"/>
              <a:gd name="connsiteX2076" fmla="*/ 11653293 w 12192185"/>
              <a:gd name="connsiteY2076" fmla="*/ 6195656 h 6859062"/>
              <a:gd name="connsiteX2077" fmla="*/ 11662822 w 12192185"/>
              <a:gd name="connsiteY2077" fmla="*/ 6197764 h 6859062"/>
              <a:gd name="connsiteX2078" fmla="*/ 11669912 w 12192185"/>
              <a:gd name="connsiteY2078" fmla="*/ 6201146 h 6859062"/>
              <a:gd name="connsiteX2079" fmla="*/ 11682791 w 12192185"/>
              <a:gd name="connsiteY2079" fmla="*/ 6213907 h 6859062"/>
              <a:gd name="connsiteX2080" fmla="*/ 11691185 w 12192185"/>
              <a:gd name="connsiteY2080" fmla="*/ 6221481 h 6859062"/>
              <a:gd name="connsiteX2081" fmla="*/ 11693368 w 12192185"/>
              <a:gd name="connsiteY2081" fmla="*/ 6225656 h 6859062"/>
              <a:gd name="connsiteX2082" fmla="*/ 11693552 w 12192185"/>
              <a:gd name="connsiteY2082" fmla="*/ 6236193 h 6859062"/>
              <a:gd name="connsiteX2083" fmla="*/ 11690692 w 12192185"/>
              <a:gd name="connsiteY2083" fmla="*/ 6253635 h 6859062"/>
              <a:gd name="connsiteX2084" fmla="*/ 11690799 w 12192185"/>
              <a:gd name="connsiteY2084" fmla="*/ 6259781 h 6859062"/>
              <a:gd name="connsiteX2085" fmla="*/ 11687527 w 12192185"/>
              <a:gd name="connsiteY2085" fmla="*/ 6263706 h 6859062"/>
              <a:gd name="connsiteX2086" fmla="*/ 11680788 w 12192185"/>
              <a:gd name="connsiteY2086" fmla="*/ 6270329 h 6859062"/>
              <a:gd name="connsiteX2087" fmla="*/ 11678727 w 12192185"/>
              <a:gd name="connsiteY2087" fmla="*/ 6273178 h 6859062"/>
              <a:gd name="connsiteX2088" fmla="*/ 11668306 w 12192185"/>
              <a:gd name="connsiteY2088" fmla="*/ 6280396 h 6859062"/>
              <a:gd name="connsiteX2089" fmla="*/ 11666232 w 12192185"/>
              <a:gd name="connsiteY2089" fmla="*/ 6282367 h 6859062"/>
              <a:gd name="connsiteX2090" fmla="*/ 11633312 w 12192185"/>
              <a:gd name="connsiteY2090" fmla="*/ 6279637 h 6859062"/>
              <a:gd name="connsiteX2091" fmla="*/ 11618191 w 12192185"/>
              <a:gd name="connsiteY2091" fmla="*/ 6269376 h 6859062"/>
              <a:gd name="connsiteX2092" fmla="*/ 11612661 w 12192185"/>
              <a:gd name="connsiteY2092" fmla="*/ 6264736 h 6859062"/>
              <a:gd name="connsiteX2093" fmla="*/ 11609220 w 12192185"/>
              <a:gd name="connsiteY2093" fmla="*/ 6259004 h 6859062"/>
              <a:gd name="connsiteX2094" fmla="*/ 11607902 w 12192185"/>
              <a:gd name="connsiteY2094" fmla="*/ 6253934 h 6859062"/>
              <a:gd name="connsiteX2095" fmla="*/ 11604734 w 12192185"/>
              <a:gd name="connsiteY2095" fmla="*/ 6243628 h 6859062"/>
              <a:gd name="connsiteX2096" fmla="*/ 11603264 w 12192185"/>
              <a:gd name="connsiteY2096" fmla="*/ 6239967 h 6859062"/>
              <a:gd name="connsiteX2097" fmla="*/ 11599944 w 12192185"/>
              <a:gd name="connsiteY2097" fmla="*/ 6231069 h 6859062"/>
              <a:gd name="connsiteX2098" fmla="*/ 11610271 w 12192185"/>
              <a:gd name="connsiteY2098" fmla="*/ 6208395 h 6859062"/>
              <a:gd name="connsiteX2099" fmla="*/ 11621238 w 12192185"/>
              <a:gd name="connsiteY2099" fmla="*/ 6202220 h 6859062"/>
              <a:gd name="connsiteX2100" fmla="*/ 11645733 w 12192185"/>
              <a:gd name="connsiteY2100" fmla="*/ 6195621 h 6859062"/>
              <a:gd name="connsiteX2101" fmla="*/ 10783451 w 12192185"/>
              <a:gd name="connsiteY2101" fmla="*/ 6186207 h 6859062"/>
              <a:gd name="connsiteX2102" fmla="*/ 10783342 w 12192185"/>
              <a:gd name="connsiteY2102" fmla="*/ 6186553 h 6859062"/>
              <a:gd name="connsiteX2103" fmla="*/ 10782978 w 12192185"/>
              <a:gd name="connsiteY2103" fmla="*/ 6186328 h 6859062"/>
              <a:gd name="connsiteX2104" fmla="*/ 8137660 w 12192185"/>
              <a:gd name="connsiteY2104" fmla="*/ 6176348 h 6859062"/>
              <a:gd name="connsiteX2105" fmla="*/ 8146879 w 12192185"/>
              <a:gd name="connsiteY2105" fmla="*/ 6178148 h 6859062"/>
              <a:gd name="connsiteX2106" fmla="*/ 8163991 w 12192185"/>
              <a:gd name="connsiteY2106" fmla="*/ 6186256 h 6859062"/>
              <a:gd name="connsiteX2107" fmla="*/ 8168269 w 12192185"/>
              <a:gd name="connsiteY2107" fmla="*/ 6189935 h 6859062"/>
              <a:gd name="connsiteX2108" fmla="*/ 8172663 w 12192185"/>
              <a:gd name="connsiteY2108" fmla="*/ 6195745 h 6859062"/>
              <a:gd name="connsiteX2109" fmla="*/ 8175054 w 12192185"/>
              <a:gd name="connsiteY2109" fmla="*/ 6201100 h 6859062"/>
              <a:gd name="connsiteX2110" fmla="*/ 8176195 w 12192185"/>
              <a:gd name="connsiteY2110" fmla="*/ 6214584 h 6859062"/>
              <a:gd name="connsiteX2111" fmla="*/ 8177299 w 12192185"/>
              <a:gd name="connsiteY2111" fmla="*/ 6222950 h 6859062"/>
              <a:gd name="connsiteX2112" fmla="*/ 8176517 w 12192185"/>
              <a:gd name="connsiteY2112" fmla="*/ 6226379 h 6859062"/>
              <a:gd name="connsiteX2113" fmla="*/ 8171521 w 12192185"/>
              <a:gd name="connsiteY2113" fmla="*/ 6232454 h 6859062"/>
              <a:gd name="connsiteX2114" fmla="*/ 8161453 w 12192185"/>
              <a:gd name="connsiteY2114" fmla="*/ 6240981 h 6859062"/>
              <a:gd name="connsiteX2115" fmla="*/ 8158538 w 12192185"/>
              <a:gd name="connsiteY2115" fmla="*/ 6244524 h 6859062"/>
              <a:gd name="connsiteX2116" fmla="*/ 8154780 w 12192185"/>
              <a:gd name="connsiteY2116" fmla="*/ 6245170 h 6859062"/>
              <a:gd name="connsiteX2117" fmla="*/ 8147744 w 12192185"/>
              <a:gd name="connsiteY2117" fmla="*/ 6245671 h 6859062"/>
              <a:gd name="connsiteX2118" fmla="*/ 8145196 w 12192185"/>
              <a:gd name="connsiteY2118" fmla="*/ 6246292 h 6859062"/>
              <a:gd name="connsiteX2119" fmla="*/ 8135780 w 12192185"/>
              <a:gd name="connsiteY2119" fmla="*/ 6245350 h 6859062"/>
              <a:gd name="connsiteX2120" fmla="*/ 8133647 w 12192185"/>
              <a:gd name="connsiteY2120" fmla="*/ 6245465 h 6859062"/>
              <a:gd name="connsiteX2121" fmla="*/ 8116265 w 12192185"/>
              <a:gd name="connsiteY2121" fmla="*/ 6227978 h 6859062"/>
              <a:gd name="connsiteX2122" fmla="*/ 8112640 w 12192185"/>
              <a:gd name="connsiteY2122" fmla="*/ 6214829 h 6859062"/>
              <a:gd name="connsiteX2123" fmla="*/ 8111745 w 12192185"/>
              <a:gd name="connsiteY2123" fmla="*/ 6209515 h 6859062"/>
              <a:gd name="connsiteX2124" fmla="*/ 8112565 w 12192185"/>
              <a:gd name="connsiteY2124" fmla="*/ 6204593 h 6859062"/>
              <a:gd name="connsiteX2125" fmla="*/ 8114269 w 12192185"/>
              <a:gd name="connsiteY2125" fmla="*/ 6201074 h 6859062"/>
              <a:gd name="connsiteX2126" fmla="*/ 8117458 w 12192185"/>
              <a:gd name="connsiteY2126" fmla="*/ 6193686 h 6859062"/>
              <a:gd name="connsiteX2127" fmla="*/ 8118395 w 12192185"/>
              <a:gd name="connsiteY2127" fmla="*/ 6190894 h 6859062"/>
              <a:gd name="connsiteX2128" fmla="*/ 8120816 w 12192185"/>
              <a:gd name="connsiteY2128" fmla="*/ 6184232 h 6859062"/>
              <a:gd name="connsiteX2129" fmla="*/ 8137660 w 12192185"/>
              <a:gd name="connsiteY2129" fmla="*/ 6176348 h 6859062"/>
              <a:gd name="connsiteX2130" fmla="*/ 1086212 w 12192185"/>
              <a:gd name="connsiteY2130" fmla="*/ 6170798 h 6859062"/>
              <a:gd name="connsiteX2131" fmla="*/ 1089748 w 12192185"/>
              <a:gd name="connsiteY2131" fmla="*/ 6171090 h 6859062"/>
              <a:gd name="connsiteX2132" fmla="*/ 1105610 w 12192185"/>
              <a:gd name="connsiteY2132" fmla="*/ 6178009 h 6859062"/>
              <a:gd name="connsiteX2133" fmla="*/ 1110021 w 12192185"/>
              <a:gd name="connsiteY2133" fmla="*/ 6185557 h 6859062"/>
              <a:gd name="connsiteX2134" fmla="*/ 1114879 w 12192185"/>
              <a:gd name="connsiteY2134" fmla="*/ 6202495 h 6859062"/>
              <a:gd name="connsiteX2135" fmla="*/ 1114939 w 12192185"/>
              <a:gd name="connsiteY2135" fmla="*/ 6207745 h 6859062"/>
              <a:gd name="connsiteX2136" fmla="*/ 1113582 w 12192185"/>
              <a:gd name="connsiteY2136" fmla="*/ 6214387 h 6859062"/>
              <a:gd name="connsiteX2137" fmla="*/ 1111312 w 12192185"/>
              <a:gd name="connsiteY2137" fmla="*/ 6219349 h 6859062"/>
              <a:gd name="connsiteX2138" fmla="*/ 1102595 w 12192185"/>
              <a:gd name="connsiteY2138" fmla="*/ 6228436 h 6859062"/>
              <a:gd name="connsiteX2139" fmla="*/ 1097429 w 12192185"/>
              <a:gd name="connsiteY2139" fmla="*/ 6234351 h 6859062"/>
              <a:gd name="connsiteX2140" fmla="*/ 1094553 w 12192185"/>
              <a:gd name="connsiteY2140" fmla="*/ 6235913 h 6859062"/>
              <a:gd name="connsiteX2141" fmla="*/ 1087238 w 12192185"/>
              <a:gd name="connsiteY2141" fmla="*/ 6236158 h 6859062"/>
              <a:gd name="connsiteX2142" fmla="*/ 1075092 w 12192185"/>
              <a:gd name="connsiteY2142" fmla="*/ 6234367 h 6859062"/>
              <a:gd name="connsiteX2143" fmla="*/ 1070824 w 12192185"/>
              <a:gd name="connsiteY2143" fmla="*/ 6234511 h 6859062"/>
              <a:gd name="connsiteX2144" fmla="*/ 1068062 w 12192185"/>
              <a:gd name="connsiteY2144" fmla="*/ 6232283 h 6859062"/>
              <a:gd name="connsiteX2145" fmla="*/ 1063387 w 12192185"/>
              <a:gd name="connsiteY2145" fmla="*/ 6227677 h 6859062"/>
              <a:gd name="connsiteX2146" fmla="*/ 1061385 w 12192185"/>
              <a:gd name="connsiteY2146" fmla="*/ 6226277 h 6859062"/>
              <a:gd name="connsiteX2147" fmla="*/ 1056255 w 12192185"/>
              <a:gd name="connsiteY2147" fmla="*/ 6219120 h 6859062"/>
              <a:gd name="connsiteX2148" fmla="*/ 1054863 w 12192185"/>
              <a:gd name="connsiteY2148" fmla="*/ 6217702 h 6859062"/>
              <a:gd name="connsiteX2149" fmla="*/ 1056390 w 12192185"/>
              <a:gd name="connsiteY2149" fmla="*/ 6194808 h 6859062"/>
              <a:gd name="connsiteX2150" fmla="*/ 1063348 w 12192185"/>
              <a:gd name="connsiteY2150" fmla="*/ 6184192 h 6859062"/>
              <a:gd name="connsiteX2151" fmla="*/ 1066509 w 12192185"/>
              <a:gd name="connsiteY2151" fmla="*/ 6180299 h 6859062"/>
              <a:gd name="connsiteX2152" fmla="*/ 1070451 w 12192185"/>
              <a:gd name="connsiteY2152" fmla="*/ 6177846 h 6859062"/>
              <a:gd name="connsiteX2153" fmla="*/ 1073958 w 12192185"/>
              <a:gd name="connsiteY2153" fmla="*/ 6176873 h 6859062"/>
              <a:gd name="connsiteX2154" fmla="*/ 1081079 w 12192185"/>
              <a:gd name="connsiteY2154" fmla="*/ 6174557 h 6859062"/>
              <a:gd name="connsiteX2155" fmla="*/ 1083605 w 12192185"/>
              <a:gd name="connsiteY2155" fmla="*/ 6173496 h 6859062"/>
              <a:gd name="connsiteX2156" fmla="*/ 1086212 w 12192185"/>
              <a:gd name="connsiteY2156" fmla="*/ 6170798 h 6859062"/>
              <a:gd name="connsiteX2157" fmla="*/ 893435 w 12192185"/>
              <a:gd name="connsiteY2157" fmla="*/ 6150484 h 6859062"/>
              <a:gd name="connsiteX2158" fmla="*/ 896587 w 12192185"/>
              <a:gd name="connsiteY2158" fmla="*/ 6152201 h 6859062"/>
              <a:gd name="connsiteX2159" fmla="*/ 898084 w 12192185"/>
              <a:gd name="connsiteY2159" fmla="*/ 6154214 h 6859062"/>
              <a:gd name="connsiteX2160" fmla="*/ 905907 w 12192185"/>
              <a:gd name="connsiteY2160" fmla="*/ 6153393 h 6859062"/>
              <a:gd name="connsiteX2161" fmla="*/ 906730 w 12192185"/>
              <a:gd name="connsiteY2161" fmla="*/ 6151937 h 6859062"/>
              <a:gd name="connsiteX2162" fmla="*/ 909617 w 12192185"/>
              <a:gd name="connsiteY2162" fmla="*/ 6150571 h 6859062"/>
              <a:gd name="connsiteX2163" fmla="*/ 910349 w 12192185"/>
              <a:gd name="connsiteY2163" fmla="*/ 6153402 h 6859062"/>
              <a:gd name="connsiteX2164" fmla="*/ 909172 w 12192185"/>
              <a:gd name="connsiteY2164" fmla="*/ 6156059 h 6859062"/>
              <a:gd name="connsiteX2165" fmla="*/ 910397 w 12192185"/>
              <a:gd name="connsiteY2165" fmla="*/ 6159429 h 6859062"/>
              <a:gd name="connsiteX2166" fmla="*/ 918052 w 12192185"/>
              <a:gd name="connsiteY2166" fmla="*/ 6167580 h 6859062"/>
              <a:gd name="connsiteX2167" fmla="*/ 925264 w 12192185"/>
              <a:gd name="connsiteY2167" fmla="*/ 6178998 h 6859062"/>
              <a:gd name="connsiteX2168" fmla="*/ 925388 w 12192185"/>
              <a:gd name="connsiteY2168" fmla="*/ 6182564 h 6859062"/>
              <a:gd name="connsiteX2169" fmla="*/ 926052 w 12192185"/>
              <a:gd name="connsiteY2169" fmla="*/ 6192696 h 6859062"/>
              <a:gd name="connsiteX2170" fmla="*/ 925808 w 12192185"/>
              <a:gd name="connsiteY2170" fmla="*/ 6194847 h 6859062"/>
              <a:gd name="connsiteX2171" fmla="*/ 921280 w 12192185"/>
              <a:gd name="connsiteY2171" fmla="*/ 6206186 h 6859062"/>
              <a:gd name="connsiteX2172" fmla="*/ 909550 w 12192185"/>
              <a:gd name="connsiteY2172" fmla="*/ 6218008 h 6859062"/>
              <a:gd name="connsiteX2173" fmla="*/ 905822 w 12192185"/>
              <a:gd name="connsiteY2173" fmla="*/ 6222657 h 6859062"/>
              <a:gd name="connsiteX2174" fmla="*/ 898717 w 12192185"/>
              <a:gd name="connsiteY2174" fmla="*/ 6225912 h 6859062"/>
              <a:gd name="connsiteX2175" fmla="*/ 892617 w 12192185"/>
              <a:gd name="connsiteY2175" fmla="*/ 6228419 h 6859062"/>
              <a:gd name="connsiteX2176" fmla="*/ 890365 w 12192185"/>
              <a:gd name="connsiteY2176" fmla="*/ 6229844 h 6859062"/>
              <a:gd name="connsiteX2177" fmla="*/ 874782 w 12192185"/>
              <a:gd name="connsiteY2177" fmla="*/ 6226406 h 6859062"/>
              <a:gd name="connsiteX2178" fmla="*/ 865093 w 12192185"/>
              <a:gd name="connsiteY2178" fmla="*/ 6220587 h 6859062"/>
              <a:gd name="connsiteX2179" fmla="*/ 864378 w 12192185"/>
              <a:gd name="connsiteY2179" fmla="*/ 6227868 h 6859062"/>
              <a:gd name="connsiteX2180" fmla="*/ 864054 w 12192185"/>
              <a:gd name="connsiteY2180" fmla="*/ 6233898 h 6859062"/>
              <a:gd name="connsiteX2181" fmla="*/ 861485 w 12192185"/>
              <a:gd name="connsiteY2181" fmla="*/ 6241164 h 6859062"/>
              <a:gd name="connsiteX2182" fmla="*/ 856304 w 12192185"/>
              <a:gd name="connsiteY2182" fmla="*/ 6247675 h 6859062"/>
              <a:gd name="connsiteX2183" fmla="*/ 841581 w 12192185"/>
              <a:gd name="connsiteY2183" fmla="*/ 6262737 h 6859062"/>
              <a:gd name="connsiteX2184" fmla="*/ 805025 w 12192185"/>
              <a:gd name="connsiteY2184" fmla="*/ 6273380 h 6859062"/>
              <a:gd name="connsiteX2185" fmla="*/ 802229 w 12192185"/>
              <a:gd name="connsiteY2185" fmla="*/ 6271631 h 6859062"/>
              <a:gd name="connsiteX2186" fmla="*/ 788800 w 12192185"/>
              <a:gd name="connsiteY2186" fmla="*/ 6265871 h 6859062"/>
              <a:gd name="connsiteX2187" fmla="*/ 785819 w 12192185"/>
              <a:gd name="connsiteY2187" fmla="*/ 6263127 h 6859062"/>
              <a:gd name="connsiteX2188" fmla="*/ 776685 w 12192185"/>
              <a:gd name="connsiteY2188" fmla="*/ 6257194 h 6859062"/>
              <a:gd name="connsiteX2189" fmla="*/ 772088 w 12192185"/>
              <a:gd name="connsiteY2189" fmla="*/ 6253512 h 6859062"/>
              <a:gd name="connsiteX2190" fmla="*/ 770798 w 12192185"/>
              <a:gd name="connsiteY2190" fmla="*/ 6246545 h 6859062"/>
              <a:gd name="connsiteX2191" fmla="*/ 763562 w 12192185"/>
              <a:gd name="connsiteY2191" fmla="*/ 6227500 h 6859062"/>
              <a:gd name="connsiteX2192" fmla="*/ 761349 w 12192185"/>
              <a:gd name="connsiteY2192" fmla="*/ 6215558 h 6859062"/>
              <a:gd name="connsiteX2193" fmla="*/ 762855 w 12192185"/>
              <a:gd name="connsiteY2193" fmla="*/ 6210341 h 6859062"/>
              <a:gd name="connsiteX2194" fmla="*/ 770597 w 12192185"/>
              <a:gd name="connsiteY2194" fmla="*/ 6199858 h 6859062"/>
              <a:gd name="connsiteX2195" fmla="*/ 775186 w 12192185"/>
              <a:gd name="connsiteY2195" fmla="*/ 6192996 h 6859062"/>
              <a:gd name="connsiteX2196" fmla="*/ 775089 w 12192185"/>
              <a:gd name="connsiteY2196" fmla="*/ 6191780 h 6859062"/>
              <a:gd name="connsiteX2197" fmla="*/ 777811 w 12192185"/>
              <a:gd name="connsiteY2197" fmla="*/ 6187879 h 6859062"/>
              <a:gd name="connsiteX2198" fmla="*/ 786499 w 12192185"/>
              <a:gd name="connsiteY2198" fmla="*/ 6175288 h 6859062"/>
              <a:gd name="connsiteX2199" fmla="*/ 787027 w 12192185"/>
              <a:gd name="connsiteY2199" fmla="*/ 6172176 h 6859062"/>
              <a:gd name="connsiteX2200" fmla="*/ 790505 w 12192185"/>
              <a:gd name="connsiteY2200" fmla="*/ 6174121 h 6859062"/>
              <a:gd name="connsiteX2201" fmla="*/ 790759 w 12192185"/>
              <a:gd name="connsiteY2201" fmla="*/ 6174589 h 6859062"/>
              <a:gd name="connsiteX2202" fmla="*/ 794845 w 12192185"/>
              <a:gd name="connsiteY2202" fmla="*/ 6174638 h 6859062"/>
              <a:gd name="connsiteX2203" fmla="*/ 799724 w 12192185"/>
              <a:gd name="connsiteY2203" fmla="*/ 6172469 h 6859062"/>
              <a:gd name="connsiteX2204" fmla="*/ 803969 w 12192185"/>
              <a:gd name="connsiteY2204" fmla="*/ 6171584 h 6859062"/>
              <a:gd name="connsiteX2205" fmla="*/ 805150 w 12192185"/>
              <a:gd name="connsiteY2205" fmla="*/ 6171007 h 6859062"/>
              <a:gd name="connsiteX2206" fmla="*/ 816866 w 12192185"/>
              <a:gd name="connsiteY2206" fmla="*/ 6168071 h 6859062"/>
              <a:gd name="connsiteX2207" fmla="*/ 819663 w 12192185"/>
              <a:gd name="connsiteY2207" fmla="*/ 6168631 h 6859062"/>
              <a:gd name="connsiteX2208" fmla="*/ 823181 w 12192185"/>
              <a:gd name="connsiteY2208" fmla="*/ 6167995 h 6859062"/>
              <a:gd name="connsiteX2209" fmla="*/ 831941 w 12192185"/>
              <a:gd name="connsiteY2209" fmla="*/ 6170776 h 6859062"/>
              <a:gd name="connsiteX2210" fmla="*/ 832508 w 12192185"/>
              <a:gd name="connsiteY2210" fmla="*/ 6170874 h 6859062"/>
              <a:gd name="connsiteX2211" fmla="*/ 832658 w 12192185"/>
              <a:gd name="connsiteY2211" fmla="*/ 6171004 h 6859062"/>
              <a:gd name="connsiteX2212" fmla="*/ 837438 w 12192185"/>
              <a:gd name="connsiteY2212" fmla="*/ 6172522 h 6859062"/>
              <a:gd name="connsiteX2213" fmla="*/ 847334 w 12192185"/>
              <a:gd name="connsiteY2213" fmla="*/ 6175716 h 6859062"/>
              <a:gd name="connsiteX2214" fmla="*/ 848445 w 12192185"/>
              <a:gd name="connsiteY2214" fmla="*/ 6175333 h 6859062"/>
              <a:gd name="connsiteX2215" fmla="*/ 851653 w 12192185"/>
              <a:gd name="connsiteY2215" fmla="*/ 6176414 h 6859062"/>
              <a:gd name="connsiteX2216" fmla="*/ 856904 w 12192185"/>
              <a:gd name="connsiteY2216" fmla="*/ 6174569 h 6859062"/>
              <a:gd name="connsiteX2217" fmla="*/ 853684 w 12192185"/>
              <a:gd name="connsiteY2217" fmla="*/ 6170870 h 6859062"/>
              <a:gd name="connsiteX2218" fmla="*/ 849260 w 12192185"/>
              <a:gd name="connsiteY2218" fmla="*/ 6169038 h 6859062"/>
              <a:gd name="connsiteX2219" fmla="*/ 849591 w 12192185"/>
              <a:gd name="connsiteY2219" fmla="*/ 6164822 h 6859062"/>
              <a:gd name="connsiteX2220" fmla="*/ 860329 w 12192185"/>
              <a:gd name="connsiteY2220" fmla="*/ 6163426 h 6859062"/>
              <a:gd name="connsiteX2221" fmla="*/ 868893 w 12192185"/>
              <a:gd name="connsiteY2221" fmla="*/ 6158772 h 6859062"/>
              <a:gd name="connsiteX2222" fmla="*/ 870627 w 12192185"/>
              <a:gd name="connsiteY2222" fmla="*/ 6153795 h 6859062"/>
              <a:gd name="connsiteX2223" fmla="*/ 871832 w 12192185"/>
              <a:gd name="connsiteY2223" fmla="*/ 6151929 h 6859062"/>
              <a:gd name="connsiteX2224" fmla="*/ 873698 w 12192185"/>
              <a:gd name="connsiteY2224" fmla="*/ 6153135 h 6859062"/>
              <a:gd name="connsiteX2225" fmla="*/ 878590 w 12192185"/>
              <a:gd name="connsiteY2225" fmla="*/ 6154715 h 6859062"/>
              <a:gd name="connsiteX2226" fmla="*/ 887799 w 12192185"/>
              <a:gd name="connsiteY2226" fmla="*/ 6154959 h 6859062"/>
              <a:gd name="connsiteX2227" fmla="*/ 891621 w 12192185"/>
              <a:gd name="connsiteY2227" fmla="*/ 6153084 h 6859062"/>
              <a:gd name="connsiteX2228" fmla="*/ 893435 w 12192185"/>
              <a:gd name="connsiteY2228" fmla="*/ 6150484 h 6859062"/>
              <a:gd name="connsiteX2229" fmla="*/ 785989 w 12192185"/>
              <a:gd name="connsiteY2229" fmla="*/ 6149678 h 6859062"/>
              <a:gd name="connsiteX2230" fmla="*/ 786267 w 12192185"/>
              <a:gd name="connsiteY2230" fmla="*/ 6149988 h 6859062"/>
              <a:gd name="connsiteX2231" fmla="*/ 785902 w 12192185"/>
              <a:gd name="connsiteY2231" fmla="*/ 6149972 h 6859062"/>
              <a:gd name="connsiteX2232" fmla="*/ 11114116 w 12192185"/>
              <a:gd name="connsiteY2232" fmla="*/ 6133606 h 6859062"/>
              <a:gd name="connsiteX2233" fmla="*/ 11124427 w 12192185"/>
              <a:gd name="connsiteY2233" fmla="*/ 6134465 h 6859062"/>
              <a:gd name="connsiteX2234" fmla="*/ 11131217 w 12192185"/>
              <a:gd name="connsiteY2234" fmla="*/ 6137164 h 6859062"/>
              <a:gd name="connsiteX2235" fmla="*/ 11137812 w 12192185"/>
              <a:gd name="connsiteY2235" fmla="*/ 6149783 h 6859062"/>
              <a:gd name="connsiteX2236" fmla="*/ 11134096 w 12192185"/>
              <a:gd name="connsiteY2236" fmla="*/ 6161543 h 6859062"/>
              <a:gd name="connsiteX2237" fmla="*/ 11133930 w 12192185"/>
              <a:gd name="connsiteY2237" fmla="*/ 6173233 h 6859062"/>
              <a:gd name="connsiteX2238" fmla="*/ 11135004 w 12192185"/>
              <a:gd name="connsiteY2238" fmla="*/ 6184721 h 6859062"/>
              <a:gd name="connsiteX2239" fmla="*/ 11133019 w 12192185"/>
              <a:gd name="connsiteY2239" fmla="*/ 6193790 h 6859062"/>
              <a:gd name="connsiteX2240" fmla="*/ 11127288 w 12192185"/>
              <a:gd name="connsiteY2240" fmla="*/ 6201695 h 6859062"/>
              <a:gd name="connsiteX2241" fmla="*/ 11120246 w 12192185"/>
              <a:gd name="connsiteY2241" fmla="*/ 6205376 h 6859062"/>
              <a:gd name="connsiteX2242" fmla="*/ 11118457 w 12192185"/>
              <a:gd name="connsiteY2242" fmla="*/ 6204525 h 6859062"/>
              <a:gd name="connsiteX2243" fmla="*/ 11104569 w 12192185"/>
              <a:gd name="connsiteY2243" fmla="*/ 6201966 h 6859062"/>
              <a:gd name="connsiteX2244" fmla="*/ 11095170 w 12192185"/>
              <a:gd name="connsiteY2244" fmla="*/ 6191704 h 6859062"/>
              <a:gd name="connsiteX2245" fmla="*/ 11092772 w 12192185"/>
              <a:gd name="connsiteY2245" fmla="*/ 6175107 h 6859062"/>
              <a:gd name="connsiteX2246" fmla="*/ 11096404 w 12192185"/>
              <a:gd name="connsiteY2246" fmla="*/ 6169193 h 6859062"/>
              <a:gd name="connsiteX2247" fmla="*/ 11098698 w 12192185"/>
              <a:gd name="connsiteY2247" fmla="*/ 6157284 h 6859062"/>
              <a:gd name="connsiteX2248" fmla="*/ 11098796 w 12192185"/>
              <a:gd name="connsiteY2248" fmla="*/ 6152324 h 6859062"/>
              <a:gd name="connsiteX2249" fmla="*/ 11104228 w 12192185"/>
              <a:gd name="connsiteY2249" fmla="*/ 6136989 h 6859062"/>
              <a:gd name="connsiteX2250" fmla="*/ 11114116 w 12192185"/>
              <a:gd name="connsiteY2250" fmla="*/ 6133606 h 6859062"/>
              <a:gd name="connsiteX2251" fmla="*/ 1546784 w 12192185"/>
              <a:gd name="connsiteY2251" fmla="*/ 6118317 h 6859062"/>
              <a:gd name="connsiteX2252" fmla="*/ 1562181 w 12192185"/>
              <a:gd name="connsiteY2252" fmla="*/ 6125434 h 6859062"/>
              <a:gd name="connsiteX2253" fmla="*/ 1573318 w 12192185"/>
              <a:gd name="connsiteY2253" fmla="*/ 6138003 h 6859062"/>
              <a:gd name="connsiteX2254" fmla="*/ 1578261 w 12192185"/>
              <a:gd name="connsiteY2254" fmla="*/ 6148785 h 6859062"/>
              <a:gd name="connsiteX2255" fmla="*/ 1571852 w 12192185"/>
              <a:gd name="connsiteY2255" fmla="*/ 6170988 h 6859062"/>
              <a:gd name="connsiteX2256" fmla="*/ 1554305 w 12192185"/>
              <a:gd name="connsiteY2256" fmla="*/ 6180623 h 6859062"/>
              <a:gd name="connsiteX2257" fmla="*/ 1541003 w 12192185"/>
              <a:gd name="connsiteY2257" fmla="*/ 6194155 h 6859062"/>
              <a:gd name="connsiteX2258" fmla="*/ 1529380 w 12192185"/>
              <a:gd name="connsiteY2258" fmla="*/ 6208841 h 6859062"/>
              <a:gd name="connsiteX2259" fmla="*/ 1516883 w 12192185"/>
              <a:gd name="connsiteY2259" fmla="*/ 6217262 h 6859062"/>
              <a:gd name="connsiteX2260" fmla="*/ 1501294 w 12192185"/>
              <a:gd name="connsiteY2260" fmla="*/ 6220112 h 6859062"/>
              <a:gd name="connsiteX2261" fmla="*/ 1488903 w 12192185"/>
              <a:gd name="connsiteY2261" fmla="*/ 6216535 h 6859062"/>
              <a:gd name="connsiteX2262" fmla="*/ 1487756 w 12192185"/>
              <a:gd name="connsiteY2262" fmla="*/ 6213531 h 6859062"/>
              <a:gd name="connsiteX2263" fmla="*/ 1474325 w 12192185"/>
              <a:gd name="connsiteY2263" fmla="*/ 6194955 h 6859062"/>
              <a:gd name="connsiteX2264" fmla="*/ 1474802 w 12192185"/>
              <a:gd name="connsiteY2264" fmla="*/ 6172376 h 6859062"/>
              <a:gd name="connsiteX2265" fmla="*/ 1490597 w 12192185"/>
              <a:gd name="connsiteY2265" fmla="*/ 6150208 h 6859062"/>
              <a:gd name="connsiteX2266" fmla="*/ 1501492 w 12192185"/>
              <a:gd name="connsiteY2266" fmla="*/ 6147338 h 6859062"/>
              <a:gd name="connsiteX2267" fmla="*/ 1517537 w 12192185"/>
              <a:gd name="connsiteY2267" fmla="*/ 6135933 h 6859062"/>
              <a:gd name="connsiteX2268" fmla="*/ 1523212 w 12192185"/>
              <a:gd name="connsiteY2268" fmla="*/ 6130222 h 6859062"/>
              <a:gd name="connsiteX2269" fmla="*/ 1546784 w 12192185"/>
              <a:gd name="connsiteY2269" fmla="*/ 6118317 h 6859062"/>
              <a:gd name="connsiteX2270" fmla="*/ 2020447 w 12192185"/>
              <a:gd name="connsiteY2270" fmla="*/ 6105797 h 6859062"/>
              <a:gd name="connsiteX2271" fmla="*/ 2018465 w 12192185"/>
              <a:gd name="connsiteY2271" fmla="*/ 6107814 h 6859062"/>
              <a:gd name="connsiteX2272" fmla="*/ 2010212 w 12192185"/>
              <a:gd name="connsiteY2272" fmla="*/ 6118243 h 6859062"/>
              <a:gd name="connsiteX2273" fmla="*/ 2005737 w 12192185"/>
              <a:gd name="connsiteY2273" fmla="*/ 6121257 h 6859062"/>
              <a:gd name="connsiteX2274" fmla="*/ 2103452 w 12192185"/>
              <a:gd name="connsiteY2274" fmla="*/ 6187855 h 6859062"/>
              <a:gd name="connsiteX2275" fmla="*/ 2354403 w 12192185"/>
              <a:gd name="connsiteY2275" fmla="*/ 6334019 h 6859062"/>
              <a:gd name="connsiteX2276" fmla="*/ 2364537 w 12192185"/>
              <a:gd name="connsiteY2276" fmla="*/ 6338972 h 6859062"/>
              <a:gd name="connsiteX2277" fmla="*/ 2365331 w 12192185"/>
              <a:gd name="connsiteY2277" fmla="*/ 6336988 h 6859062"/>
              <a:gd name="connsiteX2278" fmla="*/ 2368331 w 12192185"/>
              <a:gd name="connsiteY2278" fmla="*/ 6330002 h 6859062"/>
              <a:gd name="connsiteX2279" fmla="*/ 2377252 w 12192185"/>
              <a:gd name="connsiteY2279" fmla="*/ 6325339 h 6859062"/>
              <a:gd name="connsiteX2280" fmla="*/ 2382683 w 12192185"/>
              <a:gd name="connsiteY2280" fmla="*/ 6323782 h 6859062"/>
              <a:gd name="connsiteX2281" fmla="*/ 2305710 w 12192185"/>
              <a:gd name="connsiteY2281" fmla="*/ 6284079 h 6859062"/>
              <a:gd name="connsiteX2282" fmla="*/ 2026223 w 12192185"/>
              <a:gd name="connsiteY2282" fmla="*/ 6108861 h 6859062"/>
              <a:gd name="connsiteX2283" fmla="*/ 9958716 w 12192185"/>
              <a:gd name="connsiteY2283" fmla="*/ 6095819 h 6859062"/>
              <a:gd name="connsiteX2284" fmla="*/ 9957760 w 12192185"/>
              <a:gd name="connsiteY2284" fmla="*/ 6096084 h 6859062"/>
              <a:gd name="connsiteX2285" fmla="*/ 9901208 w 12192185"/>
              <a:gd name="connsiteY2285" fmla="*/ 6117114 h 6859062"/>
              <a:gd name="connsiteX2286" fmla="*/ 9928866 w 12192185"/>
              <a:gd name="connsiteY2286" fmla="*/ 6115556 h 6859062"/>
              <a:gd name="connsiteX2287" fmla="*/ 9931050 w 12192185"/>
              <a:gd name="connsiteY2287" fmla="*/ 6116331 h 6859062"/>
              <a:gd name="connsiteX2288" fmla="*/ 9933860 w 12192185"/>
              <a:gd name="connsiteY2288" fmla="*/ 6115590 h 6859062"/>
              <a:gd name="connsiteX2289" fmla="*/ 9949905 w 12192185"/>
              <a:gd name="connsiteY2289" fmla="*/ 6104185 h 6859062"/>
              <a:gd name="connsiteX2290" fmla="*/ 9955581 w 12192185"/>
              <a:gd name="connsiteY2290" fmla="*/ 6098474 h 6859062"/>
              <a:gd name="connsiteX2291" fmla="*/ 7253326 w 12192185"/>
              <a:gd name="connsiteY2291" fmla="*/ 6087735 h 6859062"/>
              <a:gd name="connsiteX2292" fmla="*/ 7253765 w 12192185"/>
              <a:gd name="connsiteY2292" fmla="*/ 6087951 h 6859062"/>
              <a:gd name="connsiteX2293" fmla="*/ 7253459 w 12192185"/>
              <a:gd name="connsiteY2293" fmla="*/ 6088142 h 6859062"/>
              <a:gd name="connsiteX2294" fmla="*/ 7667994 w 12192185"/>
              <a:gd name="connsiteY2294" fmla="*/ 6046925 h 6859062"/>
              <a:gd name="connsiteX2295" fmla="*/ 7676574 w 12192185"/>
              <a:gd name="connsiteY2295" fmla="*/ 6048601 h 6859062"/>
              <a:gd name="connsiteX2296" fmla="*/ 7692498 w 12192185"/>
              <a:gd name="connsiteY2296" fmla="*/ 6056144 h 6859062"/>
              <a:gd name="connsiteX2297" fmla="*/ 7696478 w 12192185"/>
              <a:gd name="connsiteY2297" fmla="*/ 6059569 h 6859062"/>
              <a:gd name="connsiteX2298" fmla="*/ 7700568 w 12192185"/>
              <a:gd name="connsiteY2298" fmla="*/ 6064976 h 6859062"/>
              <a:gd name="connsiteX2299" fmla="*/ 7702793 w 12192185"/>
              <a:gd name="connsiteY2299" fmla="*/ 6069958 h 6859062"/>
              <a:gd name="connsiteX2300" fmla="*/ 7703854 w 12192185"/>
              <a:gd name="connsiteY2300" fmla="*/ 6082507 h 6859062"/>
              <a:gd name="connsiteX2301" fmla="*/ 7704880 w 12192185"/>
              <a:gd name="connsiteY2301" fmla="*/ 6090292 h 6859062"/>
              <a:gd name="connsiteX2302" fmla="*/ 7704154 w 12192185"/>
              <a:gd name="connsiteY2302" fmla="*/ 6093483 h 6859062"/>
              <a:gd name="connsiteX2303" fmla="*/ 7699506 w 12192185"/>
              <a:gd name="connsiteY2303" fmla="*/ 6099136 h 6859062"/>
              <a:gd name="connsiteX2304" fmla="*/ 7690136 w 12192185"/>
              <a:gd name="connsiteY2304" fmla="*/ 6107070 h 6859062"/>
              <a:gd name="connsiteX2305" fmla="*/ 7687424 w 12192185"/>
              <a:gd name="connsiteY2305" fmla="*/ 6110368 h 6859062"/>
              <a:gd name="connsiteX2306" fmla="*/ 7683926 w 12192185"/>
              <a:gd name="connsiteY2306" fmla="*/ 6110969 h 6859062"/>
              <a:gd name="connsiteX2307" fmla="*/ 7677378 w 12192185"/>
              <a:gd name="connsiteY2307" fmla="*/ 6111435 h 6859062"/>
              <a:gd name="connsiteX2308" fmla="*/ 7675007 w 12192185"/>
              <a:gd name="connsiteY2308" fmla="*/ 6112014 h 6859062"/>
              <a:gd name="connsiteX2309" fmla="*/ 7666245 w 12192185"/>
              <a:gd name="connsiteY2309" fmla="*/ 6111136 h 6859062"/>
              <a:gd name="connsiteX2310" fmla="*/ 7664260 w 12192185"/>
              <a:gd name="connsiteY2310" fmla="*/ 6111244 h 6859062"/>
              <a:gd name="connsiteX2311" fmla="*/ 7648085 w 12192185"/>
              <a:gd name="connsiteY2311" fmla="*/ 6094971 h 6859062"/>
              <a:gd name="connsiteX2312" fmla="*/ 7644711 w 12192185"/>
              <a:gd name="connsiteY2312" fmla="*/ 6082735 h 6859062"/>
              <a:gd name="connsiteX2313" fmla="*/ 7643878 w 12192185"/>
              <a:gd name="connsiteY2313" fmla="*/ 6077790 h 6859062"/>
              <a:gd name="connsiteX2314" fmla="*/ 7644642 w 12192185"/>
              <a:gd name="connsiteY2314" fmla="*/ 6073209 h 6859062"/>
              <a:gd name="connsiteX2315" fmla="*/ 7646228 w 12192185"/>
              <a:gd name="connsiteY2315" fmla="*/ 6069935 h 6859062"/>
              <a:gd name="connsiteX2316" fmla="*/ 7649195 w 12192185"/>
              <a:gd name="connsiteY2316" fmla="*/ 6063060 h 6859062"/>
              <a:gd name="connsiteX2317" fmla="*/ 7650067 w 12192185"/>
              <a:gd name="connsiteY2317" fmla="*/ 6060461 h 6859062"/>
              <a:gd name="connsiteX2318" fmla="*/ 7652320 w 12192185"/>
              <a:gd name="connsiteY2318" fmla="*/ 6054262 h 6859062"/>
              <a:gd name="connsiteX2319" fmla="*/ 7667994 w 12192185"/>
              <a:gd name="connsiteY2319" fmla="*/ 6046925 h 6859062"/>
              <a:gd name="connsiteX2320" fmla="*/ 552329 w 12192185"/>
              <a:gd name="connsiteY2320" fmla="*/ 6014419 h 6859062"/>
              <a:gd name="connsiteX2321" fmla="*/ 557417 w 12192185"/>
              <a:gd name="connsiteY2321" fmla="*/ 6014841 h 6859062"/>
              <a:gd name="connsiteX2322" fmla="*/ 580255 w 12192185"/>
              <a:gd name="connsiteY2322" fmla="*/ 6024802 h 6859062"/>
              <a:gd name="connsiteX2323" fmla="*/ 586605 w 12192185"/>
              <a:gd name="connsiteY2323" fmla="*/ 6035668 h 6859062"/>
              <a:gd name="connsiteX2324" fmla="*/ 593599 w 12192185"/>
              <a:gd name="connsiteY2324" fmla="*/ 6060054 h 6859062"/>
              <a:gd name="connsiteX2325" fmla="*/ 593685 w 12192185"/>
              <a:gd name="connsiteY2325" fmla="*/ 6067613 h 6859062"/>
              <a:gd name="connsiteX2326" fmla="*/ 591731 w 12192185"/>
              <a:gd name="connsiteY2326" fmla="*/ 6077175 h 6859062"/>
              <a:gd name="connsiteX2327" fmla="*/ 590375 w 12192185"/>
              <a:gd name="connsiteY2327" fmla="*/ 6080141 h 6859062"/>
              <a:gd name="connsiteX2328" fmla="*/ 605575 w 12192185"/>
              <a:gd name="connsiteY2328" fmla="*/ 6085633 h 6859062"/>
              <a:gd name="connsiteX2329" fmla="*/ 618566 w 12192185"/>
              <a:gd name="connsiteY2329" fmla="*/ 6093373 h 6859062"/>
              <a:gd name="connsiteX2330" fmla="*/ 623373 w 12192185"/>
              <a:gd name="connsiteY2330" fmla="*/ 6094013 h 6859062"/>
              <a:gd name="connsiteX2331" fmla="*/ 626542 w 12192185"/>
              <a:gd name="connsiteY2331" fmla="*/ 6091684 h 6859062"/>
              <a:gd name="connsiteX2332" fmla="*/ 630494 w 12192185"/>
              <a:gd name="connsiteY2332" fmla="*/ 6091827 h 6859062"/>
              <a:gd name="connsiteX2333" fmla="*/ 629528 w 12192185"/>
              <a:gd name="connsiteY2333" fmla="*/ 6096039 h 6859062"/>
              <a:gd name="connsiteX2334" fmla="*/ 627844 w 12192185"/>
              <a:gd name="connsiteY2334" fmla="*/ 6097548 h 6859062"/>
              <a:gd name="connsiteX2335" fmla="*/ 629035 w 12192185"/>
              <a:gd name="connsiteY2335" fmla="*/ 6108121 h 6859062"/>
              <a:gd name="connsiteX2336" fmla="*/ 632128 w 12192185"/>
              <a:gd name="connsiteY2336" fmla="*/ 6109512 h 6859062"/>
              <a:gd name="connsiteX2337" fmla="*/ 635314 w 12192185"/>
              <a:gd name="connsiteY2337" fmla="*/ 6113176 h 6859062"/>
              <a:gd name="connsiteX2338" fmla="*/ 632407 w 12192185"/>
              <a:gd name="connsiteY2338" fmla="*/ 6116327 h 6859062"/>
              <a:gd name="connsiteX2339" fmla="*/ 631042 w 12192185"/>
              <a:gd name="connsiteY2339" fmla="*/ 6121921 h 6859062"/>
              <a:gd name="connsiteX2340" fmla="*/ 634041 w 12192185"/>
              <a:gd name="connsiteY2340" fmla="*/ 6134013 h 6859062"/>
              <a:gd name="connsiteX2341" fmla="*/ 637551 w 12192185"/>
              <a:gd name="connsiteY2341" fmla="*/ 6140015 h 6859062"/>
              <a:gd name="connsiteX2342" fmla="*/ 639686 w 12192185"/>
              <a:gd name="connsiteY2342" fmla="*/ 6142129 h 6859062"/>
              <a:gd name="connsiteX2343" fmla="*/ 637573 w 12192185"/>
              <a:gd name="connsiteY2343" fmla="*/ 6144262 h 6859062"/>
              <a:gd name="connsiteX2344" fmla="*/ 631503 w 12192185"/>
              <a:gd name="connsiteY2344" fmla="*/ 6147998 h 6859062"/>
              <a:gd name="connsiteX2345" fmla="*/ 627847 w 12192185"/>
              <a:gd name="connsiteY2345" fmla="*/ 6160663 h 6859062"/>
              <a:gd name="connsiteX2346" fmla="*/ 629127 w 12192185"/>
              <a:gd name="connsiteY2346" fmla="*/ 6175253 h 6859062"/>
              <a:gd name="connsiteX2347" fmla="*/ 623655 w 12192185"/>
              <a:gd name="connsiteY2347" fmla="*/ 6176917 h 6859062"/>
              <a:gd name="connsiteX2348" fmla="*/ 619947 w 12192185"/>
              <a:gd name="connsiteY2348" fmla="*/ 6171605 h 6859062"/>
              <a:gd name="connsiteX2349" fmla="*/ 614124 w 12192185"/>
              <a:gd name="connsiteY2349" fmla="*/ 6168428 h 6859062"/>
              <a:gd name="connsiteX2350" fmla="*/ 613216 w 12192185"/>
              <a:gd name="connsiteY2350" fmla="*/ 6175899 h 6859062"/>
              <a:gd name="connsiteX2351" fmla="*/ 615577 w 12192185"/>
              <a:gd name="connsiteY2351" fmla="*/ 6179823 h 6859062"/>
              <a:gd name="connsiteX2352" fmla="*/ 615072 w 12192185"/>
              <a:gd name="connsiteY2352" fmla="*/ 6184168 h 6859062"/>
              <a:gd name="connsiteX2353" fmla="*/ 611289 w 12192185"/>
              <a:gd name="connsiteY2353" fmla="*/ 6182577 h 6859062"/>
              <a:gd name="connsiteX2354" fmla="*/ 607939 w 12192185"/>
              <a:gd name="connsiteY2354" fmla="*/ 6178617 h 6859062"/>
              <a:gd name="connsiteX2355" fmla="*/ 601749 w 12192185"/>
              <a:gd name="connsiteY2355" fmla="*/ 6177579 h 6859062"/>
              <a:gd name="connsiteX2356" fmla="*/ 600286 w 12192185"/>
              <a:gd name="connsiteY2356" fmla="*/ 6182645 h 6859062"/>
              <a:gd name="connsiteX2357" fmla="*/ 621169 w 12192185"/>
              <a:gd name="connsiteY2357" fmla="*/ 6195906 h 6859062"/>
              <a:gd name="connsiteX2358" fmla="*/ 626100 w 12192185"/>
              <a:gd name="connsiteY2358" fmla="*/ 6199576 h 6859062"/>
              <a:gd name="connsiteX2359" fmla="*/ 632090 w 12192185"/>
              <a:gd name="connsiteY2359" fmla="*/ 6214276 h 6859062"/>
              <a:gd name="connsiteX2360" fmla="*/ 634350 w 12192185"/>
              <a:gd name="connsiteY2360" fmla="*/ 6219419 h 6859062"/>
              <a:gd name="connsiteX2361" fmla="*/ 633879 w 12192185"/>
              <a:gd name="connsiteY2361" fmla="*/ 6235748 h 6859062"/>
              <a:gd name="connsiteX2362" fmla="*/ 631217 w 12192185"/>
              <a:gd name="connsiteY2362" fmla="*/ 6246704 h 6859062"/>
              <a:gd name="connsiteX2363" fmla="*/ 633333 w 12192185"/>
              <a:gd name="connsiteY2363" fmla="*/ 6255798 h 6859062"/>
              <a:gd name="connsiteX2364" fmla="*/ 634025 w 12192185"/>
              <a:gd name="connsiteY2364" fmla="*/ 6255996 h 6859062"/>
              <a:gd name="connsiteX2365" fmla="*/ 637605 w 12192185"/>
              <a:gd name="connsiteY2365" fmla="*/ 6260023 h 6859062"/>
              <a:gd name="connsiteX2366" fmla="*/ 633648 w 12192185"/>
              <a:gd name="connsiteY2366" fmla="*/ 6261625 h 6859062"/>
              <a:gd name="connsiteX2367" fmla="*/ 619545 w 12192185"/>
              <a:gd name="connsiteY2367" fmla="*/ 6276764 h 6859062"/>
              <a:gd name="connsiteX2368" fmla="*/ 615185 w 12192185"/>
              <a:gd name="connsiteY2368" fmla="*/ 6281493 h 6859062"/>
              <a:gd name="connsiteX2369" fmla="*/ 610506 w 12192185"/>
              <a:gd name="connsiteY2369" fmla="*/ 6282138 h 6859062"/>
              <a:gd name="connsiteX2370" fmla="*/ 607170 w 12192185"/>
              <a:gd name="connsiteY2370" fmla="*/ 6285914 h 6859062"/>
              <a:gd name="connsiteX2371" fmla="*/ 607778 w 12192185"/>
              <a:gd name="connsiteY2371" fmla="*/ 6287675 h 6859062"/>
              <a:gd name="connsiteX2372" fmla="*/ 584602 w 12192185"/>
              <a:gd name="connsiteY2372" fmla="*/ 6300386 h 6859062"/>
              <a:gd name="connsiteX2373" fmla="*/ 585995 w 12192185"/>
              <a:gd name="connsiteY2373" fmla="*/ 6297015 h 6859062"/>
              <a:gd name="connsiteX2374" fmla="*/ 585512 w 12192185"/>
              <a:gd name="connsiteY2374" fmla="*/ 6292635 h 6859062"/>
              <a:gd name="connsiteX2375" fmla="*/ 580900 w 12192185"/>
              <a:gd name="connsiteY2375" fmla="*/ 6293050 h 6859062"/>
              <a:gd name="connsiteX2376" fmla="*/ 578654 w 12192185"/>
              <a:gd name="connsiteY2376" fmla="*/ 6295645 h 6859062"/>
              <a:gd name="connsiteX2377" fmla="*/ 571409 w 12192185"/>
              <a:gd name="connsiteY2377" fmla="*/ 6294802 h 6859062"/>
              <a:gd name="connsiteX2378" fmla="*/ 569012 w 12192185"/>
              <a:gd name="connsiteY2378" fmla="*/ 6291864 h 6859062"/>
              <a:gd name="connsiteX2379" fmla="*/ 566008 w 12192185"/>
              <a:gd name="connsiteY2379" fmla="*/ 6294490 h 6859062"/>
              <a:gd name="connsiteX2380" fmla="*/ 564519 w 12192185"/>
              <a:gd name="connsiteY2380" fmla="*/ 6297053 h 6859062"/>
              <a:gd name="connsiteX2381" fmla="*/ 561556 w 12192185"/>
              <a:gd name="connsiteY2381" fmla="*/ 6299535 h 6859062"/>
              <a:gd name="connsiteX2382" fmla="*/ 558458 w 12192185"/>
              <a:gd name="connsiteY2382" fmla="*/ 6297300 h 6859062"/>
              <a:gd name="connsiteX2383" fmla="*/ 552782 w 12192185"/>
              <a:gd name="connsiteY2383" fmla="*/ 6288427 h 6859062"/>
              <a:gd name="connsiteX2384" fmla="*/ 543309 w 12192185"/>
              <a:gd name="connsiteY2384" fmla="*/ 6283199 h 6859062"/>
              <a:gd name="connsiteX2385" fmla="*/ 537851 w 12192185"/>
              <a:gd name="connsiteY2385" fmla="*/ 6279627 h 6859062"/>
              <a:gd name="connsiteX2386" fmla="*/ 525724 w 12192185"/>
              <a:gd name="connsiteY2386" fmla="*/ 6268893 h 6859062"/>
              <a:gd name="connsiteX2387" fmla="*/ 523952 w 12192185"/>
              <a:gd name="connsiteY2387" fmla="*/ 6266386 h 6859062"/>
              <a:gd name="connsiteX2388" fmla="*/ 520315 w 12192185"/>
              <a:gd name="connsiteY2388" fmla="*/ 6233154 h 6859062"/>
              <a:gd name="connsiteX2389" fmla="*/ 521680 w 12192185"/>
              <a:gd name="connsiteY2389" fmla="*/ 6227562 h 6859062"/>
              <a:gd name="connsiteX2390" fmla="*/ 528760 w 12192185"/>
              <a:gd name="connsiteY2390" fmla="*/ 6215135 h 6859062"/>
              <a:gd name="connsiteX2391" fmla="*/ 533927 w 12192185"/>
              <a:gd name="connsiteY2391" fmla="*/ 6204154 h 6859062"/>
              <a:gd name="connsiteX2392" fmla="*/ 536835 w 12192185"/>
              <a:gd name="connsiteY2392" fmla="*/ 6201001 h 6859062"/>
              <a:gd name="connsiteX2393" fmla="*/ 555081 w 12192185"/>
              <a:gd name="connsiteY2393" fmla="*/ 6188805 h 6859062"/>
              <a:gd name="connsiteX2394" fmla="*/ 557194 w 12192185"/>
              <a:gd name="connsiteY2394" fmla="*/ 6186671 h 6859062"/>
              <a:gd name="connsiteX2395" fmla="*/ 551173 w 12192185"/>
              <a:gd name="connsiteY2395" fmla="*/ 6171213 h 6859062"/>
              <a:gd name="connsiteX2396" fmla="*/ 540463 w 12192185"/>
              <a:gd name="connsiteY2396" fmla="*/ 6159889 h 6859062"/>
              <a:gd name="connsiteX2397" fmla="*/ 531390 w 12192185"/>
              <a:gd name="connsiteY2397" fmla="*/ 6140307 h 6859062"/>
              <a:gd name="connsiteX2398" fmla="*/ 532618 w 12192185"/>
              <a:gd name="connsiteY2398" fmla="*/ 6136919 h 6859062"/>
              <a:gd name="connsiteX2399" fmla="*/ 534155 w 12192185"/>
              <a:gd name="connsiteY2399" fmla="*/ 6128133 h 6859062"/>
              <a:gd name="connsiteX2400" fmla="*/ 536388 w 12192185"/>
              <a:gd name="connsiteY2400" fmla="*/ 6117801 h 6859062"/>
              <a:gd name="connsiteX2401" fmla="*/ 541444 w 12192185"/>
              <a:gd name="connsiteY2401" fmla="*/ 6111527 h 6859062"/>
              <a:gd name="connsiteX2402" fmla="*/ 542629 w 12192185"/>
              <a:gd name="connsiteY2402" fmla="*/ 6109689 h 6859062"/>
              <a:gd name="connsiteX2403" fmla="*/ 536317 w 12192185"/>
              <a:gd name="connsiteY2403" fmla="*/ 6105942 h 6859062"/>
              <a:gd name="connsiteX2404" fmla="*/ 530173 w 12192185"/>
              <a:gd name="connsiteY2404" fmla="*/ 6106147 h 6859062"/>
              <a:gd name="connsiteX2405" fmla="*/ 526197 w 12192185"/>
              <a:gd name="connsiteY2405" fmla="*/ 6102940 h 6859062"/>
              <a:gd name="connsiteX2406" fmla="*/ 519465 w 12192185"/>
              <a:gd name="connsiteY2406" fmla="*/ 6096306 h 6859062"/>
              <a:gd name="connsiteX2407" fmla="*/ 516584 w 12192185"/>
              <a:gd name="connsiteY2407" fmla="*/ 6094293 h 6859062"/>
              <a:gd name="connsiteX2408" fmla="*/ 509199 w 12192185"/>
              <a:gd name="connsiteY2408" fmla="*/ 6083989 h 6859062"/>
              <a:gd name="connsiteX2409" fmla="*/ 507195 w 12192185"/>
              <a:gd name="connsiteY2409" fmla="*/ 6081947 h 6859062"/>
              <a:gd name="connsiteX2410" fmla="*/ 509394 w 12192185"/>
              <a:gd name="connsiteY2410" fmla="*/ 6048987 h 6859062"/>
              <a:gd name="connsiteX2411" fmla="*/ 519409 w 12192185"/>
              <a:gd name="connsiteY2411" fmla="*/ 6033703 h 6859062"/>
              <a:gd name="connsiteX2412" fmla="*/ 523960 w 12192185"/>
              <a:gd name="connsiteY2412" fmla="*/ 6028098 h 6859062"/>
              <a:gd name="connsiteX2413" fmla="*/ 529637 w 12192185"/>
              <a:gd name="connsiteY2413" fmla="*/ 6024568 h 6859062"/>
              <a:gd name="connsiteX2414" fmla="*/ 534684 w 12192185"/>
              <a:gd name="connsiteY2414" fmla="*/ 6023167 h 6859062"/>
              <a:gd name="connsiteX2415" fmla="*/ 544937 w 12192185"/>
              <a:gd name="connsiteY2415" fmla="*/ 6019833 h 6859062"/>
              <a:gd name="connsiteX2416" fmla="*/ 548575 w 12192185"/>
              <a:gd name="connsiteY2416" fmla="*/ 6018304 h 6859062"/>
              <a:gd name="connsiteX2417" fmla="*/ 552329 w 12192185"/>
              <a:gd name="connsiteY2417" fmla="*/ 6014419 h 6859062"/>
              <a:gd name="connsiteX2418" fmla="*/ 9283161 w 12192185"/>
              <a:gd name="connsiteY2418" fmla="*/ 6013625 h 6859062"/>
              <a:gd name="connsiteX2419" fmla="*/ 9283853 w 12192185"/>
              <a:gd name="connsiteY2419" fmla="*/ 6014195 h 6859062"/>
              <a:gd name="connsiteX2420" fmla="*/ 9277283 w 12192185"/>
              <a:gd name="connsiteY2420" fmla="*/ 6014191 h 6859062"/>
              <a:gd name="connsiteX2421" fmla="*/ 9283161 w 12192185"/>
              <a:gd name="connsiteY2421" fmla="*/ 6013625 h 6859062"/>
              <a:gd name="connsiteX2422" fmla="*/ 11738761 w 12192185"/>
              <a:gd name="connsiteY2422" fmla="*/ 6004428 h 6859062"/>
              <a:gd name="connsiteX2423" fmla="*/ 11738740 w 12192185"/>
              <a:gd name="connsiteY2423" fmla="*/ 6004792 h 6859062"/>
              <a:gd name="connsiteX2424" fmla="*/ 11738446 w 12192185"/>
              <a:gd name="connsiteY2424" fmla="*/ 6004701 h 6859062"/>
              <a:gd name="connsiteX2425" fmla="*/ 1320630 w 12192185"/>
              <a:gd name="connsiteY2425" fmla="*/ 6004156 h 6859062"/>
              <a:gd name="connsiteX2426" fmla="*/ 1324428 w 12192185"/>
              <a:gd name="connsiteY2426" fmla="*/ 6004471 h 6859062"/>
              <a:gd name="connsiteX2427" fmla="*/ 1341475 w 12192185"/>
              <a:gd name="connsiteY2427" fmla="*/ 6011906 h 6859062"/>
              <a:gd name="connsiteX2428" fmla="*/ 1346214 w 12192185"/>
              <a:gd name="connsiteY2428" fmla="*/ 6020017 h 6859062"/>
              <a:gd name="connsiteX2429" fmla="*/ 1351435 w 12192185"/>
              <a:gd name="connsiteY2429" fmla="*/ 6038218 h 6859062"/>
              <a:gd name="connsiteX2430" fmla="*/ 1351499 w 12192185"/>
              <a:gd name="connsiteY2430" fmla="*/ 6043861 h 6859062"/>
              <a:gd name="connsiteX2431" fmla="*/ 1350040 w 12192185"/>
              <a:gd name="connsiteY2431" fmla="*/ 6050998 h 6859062"/>
              <a:gd name="connsiteX2432" fmla="*/ 1347602 w 12192185"/>
              <a:gd name="connsiteY2432" fmla="*/ 6056329 h 6859062"/>
              <a:gd name="connsiteX2433" fmla="*/ 1338233 w 12192185"/>
              <a:gd name="connsiteY2433" fmla="*/ 6066095 h 6859062"/>
              <a:gd name="connsiteX2434" fmla="*/ 1332681 w 12192185"/>
              <a:gd name="connsiteY2434" fmla="*/ 6072451 h 6859062"/>
              <a:gd name="connsiteX2435" fmla="*/ 1329592 w 12192185"/>
              <a:gd name="connsiteY2435" fmla="*/ 6074129 h 6859062"/>
              <a:gd name="connsiteX2436" fmla="*/ 1321731 w 12192185"/>
              <a:gd name="connsiteY2436" fmla="*/ 6074394 h 6859062"/>
              <a:gd name="connsiteX2437" fmla="*/ 1308678 w 12192185"/>
              <a:gd name="connsiteY2437" fmla="*/ 6072469 h 6859062"/>
              <a:gd name="connsiteX2438" fmla="*/ 1304094 w 12192185"/>
              <a:gd name="connsiteY2438" fmla="*/ 6072623 h 6859062"/>
              <a:gd name="connsiteX2439" fmla="*/ 1301125 w 12192185"/>
              <a:gd name="connsiteY2439" fmla="*/ 6070228 h 6859062"/>
              <a:gd name="connsiteX2440" fmla="*/ 1296101 w 12192185"/>
              <a:gd name="connsiteY2440" fmla="*/ 6065278 h 6859062"/>
              <a:gd name="connsiteX2441" fmla="*/ 1293950 w 12192185"/>
              <a:gd name="connsiteY2441" fmla="*/ 6063775 h 6859062"/>
              <a:gd name="connsiteX2442" fmla="*/ 1288437 w 12192185"/>
              <a:gd name="connsiteY2442" fmla="*/ 6056085 h 6859062"/>
              <a:gd name="connsiteX2443" fmla="*/ 1286942 w 12192185"/>
              <a:gd name="connsiteY2443" fmla="*/ 6054559 h 6859062"/>
              <a:gd name="connsiteX2444" fmla="*/ 1288583 w 12192185"/>
              <a:gd name="connsiteY2444" fmla="*/ 6029958 h 6859062"/>
              <a:gd name="connsiteX2445" fmla="*/ 1296059 w 12192185"/>
              <a:gd name="connsiteY2445" fmla="*/ 6018550 h 6859062"/>
              <a:gd name="connsiteX2446" fmla="*/ 1299455 w 12192185"/>
              <a:gd name="connsiteY2446" fmla="*/ 6014367 h 6859062"/>
              <a:gd name="connsiteX2447" fmla="*/ 1303694 w 12192185"/>
              <a:gd name="connsiteY2447" fmla="*/ 6011730 h 6859062"/>
              <a:gd name="connsiteX2448" fmla="*/ 1307461 w 12192185"/>
              <a:gd name="connsiteY2448" fmla="*/ 6010685 h 6859062"/>
              <a:gd name="connsiteX2449" fmla="*/ 1315113 w 12192185"/>
              <a:gd name="connsiteY2449" fmla="*/ 6008197 h 6859062"/>
              <a:gd name="connsiteX2450" fmla="*/ 1317828 w 12192185"/>
              <a:gd name="connsiteY2450" fmla="*/ 6007056 h 6859062"/>
              <a:gd name="connsiteX2451" fmla="*/ 1320630 w 12192185"/>
              <a:gd name="connsiteY2451" fmla="*/ 6004156 h 6859062"/>
              <a:gd name="connsiteX2452" fmla="*/ 11270502 w 12192185"/>
              <a:gd name="connsiteY2452" fmla="*/ 6001372 h 6859062"/>
              <a:gd name="connsiteX2453" fmla="*/ 11276144 w 12192185"/>
              <a:gd name="connsiteY2453" fmla="*/ 6001399 h 6859062"/>
              <a:gd name="connsiteX2454" fmla="*/ 11283258 w 12192185"/>
              <a:gd name="connsiteY2454" fmla="*/ 6002972 h 6859062"/>
              <a:gd name="connsiteX2455" fmla="*/ 11288549 w 12192185"/>
              <a:gd name="connsiteY2455" fmla="*/ 6005497 h 6859062"/>
              <a:gd name="connsiteX2456" fmla="*/ 11298162 w 12192185"/>
              <a:gd name="connsiteY2456" fmla="*/ 6015021 h 6859062"/>
              <a:gd name="connsiteX2457" fmla="*/ 11304427 w 12192185"/>
              <a:gd name="connsiteY2457" fmla="*/ 6020675 h 6859062"/>
              <a:gd name="connsiteX2458" fmla="*/ 11306056 w 12192185"/>
              <a:gd name="connsiteY2458" fmla="*/ 6023791 h 6859062"/>
              <a:gd name="connsiteX2459" fmla="*/ 11306194 w 12192185"/>
              <a:gd name="connsiteY2459" fmla="*/ 6031655 h 6859062"/>
              <a:gd name="connsiteX2460" fmla="*/ 11304059 w 12192185"/>
              <a:gd name="connsiteY2460" fmla="*/ 6044675 h 6859062"/>
              <a:gd name="connsiteX2461" fmla="*/ 11304140 w 12192185"/>
              <a:gd name="connsiteY2461" fmla="*/ 6049262 h 6859062"/>
              <a:gd name="connsiteX2462" fmla="*/ 11301697 w 12192185"/>
              <a:gd name="connsiteY2462" fmla="*/ 6052191 h 6859062"/>
              <a:gd name="connsiteX2463" fmla="*/ 11296666 w 12192185"/>
              <a:gd name="connsiteY2463" fmla="*/ 6057136 h 6859062"/>
              <a:gd name="connsiteX2464" fmla="*/ 11295130 w 12192185"/>
              <a:gd name="connsiteY2464" fmla="*/ 6059263 h 6859062"/>
              <a:gd name="connsiteX2465" fmla="*/ 11287350 w 12192185"/>
              <a:gd name="connsiteY2465" fmla="*/ 6064650 h 6859062"/>
              <a:gd name="connsiteX2466" fmla="*/ 11285801 w 12192185"/>
              <a:gd name="connsiteY2466" fmla="*/ 6066120 h 6859062"/>
              <a:gd name="connsiteX2467" fmla="*/ 11261231 w 12192185"/>
              <a:gd name="connsiteY2467" fmla="*/ 6064083 h 6859062"/>
              <a:gd name="connsiteX2468" fmla="*/ 11249944 w 12192185"/>
              <a:gd name="connsiteY2468" fmla="*/ 6056425 h 6859062"/>
              <a:gd name="connsiteX2469" fmla="*/ 11245815 w 12192185"/>
              <a:gd name="connsiteY2469" fmla="*/ 6052961 h 6859062"/>
              <a:gd name="connsiteX2470" fmla="*/ 11243248 w 12192185"/>
              <a:gd name="connsiteY2470" fmla="*/ 6048682 h 6859062"/>
              <a:gd name="connsiteX2471" fmla="*/ 11242263 w 12192185"/>
              <a:gd name="connsiteY2471" fmla="*/ 6044897 h 6859062"/>
              <a:gd name="connsiteX2472" fmla="*/ 11239899 w 12192185"/>
              <a:gd name="connsiteY2472" fmla="*/ 6037206 h 6859062"/>
              <a:gd name="connsiteX2473" fmla="*/ 11238801 w 12192185"/>
              <a:gd name="connsiteY2473" fmla="*/ 6034472 h 6859062"/>
              <a:gd name="connsiteX2474" fmla="*/ 11236325 w 12192185"/>
              <a:gd name="connsiteY2474" fmla="*/ 6027832 h 6859062"/>
              <a:gd name="connsiteX2475" fmla="*/ 11244032 w 12192185"/>
              <a:gd name="connsiteY2475" fmla="*/ 6010907 h 6859062"/>
              <a:gd name="connsiteX2476" fmla="*/ 11252219 w 12192185"/>
              <a:gd name="connsiteY2476" fmla="*/ 6006298 h 6859062"/>
              <a:gd name="connsiteX2477" fmla="*/ 11270502 w 12192185"/>
              <a:gd name="connsiteY2477" fmla="*/ 6001372 h 6859062"/>
              <a:gd name="connsiteX2478" fmla="*/ 9822375 w 12192185"/>
              <a:gd name="connsiteY2478" fmla="*/ 5976414 h 6859062"/>
              <a:gd name="connsiteX2479" fmla="*/ 9825598 w 12192185"/>
              <a:gd name="connsiteY2479" fmla="*/ 5979069 h 6859062"/>
              <a:gd name="connsiteX2480" fmla="*/ 9819719 w 12192185"/>
              <a:gd name="connsiteY2480" fmla="*/ 5979637 h 6859062"/>
              <a:gd name="connsiteX2481" fmla="*/ 9822375 w 12192185"/>
              <a:gd name="connsiteY2481" fmla="*/ 5976414 h 6859062"/>
              <a:gd name="connsiteX2482" fmla="*/ 782721 w 12192185"/>
              <a:gd name="connsiteY2482" fmla="*/ 5966194 h 6859062"/>
              <a:gd name="connsiteX2483" fmla="*/ 793653 w 12192185"/>
              <a:gd name="connsiteY2483" fmla="*/ 5971247 h 6859062"/>
              <a:gd name="connsiteX2484" fmla="*/ 801562 w 12192185"/>
              <a:gd name="connsiteY2484" fmla="*/ 5980172 h 6859062"/>
              <a:gd name="connsiteX2485" fmla="*/ 805072 w 12192185"/>
              <a:gd name="connsiteY2485" fmla="*/ 5987829 h 6859062"/>
              <a:gd name="connsiteX2486" fmla="*/ 800521 w 12192185"/>
              <a:gd name="connsiteY2486" fmla="*/ 6003596 h 6859062"/>
              <a:gd name="connsiteX2487" fmla="*/ 788062 w 12192185"/>
              <a:gd name="connsiteY2487" fmla="*/ 6010438 h 6859062"/>
              <a:gd name="connsiteX2488" fmla="*/ 778615 w 12192185"/>
              <a:gd name="connsiteY2488" fmla="*/ 6020047 h 6859062"/>
              <a:gd name="connsiteX2489" fmla="*/ 770362 w 12192185"/>
              <a:gd name="connsiteY2489" fmla="*/ 6030477 h 6859062"/>
              <a:gd name="connsiteX2490" fmla="*/ 761487 w 12192185"/>
              <a:gd name="connsiteY2490" fmla="*/ 6036455 h 6859062"/>
              <a:gd name="connsiteX2491" fmla="*/ 750417 w 12192185"/>
              <a:gd name="connsiteY2491" fmla="*/ 6038480 h 6859062"/>
              <a:gd name="connsiteX2492" fmla="*/ 741619 w 12192185"/>
              <a:gd name="connsiteY2492" fmla="*/ 6035940 h 6859062"/>
              <a:gd name="connsiteX2493" fmla="*/ 740804 w 12192185"/>
              <a:gd name="connsiteY2493" fmla="*/ 6033807 h 6859062"/>
              <a:gd name="connsiteX2494" fmla="*/ 731266 w 12192185"/>
              <a:gd name="connsiteY2494" fmla="*/ 6020616 h 6859062"/>
              <a:gd name="connsiteX2495" fmla="*/ 731606 w 12192185"/>
              <a:gd name="connsiteY2495" fmla="*/ 6004581 h 6859062"/>
              <a:gd name="connsiteX2496" fmla="*/ 742822 w 12192185"/>
              <a:gd name="connsiteY2496" fmla="*/ 5988839 h 6859062"/>
              <a:gd name="connsiteX2497" fmla="*/ 750558 w 12192185"/>
              <a:gd name="connsiteY2497" fmla="*/ 5986802 h 6859062"/>
              <a:gd name="connsiteX2498" fmla="*/ 761951 w 12192185"/>
              <a:gd name="connsiteY2498" fmla="*/ 5978704 h 6859062"/>
              <a:gd name="connsiteX2499" fmla="*/ 765982 w 12192185"/>
              <a:gd name="connsiteY2499" fmla="*/ 5974648 h 6859062"/>
              <a:gd name="connsiteX2500" fmla="*/ 782721 w 12192185"/>
              <a:gd name="connsiteY2500" fmla="*/ 5966194 h 6859062"/>
              <a:gd name="connsiteX2501" fmla="*/ 9812142 w 12192185"/>
              <a:gd name="connsiteY2501" fmla="*/ 5962571 h 6859062"/>
              <a:gd name="connsiteX2502" fmla="*/ 9809486 w 12192185"/>
              <a:gd name="connsiteY2502" fmla="*/ 5965794 h 6859062"/>
              <a:gd name="connsiteX2503" fmla="*/ 9806264 w 12192185"/>
              <a:gd name="connsiteY2503" fmla="*/ 5963138 h 6859062"/>
              <a:gd name="connsiteX2504" fmla="*/ 9812142 w 12192185"/>
              <a:gd name="connsiteY2504" fmla="*/ 5962571 h 6859062"/>
              <a:gd name="connsiteX2505" fmla="*/ 11514286 w 12192185"/>
              <a:gd name="connsiteY2505" fmla="*/ 5956658 h 6859062"/>
              <a:gd name="connsiteX2506" fmla="*/ 11519930 w 12192185"/>
              <a:gd name="connsiteY2506" fmla="*/ 5956685 h 6859062"/>
              <a:gd name="connsiteX2507" fmla="*/ 11527042 w 12192185"/>
              <a:gd name="connsiteY2507" fmla="*/ 5958258 h 6859062"/>
              <a:gd name="connsiteX2508" fmla="*/ 11532334 w 12192185"/>
              <a:gd name="connsiteY2508" fmla="*/ 5960782 h 6859062"/>
              <a:gd name="connsiteX2509" fmla="*/ 11541947 w 12192185"/>
              <a:gd name="connsiteY2509" fmla="*/ 5970308 h 6859062"/>
              <a:gd name="connsiteX2510" fmla="*/ 11548212 w 12192185"/>
              <a:gd name="connsiteY2510" fmla="*/ 5975961 h 6859062"/>
              <a:gd name="connsiteX2511" fmla="*/ 11549841 w 12192185"/>
              <a:gd name="connsiteY2511" fmla="*/ 5979077 h 6859062"/>
              <a:gd name="connsiteX2512" fmla="*/ 11549978 w 12192185"/>
              <a:gd name="connsiteY2512" fmla="*/ 5986942 h 6859062"/>
              <a:gd name="connsiteX2513" fmla="*/ 11547845 w 12192185"/>
              <a:gd name="connsiteY2513" fmla="*/ 5999961 h 6859062"/>
              <a:gd name="connsiteX2514" fmla="*/ 11547924 w 12192185"/>
              <a:gd name="connsiteY2514" fmla="*/ 6004548 h 6859062"/>
              <a:gd name="connsiteX2515" fmla="*/ 11545483 w 12192185"/>
              <a:gd name="connsiteY2515" fmla="*/ 6007478 h 6859062"/>
              <a:gd name="connsiteX2516" fmla="*/ 11540451 w 12192185"/>
              <a:gd name="connsiteY2516" fmla="*/ 6012421 h 6859062"/>
              <a:gd name="connsiteX2517" fmla="*/ 11538914 w 12192185"/>
              <a:gd name="connsiteY2517" fmla="*/ 6014548 h 6859062"/>
              <a:gd name="connsiteX2518" fmla="*/ 11531135 w 12192185"/>
              <a:gd name="connsiteY2518" fmla="*/ 6019936 h 6859062"/>
              <a:gd name="connsiteX2519" fmla="*/ 11529586 w 12192185"/>
              <a:gd name="connsiteY2519" fmla="*/ 6021407 h 6859062"/>
              <a:gd name="connsiteX2520" fmla="*/ 11505015 w 12192185"/>
              <a:gd name="connsiteY2520" fmla="*/ 6019370 h 6859062"/>
              <a:gd name="connsiteX2521" fmla="*/ 11493728 w 12192185"/>
              <a:gd name="connsiteY2521" fmla="*/ 6011711 h 6859062"/>
              <a:gd name="connsiteX2522" fmla="*/ 11489600 w 12192185"/>
              <a:gd name="connsiteY2522" fmla="*/ 6008247 h 6859062"/>
              <a:gd name="connsiteX2523" fmla="*/ 11487033 w 12192185"/>
              <a:gd name="connsiteY2523" fmla="*/ 6003968 h 6859062"/>
              <a:gd name="connsiteX2524" fmla="*/ 11486048 w 12192185"/>
              <a:gd name="connsiteY2524" fmla="*/ 6000184 h 6859062"/>
              <a:gd name="connsiteX2525" fmla="*/ 11483685 w 12192185"/>
              <a:gd name="connsiteY2525" fmla="*/ 5992491 h 6859062"/>
              <a:gd name="connsiteX2526" fmla="*/ 11482586 w 12192185"/>
              <a:gd name="connsiteY2526" fmla="*/ 5989759 h 6859062"/>
              <a:gd name="connsiteX2527" fmla="*/ 11480109 w 12192185"/>
              <a:gd name="connsiteY2527" fmla="*/ 5983117 h 6859062"/>
              <a:gd name="connsiteX2528" fmla="*/ 11487818 w 12192185"/>
              <a:gd name="connsiteY2528" fmla="*/ 5966193 h 6859062"/>
              <a:gd name="connsiteX2529" fmla="*/ 11496003 w 12192185"/>
              <a:gd name="connsiteY2529" fmla="*/ 5961584 h 6859062"/>
              <a:gd name="connsiteX2530" fmla="*/ 11514286 w 12192185"/>
              <a:gd name="connsiteY2530" fmla="*/ 5956658 h 6859062"/>
              <a:gd name="connsiteX2531" fmla="*/ 9991148 w 12192185"/>
              <a:gd name="connsiteY2531" fmla="*/ 5926814 h 6859062"/>
              <a:gd name="connsiteX2532" fmla="*/ 9975596 w 12192185"/>
              <a:gd name="connsiteY2532" fmla="*/ 5928335 h 6859062"/>
              <a:gd name="connsiteX2533" fmla="*/ 9978232 w 12192185"/>
              <a:gd name="connsiteY2533" fmla="*/ 5931710 h 6859062"/>
              <a:gd name="connsiteX2534" fmla="*/ 10023063 w 12192185"/>
              <a:gd name="connsiteY2534" fmla="*/ 5923690 h 6859062"/>
              <a:gd name="connsiteX2535" fmla="*/ 9995354 w 12192185"/>
              <a:gd name="connsiteY2535" fmla="*/ 5926402 h 6859062"/>
              <a:gd name="connsiteX2536" fmla="*/ 10001741 w 12192185"/>
              <a:gd name="connsiteY2536" fmla="*/ 5929442 h 6859062"/>
              <a:gd name="connsiteX2537" fmla="*/ 10023740 w 12192185"/>
              <a:gd name="connsiteY2537" fmla="*/ 5923982 h 6859062"/>
              <a:gd name="connsiteX2538" fmla="*/ 10084246 w 12192185"/>
              <a:gd name="connsiteY2538" fmla="*/ 5912296 h 6859062"/>
              <a:gd name="connsiteX2539" fmla="*/ 10066843 w 12192185"/>
              <a:gd name="connsiteY2539" fmla="*/ 5916828 h 6859062"/>
              <a:gd name="connsiteX2540" fmla="*/ 10065828 w 12192185"/>
              <a:gd name="connsiteY2540" fmla="*/ 5917325 h 6859062"/>
              <a:gd name="connsiteX2541" fmla="*/ 10063600 w 12192185"/>
              <a:gd name="connsiteY2541" fmla="*/ 5917673 h 6859062"/>
              <a:gd name="connsiteX2542" fmla="*/ 10059679 w 12192185"/>
              <a:gd name="connsiteY2542" fmla="*/ 5918693 h 6859062"/>
              <a:gd name="connsiteX2543" fmla="*/ 10059749 w 12192185"/>
              <a:gd name="connsiteY2543" fmla="*/ 5919162 h 6859062"/>
              <a:gd name="connsiteX2544" fmla="*/ 10069052 w 12192185"/>
              <a:gd name="connsiteY2544" fmla="*/ 5919979 h 6859062"/>
              <a:gd name="connsiteX2545" fmla="*/ 10060780 w 12192185"/>
              <a:gd name="connsiteY2545" fmla="*/ 5922631 h 6859062"/>
              <a:gd name="connsiteX2546" fmla="*/ 10063661 w 12192185"/>
              <a:gd name="connsiteY2546" fmla="*/ 5926324 h 6859062"/>
              <a:gd name="connsiteX2547" fmla="*/ 10063965 w 12192185"/>
              <a:gd name="connsiteY2547" fmla="*/ 5926270 h 6859062"/>
              <a:gd name="connsiteX2548" fmla="*/ 1085900 w 12192185"/>
              <a:gd name="connsiteY2548" fmla="*/ 5911880 h 6859062"/>
              <a:gd name="connsiteX2549" fmla="*/ 1089698 w 12192185"/>
              <a:gd name="connsiteY2549" fmla="*/ 5912195 h 6859062"/>
              <a:gd name="connsiteX2550" fmla="*/ 1106745 w 12192185"/>
              <a:gd name="connsiteY2550" fmla="*/ 5919630 h 6859062"/>
              <a:gd name="connsiteX2551" fmla="*/ 1111485 w 12192185"/>
              <a:gd name="connsiteY2551" fmla="*/ 5927741 h 6859062"/>
              <a:gd name="connsiteX2552" fmla="*/ 1116706 w 12192185"/>
              <a:gd name="connsiteY2552" fmla="*/ 5945942 h 6859062"/>
              <a:gd name="connsiteX2553" fmla="*/ 1116769 w 12192185"/>
              <a:gd name="connsiteY2553" fmla="*/ 5951584 h 6859062"/>
              <a:gd name="connsiteX2554" fmla="*/ 1115311 w 12192185"/>
              <a:gd name="connsiteY2554" fmla="*/ 5958721 h 6859062"/>
              <a:gd name="connsiteX2555" fmla="*/ 1112873 w 12192185"/>
              <a:gd name="connsiteY2555" fmla="*/ 5964054 h 6859062"/>
              <a:gd name="connsiteX2556" fmla="*/ 1103504 w 12192185"/>
              <a:gd name="connsiteY2556" fmla="*/ 5973820 h 6859062"/>
              <a:gd name="connsiteX2557" fmla="*/ 1097952 w 12192185"/>
              <a:gd name="connsiteY2557" fmla="*/ 5980176 h 6859062"/>
              <a:gd name="connsiteX2558" fmla="*/ 1094862 w 12192185"/>
              <a:gd name="connsiteY2558" fmla="*/ 5981854 h 6859062"/>
              <a:gd name="connsiteX2559" fmla="*/ 1087001 w 12192185"/>
              <a:gd name="connsiteY2559" fmla="*/ 5982117 h 6859062"/>
              <a:gd name="connsiteX2560" fmla="*/ 1073949 w 12192185"/>
              <a:gd name="connsiteY2560" fmla="*/ 5980193 h 6859062"/>
              <a:gd name="connsiteX2561" fmla="*/ 1069363 w 12192185"/>
              <a:gd name="connsiteY2561" fmla="*/ 5980347 h 6859062"/>
              <a:gd name="connsiteX2562" fmla="*/ 1066395 w 12192185"/>
              <a:gd name="connsiteY2562" fmla="*/ 5977952 h 6859062"/>
              <a:gd name="connsiteX2563" fmla="*/ 1061371 w 12192185"/>
              <a:gd name="connsiteY2563" fmla="*/ 5973003 h 6859062"/>
              <a:gd name="connsiteX2564" fmla="*/ 1059221 w 12192185"/>
              <a:gd name="connsiteY2564" fmla="*/ 5971500 h 6859062"/>
              <a:gd name="connsiteX2565" fmla="*/ 1053708 w 12192185"/>
              <a:gd name="connsiteY2565" fmla="*/ 5963808 h 6859062"/>
              <a:gd name="connsiteX2566" fmla="*/ 1052212 w 12192185"/>
              <a:gd name="connsiteY2566" fmla="*/ 5962283 h 6859062"/>
              <a:gd name="connsiteX2567" fmla="*/ 1053854 w 12192185"/>
              <a:gd name="connsiteY2567" fmla="*/ 5937682 h 6859062"/>
              <a:gd name="connsiteX2568" fmla="*/ 1061329 w 12192185"/>
              <a:gd name="connsiteY2568" fmla="*/ 5926273 h 6859062"/>
              <a:gd name="connsiteX2569" fmla="*/ 1064725 w 12192185"/>
              <a:gd name="connsiteY2569" fmla="*/ 5922091 h 6859062"/>
              <a:gd name="connsiteX2570" fmla="*/ 1068963 w 12192185"/>
              <a:gd name="connsiteY2570" fmla="*/ 5919455 h 6859062"/>
              <a:gd name="connsiteX2571" fmla="*/ 1072731 w 12192185"/>
              <a:gd name="connsiteY2571" fmla="*/ 5918410 h 6859062"/>
              <a:gd name="connsiteX2572" fmla="*/ 1080383 w 12192185"/>
              <a:gd name="connsiteY2572" fmla="*/ 5915921 h 6859062"/>
              <a:gd name="connsiteX2573" fmla="*/ 1083099 w 12192185"/>
              <a:gd name="connsiteY2573" fmla="*/ 5914780 h 6859062"/>
              <a:gd name="connsiteX2574" fmla="*/ 1085900 w 12192185"/>
              <a:gd name="connsiteY2574" fmla="*/ 5911880 h 6859062"/>
              <a:gd name="connsiteX2575" fmla="*/ 9132277 w 12192185"/>
              <a:gd name="connsiteY2575" fmla="*/ 5899042 h 6859062"/>
              <a:gd name="connsiteX2576" fmla="*/ 9141942 w 12192185"/>
              <a:gd name="connsiteY2576" fmla="*/ 5902676 h 6859062"/>
              <a:gd name="connsiteX2577" fmla="*/ 9146325 w 12192185"/>
              <a:gd name="connsiteY2577" fmla="*/ 5901942 h 6859062"/>
              <a:gd name="connsiteX2578" fmla="*/ 10141842 w 12192185"/>
              <a:gd name="connsiteY2578" fmla="*/ 5897299 h 6859062"/>
              <a:gd name="connsiteX2579" fmla="*/ 10118708 w 12192185"/>
              <a:gd name="connsiteY2579" fmla="*/ 5903323 h 6859062"/>
              <a:gd name="connsiteX2580" fmla="*/ 10120814 w 12192185"/>
              <a:gd name="connsiteY2580" fmla="*/ 5903119 h 6859062"/>
              <a:gd name="connsiteX2581" fmla="*/ 10141103 w 12192185"/>
              <a:gd name="connsiteY2581" fmla="*/ 5898194 h 6859062"/>
              <a:gd name="connsiteX2582" fmla="*/ 799605 w 12192185"/>
              <a:gd name="connsiteY2582" fmla="*/ 5890711 h 6859062"/>
              <a:gd name="connsiteX2583" fmla="*/ 803403 w 12192185"/>
              <a:gd name="connsiteY2583" fmla="*/ 5891026 h 6859062"/>
              <a:gd name="connsiteX2584" fmla="*/ 820449 w 12192185"/>
              <a:gd name="connsiteY2584" fmla="*/ 5898462 h 6859062"/>
              <a:gd name="connsiteX2585" fmla="*/ 825190 w 12192185"/>
              <a:gd name="connsiteY2585" fmla="*/ 5906572 h 6859062"/>
              <a:gd name="connsiteX2586" fmla="*/ 830409 w 12192185"/>
              <a:gd name="connsiteY2586" fmla="*/ 5924773 h 6859062"/>
              <a:gd name="connsiteX2587" fmla="*/ 830475 w 12192185"/>
              <a:gd name="connsiteY2587" fmla="*/ 5930415 h 6859062"/>
              <a:gd name="connsiteX2588" fmla="*/ 829016 w 12192185"/>
              <a:gd name="connsiteY2588" fmla="*/ 5937553 h 6859062"/>
              <a:gd name="connsiteX2589" fmla="*/ 826577 w 12192185"/>
              <a:gd name="connsiteY2589" fmla="*/ 5942885 h 6859062"/>
              <a:gd name="connsiteX2590" fmla="*/ 817207 w 12192185"/>
              <a:gd name="connsiteY2590" fmla="*/ 5952650 h 6859062"/>
              <a:gd name="connsiteX2591" fmla="*/ 811656 w 12192185"/>
              <a:gd name="connsiteY2591" fmla="*/ 5959006 h 6859062"/>
              <a:gd name="connsiteX2592" fmla="*/ 808566 w 12192185"/>
              <a:gd name="connsiteY2592" fmla="*/ 5960685 h 6859062"/>
              <a:gd name="connsiteX2593" fmla="*/ 800705 w 12192185"/>
              <a:gd name="connsiteY2593" fmla="*/ 5960949 h 6859062"/>
              <a:gd name="connsiteX2594" fmla="*/ 787654 w 12192185"/>
              <a:gd name="connsiteY2594" fmla="*/ 5959024 h 6859062"/>
              <a:gd name="connsiteX2595" fmla="*/ 783068 w 12192185"/>
              <a:gd name="connsiteY2595" fmla="*/ 5959179 h 6859062"/>
              <a:gd name="connsiteX2596" fmla="*/ 780099 w 12192185"/>
              <a:gd name="connsiteY2596" fmla="*/ 5956784 h 6859062"/>
              <a:gd name="connsiteX2597" fmla="*/ 775075 w 12192185"/>
              <a:gd name="connsiteY2597" fmla="*/ 5951833 h 6859062"/>
              <a:gd name="connsiteX2598" fmla="*/ 772925 w 12192185"/>
              <a:gd name="connsiteY2598" fmla="*/ 5950330 h 6859062"/>
              <a:gd name="connsiteX2599" fmla="*/ 767411 w 12192185"/>
              <a:gd name="connsiteY2599" fmla="*/ 5942639 h 6859062"/>
              <a:gd name="connsiteX2600" fmla="*/ 765916 w 12192185"/>
              <a:gd name="connsiteY2600" fmla="*/ 5941114 h 6859062"/>
              <a:gd name="connsiteX2601" fmla="*/ 767558 w 12192185"/>
              <a:gd name="connsiteY2601" fmla="*/ 5916513 h 6859062"/>
              <a:gd name="connsiteX2602" fmla="*/ 775033 w 12192185"/>
              <a:gd name="connsiteY2602" fmla="*/ 5905105 h 6859062"/>
              <a:gd name="connsiteX2603" fmla="*/ 778429 w 12192185"/>
              <a:gd name="connsiteY2603" fmla="*/ 5900922 h 6859062"/>
              <a:gd name="connsiteX2604" fmla="*/ 782668 w 12192185"/>
              <a:gd name="connsiteY2604" fmla="*/ 5898286 h 6859062"/>
              <a:gd name="connsiteX2605" fmla="*/ 786435 w 12192185"/>
              <a:gd name="connsiteY2605" fmla="*/ 5897240 h 6859062"/>
              <a:gd name="connsiteX2606" fmla="*/ 794087 w 12192185"/>
              <a:gd name="connsiteY2606" fmla="*/ 5894752 h 6859062"/>
              <a:gd name="connsiteX2607" fmla="*/ 796802 w 12192185"/>
              <a:gd name="connsiteY2607" fmla="*/ 5893611 h 6859062"/>
              <a:gd name="connsiteX2608" fmla="*/ 799605 w 12192185"/>
              <a:gd name="connsiteY2608" fmla="*/ 5890711 h 6859062"/>
              <a:gd name="connsiteX2609" fmla="*/ 10169971 w 12192185"/>
              <a:gd name="connsiteY2609" fmla="*/ 5889974 h 6859062"/>
              <a:gd name="connsiteX2610" fmla="*/ 10154906 w 12192185"/>
              <a:gd name="connsiteY2610" fmla="*/ 5893897 h 6859062"/>
              <a:gd name="connsiteX2611" fmla="*/ 10161390 w 12192185"/>
              <a:gd name="connsiteY2611" fmla="*/ 5893271 h 6859062"/>
              <a:gd name="connsiteX2612" fmla="*/ 10164613 w 12192185"/>
              <a:gd name="connsiteY2612" fmla="*/ 5895927 h 6859062"/>
              <a:gd name="connsiteX2613" fmla="*/ 10170490 w 12192185"/>
              <a:gd name="connsiteY2613" fmla="*/ 5895358 h 6859062"/>
              <a:gd name="connsiteX2614" fmla="*/ 11783717 w 12192185"/>
              <a:gd name="connsiteY2614" fmla="*/ 5865349 h 6859062"/>
              <a:gd name="connsiteX2615" fmla="*/ 11785862 w 12192185"/>
              <a:gd name="connsiteY2615" fmla="*/ 5865627 h 6859062"/>
              <a:gd name="connsiteX2616" fmla="*/ 11797128 w 12192185"/>
              <a:gd name="connsiteY2616" fmla="*/ 5870338 h 6859062"/>
              <a:gd name="connsiteX2617" fmla="*/ 11808759 w 12192185"/>
              <a:gd name="connsiteY2617" fmla="*/ 5882257 h 6859062"/>
              <a:gd name="connsiteX2618" fmla="*/ 11813347 w 12192185"/>
              <a:gd name="connsiteY2618" fmla="*/ 5886058 h 6859062"/>
              <a:gd name="connsiteX2619" fmla="*/ 11816488 w 12192185"/>
              <a:gd name="connsiteY2619" fmla="*/ 5893216 h 6859062"/>
              <a:gd name="connsiteX2620" fmla="*/ 11818897 w 12192185"/>
              <a:gd name="connsiteY2620" fmla="*/ 5899356 h 6859062"/>
              <a:gd name="connsiteX2621" fmla="*/ 11820284 w 12192185"/>
              <a:gd name="connsiteY2621" fmla="*/ 5901630 h 6859062"/>
              <a:gd name="connsiteX2622" fmla="*/ 11816596 w 12192185"/>
              <a:gd name="connsiteY2622" fmla="*/ 5917155 h 6859062"/>
              <a:gd name="connsiteX2623" fmla="*/ 11810503 w 12192185"/>
              <a:gd name="connsiteY2623" fmla="*/ 5926938 h 6859062"/>
              <a:gd name="connsiteX2624" fmla="*/ 11808419 w 12192185"/>
              <a:gd name="connsiteY2624" fmla="*/ 5939026 h 6859062"/>
              <a:gd name="connsiteX2625" fmla="*/ 11810265 w 12192185"/>
              <a:gd name="connsiteY2625" fmla="*/ 5940261 h 6859062"/>
              <a:gd name="connsiteX2626" fmla="*/ 11825282 w 12192185"/>
              <a:gd name="connsiteY2626" fmla="*/ 5946411 h 6859062"/>
              <a:gd name="connsiteX2627" fmla="*/ 11827853 w 12192185"/>
              <a:gd name="connsiteY2627" fmla="*/ 5948266 h 6859062"/>
              <a:gd name="connsiteX2628" fmla="*/ 11833215 w 12192185"/>
              <a:gd name="connsiteY2628" fmla="*/ 5955463 h 6859062"/>
              <a:gd name="connsiteX2629" fmla="*/ 11840176 w 12192185"/>
              <a:gd name="connsiteY2629" fmla="*/ 5963423 h 6859062"/>
              <a:gd name="connsiteX2630" fmla="*/ 11841989 w 12192185"/>
              <a:gd name="connsiteY2630" fmla="*/ 5967275 h 6859062"/>
              <a:gd name="connsiteX2631" fmla="*/ 11844249 w 12192185"/>
              <a:gd name="connsiteY2631" fmla="*/ 5991889 h 6859062"/>
              <a:gd name="connsiteX2632" fmla="*/ 11843335 w 12192185"/>
              <a:gd name="connsiteY2632" fmla="*/ 5993967 h 6859062"/>
              <a:gd name="connsiteX2633" fmla="*/ 11836129 w 12192185"/>
              <a:gd name="connsiteY2633" fmla="*/ 6003532 h 6859062"/>
              <a:gd name="connsiteX2634" fmla="*/ 11832700 w 12192185"/>
              <a:gd name="connsiteY2634" fmla="*/ 6006924 h 6859062"/>
              <a:gd name="connsiteX2635" fmla="*/ 11826606 w 12192185"/>
              <a:gd name="connsiteY2635" fmla="*/ 6012109 h 6859062"/>
              <a:gd name="connsiteX2636" fmla="*/ 11823801 w 12192185"/>
              <a:gd name="connsiteY2636" fmla="*/ 6019374 h 6859062"/>
              <a:gd name="connsiteX2637" fmla="*/ 11821886 w 12192185"/>
              <a:gd name="connsiteY2637" fmla="*/ 6021450 h 6859062"/>
              <a:gd name="connsiteX2638" fmla="*/ 11819374 w 12192185"/>
              <a:gd name="connsiteY2638" fmla="*/ 6020089 h 6859062"/>
              <a:gd name="connsiteX2639" fmla="*/ 11817917 w 12192185"/>
              <a:gd name="connsiteY2639" fmla="*/ 6018450 h 6859062"/>
              <a:gd name="connsiteX2640" fmla="*/ 11815354 w 12192185"/>
              <a:gd name="connsiteY2640" fmla="*/ 6016990 h 6859062"/>
              <a:gd name="connsiteX2641" fmla="*/ 11814049 w 12192185"/>
              <a:gd name="connsiteY2641" fmla="*/ 6019472 h 6859062"/>
              <a:gd name="connsiteX2642" fmla="*/ 11808924 w 12192185"/>
              <a:gd name="connsiteY2642" fmla="*/ 6021150 h 6859062"/>
              <a:gd name="connsiteX2643" fmla="*/ 11806915 w 12192185"/>
              <a:gd name="connsiteY2643" fmla="*/ 6019602 h 6859062"/>
              <a:gd name="connsiteX2644" fmla="*/ 11803510 w 12192185"/>
              <a:gd name="connsiteY2644" fmla="*/ 6019980 h 6859062"/>
              <a:gd name="connsiteX2645" fmla="*/ 11803807 w 12192185"/>
              <a:gd name="connsiteY2645" fmla="*/ 6023225 h 6859062"/>
              <a:gd name="connsiteX2646" fmla="*/ 11805313 w 12192185"/>
              <a:gd name="connsiteY2646" fmla="*/ 6025463 h 6859062"/>
              <a:gd name="connsiteX2647" fmla="*/ 11786645 w 12192185"/>
              <a:gd name="connsiteY2647" fmla="*/ 6019666 h 6859062"/>
              <a:gd name="connsiteX2648" fmla="*/ 11786827 w 12192185"/>
              <a:gd name="connsiteY2648" fmla="*/ 6018301 h 6859062"/>
              <a:gd name="connsiteX2649" fmla="*/ 11783853 w 12192185"/>
              <a:gd name="connsiteY2649" fmla="*/ 6016056 h 6859062"/>
              <a:gd name="connsiteX2650" fmla="*/ 11780368 w 12192185"/>
              <a:gd name="connsiteY2650" fmla="*/ 6016279 h 6859062"/>
              <a:gd name="connsiteX2651" fmla="*/ 11776511 w 12192185"/>
              <a:gd name="connsiteY2651" fmla="*/ 6013494 h 6859062"/>
              <a:gd name="connsiteX2652" fmla="*/ 11764062 w 12192185"/>
              <a:gd name="connsiteY2652" fmla="*/ 6004603 h 6859062"/>
              <a:gd name="connsiteX2653" fmla="*/ 11760960 w 12192185"/>
              <a:gd name="connsiteY2653" fmla="*/ 6004025 h 6859062"/>
              <a:gd name="connsiteX2654" fmla="*/ 11762960 w 12192185"/>
              <a:gd name="connsiteY2654" fmla="*/ 6000579 h 6859062"/>
              <a:gd name="connsiteX2655" fmla="*/ 11763431 w 12192185"/>
              <a:gd name="connsiteY2655" fmla="*/ 6000333 h 6859062"/>
              <a:gd name="connsiteX2656" fmla="*/ 11763625 w 12192185"/>
              <a:gd name="connsiteY2656" fmla="*/ 5993432 h 6859062"/>
              <a:gd name="connsiteX2657" fmla="*/ 11760083 w 12192185"/>
              <a:gd name="connsiteY2657" fmla="*/ 5985885 h 6859062"/>
              <a:gd name="connsiteX2658" fmla="*/ 11757335 w 12192185"/>
              <a:gd name="connsiteY2658" fmla="*/ 5974123 h 6859062"/>
              <a:gd name="connsiteX2659" fmla="*/ 11758216 w 12192185"/>
              <a:gd name="connsiteY2659" fmla="*/ 5970064 h 6859062"/>
              <a:gd name="connsiteX2660" fmla="*/ 11760389 w 12192185"/>
              <a:gd name="connsiteY2660" fmla="*/ 5958529 h 6859062"/>
              <a:gd name="connsiteX2661" fmla="*/ 11763423 w 12192185"/>
              <a:gd name="connsiteY2661" fmla="*/ 5955144 h 6859062"/>
              <a:gd name="connsiteX2662" fmla="*/ 11776599 w 12192185"/>
              <a:gd name="connsiteY2662" fmla="*/ 5942459 h 6859062"/>
              <a:gd name="connsiteX2663" fmla="*/ 11774794 w 12192185"/>
              <a:gd name="connsiteY2663" fmla="*/ 5939002 h 6859062"/>
              <a:gd name="connsiteX2664" fmla="*/ 11770461 w 12192185"/>
              <a:gd name="connsiteY2664" fmla="*/ 5940667 h 6859062"/>
              <a:gd name="connsiteX2665" fmla="*/ 11768618 w 12192185"/>
              <a:gd name="connsiteY2665" fmla="*/ 5944031 h 6859062"/>
              <a:gd name="connsiteX2666" fmla="*/ 11766111 w 12192185"/>
              <a:gd name="connsiteY2666" fmla="*/ 5945741 h 6859062"/>
              <a:gd name="connsiteX2667" fmla="*/ 11765104 w 12192185"/>
              <a:gd name="connsiteY2667" fmla="*/ 5942667 h 6859062"/>
              <a:gd name="connsiteX2668" fmla="*/ 11766237 w 12192185"/>
              <a:gd name="connsiteY2668" fmla="*/ 5939475 h 6859062"/>
              <a:gd name="connsiteX2669" fmla="*/ 11764479 w 12192185"/>
              <a:gd name="connsiteY2669" fmla="*/ 5934195 h 6859062"/>
              <a:gd name="connsiteX2670" fmla="*/ 11760727 w 12192185"/>
              <a:gd name="connsiteY2670" fmla="*/ 5937355 h 6859062"/>
              <a:gd name="connsiteX2671" fmla="*/ 11758823 w 12192185"/>
              <a:gd name="connsiteY2671" fmla="*/ 5941750 h 6859062"/>
              <a:gd name="connsiteX2672" fmla="*/ 11754613 w 12192185"/>
              <a:gd name="connsiteY2672" fmla="*/ 5941352 h 6859062"/>
              <a:gd name="connsiteX2673" fmla="*/ 11753391 w 12192185"/>
              <a:gd name="connsiteY2673" fmla="*/ 5930591 h 6859062"/>
              <a:gd name="connsiteX2674" fmla="*/ 11748876 w 12192185"/>
              <a:gd name="connsiteY2674" fmla="*/ 5921952 h 6859062"/>
              <a:gd name="connsiteX2675" fmla="*/ 11743927 w 12192185"/>
              <a:gd name="connsiteY2675" fmla="*/ 5920140 h 6859062"/>
              <a:gd name="connsiteX2676" fmla="*/ 11742081 w 12192185"/>
              <a:gd name="connsiteY2676" fmla="*/ 5918905 h 6859062"/>
              <a:gd name="connsiteX2677" fmla="*/ 11743317 w 12192185"/>
              <a:gd name="connsiteY2677" fmla="*/ 5917059 h 6859062"/>
              <a:gd name="connsiteX2678" fmla="*/ 11744976 w 12192185"/>
              <a:gd name="connsiteY2678" fmla="*/ 5912192 h 6859062"/>
              <a:gd name="connsiteX2679" fmla="*/ 11745367 w 12192185"/>
              <a:gd name="connsiteY2679" fmla="*/ 5902989 h 6859062"/>
              <a:gd name="connsiteX2680" fmla="*/ 11743555 w 12192185"/>
              <a:gd name="connsiteY2680" fmla="*/ 5899137 h 6859062"/>
              <a:gd name="connsiteX2681" fmla="*/ 11740983 w 12192185"/>
              <a:gd name="connsiteY2681" fmla="*/ 5897281 h 6859062"/>
              <a:gd name="connsiteX2682" fmla="*/ 11742753 w 12192185"/>
              <a:gd name="connsiteY2682" fmla="*/ 5894157 h 6859062"/>
              <a:gd name="connsiteX2683" fmla="*/ 11744788 w 12192185"/>
              <a:gd name="connsiteY2683" fmla="*/ 5892693 h 6859062"/>
              <a:gd name="connsiteX2684" fmla="*/ 11744094 w 12192185"/>
              <a:gd name="connsiteY2684" fmla="*/ 5884857 h 6859062"/>
              <a:gd name="connsiteX2685" fmla="*/ 11742651 w 12192185"/>
              <a:gd name="connsiteY2685" fmla="*/ 5884011 h 6859062"/>
              <a:gd name="connsiteX2686" fmla="*/ 11741332 w 12192185"/>
              <a:gd name="connsiteY2686" fmla="*/ 5881102 h 6859062"/>
              <a:gd name="connsiteX2687" fmla="*/ 11744174 w 12192185"/>
              <a:gd name="connsiteY2687" fmla="*/ 5880416 h 6859062"/>
              <a:gd name="connsiteX2688" fmla="*/ 11746812 w 12192185"/>
              <a:gd name="connsiteY2688" fmla="*/ 5881637 h 6859062"/>
              <a:gd name="connsiteX2689" fmla="*/ 11750201 w 12192185"/>
              <a:gd name="connsiteY2689" fmla="*/ 5880465 h 6859062"/>
              <a:gd name="connsiteX2690" fmla="*/ 11758474 w 12192185"/>
              <a:gd name="connsiteY2690" fmla="*/ 5872942 h 6859062"/>
              <a:gd name="connsiteX2691" fmla="*/ 11770007 w 12192185"/>
              <a:gd name="connsiteY2691" fmla="*/ 5865915 h 6859062"/>
              <a:gd name="connsiteX2692" fmla="*/ 11773574 w 12192185"/>
              <a:gd name="connsiteY2692" fmla="*/ 5865850 h 6859062"/>
              <a:gd name="connsiteX2693" fmla="*/ 11783717 w 12192185"/>
              <a:gd name="connsiteY2693" fmla="*/ 5865349 h 6859062"/>
              <a:gd name="connsiteX2694" fmla="*/ 1182581 w 12192185"/>
              <a:gd name="connsiteY2694" fmla="*/ 5811483 h 6859062"/>
              <a:gd name="connsiteX2695" fmla="*/ 1196837 w 12192185"/>
              <a:gd name="connsiteY2695" fmla="*/ 5816009 h 6859062"/>
              <a:gd name="connsiteX2696" fmla="*/ 1210642 w 12192185"/>
              <a:gd name="connsiteY2696" fmla="*/ 5820465 h 6859062"/>
              <a:gd name="connsiteX2697" fmla="*/ 1227515 w 12192185"/>
              <a:gd name="connsiteY2697" fmla="*/ 5843705 h 6859062"/>
              <a:gd name="connsiteX2698" fmla="*/ 1225809 w 12192185"/>
              <a:gd name="connsiteY2698" fmla="*/ 5854516 h 6859062"/>
              <a:gd name="connsiteX2699" fmla="*/ 1224989 w 12192185"/>
              <a:gd name="connsiteY2699" fmla="*/ 5858990 h 6859062"/>
              <a:gd name="connsiteX2700" fmla="*/ 1223778 w 12192185"/>
              <a:gd name="connsiteY2700" fmla="*/ 5871357 h 6859062"/>
              <a:gd name="connsiteX2701" fmla="*/ 1223452 w 12192185"/>
              <a:gd name="connsiteY2701" fmla="*/ 5877386 h 6859062"/>
              <a:gd name="connsiteX2702" fmla="*/ 1220884 w 12192185"/>
              <a:gd name="connsiteY2702" fmla="*/ 5884651 h 6859062"/>
              <a:gd name="connsiteX2703" fmla="*/ 1215703 w 12192185"/>
              <a:gd name="connsiteY2703" fmla="*/ 5891163 h 6859062"/>
              <a:gd name="connsiteX2704" fmla="*/ 1200980 w 12192185"/>
              <a:gd name="connsiteY2704" fmla="*/ 5906225 h 6859062"/>
              <a:gd name="connsiteX2705" fmla="*/ 1164424 w 12192185"/>
              <a:gd name="connsiteY2705" fmla="*/ 5916869 h 6859062"/>
              <a:gd name="connsiteX2706" fmla="*/ 1161628 w 12192185"/>
              <a:gd name="connsiteY2706" fmla="*/ 5915119 h 6859062"/>
              <a:gd name="connsiteX2707" fmla="*/ 1148199 w 12192185"/>
              <a:gd name="connsiteY2707" fmla="*/ 5909359 h 6859062"/>
              <a:gd name="connsiteX2708" fmla="*/ 1145217 w 12192185"/>
              <a:gd name="connsiteY2708" fmla="*/ 5906615 h 6859062"/>
              <a:gd name="connsiteX2709" fmla="*/ 1136084 w 12192185"/>
              <a:gd name="connsiteY2709" fmla="*/ 5900682 h 6859062"/>
              <a:gd name="connsiteX2710" fmla="*/ 1131487 w 12192185"/>
              <a:gd name="connsiteY2710" fmla="*/ 5897000 h 6859062"/>
              <a:gd name="connsiteX2711" fmla="*/ 1130197 w 12192185"/>
              <a:gd name="connsiteY2711" fmla="*/ 5890033 h 6859062"/>
              <a:gd name="connsiteX2712" fmla="*/ 1122960 w 12192185"/>
              <a:gd name="connsiteY2712" fmla="*/ 5870989 h 6859062"/>
              <a:gd name="connsiteX2713" fmla="*/ 1120749 w 12192185"/>
              <a:gd name="connsiteY2713" fmla="*/ 5859046 h 6859062"/>
              <a:gd name="connsiteX2714" fmla="*/ 1122254 w 12192185"/>
              <a:gd name="connsiteY2714" fmla="*/ 5853829 h 6859062"/>
              <a:gd name="connsiteX2715" fmla="*/ 1129996 w 12192185"/>
              <a:gd name="connsiteY2715" fmla="*/ 5843346 h 6859062"/>
              <a:gd name="connsiteX2716" fmla="*/ 1141612 w 12192185"/>
              <a:gd name="connsiteY2716" fmla="*/ 5825975 h 6859062"/>
              <a:gd name="connsiteX2717" fmla="*/ 1148844 w 12192185"/>
              <a:gd name="connsiteY2717" fmla="*/ 5820526 h 6859062"/>
              <a:gd name="connsiteX2718" fmla="*/ 1159123 w 12192185"/>
              <a:gd name="connsiteY2718" fmla="*/ 5815957 h 6859062"/>
              <a:gd name="connsiteX2719" fmla="*/ 1167654 w 12192185"/>
              <a:gd name="connsiteY2719" fmla="*/ 5814180 h 6859062"/>
              <a:gd name="connsiteX2720" fmla="*/ 1182581 w 12192185"/>
              <a:gd name="connsiteY2720" fmla="*/ 5811483 h 6859062"/>
              <a:gd name="connsiteX2721" fmla="*/ 8493760 w 12192185"/>
              <a:gd name="connsiteY2721" fmla="*/ 5763534 h 6859062"/>
              <a:gd name="connsiteX2722" fmla="*/ 8482005 w 12192185"/>
              <a:gd name="connsiteY2722" fmla="*/ 5764669 h 6859062"/>
              <a:gd name="connsiteX2723" fmla="*/ 8533948 w 12192185"/>
              <a:gd name="connsiteY2723" fmla="*/ 5780419 h 6859062"/>
              <a:gd name="connsiteX2724" fmla="*/ 8540394 w 12192185"/>
              <a:gd name="connsiteY2724" fmla="*/ 5785730 h 6859062"/>
              <a:gd name="connsiteX2725" fmla="*/ 8546271 w 12192185"/>
              <a:gd name="connsiteY2725" fmla="*/ 5785162 h 6859062"/>
              <a:gd name="connsiteX2726" fmla="*/ 8611105 w 12192185"/>
              <a:gd name="connsiteY2726" fmla="*/ 5811533 h 6859062"/>
              <a:gd name="connsiteX2727" fmla="*/ 8767507 w 12192185"/>
              <a:gd name="connsiteY2727" fmla="*/ 5864660 h 6859062"/>
              <a:gd name="connsiteX2728" fmla="*/ 8920116 w 12192185"/>
              <a:gd name="connsiteY2728" fmla="*/ 5909254 h 6859062"/>
              <a:gd name="connsiteX2729" fmla="*/ 8944193 w 12192185"/>
              <a:gd name="connsiteY2729" fmla="*/ 5912863 h 6859062"/>
              <a:gd name="connsiteX2730" fmla="*/ 9056615 w 12192185"/>
              <a:gd name="connsiteY2730" fmla="*/ 5940572 h 6859062"/>
              <a:gd name="connsiteX2731" fmla="*/ 9095670 w 12192185"/>
              <a:gd name="connsiteY2731" fmla="*/ 5945702 h 6859062"/>
              <a:gd name="connsiteX2732" fmla="*/ 9179659 w 12192185"/>
              <a:gd name="connsiteY2732" fmla="*/ 5955392 h 6859062"/>
              <a:gd name="connsiteX2733" fmla="*/ 9180953 w 12192185"/>
              <a:gd name="connsiteY2733" fmla="*/ 5955573 h 6859062"/>
              <a:gd name="connsiteX2734" fmla="*/ 9182923 w 12192185"/>
              <a:gd name="connsiteY2734" fmla="*/ 5955055 h 6859062"/>
              <a:gd name="connsiteX2735" fmla="*/ 9194318 w 12192185"/>
              <a:gd name="connsiteY2735" fmla="*/ 5946956 h 6859062"/>
              <a:gd name="connsiteX2736" fmla="*/ 9198347 w 12192185"/>
              <a:gd name="connsiteY2736" fmla="*/ 5942900 h 6859062"/>
              <a:gd name="connsiteX2737" fmla="*/ 9212737 w 12192185"/>
              <a:gd name="connsiteY2737" fmla="*/ 5935632 h 6859062"/>
              <a:gd name="connsiteX2738" fmla="*/ 9129234 w 12192185"/>
              <a:gd name="connsiteY2738" fmla="*/ 5924665 h 6859062"/>
              <a:gd name="connsiteX2739" fmla="*/ 9126011 w 12192185"/>
              <a:gd name="connsiteY2739" fmla="*/ 5922010 h 6859062"/>
              <a:gd name="connsiteX2740" fmla="*/ 9120136 w 12192185"/>
              <a:gd name="connsiteY2740" fmla="*/ 5922577 h 6859062"/>
              <a:gd name="connsiteX2741" fmla="*/ 9090179 w 12192185"/>
              <a:gd name="connsiteY2741" fmla="*/ 5919535 h 6859062"/>
              <a:gd name="connsiteX2742" fmla="*/ 9077857 w 12192185"/>
              <a:gd name="connsiteY2742" fmla="*/ 5914792 h 6859062"/>
              <a:gd name="connsiteX2743" fmla="*/ 9071980 w 12192185"/>
              <a:gd name="connsiteY2743" fmla="*/ 5915361 h 6859062"/>
              <a:gd name="connsiteX2744" fmla="*/ 9036147 w 12192185"/>
              <a:gd name="connsiteY2744" fmla="*/ 5912885 h 6859062"/>
              <a:gd name="connsiteX2745" fmla="*/ 9030269 w 12192185"/>
              <a:gd name="connsiteY2745" fmla="*/ 5913454 h 6859062"/>
              <a:gd name="connsiteX2746" fmla="*/ 9020602 w 12192185"/>
              <a:gd name="connsiteY2746" fmla="*/ 5905488 h 6859062"/>
              <a:gd name="connsiteX2747" fmla="*/ 8984771 w 12192185"/>
              <a:gd name="connsiteY2747" fmla="*/ 5903014 h 6859062"/>
              <a:gd name="connsiteX2748" fmla="*/ 8978893 w 12192185"/>
              <a:gd name="connsiteY2748" fmla="*/ 5903582 h 6859062"/>
              <a:gd name="connsiteX2749" fmla="*/ 8975671 w 12192185"/>
              <a:gd name="connsiteY2749" fmla="*/ 5900926 h 6859062"/>
              <a:gd name="connsiteX2750" fmla="*/ 8850925 w 12192185"/>
              <a:gd name="connsiteY2750" fmla="*/ 5868473 h 6859062"/>
              <a:gd name="connsiteX2751" fmla="*/ 8835949 w 12192185"/>
              <a:gd name="connsiteY2751" fmla="*/ 5866952 h 6859062"/>
              <a:gd name="connsiteX2752" fmla="*/ 8826280 w 12192185"/>
              <a:gd name="connsiteY2752" fmla="*/ 5858987 h 6859062"/>
              <a:gd name="connsiteX2753" fmla="*/ 8820970 w 12192185"/>
              <a:gd name="connsiteY2753" fmla="*/ 5865432 h 6859062"/>
              <a:gd name="connsiteX2754" fmla="*/ 8811871 w 12192185"/>
              <a:gd name="connsiteY2754" fmla="*/ 5863343 h 6859062"/>
              <a:gd name="connsiteX2755" fmla="*/ 8753480 w 12192185"/>
              <a:gd name="connsiteY2755" fmla="*/ 5842284 h 6859062"/>
              <a:gd name="connsiteX2756" fmla="*/ 8750259 w 12192185"/>
              <a:gd name="connsiteY2756" fmla="*/ 5839629 h 6859062"/>
              <a:gd name="connsiteX2757" fmla="*/ 8743815 w 12192185"/>
              <a:gd name="connsiteY2757" fmla="*/ 5834319 h 6859062"/>
              <a:gd name="connsiteX2758" fmla="*/ 8741160 w 12192185"/>
              <a:gd name="connsiteY2758" fmla="*/ 5837541 h 6859062"/>
              <a:gd name="connsiteX2759" fmla="*/ 8674238 w 12192185"/>
              <a:gd name="connsiteY2759" fmla="*/ 5820270 h 6859062"/>
              <a:gd name="connsiteX2760" fmla="*/ 8588548 w 12192185"/>
              <a:gd name="connsiteY2760" fmla="*/ 5792947 h 6859062"/>
              <a:gd name="connsiteX2761" fmla="*/ 8542481 w 12192185"/>
              <a:gd name="connsiteY2761" fmla="*/ 5776629 h 6859062"/>
              <a:gd name="connsiteX2762" fmla="*/ 8539258 w 12192185"/>
              <a:gd name="connsiteY2762" fmla="*/ 5773974 h 6859062"/>
              <a:gd name="connsiteX2763" fmla="*/ 8536036 w 12192185"/>
              <a:gd name="connsiteY2763" fmla="*/ 5771320 h 6859062"/>
              <a:gd name="connsiteX2764" fmla="*/ 8532815 w 12192185"/>
              <a:gd name="connsiteY2764" fmla="*/ 5768664 h 6859062"/>
              <a:gd name="connsiteX2765" fmla="*/ 8530159 w 12192185"/>
              <a:gd name="connsiteY2765" fmla="*/ 5771886 h 6859062"/>
              <a:gd name="connsiteX2766" fmla="*/ 8521626 w 12192185"/>
              <a:gd name="connsiteY2766" fmla="*/ 5775676 h 6859062"/>
              <a:gd name="connsiteX2767" fmla="*/ 8493760 w 12192185"/>
              <a:gd name="connsiteY2767" fmla="*/ 5763534 h 6859062"/>
              <a:gd name="connsiteX2768" fmla="*/ 8394795 w 12192185"/>
              <a:gd name="connsiteY2768" fmla="*/ 5752323 h 6859062"/>
              <a:gd name="connsiteX2769" fmla="*/ 8389484 w 12192185"/>
              <a:gd name="connsiteY2769" fmla="*/ 5758768 h 6859062"/>
              <a:gd name="connsiteX2770" fmla="*/ 8401807 w 12192185"/>
              <a:gd name="connsiteY2770" fmla="*/ 5763511 h 6859062"/>
              <a:gd name="connsiteX2771" fmla="*/ 8399152 w 12192185"/>
              <a:gd name="connsiteY2771" fmla="*/ 5766733 h 6859062"/>
              <a:gd name="connsiteX2772" fmla="*/ 8435552 w 12192185"/>
              <a:gd name="connsiteY2772" fmla="*/ 5775084 h 6859062"/>
              <a:gd name="connsiteX2773" fmla="*/ 8441996 w 12192185"/>
              <a:gd name="connsiteY2773" fmla="*/ 5780395 h 6859062"/>
              <a:gd name="connsiteX2774" fmla="*/ 8445218 w 12192185"/>
              <a:gd name="connsiteY2774" fmla="*/ 5783049 h 6859062"/>
              <a:gd name="connsiteX2775" fmla="*/ 8448442 w 12192185"/>
              <a:gd name="connsiteY2775" fmla="*/ 5785706 h 6859062"/>
              <a:gd name="connsiteX2776" fmla="*/ 8451097 w 12192185"/>
              <a:gd name="connsiteY2776" fmla="*/ 5782482 h 6859062"/>
              <a:gd name="connsiteX2777" fmla="*/ 8457542 w 12192185"/>
              <a:gd name="connsiteY2777" fmla="*/ 5787794 h 6859062"/>
              <a:gd name="connsiteX2778" fmla="*/ 8449007 w 12192185"/>
              <a:gd name="connsiteY2778" fmla="*/ 5791583 h 6859062"/>
              <a:gd name="connsiteX2779" fmla="*/ 8461330 w 12192185"/>
              <a:gd name="connsiteY2779" fmla="*/ 5796325 h 6859062"/>
              <a:gd name="connsiteX2780" fmla="*/ 8464554 w 12192185"/>
              <a:gd name="connsiteY2780" fmla="*/ 5798981 h 6859062"/>
              <a:gd name="connsiteX2781" fmla="*/ 8467776 w 12192185"/>
              <a:gd name="connsiteY2781" fmla="*/ 5801636 h 6859062"/>
              <a:gd name="connsiteX2782" fmla="*/ 8470997 w 12192185"/>
              <a:gd name="connsiteY2782" fmla="*/ 5804291 h 6859062"/>
              <a:gd name="connsiteX2783" fmla="*/ 8486544 w 12192185"/>
              <a:gd name="connsiteY2783" fmla="*/ 5811688 h 6859062"/>
              <a:gd name="connsiteX2784" fmla="*/ 8492420 w 12192185"/>
              <a:gd name="connsiteY2784" fmla="*/ 5811122 h 6859062"/>
              <a:gd name="connsiteX2785" fmla="*/ 8495642 w 12192185"/>
              <a:gd name="connsiteY2785" fmla="*/ 5813778 h 6859062"/>
              <a:gd name="connsiteX2786" fmla="*/ 8492420 w 12192185"/>
              <a:gd name="connsiteY2786" fmla="*/ 5811122 h 6859062"/>
              <a:gd name="connsiteX2787" fmla="*/ 8532608 w 12192185"/>
              <a:gd name="connsiteY2787" fmla="*/ 5828007 h 6859062"/>
              <a:gd name="connsiteX2788" fmla="*/ 8539055 w 12192185"/>
              <a:gd name="connsiteY2788" fmla="*/ 5833316 h 6859062"/>
              <a:gd name="connsiteX2789" fmla="*/ 8541709 w 12192185"/>
              <a:gd name="connsiteY2789" fmla="*/ 5830095 h 6859062"/>
              <a:gd name="connsiteX2790" fmla="*/ 8578675 w 12192185"/>
              <a:gd name="connsiteY2790" fmla="*/ 5844324 h 6859062"/>
              <a:gd name="connsiteX2791" fmla="*/ 8581332 w 12192185"/>
              <a:gd name="connsiteY2791" fmla="*/ 5841101 h 6859062"/>
              <a:gd name="connsiteX2792" fmla="*/ 8584553 w 12192185"/>
              <a:gd name="connsiteY2792" fmla="*/ 5843757 h 6859062"/>
              <a:gd name="connsiteX2793" fmla="*/ 8581898 w 12192185"/>
              <a:gd name="connsiteY2793" fmla="*/ 5846978 h 6859062"/>
              <a:gd name="connsiteX2794" fmla="*/ 8585121 w 12192185"/>
              <a:gd name="connsiteY2794" fmla="*/ 5849635 h 6859062"/>
              <a:gd name="connsiteX2795" fmla="*/ 8590998 w 12192185"/>
              <a:gd name="connsiteY2795" fmla="*/ 5849066 h 6859062"/>
              <a:gd name="connsiteX2796" fmla="*/ 8705122 w 12192185"/>
              <a:gd name="connsiteY2796" fmla="*/ 5894409 h 6859062"/>
              <a:gd name="connsiteX2797" fmla="*/ 8736210 w 12192185"/>
              <a:gd name="connsiteY2797" fmla="*/ 5909205 h 6859062"/>
              <a:gd name="connsiteX2798" fmla="*/ 8760288 w 12192185"/>
              <a:gd name="connsiteY2798" fmla="*/ 5912815 h 6859062"/>
              <a:gd name="connsiteX2799" fmla="*/ 8796688 w 12192185"/>
              <a:gd name="connsiteY2799" fmla="*/ 5921166 h 6859062"/>
              <a:gd name="connsiteX2800" fmla="*/ 9057931 w 12192185"/>
              <a:gd name="connsiteY2800" fmla="*/ 5984938 h 6859062"/>
              <a:gd name="connsiteX2801" fmla="*/ 9061721 w 12192185"/>
              <a:gd name="connsiteY2801" fmla="*/ 5993470 h 6859062"/>
              <a:gd name="connsiteX2802" fmla="*/ 9058498 w 12192185"/>
              <a:gd name="connsiteY2802" fmla="*/ 5990816 h 6859062"/>
              <a:gd name="connsiteX2803" fmla="*/ 9055843 w 12192185"/>
              <a:gd name="connsiteY2803" fmla="*/ 5994037 h 6859062"/>
              <a:gd name="connsiteX2804" fmla="*/ 9064944 w 12192185"/>
              <a:gd name="connsiteY2804" fmla="*/ 5996125 h 6859062"/>
              <a:gd name="connsiteX2805" fmla="*/ 9074610 w 12192185"/>
              <a:gd name="connsiteY2805" fmla="*/ 6004090 h 6859062"/>
              <a:gd name="connsiteX2806" fmla="*/ 9094898 w 12192185"/>
              <a:gd name="connsiteY2806" fmla="*/ 5999167 h 6859062"/>
              <a:gd name="connsiteX2807" fmla="*/ 9098119 w 12192185"/>
              <a:gd name="connsiteY2807" fmla="*/ 6001821 h 6859062"/>
              <a:gd name="connsiteX2808" fmla="*/ 9103998 w 12192185"/>
              <a:gd name="connsiteY2808" fmla="*/ 6001254 h 6859062"/>
              <a:gd name="connsiteX2809" fmla="*/ 9107220 w 12192185"/>
              <a:gd name="connsiteY2809" fmla="*/ 6003909 h 6859062"/>
              <a:gd name="connsiteX2810" fmla="*/ 9109875 w 12192185"/>
              <a:gd name="connsiteY2810" fmla="*/ 6000687 h 6859062"/>
              <a:gd name="connsiteX2811" fmla="*/ 9118976 w 12192185"/>
              <a:gd name="connsiteY2811" fmla="*/ 6002774 h 6859062"/>
              <a:gd name="connsiteX2812" fmla="*/ 9140396 w 12192185"/>
              <a:gd name="connsiteY2812" fmla="*/ 6009607 h 6859062"/>
              <a:gd name="connsiteX2813" fmla="*/ 9137743 w 12192185"/>
              <a:gd name="connsiteY2813" fmla="*/ 6012828 h 6859062"/>
              <a:gd name="connsiteX2814" fmla="*/ 9131865 w 12192185"/>
              <a:gd name="connsiteY2814" fmla="*/ 6013396 h 6859062"/>
              <a:gd name="connsiteX2815" fmla="*/ 9140965 w 12192185"/>
              <a:gd name="connsiteY2815" fmla="*/ 6015484 h 6859062"/>
              <a:gd name="connsiteX2816" fmla="*/ 9146843 w 12192185"/>
              <a:gd name="connsiteY2816" fmla="*/ 6014917 h 6859062"/>
              <a:gd name="connsiteX2817" fmla="*/ 9167696 w 12192185"/>
              <a:gd name="connsiteY2817" fmla="*/ 6015869 h 6859062"/>
              <a:gd name="connsiteX2818" fmla="*/ 9170919 w 12192185"/>
              <a:gd name="connsiteY2818" fmla="*/ 6018524 h 6859062"/>
              <a:gd name="connsiteX2819" fmla="*/ 9180020 w 12192185"/>
              <a:gd name="connsiteY2819" fmla="*/ 6020613 h 6859062"/>
              <a:gd name="connsiteX2820" fmla="*/ 9182675 w 12192185"/>
              <a:gd name="connsiteY2820" fmla="*/ 6017390 h 6859062"/>
              <a:gd name="connsiteX2821" fmla="*/ 9179452 w 12192185"/>
              <a:gd name="connsiteY2821" fmla="*/ 6014735 h 6859062"/>
              <a:gd name="connsiteX2822" fmla="*/ 9191775 w 12192185"/>
              <a:gd name="connsiteY2822" fmla="*/ 6019479 h 6859062"/>
              <a:gd name="connsiteX2823" fmla="*/ 9197085 w 12192185"/>
              <a:gd name="connsiteY2823" fmla="*/ 6013033 h 6859062"/>
              <a:gd name="connsiteX2824" fmla="*/ 9203530 w 12192185"/>
              <a:gd name="connsiteY2824" fmla="*/ 6018343 h 6859062"/>
              <a:gd name="connsiteX2825" fmla="*/ 9209408 w 12192185"/>
              <a:gd name="connsiteY2825" fmla="*/ 6017776 h 6859062"/>
              <a:gd name="connsiteX2826" fmla="*/ 9212630 w 12192185"/>
              <a:gd name="connsiteY2826" fmla="*/ 6020431 h 6859062"/>
              <a:gd name="connsiteX2827" fmla="*/ 9215286 w 12192185"/>
              <a:gd name="connsiteY2827" fmla="*/ 6017210 h 6859062"/>
              <a:gd name="connsiteX2828" fmla="*/ 9212063 w 12192185"/>
              <a:gd name="connsiteY2828" fmla="*/ 6014554 h 6859062"/>
              <a:gd name="connsiteX2829" fmla="*/ 9268750 w 12192185"/>
              <a:gd name="connsiteY2829" fmla="*/ 6017981 h 6859062"/>
              <a:gd name="connsiteX2830" fmla="*/ 9277850 w 12192185"/>
              <a:gd name="connsiteY2830" fmla="*/ 6020069 h 6859062"/>
              <a:gd name="connsiteX2831" fmla="*/ 9286383 w 12192185"/>
              <a:gd name="connsiteY2831" fmla="*/ 6016280 h 6859062"/>
              <a:gd name="connsiteX2832" fmla="*/ 9283853 w 12192185"/>
              <a:gd name="connsiteY2832" fmla="*/ 6014195 h 6859062"/>
              <a:gd name="connsiteX2833" fmla="*/ 9300688 w 12192185"/>
              <a:gd name="connsiteY2833" fmla="*/ 6014205 h 6859062"/>
              <a:gd name="connsiteX2834" fmla="*/ 9360702 w 12192185"/>
              <a:gd name="connsiteY2834" fmla="*/ 6018005 h 6859062"/>
              <a:gd name="connsiteX2835" fmla="*/ 9383647 w 12192185"/>
              <a:gd name="connsiteY2835" fmla="*/ 6009858 h 6859062"/>
              <a:gd name="connsiteX2836" fmla="*/ 9393313 w 12192185"/>
              <a:gd name="connsiteY2836" fmla="*/ 6017824 h 6859062"/>
              <a:gd name="connsiteX2837" fmla="*/ 9425924 w 12192185"/>
              <a:gd name="connsiteY2837" fmla="*/ 6017643 h 6859062"/>
              <a:gd name="connsiteX2838" fmla="*/ 9442988 w 12192185"/>
              <a:gd name="connsiteY2838" fmla="*/ 6010064 h 6859062"/>
              <a:gd name="connsiteX2839" fmla="*/ 9467067 w 12192185"/>
              <a:gd name="connsiteY2839" fmla="*/ 6013672 h 6859062"/>
              <a:gd name="connsiteX2840" fmla="*/ 9464411 w 12192185"/>
              <a:gd name="connsiteY2840" fmla="*/ 6016895 h 6859062"/>
              <a:gd name="connsiteX2841" fmla="*/ 9455878 w 12192185"/>
              <a:gd name="connsiteY2841" fmla="*/ 6020685 h 6859062"/>
              <a:gd name="connsiteX2842" fmla="*/ 9464978 w 12192185"/>
              <a:gd name="connsiteY2842" fmla="*/ 6022773 h 6859062"/>
              <a:gd name="connsiteX2843" fmla="*/ 9470857 w 12192185"/>
              <a:gd name="connsiteY2843" fmla="*/ 6022205 h 6859062"/>
              <a:gd name="connsiteX2844" fmla="*/ 9456447 w 12192185"/>
              <a:gd name="connsiteY2844" fmla="*/ 6026562 h 6859062"/>
              <a:gd name="connsiteX2845" fmla="*/ 9479956 w 12192185"/>
              <a:gd name="connsiteY2845" fmla="*/ 6024292 h 6859062"/>
              <a:gd name="connsiteX2846" fmla="*/ 9485833 w 12192185"/>
              <a:gd name="connsiteY2846" fmla="*/ 6023725 h 6859062"/>
              <a:gd name="connsiteX2847" fmla="*/ 9500244 w 12192185"/>
              <a:gd name="connsiteY2847" fmla="*/ 6019369 h 6859062"/>
              <a:gd name="connsiteX2848" fmla="*/ 9491144 w 12192185"/>
              <a:gd name="connsiteY2848" fmla="*/ 6017280 h 6859062"/>
              <a:gd name="connsiteX2849" fmla="*/ 9487921 w 12192185"/>
              <a:gd name="connsiteY2849" fmla="*/ 6014625 h 6859062"/>
              <a:gd name="connsiteX2850" fmla="*/ 9505555 w 12192185"/>
              <a:gd name="connsiteY2850" fmla="*/ 6012923 h 6859062"/>
              <a:gd name="connsiteX2851" fmla="*/ 9490010 w 12192185"/>
              <a:gd name="connsiteY2851" fmla="*/ 6005526 h 6859062"/>
              <a:gd name="connsiteX2852" fmla="*/ 9523187 w 12192185"/>
              <a:gd name="connsiteY2852" fmla="*/ 6011222 h 6859062"/>
              <a:gd name="connsiteX2853" fmla="*/ 9517308 w 12192185"/>
              <a:gd name="connsiteY2853" fmla="*/ 6011790 h 6859062"/>
              <a:gd name="connsiteX2854" fmla="*/ 9511999 w 12192185"/>
              <a:gd name="connsiteY2854" fmla="*/ 6018234 h 6859062"/>
              <a:gd name="connsiteX2855" fmla="*/ 9523752 w 12192185"/>
              <a:gd name="connsiteY2855" fmla="*/ 6017099 h 6859062"/>
              <a:gd name="connsiteX2856" fmla="*/ 9526976 w 12192185"/>
              <a:gd name="connsiteY2856" fmla="*/ 6019755 h 6859062"/>
              <a:gd name="connsiteX2857" fmla="*/ 9530198 w 12192185"/>
              <a:gd name="connsiteY2857" fmla="*/ 6022411 h 6859062"/>
              <a:gd name="connsiteX2858" fmla="*/ 9527545 w 12192185"/>
              <a:gd name="connsiteY2858" fmla="*/ 6025632 h 6859062"/>
              <a:gd name="connsiteX2859" fmla="*/ 9536076 w 12192185"/>
              <a:gd name="connsiteY2859" fmla="*/ 6021842 h 6859062"/>
              <a:gd name="connsiteX2860" fmla="*/ 9541955 w 12192185"/>
              <a:gd name="connsiteY2860" fmla="*/ 6021275 h 6859062"/>
              <a:gd name="connsiteX2861" fmla="*/ 9560153 w 12192185"/>
              <a:gd name="connsiteY2861" fmla="*/ 6025452 h 6859062"/>
              <a:gd name="connsiteX2862" fmla="*/ 9554276 w 12192185"/>
              <a:gd name="connsiteY2862" fmla="*/ 6026018 h 6859062"/>
              <a:gd name="connsiteX2863" fmla="*/ 9545743 w 12192185"/>
              <a:gd name="connsiteY2863" fmla="*/ 6029808 h 6859062"/>
              <a:gd name="connsiteX2864" fmla="*/ 9560720 w 12192185"/>
              <a:gd name="connsiteY2864" fmla="*/ 6031328 h 6859062"/>
              <a:gd name="connsiteX2865" fmla="*/ 9566598 w 12192185"/>
              <a:gd name="connsiteY2865" fmla="*/ 6030762 h 6859062"/>
              <a:gd name="connsiteX2866" fmla="*/ 9572476 w 12192185"/>
              <a:gd name="connsiteY2866" fmla="*/ 6030194 h 6859062"/>
              <a:gd name="connsiteX2867" fmla="*/ 9577785 w 12192185"/>
              <a:gd name="connsiteY2867" fmla="*/ 6023749 h 6859062"/>
              <a:gd name="connsiteX2868" fmla="*/ 9568686 w 12192185"/>
              <a:gd name="connsiteY2868" fmla="*/ 6021661 h 6859062"/>
              <a:gd name="connsiteX2869" fmla="*/ 9566031 w 12192185"/>
              <a:gd name="connsiteY2869" fmla="*/ 6024884 h 6859062"/>
              <a:gd name="connsiteX2870" fmla="*/ 9560153 w 12192185"/>
              <a:gd name="connsiteY2870" fmla="*/ 6025452 h 6859062"/>
              <a:gd name="connsiteX2871" fmla="*/ 9544609 w 12192185"/>
              <a:gd name="connsiteY2871" fmla="*/ 6018053 h 6859062"/>
              <a:gd name="connsiteX2872" fmla="*/ 9550486 w 12192185"/>
              <a:gd name="connsiteY2872" fmla="*/ 6017486 h 6859062"/>
              <a:gd name="connsiteX2873" fmla="*/ 9547263 w 12192185"/>
              <a:gd name="connsiteY2873" fmla="*/ 6014832 h 6859062"/>
              <a:gd name="connsiteX2874" fmla="*/ 9544042 w 12192185"/>
              <a:gd name="connsiteY2874" fmla="*/ 6012176 h 6859062"/>
              <a:gd name="connsiteX2875" fmla="*/ 9541387 w 12192185"/>
              <a:gd name="connsiteY2875" fmla="*/ 6015398 h 6859062"/>
              <a:gd name="connsiteX2876" fmla="*/ 9535508 w 12192185"/>
              <a:gd name="connsiteY2876" fmla="*/ 6015964 h 6859062"/>
              <a:gd name="connsiteX2877" fmla="*/ 9538164 w 12192185"/>
              <a:gd name="connsiteY2877" fmla="*/ 6012743 h 6859062"/>
              <a:gd name="connsiteX2878" fmla="*/ 9532287 w 12192185"/>
              <a:gd name="connsiteY2878" fmla="*/ 6013310 h 6859062"/>
              <a:gd name="connsiteX2879" fmla="*/ 9529065 w 12192185"/>
              <a:gd name="connsiteY2879" fmla="*/ 6010655 h 6859062"/>
              <a:gd name="connsiteX2880" fmla="*/ 9570207 w 12192185"/>
              <a:gd name="connsiteY2880" fmla="*/ 6006684 h 6859062"/>
              <a:gd name="connsiteX2881" fmla="*/ 9567552 w 12192185"/>
              <a:gd name="connsiteY2881" fmla="*/ 6009906 h 6859062"/>
              <a:gd name="connsiteX2882" fmla="*/ 9564896 w 12192185"/>
              <a:gd name="connsiteY2882" fmla="*/ 6013129 h 6859062"/>
              <a:gd name="connsiteX2883" fmla="*/ 9570774 w 12192185"/>
              <a:gd name="connsiteY2883" fmla="*/ 6012562 h 6859062"/>
              <a:gd name="connsiteX2884" fmla="*/ 9573429 w 12192185"/>
              <a:gd name="connsiteY2884" fmla="*/ 6009339 h 6859062"/>
              <a:gd name="connsiteX2885" fmla="*/ 9579307 w 12192185"/>
              <a:gd name="connsiteY2885" fmla="*/ 6008772 h 6859062"/>
              <a:gd name="connsiteX2886" fmla="*/ 9597507 w 12192185"/>
              <a:gd name="connsiteY2886" fmla="*/ 6012948 h 6859062"/>
              <a:gd name="connsiteX2887" fmla="*/ 9600729 w 12192185"/>
              <a:gd name="connsiteY2887" fmla="*/ 6015603 h 6859062"/>
              <a:gd name="connsiteX2888" fmla="*/ 9606607 w 12192185"/>
              <a:gd name="connsiteY2888" fmla="*/ 6015036 h 6859062"/>
              <a:gd name="connsiteX2889" fmla="*/ 9609263 w 12192185"/>
              <a:gd name="connsiteY2889" fmla="*/ 6011813 h 6859062"/>
              <a:gd name="connsiteX2890" fmla="*/ 9606041 w 12192185"/>
              <a:gd name="connsiteY2890" fmla="*/ 6009158 h 6859062"/>
              <a:gd name="connsiteX2891" fmla="*/ 9632771 w 12192185"/>
              <a:gd name="connsiteY2891" fmla="*/ 6009544 h 6859062"/>
              <a:gd name="connsiteX2892" fmla="*/ 9638649 w 12192185"/>
              <a:gd name="connsiteY2892" fmla="*/ 6008977 h 6859062"/>
              <a:gd name="connsiteX2893" fmla="*/ 9641305 w 12192185"/>
              <a:gd name="connsiteY2893" fmla="*/ 6005754 h 6859062"/>
              <a:gd name="connsiteX2894" fmla="*/ 9638082 w 12192185"/>
              <a:gd name="connsiteY2894" fmla="*/ 6003098 h 6859062"/>
              <a:gd name="connsiteX2895" fmla="*/ 9655148 w 12192185"/>
              <a:gd name="connsiteY2895" fmla="*/ 5995520 h 6859062"/>
              <a:gd name="connsiteX2896" fmla="*/ 9735346 w 12192185"/>
              <a:gd name="connsiteY2896" fmla="*/ 5996679 h 6859062"/>
              <a:gd name="connsiteX2897" fmla="*/ 9734778 w 12192185"/>
              <a:gd name="connsiteY2897" fmla="*/ 5990802 h 6859062"/>
              <a:gd name="connsiteX2898" fmla="*/ 9738000 w 12192185"/>
              <a:gd name="connsiteY2898" fmla="*/ 5993456 h 6859062"/>
              <a:gd name="connsiteX2899" fmla="*/ 9743878 w 12192185"/>
              <a:gd name="connsiteY2899" fmla="*/ 5992889 h 6859062"/>
              <a:gd name="connsiteX2900" fmla="*/ 9740656 w 12192185"/>
              <a:gd name="connsiteY2900" fmla="*/ 5990234 h 6859062"/>
              <a:gd name="connsiteX2901" fmla="*/ 9785588 w 12192185"/>
              <a:gd name="connsiteY2901" fmla="*/ 5994796 h 6859062"/>
              <a:gd name="connsiteX2902" fmla="*/ 9787678 w 12192185"/>
              <a:gd name="connsiteY2902" fmla="*/ 5985696 h 6859062"/>
              <a:gd name="connsiteX2903" fmla="*/ 9796776 w 12192185"/>
              <a:gd name="connsiteY2903" fmla="*/ 5987784 h 6859062"/>
              <a:gd name="connsiteX2904" fmla="*/ 9808531 w 12192185"/>
              <a:gd name="connsiteY2904" fmla="*/ 5986648 h 6859062"/>
              <a:gd name="connsiteX2905" fmla="*/ 9805876 w 12192185"/>
              <a:gd name="connsiteY2905" fmla="*/ 5989872 h 6859062"/>
              <a:gd name="connsiteX2906" fmla="*/ 9809099 w 12192185"/>
              <a:gd name="connsiteY2906" fmla="*/ 5992528 h 6859062"/>
              <a:gd name="connsiteX2907" fmla="*/ 9817632 w 12192185"/>
              <a:gd name="connsiteY2907" fmla="*/ 5988737 h 6859062"/>
              <a:gd name="connsiteX2908" fmla="*/ 9820287 w 12192185"/>
              <a:gd name="connsiteY2908" fmla="*/ 5985515 h 6859062"/>
              <a:gd name="connsiteX2909" fmla="*/ 9858207 w 12192185"/>
              <a:gd name="connsiteY2909" fmla="*/ 5978888 h 6859062"/>
              <a:gd name="connsiteX2910" fmla="*/ 9843230 w 12192185"/>
              <a:gd name="connsiteY2910" fmla="*/ 5977368 h 6859062"/>
              <a:gd name="connsiteX2911" fmla="*/ 9826164 w 12192185"/>
              <a:gd name="connsiteY2911" fmla="*/ 5984947 h 6859062"/>
              <a:gd name="connsiteX2912" fmla="*/ 9832042 w 12192185"/>
              <a:gd name="connsiteY2912" fmla="*/ 5984380 h 6859062"/>
              <a:gd name="connsiteX2913" fmla="*/ 9834697 w 12192185"/>
              <a:gd name="connsiteY2913" fmla="*/ 5981157 h 6859062"/>
              <a:gd name="connsiteX2914" fmla="*/ 9831476 w 12192185"/>
              <a:gd name="connsiteY2914" fmla="*/ 5978502 h 6859062"/>
              <a:gd name="connsiteX2915" fmla="*/ 9825598 w 12192185"/>
              <a:gd name="connsiteY2915" fmla="*/ 5979069 h 6859062"/>
              <a:gd name="connsiteX2916" fmla="*/ 9828253 w 12192185"/>
              <a:gd name="connsiteY2916" fmla="*/ 5975848 h 6859062"/>
              <a:gd name="connsiteX2917" fmla="*/ 9834130 w 12192185"/>
              <a:gd name="connsiteY2917" fmla="*/ 5975280 h 6859062"/>
              <a:gd name="connsiteX2918" fmla="*/ 9830907 w 12192185"/>
              <a:gd name="connsiteY2918" fmla="*/ 5972625 h 6859062"/>
              <a:gd name="connsiteX2919" fmla="*/ 9825030 w 12192185"/>
              <a:gd name="connsiteY2919" fmla="*/ 5973191 h 6859062"/>
              <a:gd name="connsiteX2920" fmla="*/ 9819151 w 12192185"/>
              <a:gd name="connsiteY2920" fmla="*/ 5973760 h 6859062"/>
              <a:gd name="connsiteX2921" fmla="*/ 9827684 w 12192185"/>
              <a:gd name="connsiteY2921" fmla="*/ 5969971 h 6859062"/>
              <a:gd name="connsiteX2922" fmla="*/ 9833562 w 12192185"/>
              <a:gd name="connsiteY2922" fmla="*/ 5969403 h 6859062"/>
              <a:gd name="connsiteX2923" fmla="*/ 9839440 w 12192185"/>
              <a:gd name="connsiteY2923" fmla="*/ 5968835 h 6859062"/>
              <a:gd name="connsiteX2924" fmla="*/ 9851195 w 12192185"/>
              <a:gd name="connsiteY2924" fmla="*/ 5967701 h 6859062"/>
              <a:gd name="connsiteX2925" fmla="*/ 9844750 w 12192185"/>
              <a:gd name="connsiteY2925" fmla="*/ 5962391 h 6859062"/>
              <a:gd name="connsiteX2926" fmla="*/ 9841529 w 12192185"/>
              <a:gd name="connsiteY2926" fmla="*/ 5959736 h 6859062"/>
              <a:gd name="connsiteX2927" fmla="*/ 9868259 w 12192185"/>
              <a:gd name="connsiteY2927" fmla="*/ 5960120 h 6859062"/>
              <a:gd name="connsiteX2928" fmla="*/ 9865605 w 12192185"/>
              <a:gd name="connsiteY2928" fmla="*/ 5963344 h 6859062"/>
              <a:gd name="connsiteX2929" fmla="*/ 9868827 w 12192185"/>
              <a:gd name="connsiteY2929" fmla="*/ 5965999 h 6859062"/>
              <a:gd name="connsiteX2930" fmla="*/ 9871483 w 12192185"/>
              <a:gd name="connsiteY2930" fmla="*/ 5962776 h 6859062"/>
              <a:gd name="connsiteX2931" fmla="*/ 9874138 w 12192185"/>
              <a:gd name="connsiteY2931" fmla="*/ 5959554 h 6859062"/>
              <a:gd name="connsiteX2932" fmla="*/ 9880015 w 12192185"/>
              <a:gd name="connsiteY2932" fmla="*/ 5958987 h 6859062"/>
              <a:gd name="connsiteX2933" fmla="*/ 9897649 w 12192185"/>
              <a:gd name="connsiteY2933" fmla="*/ 5957285 h 6859062"/>
              <a:gd name="connsiteX2934" fmla="*/ 9913579 w 12192185"/>
              <a:gd name="connsiteY2934" fmla="*/ 5937950 h 6859062"/>
              <a:gd name="connsiteX2935" fmla="*/ 9890637 w 12192185"/>
              <a:gd name="connsiteY2935" fmla="*/ 5946098 h 6859062"/>
              <a:gd name="connsiteX2936" fmla="*/ 9895947 w 12192185"/>
              <a:gd name="connsiteY2936" fmla="*/ 5939653 h 6859062"/>
              <a:gd name="connsiteX2937" fmla="*/ 9892724 w 12192185"/>
              <a:gd name="connsiteY2937" fmla="*/ 5936998 h 6859062"/>
              <a:gd name="connsiteX2938" fmla="*/ 9939745 w 12192185"/>
              <a:gd name="connsiteY2938" fmla="*/ 5932459 h 6859062"/>
              <a:gd name="connsiteX2939" fmla="*/ 9949039 w 12192185"/>
              <a:gd name="connsiteY2939" fmla="*/ 5930932 h 6859062"/>
              <a:gd name="connsiteX2940" fmla="*/ 9781481 w 12192185"/>
              <a:gd name="connsiteY2940" fmla="*/ 5947325 h 6859062"/>
              <a:gd name="connsiteX2941" fmla="*/ 9510682 w 12192185"/>
              <a:gd name="connsiteY2941" fmla="*/ 5951964 h 6859062"/>
              <a:gd name="connsiteX2942" fmla="*/ 9233903 w 12192185"/>
              <a:gd name="connsiteY2942" fmla="*/ 5920018 h 6859062"/>
              <a:gd name="connsiteX2943" fmla="*/ 9166105 w 12192185"/>
              <a:gd name="connsiteY2943" fmla="*/ 5906024 h 6859062"/>
              <a:gd name="connsiteX2944" fmla="*/ 9158019 w 12192185"/>
              <a:gd name="connsiteY2944" fmla="*/ 5906454 h 6859062"/>
              <a:gd name="connsiteX2945" fmla="*/ 9106109 w 12192185"/>
              <a:gd name="connsiteY2945" fmla="*/ 5900202 h 6859062"/>
              <a:gd name="connsiteX2946" fmla="*/ 9102888 w 12192185"/>
              <a:gd name="connsiteY2946" fmla="*/ 5897546 h 6859062"/>
              <a:gd name="connsiteX2947" fmla="*/ 9099666 w 12192185"/>
              <a:gd name="connsiteY2947" fmla="*/ 5894892 h 6859062"/>
              <a:gd name="connsiteX2948" fmla="*/ 9097010 w 12192185"/>
              <a:gd name="connsiteY2948" fmla="*/ 5898113 h 6859062"/>
              <a:gd name="connsiteX2949" fmla="*/ 9075589 w 12192185"/>
              <a:gd name="connsiteY2949" fmla="*/ 5891284 h 6859062"/>
              <a:gd name="connsiteX2950" fmla="*/ 9072366 w 12192185"/>
              <a:gd name="connsiteY2950" fmla="*/ 5888627 h 6859062"/>
              <a:gd name="connsiteX2951" fmla="*/ 9066488 w 12192185"/>
              <a:gd name="connsiteY2951" fmla="*/ 5889194 h 6859062"/>
              <a:gd name="connsiteX2952" fmla="*/ 9069711 w 12192185"/>
              <a:gd name="connsiteY2952" fmla="*/ 5891850 h 6859062"/>
              <a:gd name="connsiteX2953" fmla="*/ 9015678 w 12192185"/>
              <a:gd name="connsiteY2953" fmla="*/ 5885201 h 6859062"/>
              <a:gd name="connsiteX2954" fmla="*/ 9018333 w 12192185"/>
              <a:gd name="connsiteY2954" fmla="*/ 5881977 h 6859062"/>
              <a:gd name="connsiteX2955" fmla="*/ 9015111 w 12192185"/>
              <a:gd name="connsiteY2955" fmla="*/ 5879322 h 6859062"/>
              <a:gd name="connsiteX2956" fmla="*/ 9009234 w 12192185"/>
              <a:gd name="connsiteY2956" fmla="*/ 5879889 h 6859062"/>
              <a:gd name="connsiteX2957" fmla="*/ 9006578 w 12192185"/>
              <a:gd name="connsiteY2957" fmla="*/ 5883113 h 6859062"/>
              <a:gd name="connsiteX2958" fmla="*/ 9003356 w 12192185"/>
              <a:gd name="connsiteY2958" fmla="*/ 5880458 h 6859062"/>
              <a:gd name="connsiteX2959" fmla="*/ 8978711 w 12192185"/>
              <a:gd name="connsiteY2959" fmla="*/ 5870971 h 6859062"/>
              <a:gd name="connsiteX2960" fmla="*/ 8970178 w 12192185"/>
              <a:gd name="connsiteY2960" fmla="*/ 5874762 h 6859062"/>
              <a:gd name="connsiteX2961" fmla="*/ 8961079 w 12192185"/>
              <a:gd name="connsiteY2961" fmla="*/ 5872672 h 6859062"/>
              <a:gd name="connsiteX2962" fmla="*/ 8960511 w 12192185"/>
              <a:gd name="connsiteY2962" fmla="*/ 5866796 h 6859062"/>
              <a:gd name="connsiteX2963" fmla="*/ 8954634 w 12192185"/>
              <a:gd name="connsiteY2963" fmla="*/ 5867363 h 6859062"/>
              <a:gd name="connsiteX2964" fmla="*/ 8948756 w 12192185"/>
              <a:gd name="connsiteY2964" fmla="*/ 5867930 h 6859062"/>
              <a:gd name="connsiteX2965" fmla="*/ 8906479 w 12192185"/>
              <a:gd name="connsiteY2965" fmla="*/ 5860146 h 6859062"/>
              <a:gd name="connsiteX2966" fmla="*/ 8922024 w 12192185"/>
              <a:gd name="connsiteY2966" fmla="*/ 5867544 h 6859062"/>
              <a:gd name="connsiteX2967" fmla="*/ 8942878 w 12192185"/>
              <a:gd name="connsiteY2967" fmla="*/ 5868496 h 6859062"/>
              <a:gd name="connsiteX2968" fmla="*/ 8946101 w 12192185"/>
              <a:gd name="connsiteY2968" fmla="*/ 5871153 h 6859062"/>
              <a:gd name="connsiteX2969" fmla="*/ 8949324 w 12192185"/>
              <a:gd name="connsiteY2969" fmla="*/ 5873807 h 6859062"/>
              <a:gd name="connsiteX2970" fmla="*/ 8958423 w 12192185"/>
              <a:gd name="connsiteY2970" fmla="*/ 5875895 h 6859062"/>
              <a:gd name="connsiteX2971" fmla="*/ 8997480 w 12192185"/>
              <a:gd name="connsiteY2971" fmla="*/ 5881024 h 6859062"/>
              <a:gd name="connsiteX2972" fmla="*/ 9003923 w 12192185"/>
              <a:gd name="connsiteY2972" fmla="*/ 5886334 h 6859062"/>
              <a:gd name="connsiteX2973" fmla="*/ 9007146 w 12192185"/>
              <a:gd name="connsiteY2973" fmla="*/ 5888990 h 6859062"/>
              <a:gd name="connsiteX2974" fmla="*/ 9013592 w 12192185"/>
              <a:gd name="connsiteY2974" fmla="*/ 5894300 h 6859062"/>
              <a:gd name="connsiteX2975" fmla="*/ 9016244 w 12192185"/>
              <a:gd name="connsiteY2975" fmla="*/ 5891079 h 6859062"/>
              <a:gd name="connsiteX2976" fmla="*/ 9018900 w 12192185"/>
              <a:gd name="connsiteY2976" fmla="*/ 5887855 h 6859062"/>
              <a:gd name="connsiteX2977" fmla="*/ 9039757 w 12192185"/>
              <a:gd name="connsiteY2977" fmla="*/ 5888810 h 6859062"/>
              <a:gd name="connsiteX2978" fmla="*/ 9067055 w 12192185"/>
              <a:gd name="connsiteY2978" fmla="*/ 5895073 h 6859062"/>
              <a:gd name="connsiteX2979" fmla="*/ 9070278 w 12192185"/>
              <a:gd name="connsiteY2979" fmla="*/ 5897728 h 6859062"/>
              <a:gd name="connsiteX2980" fmla="*/ 9073499 w 12192185"/>
              <a:gd name="connsiteY2980" fmla="*/ 5900383 h 6859062"/>
              <a:gd name="connsiteX2981" fmla="*/ 9094355 w 12192185"/>
              <a:gd name="connsiteY2981" fmla="*/ 5901336 h 6859062"/>
              <a:gd name="connsiteX2982" fmla="*/ 9088477 w 12192185"/>
              <a:gd name="connsiteY2982" fmla="*/ 5901903 h 6859062"/>
              <a:gd name="connsiteX2983" fmla="*/ 9091700 w 12192185"/>
              <a:gd name="connsiteY2983" fmla="*/ 5904558 h 6859062"/>
              <a:gd name="connsiteX2984" fmla="*/ 9097578 w 12192185"/>
              <a:gd name="connsiteY2984" fmla="*/ 5903990 h 6859062"/>
              <a:gd name="connsiteX2985" fmla="*/ 9103455 w 12192185"/>
              <a:gd name="connsiteY2985" fmla="*/ 5903424 h 6859062"/>
              <a:gd name="connsiteX2986" fmla="*/ 9115777 w 12192185"/>
              <a:gd name="connsiteY2986" fmla="*/ 5908166 h 6859062"/>
              <a:gd name="connsiteX2987" fmla="*/ 9127533 w 12192185"/>
              <a:gd name="connsiteY2987" fmla="*/ 5907034 h 6859062"/>
              <a:gd name="connsiteX2988" fmla="*/ 9119000 w 12192185"/>
              <a:gd name="connsiteY2988" fmla="*/ 5910822 h 6859062"/>
              <a:gd name="connsiteX2989" fmla="*/ 9136631 w 12192185"/>
              <a:gd name="connsiteY2989" fmla="*/ 5909121 h 6859062"/>
              <a:gd name="connsiteX2990" fmla="*/ 9160711 w 12192185"/>
              <a:gd name="connsiteY2990" fmla="*/ 5912729 h 6859062"/>
              <a:gd name="connsiteX2991" fmla="*/ 9152744 w 12192185"/>
              <a:gd name="connsiteY2991" fmla="*/ 5922396 h 6859062"/>
              <a:gd name="connsiteX2992" fmla="*/ 9176254 w 12192185"/>
              <a:gd name="connsiteY2992" fmla="*/ 5920127 h 6859062"/>
              <a:gd name="connsiteX2993" fmla="*/ 9173600 w 12192185"/>
              <a:gd name="connsiteY2993" fmla="*/ 5923349 h 6859062"/>
              <a:gd name="connsiteX2994" fmla="*/ 9176822 w 12192185"/>
              <a:gd name="connsiteY2994" fmla="*/ 5926005 h 6859062"/>
              <a:gd name="connsiteX2995" fmla="*/ 9182699 w 12192185"/>
              <a:gd name="connsiteY2995" fmla="*/ 5925437 h 6859062"/>
              <a:gd name="connsiteX2996" fmla="*/ 9200332 w 12192185"/>
              <a:gd name="connsiteY2996" fmla="*/ 5923735 h 6859062"/>
              <a:gd name="connsiteX2997" fmla="*/ 9209431 w 12192185"/>
              <a:gd name="connsiteY2997" fmla="*/ 5925823 h 6859062"/>
              <a:gd name="connsiteX2998" fmla="*/ 9215309 w 12192185"/>
              <a:gd name="connsiteY2998" fmla="*/ 5925256 h 6859062"/>
              <a:gd name="connsiteX2999" fmla="*/ 9212087 w 12192185"/>
              <a:gd name="connsiteY2999" fmla="*/ 5922601 h 6859062"/>
              <a:gd name="connsiteX3000" fmla="*/ 9208865 w 12192185"/>
              <a:gd name="connsiteY3000" fmla="*/ 5919946 h 6859062"/>
              <a:gd name="connsiteX3001" fmla="*/ 9247920 w 12192185"/>
              <a:gd name="connsiteY3001" fmla="*/ 5925076 h 6859062"/>
              <a:gd name="connsiteX3002" fmla="*/ 9236731 w 12192185"/>
              <a:gd name="connsiteY3002" fmla="*/ 5932087 h 6859062"/>
              <a:gd name="connsiteX3003" fmla="*/ 9271997 w 12192185"/>
              <a:gd name="connsiteY3003" fmla="*/ 5928683 h 6859062"/>
              <a:gd name="connsiteX3004" fmla="*/ 9311052 w 12192185"/>
              <a:gd name="connsiteY3004" fmla="*/ 5933813 h 6859062"/>
              <a:gd name="connsiteX3005" fmla="*/ 9305174 w 12192185"/>
              <a:gd name="connsiteY3005" fmla="*/ 5934380 h 6859062"/>
              <a:gd name="connsiteX3006" fmla="*/ 9302519 w 12192185"/>
              <a:gd name="connsiteY3006" fmla="*/ 5937601 h 6859062"/>
              <a:gd name="connsiteX3007" fmla="*/ 9299863 w 12192185"/>
              <a:gd name="connsiteY3007" fmla="*/ 5940826 h 6859062"/>
              <a:gd name="connsiteX3008" fmla="*/ 9308964 w 12192185"/>
              <a:gd name="connsiteY3008" fmla="*/ 5942913 h 6859062"/>
              <a:gd name="connsiteX3009" fmla="*/ 9306310 w 12192185"/>
              <a:gd name="connsiteY3009" fmla="*/ 5946135 h 6859062"/>
              <a:gd name="connsiteX3010" fmla="*/ 9300431 w 12192185"/>
              <a:gd name="connsiteY3010" fmla="*/ 5946703 h 6859062"/>
              <a:gd name="connsiteX3011" fmla="*/ 9297209 w 12192185"/>
              <a:gd name="connsiteY3011" fmla="*/ 5944047 h 6859062"/>
              <a:gd name="connsiteX3012" fmla="*/ 9291332 w 12192185"/>
              <a:gd name="connsiteY3012" fmla="*/ 5944614 h 6859062"/>
              <a:gd name="connsiteX3013" fmla="*/ 9285454 w 12192185"/>
              <a:gd name="connsiteY3013" fmla="*/ 5945182 h 6859062"/>
              <a:gd name="connsiteX3014" fmla="*/ 9219601 w 12192185"/>
              <a:gd name="connsiteY3014" fmla="*/ 5936533 h 6859062"/>
              <a:gd name="connsiteX3015" fmla="*/ 9226019 w 12192185"/>
              <a:gd name="connsiteY3015" fmla="*/ 5939499 h 6859062"/>
              <a:gd name="connsiteX3016" fmla="*/ 9233929 w 12192185"/>
              <a:gd name="connsiteY3016" fmla="*/ 5948425 h 6859062"/>
              <a:gd name="connsiteX3017" fmla="*/ 9237439 w 12192185"/>
              <a:gd name="connsiteY3017" fmla="*/ 5956081 h 6859062"/>
              <a:gd name="connsiteX3018" fmla="*/ 9235387 w 12192185"/>
              <a:gd name="connsiteY3018" fmla="*/ 5963185 h 6859062"/>
              <a:gd name="connsiteX3019" fmla="*/ 9251820 w 12192185"/>
              <a:gd name="connsiteY3019" fmla="*/ 5965482 h 6859062"/>
              <a:gd name="connsiteX3020" fmla="*/ 9323555 w 12192185"/>
              <a:gd name="connsiteY3020" fmla="*/ 5971167 h 6859062"/>
              <a:gd name="connsiteX3021" fmla="*/ 9352944 w 12192185"/>
              <a:gd name="connsiteY3021" fmla="*/ 5968330 h 6859062"/>
              <a:gd name="connsiteX3022" fmla="*/ 9395220 w 12192185"/>
              <a:gd name="connsiteY3022" fmla="*/ 5976114 h 6859062"/>
              <a:gd name="connsiteX3023" fmla="*/ 9403754 w 12192185"/>
              <a:gd name="connsiteY3023" fmla="*/ 5972324 h 6859062"/>
              <a:gd name="connsiteX3024" fmla="*/ 9475418 w 12192185"/>
              <a:gd name="connsiteY3024" fmla="*/ 5977272 h 6859062"/>
              <a:gd name="connsiteX3025" fmla="*/ 9492484 w 12192185"/>
              <a:gd name="connsiteY3025" fmla="*/ 5969693 h 6859062"/>
              <a:gd name="connsiteX3026" fmla="*/ 9510684 w 12192185"/>
              <a:gd name="connsiteY3026" fmla="*/ 5973869 h 6859062"/>
              <a:gd name="connsiteX3027" fmla="*/ 9693454 w 12192185"/>
              <a:gd name="connsiteY3027" fmla="*/ 5962162 h 6859062"/>
              <a:gd name="connsiteX3028" fmla="*/ 9773086 w 12192185"/>
              <a:gd name="connsiteY3028" fmla="*/ 5957442 h 6859062"/>
              <a:gd name="connsiteX3029" fmla="*/ 9813662 w 12192185"/>
              <a:gd name="connsiteY3029" fmla="*/ 5947594 h 6859062"/>
              <a:gd name="connsiteX3030" fmla="*/ 9828638 w 12192185"/>
              <a:gd name="connsiteY3030" fmla="*/ 5949115 h 6859062"/>
              <a:gd name="connsiteX3031" fmla="*/ 9848925 w 12192185"/>
              <a:gd name="connsiteY3031" fmla="*/ 5944189 h 6859062"/>
              <a:gd name="connsiteX3032" fmla="*/ 9852149 w 12192185"/>
              <a:gd name="connsiteY3032" fmla="*/ 5946845 h 6859062"/>
              <a:gd name="connsiteX3033" fmla="*/ 9829206 w 12192185"/>
              <a:gd name="connsiteY3033" fmla="*/ 5954993 h 6859062"/>
              <a:gd name="connsiteX3034" fmla="*/ 9825983 w 12192185"/>
              <a:gd name="connsiteY3034" fmla="*/ 5952337 h 6859062"/>
              <a:gd name="connsiteX3035" fmla="*/ 9817450 w 12192185"/>
              <a:gd name="connsiteY3035" fmla="*/ 5956126 h 6859062"/>
              <a:gd name="connsiteX3036" fmla="*/ 9814795 w 12192185"/>
              <a:gd name="connsiteY3036" fmla="*/ 5959350 h 6859062"/>
              <a:gd name="connsiteX3037" fmla="*/ 9808918 w 12192185"/>
              <a:gd name="connsiteY3037" fmla="*/ 5959916 h 6859062"/>
              <a:gd name="connsiteX3038" fmla="*/ 9806264 w 12192185"/>
              <a:gd name="connsiteY3038" fmla="*/ 5963138 h 6859062"/>
              <a:gd name="connsiteX3039" fmla="*/ 9774219 w 12192185"/>
              <a:gd name="connsiteY3039" fmla="*/ 5969197 h 6859062"/>
              <a:gd name="connsiteX3040" fmla="*/ 9768342 w 12192185"/>
              <a:gd name="connsiteY3040" fmla="*/ 5969766 h 6859062"/>
              <a:gd name="connsiteX3041" fmla="*/ 9765688 w 12192185"/>
              <a:gd name="connsiteY3041" fmla="*/ 5972987 h 6859062"/>
              <a:gd name="connsiteX3042" fmla="*/ 9762465 w 12192185"/>
              <a:gd name="connsiteY3042" fmla="*/ 5970332 h 6859062"/>
              <a:gd name="connsiteX3043" fmla="*/ 9761897 w 12192185"/>
              <a:gd name="connsiteY3043" fmla="*/ 5964454 h 6859062"/>
              <a:gd name="connsiteX3044" fmla="*/ 9745400 w 12192185"/>
              <a:gd name="connsiteY3044" fmla="*/ 5977912 h 6859062"/>
              <a:gd name="connsiteX3045" fmla="*/ 9701034 w 12192185"/>
              <a:gd name="connsiteY3045" fmla="*/ 5979227 h 6859062"/>
              <a:gd name="connsiteX3046" fmla="*/ 9703689 w 12192185"/>
              <a:gd name="connsiteY3046" fmla="*/ 5976005 h 6859062"/>
              <a:gd name="connsiteX3047" fmla="*/ 9697811 w 12192185"/>
              <a:gd name="connsiteY3047" fmla="*/ 5976572 h 6859062"/>
              <a:gd name="connsiteX3048" fmla="*/ 9709000 w 12192185"/>
              <a:gd name="connsiteY3048" fmla="*/ 5969559 h 6859062"/>
              <a:gd name="connsiteX3049" fmla="*/ 9686057 w 12192185"/>
              <a:gd name="connsiteY3049" fmla="*/ 5977706 h 6859062"/>
              <a:gd name="connsiteX3050" fmla="*/ 9676957 w 12192185"/>
              <a:gd name="connsiteY3050" fmla="*/ 5975618 h 6859062"/>
              <a:gd name="connsiteX3051" fmla="*/ 9671078 w 12192185"/>
              <a:gd name="connsiteY3051" fmla="*/ 5976186 h 6859062"/>
              <a:gd name="connsiteX3052" fmla="*/ 9671646 w 12192185"/>
              <a:gd name="connsiteY3052" fmla="*/ 5982064 h 6859062"/>
              <a:gd name="connsiteX3053" fmla="*/ 9636382 w 12192185"/>
              <a:gd name="connsiteY3053" fmla="*/ 5985467 h 6859062"/>
              <a:gd name="connsiteX3054" fmla="*/ 9630503 w 12192185"/>
              <a:gd name="connsiteY3054" fmla="*/ 5986035 h 6859062"/>
              <a:gd name="connsiteX3055" fmla="*/ 9627849 w 12192185"/>
              <a:gd name="connsiteY3055" fmla="*/ 5989257 h 6859062"/>
              <a:gd name="connsiteX3056" fmla="*/ 9516174 w 12192185"/>
              <a:gd name="connsiteY3056" fmla="*/ 6000033 h 6859062"/>
              <a:gd name="connsiteX3057" fmla="*/ 9503852 w 12192185"/>
              <a:gd name="connsiteY3057" fmla="*/ 5995291 h 6859062"/>
              <a:gd name="connsiteX3058" fmla="*/ 9495319 w 12192185"/>
              <a:gd name="connsiteY3058" fmla="*/ 5999082 h 6859062"/>
              <a:gd name="connsiteX3059" fmla="*/ 9403367 w 12192185"/>
              <a:gd name="connsiteY3059" fmla="*/ 5999057 h 6859062"/>
              <a:gd name="connsiteX3060" fmla="*/ 9308192 w 12192185"/>
              <a:gd name="connsiteY3060" fmla="*/ 5996378 h 6859062"/>
              <a:gd name="connsiteX3061" fmla="*/ 9295869 w 12192185"/>
              <a:gd name="connsiteY3061" fmla="*/ 5991635 h 6859062"/>
              <a:gd name="connsiteX3062" fmla="*/ 9296437 w 12192185"/>
              <a:gd name="connsiteY3062" fmla="*/ 5997513 h 6859062"/>
              <a:gd name="connsiteX3063" fmla="*/ 9242404 w 12192185"/>
              <a:gd name="connsiteY3063" fmla="*/ 5990863 h 6859062"/>
              <a:gd name="connsiteX3064" fmla="*/ 9215671 w 12192185"/>
              <a:gd name="connsiteY3064" fmla="*/ 5990476 h 6859062"/>
              <a:gd name="connsiteX3065" fmla="*/ 9210243 w 12192185"/>
              <a:gd name="connsiteY3065" fmla="*/ 5989231 h 6859062"/>
              <a:gd name="connsiteX3066" fmla="*/ 9202728 w 12192185"/>
              <a:gd name="connsiteY3066" fmla="*/ 5998729 h 6859062"/>
              <a:gd name="connsiteX3067" fmla="*/ 9193852 w 12192185"/>
              <a:gd name="connsiteY3067" fmla="*/ 6004708 h 6859062"/>
              <a:gd name="connsiteX3068" fmla="*/ 9182782 w 12192185"/>
              <a:gd name="connsiteY3068" fmla="*/ 6006731 h 6859062"/>
              <a:gd name="connsiteX3069" fmla="*/ 9173983 w 12192185"/>
              <a:gd name="connsiteY3069" fmla="*/ 6004191 h 6859062"/>
              <a:gd name="connsiteX3070" fmla="*/ 9173169 w 12192185"/>
              <a:gd name="connsiteY3070" fmla="*/ 6002059 h 6859062"/>
              <a:gd name="connsiteX3071" fmla="*/ 9163631 w 12192185"/>
              <a:gd name="connsiteY3071" fmla="*/ 5988868 h 6859062"/>
              <a:gd name="connsiteX3072" fmla="*/ 9163699 w 12192185"/>
              <a:gd name="connsiteY3072" fmla="*/ 5985631 h 6859062"/>
              <a:gd name="connsiteX3073" fmla="*/ 9146661 w 12192185"/>
              <a:gd name="connsiteY3073" fmla="*/ 5982305 h 6859062"/>
              <a:gd name="connsiteX3074" fmla="*/ 9068551 w 12192185"/>
              <a:gd name="connsiteY3074" fmla="*/ 5972048 h 6859062"/>
              <a:gd name="connsiteX3075" fmla="*/ 9062108 w 12192185"/>
              <a:gd name="connsiteY3075" fmla="*/ 5966737 h 6859062"/>
              <a:gd name="connsiteX3076" fmla="*/ 8977553 w 12192185"/>
              <a:gd name="connsiteY3076" fmla="*/ 5951168 h 6859062"/>
              <a:gd name="connsiteX3077" fmla="*/ 8965798 w 12192185"/>
              <a:gd name="connsiteY3077" fmla="*/ 5952303 h 6859062"/>
              <a:gd name="connsiteX3078" fmla="*/ 8926175 w 12192185"/>
              <a:gd name="connsiteY3078" fmla="*/ 5941296 h 6859062"/>
              <a:gd name="connsiteX3079" fmla="*/ 8899443 w 12192185"/>
              <a:gd name="connsiteY3079" fmla="*/ 5940911 h 6859062"/>
              <a:gd name="connsiteX3080" fmla="*/ 8807309 w 12192185"/>
              <a:gd name="connsiteY3080" fmla="*/ 5908276 h 6859062"/>
              <a:gd name="connsiteX3081" fmla="*/ 8681998 w 12192185"/>
              <a:gd name="connsiteY3081" fmla="*/ 5869946 h 6859062"/>
              <a:gd name="connsiteX3082" fmla="*/ 8645599 w 12192185"/>
              <a:gd name="connsiteY3082" fmla="*/ 5861594 h 6859062"/>
              <a:gd name="connsiteX3083" fmla="*/ 8651476 w 12192185"/>
              <a:gd name="connsiteY3083" fmla="*/ 5861028 h 6859062"/>
              <a:gd name="connsiteX3084" fmla="*/ 8605408 w 12192185"/>
              <a:gd name="connsiteY3084" fmla="*/ 5844710 h 6859062"/>
              <a:gd name="connsiteX3085" fmla="*/ 8595742 w 12192185"/>
              <a:gd name="connsiteY3085" fmla="*/ 5836745 h 6859062"/>
              <a:gd name="connsiteX3086" fmla="*/ 8466075 w 12192185"/>
              <a:gd name="connsiteY3086" fmla="*/ 5784003 h 6859062"/>
              <a:gd name="connsiteX3087" fmla="*/ 8468730 w 12192185"/>
              <a:gd name="connsiteY3087" fmla="*/ 5780781 h 6859062"/>
              <a:gd name="connsiteX3088" fmla="*/ 8465506 w 12192185"/>
              <a:gd name="connsiteY3088" fmla="*/ 5778126 h 6859062"/>
              <a:gd name="connsiteX3089" fmla="*/ 8459629 w 12192185"/>
              <a:gd name="connsiteY3089" fmla="*/ 5778692 h 6859062"/>
              <a:gd name="connsiteX3090" fmla="*/ 8416217 w 12192185"/>
              <a:gd name="connsiteY3090" fmla="*/ 5759154 h 6859062"/>
              <a:gd name="connsiteX3091" fmla="*/ 8412994 w 12192185"/>
              <a:gd name="connsiteY3091" fmla="*/ 5756499 h 6859062"/>
              <a:gd name="connsiteX3092" fmla="*/ 8409772 w 12192185"/>
              <a:gd name="connsiteY3092" fmla="*/ 5753843 h 6859062"/>
              <a:gd name="connsiteX3093" fmla="*/ 8407116 w 12192185"/>
              <a:gd name="connsiteY3093" fmla="*/ 5757066 h 6859062"/>
              <a:gd name="connsiteX3094" fmla="*/ 8410339 w 12192185"/>
              <a:gd name="connsiteY3094" fmla="*/ 5759722 h 6859062"/>
              <a:gd name="connsiteX3095" fmla="*/ 8394795 w 12192185"/>
              <a:gd name="connsiteY3095" fmla="*/ 5752323 h 6859062"/>
              <a:gd name="connsiteX3096" fmla="*/ 505628 w 12192185"/>
              <a:gd name="connsiteY3096" fmla="*/ 5741089 h 6859062"/>
              <a:gd name="connsiteX3097" fmla="*/ 512770 w 12192185"/>
              <a:gd name="connsiteY3097" fmla="*/ 5742635 h 6859062"/>
              <a:gd name="connsiteX3098" fmla="*/ 521809 w 12192185"/>
              <a:gd name="connsiteY3098" fmla="*/ 5747672 h 6859062"/>
              <a:gd name="connsiteX3099" fmla="*/ 528130 w 12192185"/>
              <a:gd name="connsiteY3099" fmla="*/ 5755992 h 6859062"/>
              <a:gd name="connsiteX3100" fmla="*/ 524089 w 12192185"/>
              <a:gd name="connsiteY3100" fmla="*/ 5771752 h 6859062"/>
              <a:gd name="connsiteX3101" fmla="*/ 521404 w 12192185"/>
              <a:gd name="connsiteY3101" fmla="*/ 5775923 h 6859062"/>
              <a:gd name="connsiteX3102" fmla="*/ 516667 w 12192185"/>
              <a:gd name="connsiteY3102" fmla="*/ 5787088 h 6859062"/>
              <a:gd name="connsiteX3103" fmla="*/ 516384 w 12192185"/>
              <a:gd name="connsiteY3103" fmla="*/ 5794023 h 6859062"/>
              <a:gd name="connsiteX3104" fmla="*/ 505139 w 12192185"/>
              <a:gd name="connsiteY3104" fmla="*/ 5806463 h 6859062"/>
              <a:gd name="connsiteX3105" fmla="*/ 491617 w 12192185"/>
              <a:gd name="connsiteY3105" fmla="*/ 5809741 h 6859062"/>
              <a:gd name="connsiteX3106" fmla="*/ 478661 w 12192185"/>
              <a:gd name="connsiteY3106" fmla="*/ 5804121 h 6859062"/>
              <a:gd name="connsiteX3107" fmla="*/ 476701 w 12192185"/>
              <a:gd name="connsiteY3107" fmla="*/ 5803829 h 6859062"/>
              <a:gd name="connsiteX3108" fmla="*/ 472908 w 12192185"/>
              <a:gd name="connsiteY3108" fmla="*/ 5796848 h 6859062"/>
              <a:gd name="connsiteX3109" fmla="*/ 472558 w 12192185"/>
              <a:gd name="connsiteY3109" fmla="*/ 5787090 h 6859062"/>
              <a:gd name="connsiteX3110" fmla="*/ 475968 w 12192185"/>
              <a:gd name="connsiteY3110" fmla="*/ 5778455 h 6859062"/>
              <a:gd name="connsiteX3111" fmla="*/ 483265 w 12192185"/>
              <a:gd name="connsiteY3111" fmla="*/ 5769517 h 6859062"/>
              <a:gd name="connsiteX3112" fmla="*/ 489645 w 12192185"/>
              <a:gd name="connsiteY3112" fmla="*/ 5759720 h 6859062"/>
              <a:gd name="connsiteX3113" fmla="*/ 493118 w 12192185"/>
              <a:gd name="connsiteY3113" fmla="*/ 5747887 h 6859062"/>
              <a:gd name="connsiteX3114" fmla="*/ 505628 w 12192185"/>
              <a:gd name="connsiteY3114" fmla="*/ 5741089 h 6859062"/>
              <a:gd name="connsiteX3115" fmla="*/ 1886246 w 12192185"/>
              <a:gd name="connsiteY3115" fmla="*/ 5722665 h 6859062"/>
              <a:gd name="connsiteX3116" fmla="*/ 1950679 w 12192185"/>
              <a:gd name="connsiteY3116" fmla="*/ 5788877 h 6859062"/>
              <a:gd name="connsiteX3117" fmla="*/ 1957059 w 12192185"/>
              <a:gd name="connsiteY3117" fmla="*/ 5797744 h 6859062"/>
              <a:gd name="connsiteX3118" fmla="*/ 2006132 w 12192185"/>
              <a:gd name="connsiteY3118" fmla="*/ 5833966 h 6859062"/>
              <a:gd name="connsiteX3119" fmla="*/ 2117821 w 12192185"/>
              <a:gd name="connsiteY3119" fmla="*/ 5904706 h 6859062"/>
              <a:gd name="connsiteX3120" fmla="*/ 1996551 w 12192185"/>
              <a:gd name="connsiteY3120" fmla="*/ 5807152 h 6859062"/>
              <a:gd name="connsiteX3121" fmla="*/ 1913614 w 12192185"/>
              <a:gd name="connsiteY3121" fmla="*/ 5734963 h 6859062"/>
              <a:gd name="connsiteX3122" fmla="*/ 1886246 w 12192185"/>
              <a:gd name="connsiteY3122" fmla="*/ 5722665 h 6859062"/>
              <a:gd name="connsiteX3123" fmla="*/ 1468787 w 12192185"/>
              <a:gd name="connsiteY3123" fmla="*/ 5703656 h 6859062"/>
              <a:gd name="connsiteX3124" fmla="*/ 1474672 w 12192185"/>
              <a:gd name="connsiteY3124" fmla="*/ 5761870 h 6859062"/>
              <a:gd name="connsiteX3125" fmla="*/ 1892344 w 12192185"/>
              <a:gd name="connsiteY3125" fmla="*/ 6178449 h 6859062"/>
              <a:gd name="connsiteX3126" fmla="*/ 2021322 w 12192185"/>
              <a:gd name="connsiteY3126" fmla="*/ 6271362 h 6859062"/>
              <a:gd name="connsiteX3127" fmla="*/ 2022063 w 12192185"/>
              <a:gd name="connsiteY3127" fmla="*/ 6270253 h 6859062"/>
              <a:gd name="connsiteX3128" fmla="*/ 2029295 w 12192185"/>
              <a:gd name="connsiteY3128" fmla="*/ 6264804 h 6859062"/>
              <a:gd name="connsiteX3129" fmla="*/ 2039575 w 12192185"/>
              <a:gd name="connsiteY3129" fmla="*/ 6260236 h 6859062"/>
              <a:gd name="connsiteX3130" fmla="*/ 2048105 w 12192185"/>
              <a:gd name="connsiteY3130" fmla="*/ 6258458 h 6859062"/>
              <a:gd name="connsiteX3131" fmla="*/ 2062315 w 12192185"/>
              <a:gd name="connsiteY3131" fmla="*/ 6255890 h 6859062"/>
              <a:gd name="connsiteX3132" fmla="*/ 2026126 w 12192185"/>
              <a:gd name="connsiteY3132" fmla="*/ 6234070 h 6859062"/>
              <a:gd name="connsiteX3133" fmla="*/ 1783014 w 12192185"/>
              <a:gd name="connsiteY3133" fmla="*/ 6039788 h 6859062"/>
              <a:gd name="connsiteX3134" fmla="*/ 1760467 w 12192185"/>
              <a:gd name="connsiteY3134" fmla="*/ 5992733 h 6859062"/>
              <a:gd name="connsiteX3135" fmla="*/ 1751616 w 12192185"/>
              <a:gd name="connsiteY3135" fmla="*/ 5974738 h 6859062"/>
              <a:gd name="connsiteX3136" fmla="*/ 1479232 w 12192185"/>
              <a:gd name="connsiteY3136" fmla="*/ 5708408 h 6859062"/>
              <a:gd name="connsiteX3137" fmla="*/ 1468787 w 12192185"/>
              <a:gd name="connsiteY3137" fmla="*/ 5703656 h 6859062"/>
              <a:gd name="connsiteX3138" fmla="*/ 1516558 w 12192185"/>
              <a:gd name="connsiteY3138" fmla="*/ 5693020 h 6859062"/>
              <a:gd name="connsiteX3139" fmla="*/ 1648599 w 12192185"/>
              <a:gd name="connsiteY3139" fmla="*/ 5841675 h 6859062"/>
              <a:gd name="connsiteX3140" fmla="*/ 1863360 w 12192185"/>
              <a:gd name="connsiteY3140" fmla="*/ 6024210 h 6859062"/>
              <a:gd name="connsiteX3141" fmla="*/ 1971340 w 12192185"/>
              <a:gd name="connsiteY3141" fmla="*/ 6097811 h 6859062"/>
              <a:gd name="connsiteX3142" fmla="*/ 1971455 w 12192185"/>
              <a:gd name="connsiteY3142" fmla="*/ 6092347 h 6859062"/>
              <a:gd name="connsiteX3143" fmla="*/ 1982671 w 12192185"/>
              <a:gd name="connsiteY3143" fmla="*/ 6076605 h 6859062"/>
              <a:gd name="connsiteX3144" fmla="*/ 1990409 w 12192185"/>
              <a:gd name="connsiteY3144" fmla="*/ 6074568 h 6859062"/>
              <a:gd name="connsiteX3145" fmla="*/ 2001801 w 12192185"/>
              <a:gd name="connsiteY3145" fmla="*/ 6066470 h 6859062"/>
              <a:gd name="connsiteX3146" fmla="*/ 2005832 w 12192185"/>
              <a:gd name="connsiteY3146" fmla="*/ 6062414 h 6859062"/>
              <a:gd name="connsiteX3147" fmla="*/ 2022570 w 12192185"/>
              <a:gd name="connsiteY3147" fmla="*/ 6053959 h 6859062"/>
              <a:gd name="connsiteX3148" fmla="*/ 2033503 w 12192185"/>
              <a:gd name="connsiteY3148" fmla="*/ 6059014 h 6859062"/>
              <a:gd name="connsiteX3149" fmla="*/ 2041413 w 12192185"/>
              <a:gd name="connsiteY3149" fmla="*/ 6067938 h 6859062"/>
              <a:gd name="connsiteX3150" fmla="*/ 2044922 w 12192185"/>
              <a:gd name="connsiteY3150" fmla="*/ 6075595 h 6859062"/>
              <a:gd name="connsiteX3151" fmla="*/ 2042651 w 12192185"/>
              <a:gd name="connsiteY3151" fmla="*/ 6083466 h 6859062"/>
              <a:gd name="connsiteX3152" fmla="*/ 2044480 w 12192185"/>
              <a:gd name="connsiteY3152" fmla="*/ 6084459 h 6859062"/>
              <a:gd name="connsiteX3153" fmla="*/ 2219597 w 12192185"/>
              <a:gd name="connsiteY3153" fmla="*/ 6203638 h 6859062"/>
              <a:gd name="connsiteX3154" fmla="*/ 2425937 w 12192185"/>
              <a:gd name="connsiteY3154" fmla="*/ 6309977 h 6859062"/>
              <a:gd name="connsiteX3155" fmla="*/ 2481634 w 12192185"/>
              <a:gd name="connsiteY3155" fmla="*/ 6334956 h 6859062"/>
              <a:gd name="connsiteX3156" fmla="*/ 2485678 w 12192185"/>
              <a:gd name="connsiteY3156" fmla="*/ 6333736 h 6859062"/>
              <a:gd name="connsiteX3157" fmla="*/ 2489553 w 12192185"/>
              <a:gd name="connsiteY3157" fmla="*/ 6334278 h 6859062"/>
              <a:gd name="connsiteX3158" fmla="*/ 2497218 w 12192185"/>
              <a:gd name="connsiteY3158" fmla="*/ 6324689 h 6859062"/>
              <a:gd name="connsiteX3159" fmla="*/ 2496501 w 12192185"/>
              <a:gd name="connsiteY3159" fmla="*/ 6322180 h 6859062"/>
              <a:gd name="connsiteX3160" fmla="*/ 2498148 w 12192185"/>
              <a:gd name="connsiteY3160" fmla="*/ 6317473 h 6859062"/>
              <a:gd name="connsiteX3161" fmla="*/ 2502095 w 12192185"/>
              <a:gd name="connsiteY3161" fmla="*/ 6319764 h 6859062"/>
              <a:gd name="connsiteX3162" fmla="*/ 2503757 w 12192185"/>
              <a:gd name="connsiteY3162" fmla="*/ 6323986 h 6859062"/>
              <a:gd name="connsiteX3163" fmla="*/ 2508844 w 12192185"/>
              <a:gd name="connsiteY3163" fmla="*/ 6326318 h 6859062"/>
              <a:gd name="connsiteX3164" fmla="*/ 2526286 w 12192185"/>
              <a:gd name="connsiteY3164" fmla="*/ 6326746 h 6859062"/>
              <a:gd name="connsiteX3165" fmla="*/ 2528198 w 12192185"/>
              <a:gd name="connsiteY3165" fmla="*/ 6327165 h 6859062"/>
              <a:gd name="connsiteX3166" fmla="*/ 2480913 w 12192185"/>
              <a:gd name="connsiteY3166" fmla="*/ 6306063 h 6859062"/>
              <a:gd name="connsiteX3167" fmla="*/ 2071007 w 12192185"/>
              <a:gd name="connsiteY3167" fmla="*/ 6058365 h 6859062"/>
              <a:gd name="connsiteX3168" fmla="*/ 1918751 w 12192185"/>
              <a:gd name="connsiteY3168" fmla="*/ 5941403 h 6859062"/>
              <a:gd name="connsiteX3169" fmla="*/ 1872932 w 12192185"/>
              <a:gd name="connsiteY3169" fmla="*/ 5944750 h 6859062"/>
              <a:gd name="connsiteX3170" fmla="*/ 1896099 w 12192185"/>
              <a:gd name="connsiteY3170" fmla="*/ 5982204 h 6859062"/>
              <a:gd name="connsiteX3171" fmla="*/ 1939669 w 12192185"/>
              <a:gd name="connsiteY3171" fmla="*/ 6030987 h 6859062"/>
              <a:gd name="connsiteX3172" fmla="*/ 1659665 w 12192185"/>
              <a:gd name="connsiteY3172" fmla="*/ 5836827 h 6859062"/>
              <a:gd name="connsiteX3173" fmla="*/ 1516558 w 12192185"/>
              <a:gd name="connsiteY3173" fmla="*/ 5693020 h 6859062"/>
              <a:gd name="connsiteX3174" fmla="*/ 10702562 w 12192185"/>
              <a:gd name="connsiteY3174" fmla="*/ 5680374 h 6859062"/>
              <a:gd name="connsiteX3175" fmla="*/ 10574792 w 12192185"/>
              <a:gd name="connsiteY3175" fmla="*/ 5744619 h 6859062"/>
              <a:gd name="connsiteX3176" fmla="*/ 10482829 w 12192185"/>
              <a:gd name="connsiteY3176" fmla="*/ 5786482 h 6859062"/>
              <a:gd name="connsiteX3177" fmla="*/ 10462119 w 12192185"/>
              <a:gd name="connsiteY3177" fmla="*/ 5804685 h 6859062"/>
              <a:gd name="connsiteX3178" fmla="*/ 10542035 w 12192185"/>
              <a:gd name="connsiteY3178" fmla="*/ 5776021 h 6859062"/>
              <a:gd name="connsiteX3179" fmla="*/ 10551882 w 12192185"/>
              <a:gd name="connsiteY3179" fmla="*/ 5774063 h 6859062"/>
              <a:gd name="connsiteX3180" fmla="*/ 10600867 w 12192185"/>
              <a:gd name="connsiteY3180" fmla="*/ 5746819 h 6859062"/>
              <a:gd name="connsiteX3181" fmla="*/ 11796556 w 12192185"/>
              <a:gd name="connsiteY3181" fmla="*/ 5676702 h 6859062"/>
              <a:gd name="connsiteX3182" fmla="*/ 11801807 w 12192185"/>
              <a:gd name="connsiteY3182" fmla="*/ 5676727 h 6859062"/>
              <a:gd name="connsiteX3183" fmla="*/ 11808426 w 12192185"/>
              <a:gd name="connsiteY3183" fmla="*/ 5678191 h 6859062"/>
              <a:gd name="connsiteX3184" fmla="*/ 11813351 w 12192185"/>
              <a:gd name="connsiteY3184" fmla="*/ 5680540 h 6859062"/>
              <a:gd name="connsiteX3185" fmla="*/ 11822298 w 12192185"/>
              <a:gd name="connsiteY3185" fmla="*/ 5689403 h 6859062"/>
              <a:gd name="connsiteX3186" fmla="*/ 11828127 w 12192185"/>
              <a:gd name="connsiteY3186" fmla="*/ 5694664 h 6859062"/>
              <a:gd name="connsiteX3187" fmla="*/ 11829643 w 12192185"/>
              <a:gd name="connsiteY3187" fmla="*/ 5697564 h 6859062"/>
              <a:gd name="connsiteX3188" fmla="*/ 11829771 w 12192185"/>
              <a:gd name="connsiteY3188" fmla="*/ 5704883 h 6859062"/>
              <a:gd name="connsiteX3189" fmla="*/ 11827784 w 12192185"/>
              <a:gd name="connsiteY3189" fmla="*/ 5716999 h 6859062"/>
              <a:gd name="connsiteX3190" fmla="*/ 11827858 w 12192185"/>
              <a:gd name="connsiteY3190" fmla="*/ 5721267 h 6859062"/>
              <a:gd name="connsiteX3191" fmla="*/ 11825586 w 12192185"/>
              <a:gd name="connsiteY3191" fmla="*/ 5723994 h 6859062"/>
              <a:gd name="connsiteX3192" fmla="*/ 11820905 w 12192185"/>
              <a:gd name="connsiteY3192" fmla="*/ 5728594 h 6859062"/>
              <a:gd name="connsiteX3193" fmla="*/ 11819474 w 12192185"/>
              <a:gd name="connsiteY3193" fmla="*/ 5730572 h 6859062"/>
              <a:gd name="connsiteX3194" fmla="*/ 11812236 w 12192185"/>
              <a:gd name="connsiteY3194" fmla="*/ 5735586 h 6859062"/>
              <a:gd name="connsiteX3195" fmla="*/ 11810794 w 12192185"/>
              <a:gd name="connsiteY3195" fmla="*/ 5736956 h 6859062"/>
              <a:gd name="connsiteX3196" fmla="*/ 11787929 w 12192185"/>
              <a:gd name="connsiteY3196" fmla="*/ 5735059 h 6859062"/>
              <a:gd name="connsiteX3197" fmla="*/ 11777426 w 12192185"/>
              <a:gd name="connsiteY3197" fmla="*/ 5727933 h 6859062"/>
              <a:gd name="connsiteX3198" fmla="*/ 11773584 w 12192185"/>
              <a:gd name="connsiteY3198" fmla="*/ 5724709 h 6859062"/>
              <a:gd name="connsiteX3199" fmla="*/ 11771196 w 12192185"/>
              <a:gd name="connsiteY3199" fmla="*/ 5720728 h 6859062"/>
              <a:gd name="connsiteX3200" fmla="*/ 11770279 w 12192185"/>
              <a:gd name="connsiteY3200" fmla="*/ 5717206 h 6859062"/>
              <a:gd name="connsiteX3201" fmla="*/ 11768078 w 12192185"/>
              <a:gd name="connsiteY3201" fmla="*/ 5710047 h 6859062"/>
              <a:gd name="connsiteX3202" fmla="*/ 11767057 w 12192185"/>
              <a:gd name="connsiteY3202" fmla="*/ 5707505 h 6859062"/>
              <a:gd name="connsiteX3203" fmla="*/ 11764751 w 12192185"/>
              <a:gd name="connsiteY3203" fmla="*/ 5701325 h 6859062"/>
              <a:gd name="connsiteX3204" fmla="*/ 11771926 w 12192185"/>
              <a:gd name="connsiteY3204" fmla="*/ 5685575 h 6859062"/>
              <a:gd name="connsiteX3205" fmla="*/ 11779542 w 12192185"/>
              <a:gd name="connsiteY3205" fmla="*/ 5681287 h 6859062"/>
              <a:gd name="connsiteX3206" fmla="*/ 11796556 w 12192185"/>
              <a:gd name="connsiteY3206" fmla="*/ 5676702 h 6859062"/>
              <a:gd name="connsiteX3207" fmla="*/ 11540067 w 12192185"/>
              <a:gd name="connsiteY3207" fmla="*/ 5670740 h 6859062"/>
              <a:gd name="connsiteX3208" fmla="*/ 11545710 w 12192185"/>
              <a:gd name="connsiteY3208" fmla="*/ 5670767 h 6859062"/>
              <a:gd name="connsiteX3209" fmla="*/ 11552824 w 12192185"/>
              <a:gd name="connsiteY3209" fmla="*/ 5672340 h 6859062"/>
              <a:gd name="connsiteX3210" fmla="*/ 11558115 w 12192185"/>
              <a:gd name="connsiteY3210" fmla="*/ 5674865 h 6859062"/>
              <a:gd name="connsiteX3211" fmla="*/ 11567728 w 12192185"/>
              <a:gd name="connsiteY3211" fmla="*/ 5684389 h 6859062"/>
              <a:gd name="connsiteX3212" fmla="*/ 11573993 w 12192185"/>
              <a:gd name="connsiteY3212" fmla="*/ 5690042 h 6859062"/>
              <a:gd name="connsiteX3213" fmla="*/ 11575622 w 12192185"/>
              <a:gd name="connsiteY3213" fmla="*/ 5693159 h 6859062"/>
              <a:gd name="connsiteX3214" fmla="*/ 11575759 w 12192185"/>
              <a:gd name="connsiteY3214" fmla="*/ 5701023 h 6859062"/>
              <a:gd name="connsiteX3215" fmla="*/ 11573625 w 12192185"/>
              <a:gd name="connsiteY3215" fmla="*/ 5714044 h 6859062"/>
              <a:gd name="connsiteX3216" fmla="*/ 11573705 w 12192185"/>
              <a:gd name="connsiteY3216" fmla="*/ 5718630 h 6859062"/>
              <a:gd name="connsiteX3217" fmla="*/ 11571263 w 12192185"/>
              <a:gd name="connsiteY3217" fmla="*/ 5721559 h 6859062"/>
              <a:gd name="connsiteX3218" fmla="*/ 11566232 w 12192185"/>
              <a:gd name="connsiteY3218" fmla="*/ 5726504 h 6859062"/>
              <a:gd name="connsiteX3219" fmla="*/ 11564695 w 12192185"/>
              <a:gd name="connsiteY3219" fmla="*/ 5728630 h 6859062"/>
              <a:gd name="connsiteX3220" fmla="*/ 11556916 w 12192185"/>
              <a:gd name="connsiteY3220" fmla="*/ 5734018 h 6859062"/>
              <a:gd name="connsiteX3221" fmla="*/ 11555368 w 12192185"/>
              <a:gd name="connsiteY3221" fmla="*/ 5735489 h 6859062"/>
              <a:gd name="connsiteX3222" fmla="*/ 11530796 w 12192185"/>
              <a:gd name="connsiteY3222" fmla="*/ 5733451 h 6859062"/>
              <a:gd name="connsiteX3223" fmla="*/ 11519509 w 12192185"/>
              <a:gd name="connsiteY3223" fmla="*/ 5725793 h 6859062"/>
              <a:gd name="connsiteX3224" fmla="*/ 11515381 w 12192185"/>
              <a:gd name="connsiteY3224" fmla="*/ 5722329 h 6859062"/>
              <a:gd name="connsiteX3225" fmla="*/ 11512814 w 12192185"/>
              <a:gd name="connsiteY3225" fmla="*/ 5718050 h 6859062"/>
              <a:gd name="connsiteX3226" fmla="*/ 11511829 w 12192185"/>
              <a:gd name="connsiteY3226" fmla="*/ 5714265 h 6859062"/>
              <a:gd name="connsiteX3227" fmla="*/ 11509465 w 12192185"/>
              <a:gd name="connsiteY3227" fmla="*/ 5706574 h 6859062"/>
              <a:gd name="connsiteX3228" fmla="*/ 11508367 w 12192185"/>
              <a:gd name="connsiteY3228" fmla="*/ 5703840 h 6859062"/>
              <a:gd name="connsiteX3229" fmla="*/ 11505890 w 12192185"/>
              <a:gd name="connsiteY3229" fmla="*/ 5697200 h 6859062"/>
              <a:gd name="connsiteX3230" fmla="*/ 11513599 w 12192185"/>
              <a:gd name="connsiteY3230" fmla="*/ 5680275 h 6859062"/>
              <a:gd name="connsiteX3231" fmla="*/ 11521785 w 12192185"/>
              <a:gd name="connsiteY3231" fmla="*/ 5675666 h 6859062"/>
              <a:gd name="connsiteX3232" fmla="*/ 11540067 w 12192185"/>
              <a:gd name="connsiteY3232" fmla="*/ 5670740 h 6859062"/>
              <a:gd name="connsiteX3233" fmla="*/ 750968 w 12192185"/>
              <a:gd name="connsiteY3233" fmla="*/ 5647678 h 6859062"/>
              <a:gd name="connsiteX3234" fmla="*/ 754766 w 12192185"/>
              <a:gd name="connsiteY3234" fmla="*/ 5647993 h 6859062"/>
              <a:gd name="connsiteX3235" fmla="*/ 771813 w 12192185"/>
              <a:gd name="connsiteY3235" fmla="*/ 5655428 h 6859062"/>
              <a:gd name="connsiteX3236" fmla="*/ 776554 w 12192185"/>
              <a:gd name="connsiteY3236" fmla="*/ 5663539 h 6859062"/>
              <a:gd name="connsiteX3237" fmla="*/ 781773 w 12192185"/>
              <a:gd name="connsiteY3237" fmla="*/ 5681740 h 6859062"/>
              <a:gd name="connsiteX3238" fmla="*/ 781838 w 12192185"/>
              <a:gd name="connsiteY3238" fmla="*/ 5687382 h 6859062"/>
              <a:gd name="connsiteX3239" fmla="*/ 780380 w 12192185"/>
              <a:gd name="connsiteY3239" fmla="*/ 5694519 h 6859062"/>
              <a:gd name="connsiteX3240" fmla="*/ 777940 w 12192185"/>
              <a:gd name="connsiteY3240" fmla="*/ 5699852 h 6859062"/>
              <a:gd name="connsiteX3241" fmla="*/ 768572 w 12192185"/>
              <a:gd name="connsiteY3241" fmla="*/ 5709618 h 6859062"/>
              <a:gd name="connsiteX3242" fmla="*/ 763020 w 12192185"/>
              <a:gd name="connsiteY3242" fmla="*/ 5715974 h 6859062"/>
              <a:gd name="connsiteX3243" fmla="*/ 759931 w 12192185"/>
              <a:gd name="connsiteY3243" fmla="*/ 5717652 h 6859062"/>
              <a:gd name="connsiteX3244" fmla="*/ 752069 w 12192185"/>
              <a:gd name="connsiteY3244" fmla="*/ 5717915 h 6859062"/>
              <a:gd name="connsiteX3245" fmla="*/ 739018 w 12192185"/>
              <a:gd name="connsiteY3245" fmla="*/ 5715991 h 6859062"/>
              <a:gd name="connsiteX3246" fmla="*/ 734432 w 12192185"/>
              <a:gd name="connsiteY3246" fmla="*/ 5716145 h 6859062"/>
              <a:gd name="connsiteX3247" fmla="*/ 731464 w 12192185"/>
              <a:gd name="connsiteY3247" fmla="*/ 5713751 h 6859062"/>
              <a:gd name="connsiteX3248" fmla="*/ 726439 w 12192185"/>
              <a:gd name="connsiteY3248" fmla="*/ 5708801 h 6859062"/>
              <a:gd name="connsiteX3249" fmla="*/ 724288 w 12192185"/>
              <a:gd name="connsiteY3249" fmla="*/ 5707297 h 6859062"/>
              <a:gd name="connsiteX3250" fmla="*/ 718776 w 12192185"/>
              <a:gd name="connsiteY3250" fmla="*/ 5699606 h 6859062"/>
              <a:gd name="connsiteX3251" fmla="*/ 717281 w 12192185"/>
              <a:gd name="connsiteY3251" fmla="*/ 5698081 h 6859062"/>
              <a:gd name="connsiteX3252" fmla="*/ 718922 w 12192185"/>
              <a:gd name="connsiteY3252" fmla="*/ 5673480 h 6859062"/>
              <a:gd name="connsiteX3253" fmla="*/ 726397 w 12192185"/>
              <a:gd name="connsiteY3253" fmla="*/ 5662071 h 6859062"/>
              <a:gd name="connsiteX3254" fmla="*/ 729794 w 12192185"/>
              <a:gd name="connsiteY3254" fmla="*/ 5657889 h 6859062"/>
              <a:gd name="connsiteX3255" fmla="*/ 734031 w 12192185"/>
              <a:gd name="connsiteY3255" fmla="*/ 5655253 h 6859062"/>
              <a:gd name="connsiteX3256" fmla="*/ 737799 w 12192185"/>
              <a:gd name="connsiteY3256" fmla="*/ 5654207 h 6859062"/>
              <a:gd name="connsiteX3257" fmla="*/ 745451 w 12192185"/>
              <a:gd name="connsiteY3257" fmla="*/ 5651719 h 6859062"/>
              <a:gd name="connsiteX3258" fmla="*/ 748166 w 12192185"/>
              <a:gd name="connsiteY3258" fmla="*/ 5650578 h 6859062"/>
              <a:gd name="connsiteX3259" fmla="*/ 750968 w 12192185"/>
              <a:gd name="connsiteY3259" fmla="*/ 5647678 h 6859062"/>
              <a:gd name="connsiteX3260" fmla="*/ 121418 w 12192185"/>
              <a:gd name="connsiteY3260" fmla="*/ 5646776 h 6859062"/>
              <a:gd name="connsiteX3261" fmla="*/ 129189 w 12192185"/>
              <a:gd name="connsiteY3261" fmla="*/ 5647922 h 6859062"/>
              <a:gd name="connsiteX3262" fmla="*/ 138275 w 12192185"/>
              <a:gd name="connsiteY3262" fmla="*/ 5651486 h 6859062"/>
              <a:gd name="connsiteX3263" fmla="*/ 144570 w 12192185"/>
              <a:gd name="connsiteY3263" fmla="*/ 5655670 h 6859062"/>
              <a:gd name="connsiteX3264" fmla="*/ 161223 w 12192185"/>
              <a:gd name="connsiteY3264" fmla="*/ 5674808 h 6859062"/>
              <a:gd name="connsiteX3265" fmla="*/ 166884 w 12192185"/>
              <a:gd name="connsiteY3265" fmla="*/ 5686049 h 6859062"/>
              <a:gd name="connsiteX3266" fmla="*/ 162814 w 12192185"/>
              <a:gd name="connsiteY3266" fmla="*/ 5710630 h 6859062"/>
              <a:gd name="connsiteX3267" fmla="*/ 155098 w 12192185"/>
              <a:gd name="connsiteY3267" fmla="*/ 5716165 h 6859062"/>
              <a:gd name="connsiteX3268" fmla="*/ 151836 w 12192185"/>
              <a:gd name="connsiteY3268" fmla="*/ 5718384 h 6859062"/>
              <a:gd name="connsiteX3269" fmla="*/ 143460 w 12192185"/>
              <a:gd name="connsiteY3269" fmla="*/ 5725172 h 6859062"/>
              <a:gd name="connsiteX3270" fmla="*/ 139537 w 12192185"/>
              <a:gd name="connsiteY3270" fmla="*/ 5728645 h 6859062"/>
              <a:gd name="connsiteX3271" fmla="*/ 133485 w 12192185"/>
              <a:gd name="connsiteY3271" fmla="*/ 5731486 h 6859062"/>
              <a:gd name="connsiteX3272" fmla="*/ 126307 w 12192185"/>
              <a:gd name="connsiteY3272" fmla="*/ 5732255 h 6859062"/>
              <a:gd name="connsiteX3273" fmla="*/ 108034 w 12192185"/>
              <a:gd name="connsiteY3273" fmla="*/ 5732341 h 6859062"/>
              <a:gd name="connsiteX3274" fmla="*/ 79186 w 12192185"/>
              <a:gd name="connsiteY3274" fmla="*/ 5716250 h 6859062"/>
              <a:gd name="connsiteX3275" fmla="*/ 78562 w 12192185"/>
              <a:gd name="connsiteY3275" fmla="*/ 5713458 h 6859062"/>
              <a:gd name="connsiteX3276" fmla="*/ 73936 w 12192185"/>
              <a:gd name="connsiteY3276" fmla="*/ 5701654 h 6859062"/>
              <a:gd name="connsiteX3277" fmla="*/ 73814 w 12192185"/>
              <a:gd name="connsiteY3277" fmla="*/ 5698142 h 6859062"/>
              <a:gd name="connsiteX3278" fmla="*/ 71912 w 12192185"/>
              <a:gd name="connsiteY3278" fmla="*/ 5688885 h 6859062"/>
              <a:gd name="connsiteX3279" fmla="*/ 71385 w 12192185"/>
              <a:gd name="connsiteY3279" fmla="*/ 5683802 h 6859062"/>
              <a:gd name="connsiteX3280" fmla="*/ 74901 w 12192185"/>
              <a:gd name="connsiteY3280" fmla="*/ 5678761 h 6859062"/>
              <a:gd name="connsiteX3281" fmla="*/ 82254 w 12192185"/>
              <a:gd name="connsiteY3281" fmla="*/ 5662686 h 6859062"/>
              <a:gd name="connsiteX3282" fmla="*/ 88281 w 12192185"/>
              <a:gd name="connsiteY3282" fmla="*/ 5654043 h 6859062"/>
              <a:gd name="connsiteX3283" fmla="*/ 92420 w 12192185"/>
              <a:gd name="connsiteY3283" fmla="*/ 5651794 h 6859062"/>
              <a:gd name="connsiteX3284" fmla="*/ 103611 w 12192185"/>
              <a:gd name="connsiteY3284" fmla="*/ 5650187 h 6859062"/>
              <a:gd name="connsiteX3285" fmla="*/ 121418 w 12192185"/>
              <a:gd name="connsiteY3285" fmla="*/ 5646776 h 6859062"/>
              <a:gd name="connsiteX3286" fmla="*/ 1143220 w 12192185"/>
              <a:gd name="connsiteY3286" fmla="*/ 5642129 h 6859062"/>
              <a:gd name="connsiteX3287" fmla="*/ 1155228 w 12192185"/>
              <a:gd name="connsiteY3287" fmla="*/ 5642211 h 6859062"/>
              <a:gd name="connsiteX3288" fmla="*/ 1163639 w 12192185"/>
              <a:gd name="connsiteY3288" fmla="*/ 5647192 h 6859062"/>
              <a:gd name="connsiteX3289" fmla="*/ 1180460 w 12192185"/>
              <a:gd name="connsiteY3289" fmla="*/ 5650150 h 6859062"/>
              <a:gd name="connsiteX3290" fmla="*/ 1187445 w 12192185"/>
              <a:gd name="connsiteY3290" fmla="*/ 5650175 h 6859062"/>
              <a:gd name="connsiteX3291" fmla="*/ 1209161 w 12192185"/>
              <a:gd name="connsiteY3291" fmla="*/ 5657478 h 6859062"/>
              <a:gd name="connsiteX3292" fmla="*/ 1214148 w 12192185"/>
              <a:gd name="connsiteY3292" fmla="*/ 5671323 h 6859062"/>
              <a:gd name="connsiteX3293" fmla="*/ 1213172 w 12192185"/>
              <a:gd name="connsiteY3293" fmla="*/ 5685861 h 6859062"/>
              <a:gd name="connsiteX3294" fmla="*/ 1209527 w 12192185"/>
              <a:gd name="connsiteY3294" fmla="*/ 5695483 h 6859062"/>
              <a:gd name="connsiteX3295" fmla="*/ 1191909 w 12192185"/>
              <a:gd name="connsiteY3295" fmla="*/ 5705055 h 6859062"/>
              <a:gd name="connsiteX3296" fmla="*/ 1175266 w 12192185"/>
              <a:gd name="connsiteY3296" fmla="*/ 5700090 h 6859062"/>
              <a:gd name="connsiteX3297" fmla="*/ 1158803 w 12192185"/>
              <a:gd name="connsiteY3297" fmla="*/ 5700121 h 6859062"/>
              <a:gd name="connsiteX3298" fmla="*/ 1142651 w 12192185"/>
              <a:gd name="connsiteY3298" fmla="*/ 5701892 h 6859062"/>
              <a:gd name="connsiteX3299" fmla="*/ 1129836 w 12192185"/>
              <a:gd name="connsiteY3299" fmla="*/ 5699304 h 6859062"/>
              <a:gd name="connsiteX3300" fmla="*/ 1118576 w 12192185"/>
              <a:gd name="connsiteY3300" fmla="*/ 5691415 h 6859062"/>
              <a:gd name="connsiteX3301" fmla="*/ 1113234 w 12192185"/>
              <a:gd name="connsiteY3301" fmla="*/ 5681582 h 6859062"/>
              <a:gd name="connsiteX3302" fmla="*/ 1114390 w 12192185"/>
              <a:gd name="connsiteY3302" fmla="*/ 5679044 h 6859062"/>
              <a:gd name="connsiteX3303" fmla="*/ 1117679 w 12192185"/>
              <a:gd name="connsiteY3303" fmla="*/ 5659430 h 6859062"/>
              <a:gd name="connsiteX3304" fmla="*/ 1131914 w 12192185"/>
              <a:gd name="connsiteY3304" fmla="*/ 5645965 h 6859062"/>
              <a:gd name="connsiteX3305" fmla="*/ 1143220 w 12192185"/>
              <a:gd name="connsiteY3305" fmla="*/ 5642129 h 6859062"/>
              <a:gd name="connsiteX3306" fmla="*/ 8024278 w 12192185"/>
              <a:gd name="connsiteY3306" fmla="*/ 5627074 h 6859062"/>
              <a:gd name="connsiteX3307" fmla="*/ 8007546 w 12192185"/>
              <a:gd name="connsiteY3307" fmla="*/ 5642637 h 6859062"/>
              <a:gd name="connsiteX3308" fmla="*/ 8054494 w 12192185"/>
              <a:gd name="connsiteY3308" fmla="*/ 5676160 h 6859062"/>
              <a:gd name="connsiteX3309" fmla="*/ 8169179 w 12192185"/>
              <a:gd name="connsiteY3309" fmla="*/ 5750369 h 6859062"/>
              <a:gd name="connsiteX3310" fmla="*/ 8979798 w 12192185"/>
              <a:gd name="connsiteY3310" fmla="*/ 6066632 h 6859062"/>
              <a:gd name="connsiteX3311" fmla="*/ 8982039 w 12192185"/>
              <a:gd name="connsiteY3311" fmla="*/ 6067008 h 6859062"/>
              <a:gd name="connsiteX3312" fmla="*/ 8982073 w 12192185"/>
              <a:gd name="connsiteY3312" fmla="*/ 6066957 h 6859062"/>
              <a:gd name="connsiteX3313" fmla="*/ 8979798 w 12192185"/>
              <a:gd name="connsiteY3313" fmla="*/ 6066632 h 6859062"/>
              <a:gd name="connsiteX3314" fmla="*/ 8091875 w 12192185"/>
              <a:gd name="connsiteY3314" fmla="*/ 5677332 h 6859062"/>
              <a:gd name="connsiteX3315" fmla="*/ 11245478 w 12192185"/>
              <a:gd name="connsiteY3315" fmla="*/ 5595247 h 6859062"/>
              <a:gd name="connsiteX3316" fmla="*/ 11243697 w 12192185"/>
              <a:gd name="connsiteY3316" fmla="*/ 5596393 h 6859062"/>
              <a:gd name="connsiteX3317" fmla="*/ 11243812 w 12192185"/>
              <a:gd name="connsiteY3317" fmla="*/ 5607158 h 6859062"/>
              <a:gd name="connsiteX3318" fmla="*/ 11246589 w 12192185"/>
              <a:gd name="connsiteY3318" fmla="*/ 5607994 h 6859062"/>
              <a:gd name="connsiteX3319" fmla="*/ 11245342 w 12192185"/>
              <a:gd name="connsiteY3319" fmla="*/ 5602229 h 6859062"/>
              <a:gd name="connsiteX3320" fmla="*/ 12040081 w 12192185"/>
              <a:gd name="connsiteY3320" fmla="*/ 5570704 h 6859062"/>
              <a:gd name="connsiteX3321" fmla="*/ 12064592 w 12192185"/>
              <a:gd name="connsiteY3321" fmla="*/ 5575170 h 6859062"/>
              <a:gd name="connsiteX3322" fmla="*/ 12070002 w 12192185"/>
              <a:gd name="connsiteY3322" fmla="*/ 5582974 h 6859062"/>
              <a:gd name="connsiteX3323" fmla="*/ 12072169 w 12192185"/>
              <a:gd name="connsiteY3323" fmla="*/ 5586271 h 6859062"/>
              <a:gd name="connsiteX3324" fmla="*/ 12078822 w 12192185"/>
              <a:gd name="connsiteY3324" fmla="*/ 5594756 h 6859062"/>
              <a:gd name="connsiteX3325" fmla="*/ 12082231 w 12192185"/>
              <a:gd name="connsiteY3325" fmla="*/ 5598733 h 6859062"/>
              <a:gd name="connsiteX3326" fmla="*/ 12084973 w 12192185"/>
              <a:gd name="connsiteY3326" fmla="*/ 5604830 h 6859062"/>
              <a:gd name="connsiteX3327" fmla="*/ 12085626 w 12192185"/>
              <a:gd name="connsiteY3327" fmla="*/ 5612020 h 6859062"/>
              <a:gd name="connsiteX3328" fmla="*/ 12085417 w 12192185"/>
              <a:gd name="connsiteY3328" fmla="*/ 5630293 h 6859062"/>
              <a:gd name="connsiteX3329" fmla="*/ 12068865 w 12192185"/>
              <a:gd name="connsiteY3329" fmla="*/ 5658878 h 6859062"/>
              <a:gd name="connsiteX3330" fmla="*/ 12066062 w 12192185"/>
              <a:gd name="connsiteY3330" fmla="*/ 5659457 h 6859062"/>
              <a:gd name="connsiteX3331" fmla="*/ 12054186 w 12192185"/>
              <a:gd name="connsiteY3331" fmla="*/ 5663892 h 6859062"/>
              <a:gd name="connsiteX3332" fmla="*/ 12050672 w 12192185"/>
              <a:gd name="connsiteY3332" fmla="*/ 5663956 h 6859062"/>
              <a:gd name="connsiteX3333" fmla="*/ 12041386 w 12192185"/>
              <a:gd name="connsiteY3333" fmla="*/ 5665709 h 6859062"/>
              <a:gd name="connsiteX3334" fmla="*/ 12036295 w 12192185"/>
              <a:gd name="connsiteY3334" fmla="*/ 5666155 h 6859062"/>
              <a:gd name="connsiteX3335" fmla="*/ 12031311 w 12192185"/>
              <a:gd name="connsiteY3335" fmla="*/ 5662558 h 6859062"/>
              <a:gd name="connsiteX3336" fmla="*/ 12015357 w 12192185"/>
              <a:gd name="connsiteY3336" fmla="*/ 5654948 h 6859062"/>
              <a:gd name="connsiteX3337" fmla="*/ 12006812 w 12192185"/>
              <a:gd name="connsiteY3337" fmla="*/ 5648782 h 6859062"/>
              <a:gd name="connsiteX3338" fmla="*/ 12004629 w 12192185"/>
              <a:gd name="connsiteY3338" fmla="*/ 5644606 h 6859062"/>
              <a:gd name="connsiteX3339" fmla="*/ 12003203 w 12192185"/>
              <a:gd name="connsiteY3339" fmla="*/ 5633391 h 6859062"/>
              <a:gd name="connsiteX3340" fmla="*/ 12000079 w 12192185"/>
              <a:gd name="connsiteY3340" fmla="*/ 5615531 h 6859062"/>
              <a:gd name="connsiteX3341" fmla="*/ 12001351 w 12192185"/>
              <a:gd name="connsiteY3341" fmla="*/ 5607779 h 6859062"/>
              <a:gd name="connsiteX3342" fmla="*/ 12005061 w 12192185"/>
              <a:gd name="connsiteY3342" fmla="*/ 5598753 h 6859062"/>
              <a:gd name="connsiteX3343" fmla="*/ 12009347 w 12192185"/>
              <a:gd name="connsiteY3343" fmla="*/ 5592525 h 6859062"/>
              <a:gd name="connsiteX3344" fmla="*/ 12028750 w 12192185"/>
              <a:gd name="connsiteY3344" fmla="*/ 5576182 h 6859062"/>
              <a:gd name="connsiteX3345" fmla="*/ 12040081 w 12192185"/>
              <a:gd name="connsiteY3345" fmla="*/ 5570704 h 6859062"/>
              <a:gd name="connsiteX3346" fmla="*/ 378601 w 12192185"/>
              <a:gd name="connsiteY3346" fmla="*/ 5540013 h 6859062"/>
              <a:gd name="connsiteX3347" fmla="*/ 382136 w 12192185"/>
              <a:gd name="connsiteY3347" fmla="*/ 5540307 h 6859062"/>
              <a:gd name="connsiteX3348" fmla="*/ 397999 w 12192185"/>
              <a:gd name="connsiteY3348" fmla="*/ 5547225 h 6859062"/>
              <a:gd name="connsiteX3349" fmla="*/ 402410 w 12192185"/>
              <a:gd name="connsiteY3349" fmla="*/ 5554773 h 6859062"/>
              <a:gd name="connsiteX3350" fmla="*/ 407268 w 12192185"/>
              <a:gd name="connsiteY3350" fmla="*/ 5571710 h 6859062"/>
              <a:gd name="connsiteX3351" fmla="*/ 407328 w 12192185"/>
              <a:gd name="connsiteY3351" fmla="*/ 5576962 h 6859062"/>
              <a:gd name="connsiteX3352" fmla="*/ 405971 w 12192185"/>
              <a:gd name="connsiteY3352" fmla="*/ 5583602 h 6859062"/>
              <a:gd name="connsiteX3353" fmla="*/ 403701 w 12192185"/>
              <a:gd name="connsiteY3353" fmla="*/ 5588565 h 6859062"/>
              <a:gd name="connsiteX3354" fmla="*/ 394983 w 12192185"/>
              <a:gd name="connsiteY3354" fmla="*/ 5597653 h 6859062"/>
              <a:gd name="connsiteX3355" fmla="*/ 389817 w 12192185"/>
              <a:gd name="connsiteY3355" fmla="*/ 5603566 h 6859062"/>
              <a:gd name="connsiteX3356" fmla="*/ 386942 w 12192185"/>
              <a:gd name="connsiteY3356" fmla="*/ 5605129 h 6859062"/>
              <a:gd name="connsiteX3357" fmla="*/ 379626 w 12192185"/>
              <a:gd name="connsiteY3357" fmla="*/ 5605375 h 6859062"/>
              <a:gd name="connsiteX3358" fmla="*/ 367480 w 12192185"/>
              <a:gd name="connsiteY3358" fmla="*/ 5603584 h 6859062"/>
              <a:gd name="connsiteX3359" fmla="*/ 363213 w 12192185"/>
              <a:gd name="connsiteY3359" fmla="*/ 5603727 h 6859062"/>
              <a:gd name="connsiteX3360" fmla="*/ 360451 w 12192185"/>
              <a:gd name="connsiteY3360" fmla="*/ 5601499 h 6859062"/>
              <a:gd name="connsiteX3361" fmla="*/ 355775 w 12192185"/>
              <a:gd name="connsiteY3361" fmla="*/ 5596892 h 6859062"/>
              <a:gd name="connsiteX3362" fmla="*/ 353774 w 12192185"/>
              <a:gd name="connsiteY3362" fmla="*/ 5595493 h 6859062"/>
              <a:gd name="connsiteX3363" fmla="*/ 348644 w 12192185"/>
              <a:gd name="connsiteY3363" fmla="*/ 5588337 h 6859062"/>
              <a:gd name="connsiteX3364" fmla="*/ 347252 w 12192185"/>
              <a:gd name="connsiteY3364" fmla="*/ 5586918 h 6859062"/>
              <a:gd name="connsiteX3365" fmla="*/ 348780 w 12192185"/>
              <a:gd name="connsiteY3365" fmla="*/ 5564024 h 6859062"/>
              <a:gd name="connsiteX3366" fmla="*/ 355737 w 12192185"/>
              <a:gd name="connsiteY3366" fmla="*/ 5553408 h 6859062"/>
              <a:gd name="connsiteX3367" fmla="*/ 358897 w 12192185"/>
              <a:gd name="connsiteY3367" fmla="*/ 5549516 h 6859062"/>
              <a:gd name="connsiteX3368" fmla="*/ 362840 w 12192185"/>
              <a:gd name="connsiteY3368" fmla="*/ 5547062 h 6859062"/>
              <a:gd name="connsiteX3369" fmla="*/ 366346 w 12192185"/>
              <a:gd name="connsiteY3369" fmla="*/ 5546090 h 6859062"/>
              <a:gd name="connsiteX3370" fmla="*/ 373468 w 12192185"/>
              <a:gd name="connsiteY3370" fmla="*/ 5543774 h 6859062"/>
              <a:gd name="connsiteX3371" fmla="*/ 375994 w 12192185"/>
              <a:gd name="connsiteY3371" fmla="*/ 5542712 h 6859062"/>
              <a:gd name="connsiteX3372" fmla="*/ 378601 w 12192185"/>
              <a:gd name="connsiteY3372" fmla="*/ 5540013 h 6859062"/>
              <a:gd name="connsiteX3373" fmla="*/ 8303664 w 12192185"/>
              <a:gd name="connsiteY3373" fmla="*/ 5514927 h 6859062"/>
              <a:gd name="connsiteX3374" fmla="*/ 8312763 w 12192185"/>
              <a:gd name="connsiteY3374" fmla="*/ 5517015 h 6859062"/>
              <a:gd name="connsiteX3375" fmla="*/ 8325654 w 12192185"/>
              <a:gd name="connsiteY3375" fmla="*/ 5527636 h 6859062"/>
              <a:gd name="connsiteX3376" fmla="*/ 8313330 w 12192185"/>
              <a:gd name="connsiteY3376" fmla="*/ 5522893 h 6859062"/>
              <a:gd name="connsiteX3377" fmla="*/ 8310108 w 12192185"/>
              <a:gd name="connsiteY3377" fmla="*/ 5520238 h 6859062"/>
              <a:gd name="connsiteX3378" fmla="*/ 8306886 w 12192185"/>
              <a:gd name="connsiteY3378" fmla="*/ 5517583 h 6859062"/>
              <a:gd name="connsiteX3379" fmla="*/ 596671 w 12192185"/>
              <a:gd name="connsiteY3379" fmla="*/ 5506776 h 6859062"/>
              <a:gd name="connsiteX3380" fmla="*/ 605198 w 12192185"/>
              <a:gd name="connsiteY3380" fmla="*/ 5506834 h 6859062"/>
              <a:gd name="connsiteX3381" fmla="*/ 611171 w 12192185"/>
              <a:gd name="connsiteY3381" fmla="*/ 5510371 h 6859062"/>
              <a:gd name="connsiteX3382" fmla="*/ 623115 w 12192185"/>
              <a:gd name="connsiteY3382" fmla="*/ 5512471 h 6859062"/>
              <a:gd name="connsiteX3383" fmla="*/ 628076 w 12192185"/>
              <a:gd name="connsiteY3383" fmla="*/ 5512489 h 6859062"/>
              <a:gd name="connsiteX3384" fmla="*/ 643496 w 12192185"/>
              <a:gd name="connsiteY3384" fmla="*/ 5517674 h 6859062"/>
              <a:gd name="connsiteX3385" fmla="*/ 647038 w 12192185"/>
              <a:gd name="connsiteY3385" fmla="*/ 5527506 h 6859062"/>
              <a:gd name="connsiteX3386" fmla="*/ 646345 w 12192185"/>
              <a:gd name="connsiteY3386" fmla="*/ 5537829 h 6859062"/>
              <a:gd name="connsiteX3387" fmla="*/ 643756 w 12192185"/>
              <a:gd name="connsiteY3387" fmla="*/ 5544661 h 6859062"/>
              <a:gd name="connsiteX3388" fmla="*/ 631244 w 12192185"/>
              <a:gd name="connsiteY3388" fmla="*/ 5551460 h 6859062"/>
              <a:gd name="connsiteX3389" fmla="*/ 619427 w 12192185"/>
              <a:gd name="connsiteY3389" fmla="*/ 5547934 h 6859062"/>
              <a:gd name="connsiteX3390" fmla="*/ 607736 w 12192185"/>
              <a:gd name="connsiteY3390" fmla="*/ 5547956 h 6859062"/>
              <a:gd name="connsiteX3391" fmla="*/ 596266 w 12192185"/>
              <a:gd name="connsiteY3391" fmla="*/ 5549214 h 6859062"/>
              <a:gd name="connsiteX3392" fmla="*/ 587166 w 12192185"/>
              <a:gd name="connsiteY3392" fmla="*/ 5547376 h 6859062"/>
              <a:gd name="connsiteX3393" fmla="*/ 579171 w 12192185"/>
              <a:gd name="connsiteY3393" fmla="*/ 5541773 h 6859062"/>
              <a:gd name="connsiteX3394" fmla="*/ 575377 w 12192185"/>
              <a:gd name="connsiteY3394" fmla="*/ 5534791 h 6859062"/>
              <a:gd name="connsiteX3395" fmla="*/ 576198 w 12192185"/>
              <a:gd name="connsiteY3395" fmla="*/ 5532990 h 6859062"/>
              <a:gd name="connsiteX3396" fmla="*/ 578533 w 12192185"/>
              <a:gd name="connsiteY3396" fmla="*/ 5519061 h 6859062"/>
              <a:gd name="connsiteX3397" fmla="*/ 588642 w 12192185"/>
              <a:gd name="connsiteY3397" fmla="*/ 5509499 h 6859062"/>
              <a:gd name="connsiteX3398" fmla="*/ 596671 w 12192185"/>
              <a:gd name="connsiteY3398" fmla="*/ 5506776 h 6859062"/>
              <a:gd name="connsiteX3399" fmla="*/ 1659334 w 12192185"/>
              <a:gd name="connsiteY3399" fmla="*/ 5458672 h 6859062"/>
              <a:gd name="connsiteX3400" fmla="*/ 1662878 w 12192185"/>
              <a:gd name="connsiteY3400" fmla="*/ 5464811 h 6859062"/>
              <a:gd name="connsiteX3401" fmla="*/ 1661702 w 12192185"/>
              <a:gd name="connsiteY3401" fmla="*/ 5469200 h 6859062"/>
              <a:gd name="connsiteX3402" fmla="*/ 1664916 w 12192185"/>
              <a:gd name="connsiteY3402" fmla="*/ 5474763 h 6859062"/>
              <a:gd name="connsiteX3403" fmla="*/ 1670015 w 12192185"/>
              <a:gd name="connsiteY3403" fmla="*/ 5471820 h 6859062"/>
              <a:gd name="connsiteX3404" fmla="*/ 8206133 w 12192185"/>
              <a:gd name="connsiteY3404" fmla="*/ 5450796 h 6859062"/>
              <a:gd name="connsiteX3405" fmla="*/ 8203558 w 12192185"/>
              <a:gd name="connsiteY3405" fmla="*/ 5454085 h 6859062"/>
              <a:gd name="connsiteX3406" fmla="*/ 8206038 w 12192185"/>
              <a:gd name="connsiteY3406" fmla="*/ 5456128 h 6859062"/>
              <a:gd name="connsiteX3407" fmla="*/ 8202750 w 12192185"/>
              <a:gd name="connsiteY3407" fmla="*/ 5455116 h 6859062"/>
              <a:gd name="connsiteX3408" fmla="*/ 8185580 w 12192185"/>
              <a:gd name="connsiteY3408" fmla="*/ 5477043 h 6859062"/>
              <a:gd name="connsiteX3409" fmla="*/ 8040223 w 12192185"/>
              <a:gd name="connsiteY3409" fmla="*/ 5612243 h 6859062"/>
              <a:gd name="connsiteX3410" fmla="*/ 8045530 w 12192185"/>
              <a:gd name="connsiteY3410" fmla="*/ 5613995 h 6859062"/>
              <a:gd name="connsiteX3411" fmla="*/ 8103802 w 12192185"/>
              <a:gd name="connsiteY3411" fmla="*/ 5626168 h 6859062"/>
              <a:gd name="connsiteX3412" fmla="*/ 8093568 w 12192185"/>
              <a:gd name="connsiteY3412" fmla="*/ 5612324 h 6859062"/>
              <a:gd name="connsiteX3413" fmla="*/ 8156881 w 12192185"/>
              <a:gd name="connsiteY3413" fmla="*/ 5653672 h 6859062"/>
              <a:gd name="connsiteX3414" fmla="*/ 8212049 w 12192185"/>
              <a:gd name="connsiteY3414" fmla="*/ 5672076 h 6859062"/>
              <a:gd name="connsiteX3415" fmla="*/ 8185134 w 12192185"/>
              <a:gd name="connsiteY3415" fmla="*/ 5639081 h 6859062"/>
              <a:gd name="connsiteX3416" fmla="*/ 8191013 w 12192185"/>
              <a:gd name="connsiteY3416" fmla="*/ 5638513 h 6859062"/>
              <a:gd name="connsiteX3417" fmla="*/ 8194235 w 12192185"/>
              <a:gd name="connsiteY3417" fmla="*/ 5641168 h 6859062"/>
              <a:gd name="connsiteX3418" fmla="*/ 8197458 w 12192185"/>
              <a:gd name="connsiteY3418" fmla="*/ 5643824 h 6859062"/>
              <a:gd name="connsiteX3419" fmla="*/ 8203901 w 12192185"/>
              <a:gd name="connsiteY3419" fmla="*/ 5649133 h 6859062"/>
              <a:gd name="connsiteX3420" fmla="*/ 8203335 w 12192185"/>
              <a:gd name="connsiteY3420" fmla="*/ 5643257 h 6859062"/>
              <a:gd name="connsiteX3421" fmla="*/ 8200111 w 12192185"/>
              <a:gd name="connsiteY3421" fmla="*/ 5640601 h 6859062"/>
              <a:gd name="connsiteX3422" fmla="*/ 8196890 w 12192185"/>
              <a:gd name="connsiteY3422" fmla="*/ 5637946 h 6859062"/>
              <a:gd name="connsiteX3423" fmla="*/ 8189877 w 12192185"/>
              <a:gd name="connsiteY3423" fmla="*/ 5626759 h 6859062"/>
              <a:gd name="connsiteX3424" fmla="*/ 8184001 w 12192185"/>
              <a:gd name="connsiteY3424" fmla="*/ 5627327 h 6859062"/>
              <a:gd name="connsiteX3425" fmla="*/ 8187222 w 12192185"/>
              <a:gd name="connsiteY3425" fmla="*/ 5629981 h 6859062"/>
              <a:gd name="connsiteX3426" fmla="*/ 8187790 w 12192185"/>
              <a:gd name="connsiteY3426" fmla="*/ 5635858 h 6859062"/>
              <a:gd name="connsiteX3427" fmla="*/ 8178124 w 12192185"/>
              <a:gd name="connsiteY3427" fmla="*/ 5627894 h 6859062"/>
              <a:gd name="connsiteX3428" fmla="*/ 8174900 w 12192185"/>
              <a:gd name="connsiteY3428" fmla="*/ 5625238 h 6859062"/>
              <a:gd name="connsiteX3429" fmla="*/ 8162398 w 12192185"/>
              <a:gd name="connsiteY3429" fmla="*/ 5587884 h 6859062"/>
              <a:gd name="connsiteX3430" fmla="*/ 8203720 w 12192185"/>
              <a:gd name="connsiteY3430" fmla="*/ 5616524 h 6859062"/>
              <a:gd name="connsiteX3431" fmla="*/ 8201452 w 12192185"/>
              <a:gd name="connsiteY3431" fmla="*/ 5593015 h 6859062"/>
              <a:gd name="connsiteX3432" fmla="*/ 8305340 w 12192185"/>
              <a:gd name="connsiteY3432" fmla="*/ 5624514 h 6859062"/>
              <a:gd name="connsiteX3433" fmla="*/ 8308564 w 12192185"/>
              <a:gd name="connsiteY3433" fmla="*/ 5627170 h 6859062"/>
              <a:gd name="connsiteX3434" fmla="*/ 8315008 w 12192185"/>
              <a:gd name="connsiteY3434" fmla="*/ 5632478 h 6859062"/>
              <a:gd name="connsiteX3435" fmla="*/ 8320886 w 12192185"/>
              <a:gd name="connsiteY3435" fmla="*/ 5631913 h 6859062"/>
              <a:gd name="connsiteX3436" fmla="*/ 8364297 w 12192185"/>
              <a:gd name="connsiteY3436" fmla="*/ 5651450 h 6859062"/>
              <a:gd name="connsiteX3437" fmla="*/ 8379841 w 12192185"/>
              <a:gd name="connsiteY3437" fmla="*/ 5658850 h 6859062"/>
              <a:gd name="connsiteX3438" fmla="*/ 8385719 w 12192185"/>
              <a:gd name="connsiteY3438" fmla="*/ 5658282 h 6859062"/>
              <a:gd name="connsiteX3439" fmla="*/ 8388941 w 12192185"/>
              <a:gd name="connsiteY3439" fmla="*/ 5660937 h 6859062"/>
              <a:gd name="connsiteX3440" fmla="*/ 8391596 w 12192185"/>
              <a:gd name="connsiteY3440" fmla="*/ 5657715 h 6859062"/>
              <a:gd name="connsiteX3441" fmla="*/ 8394818 w 12192185"/>
              <a:gd name="connsiteY3441" fmla="*/ 5660370 h 6859062"/>
              <a:gd name="connsiteX3442" fmla="*/ 8413020 w 12192185"/>
              <a:gd name="connsiteY3442" fmla="*/ 5664545 h 6859062"/>
              <a:gd name="connsiteX3443" fmla="*/ 8406007 w 12192185"/>
              <a:gd name="connsiteY3443" fmla="*/ 5653358 h 6859062"/>
              <a:gd name="connsiteX3444" fmla="*/ 8417761 w 12192185"/>
              <a:gd name="connsiteY3444" fmla="*/ 5652223 h 6859062"/>
              <a:gd name="connsiteX3445" fmla="*/ 8449419 w 12192185"/>
              <a:gd name="connsiteY3445" fmla="*/ 5672898 h 6859062"/>
              <a:gd name="connsiteX3446" fmla="*/ 8547997 w 12192185"/>
              <a:gd name="connsiteY3446" fmla="*/ 5710842 h 6859062"/>
              <a:gd name="connsiteX3447" fmla="*/ 8572642 w 12192185"/>
              <a:gd name="connsiteY3447" fmla="*/ 5720328 h 6859062"/>
              <a:gd name="connsiteX3448" fmla="*/ 8655675 w 12192185"/>
              <a:gd name="connsiteY3448" fmla="*/ 5750874 h 6859062"/>
              <a:gd name="connsiteX3449" fmla="*/ 8665343 w 12192185"/>
              <a:gd name="connsiteY3449" fmla="*/ 5758840 h 6859062"/>
              <a:gd name="connsiteX3450" fmla="*/ 8677097 w 12192185"/>
              <a:gd name="connsiteY3450" fmla="*/ 5757705 h 6859062"/>
              <a:gd name="connsiteX3451" fmla="*/ 8677664 w 12192185"/>
              <a:gd name="connsiteY3451" fmla="*/ 5763583 h 6859062"/>
              <a:gd name="connsiteX3452" fmla="*/ 8738708 w 12192185"/>
              <a:gd name="connsiteY3452" fmla="*/ 5781421 h 6859062"/>
              <a:gd name="connsiteX3453" fmla="*/ 8733400 w 12192185"/>
              <a:gd name="connsiteY3453" fmla="*/ 5787865 h 6859062"/>
              <a:gd name="connsiteX3454" fmla="*/ 8751032 w 12192185"/>
              <a:gd name="connsiteY3454" fmla="*/ 5786163 h 6859062"/>
              <a:gd name="connsiteX3455" fmla="*/ 8781555 w 12192185"/>
              <a:gd name="connsiteY3455" fmla="*/ 5795083 h 6859062"/>
              <a:gd name="connsiteX3456" fmla="*/ 8784776 w 12192185"/>
              <a:gd name="connsiteY3456" fmla="*/ 5797737 h 6859062"/>
              <a:gd name="connsiteX3457" fmla="*/ 8782121 w 12192185"/>
              <a:gd name="connsiteY3457" fmla="*/ 5800959 h 6859062"/>
              <a:gd name="connsiteX3458" fmla="*/ 8779466 w 12192185"/>
              <a:gd name="connsiteY3458" fmla="*/ 5804182 h 6859062"/>
              <a:gd name="connsiteX3459" fmla="*/ 8782688 w 12192185"/>
              <a:gd name="connsiteY3459" fmla="*/ 5806837 h 6859062"/>
              <a:gd name="connsiteX3460" fmla="*/ 8801456 w 12192185"/>
              <a:gd name="connsiteY3460" fmla="*/ 5816890 h 6859062"/>
              <a:gd name="connsiteX3461" fmla="*/ 8798801 w 12192185"/>
              <a:gd name="connsiteY3461" fmla="*/ 5820113 h 6859062"/>
              <a:gd name="connsiteX3462" fmla="*/ 8802023 w 12192185"/>
              <a:gd name="connsiteY3462" fmla="*/ 5822768 h 6859062"/>
              <a:gd name="connsiteX3463" fmla="*/ 8807901 w 12192185"/>
              <a:gd name="connsiteY3463" fmla="*/ 5822201 h 6859062"/>
              <a:gd name="connsiteX3464" fmla="*/ 8890366 w 12192185"/>
              <a:gd name="connsiteY3464" fmla="*/ 5846871 h 6859062"/>
              <a:gd name="connsiteX3465" fmla="*/ 8980798 w 12192185"/>
              <a:gd name="connsiteY3465" fmla="*/ 5861871 h 6859062"/>
              <a:gd name="connsiteX3466" fmla="*/ 9013526 w 12192185"/>
              <a:gd name="connsiteY3466" fmla="*/ 5870577 h 6859062"/>
              <a:gd name="connsiteX3467" fmla="*/ 9027059 w 12192185"/>
              <a:gd name="connsiteY3467" fmla="*/ 5872765 h 6859062"/>
              <a:gd name="connsiteX3468" fmla="*/ 8967041 w 12192185"/>
              <a:gd name="connsiteY3468" fmla="*/ 5856588 h 6859062"/>
              <a:gd name="connsiteX3469" fmla="*/ 8461674 w 12192185"/>
              <a:gd name="connsiteY3469" fmla="*/ 5636082 h 6859062"/>
              <a:gd name="connsiteX3470" fmla="*/ 8282113 w 12192185"/>
              <a:gd name="connsiteY3470" fmla="*/ 5526222 h 6859062"/>
              <a:gd name="connsiteX3471" fmla="*/ 8270507 w 12192185"/>
              <a:gd name="connsiteY3471" fmla="*/ 5510444 h 6859062"/>
              <a:gd name="connsiteX3472" fmla="*/ 8282036 w 12192185"/>
              <a:gd name="connsiteY3472" fmla="*/ 5508784 h 6859062"/>
              <a:gd name="connsiteX3473" fmla="*/ 8891501 w 12192185"/>
              <a:gd name="connsiteY3473" fmla="*/ 5798742 h 6859062"/>
              <a:gd name="connsiteX3474" fmla="*/ 9234329 w 12192185"/>
              <a:gd name="connsiteY3474" fmla="*/ 5884258 h 6859062"/>
              <a:gd name="connsiteX3475" fmla="*/ 9276088 w 12192185"/>
              <a:gd name="connsiteY3475" fmla="*/ 5893863 h 6859062"/>
              <a:gd name="connsiteX3476" fmla="*/ 9296191 w 12192185"/>
              <a:gd name="connsiteY3476" fmla="*/ 5889747 h 6859062"/>
              <a:gd name="connsiteX3477" fmla="*/ 9280152 w 12192185"/>
              <a:gd name="connsiteY3477" fmla="*/ 5872784 h 6859062"/>
              <a:gd name="connsiteX3478" fmla="*/ 9115965 w 12192185"/>
              <a:gd name="connsiteY3478" fmla="*/ 5841462 h 6859062"/>
              <a:gd name="connsiteX3479" fmla="*/ 8951099 w 12192185"/>
              <a:gd name="connsiteY3479" fmla="*/ 5795416 h 6859062"/>
              <a:gd name="connsiteX3480" fmla="*/ 8830912 w 12192185"/>
              <a:gd name="connsiteY3480" fmla="*/ 5753291 h 6859062"/>
              <a:gd name="connsiteX3481" fmla="*/ 8831050 w 12192185"/>
              <a:gd name="connsiteY3481" fmla="*/ 5754713 h 6859062"/>
              <a:gd name="connsiteX3482" fmla="*/ 8779105 w 12192185"/>
              <a:gd name="connsiteY3482" fmla="*/ 5738963 h 6859062"/>
              <a:gd name="connsiteX3483" fmla="*/ 8781760 w 12192185"/>
              <a:gd name="connsiteY3483" fmla="*/ 5735740 h 6859062"/>
              <a:gd name="connsiteX3484" fmla="*/ 8797304 w 12192185"/>
              <a:gd name="connsiteY3484" fmla="*/ 5743138 h 6859062"/>
              <a:gd name="connsiteX3485" fmla="*/ 8810745 w 12192185"/>
              <a:gd name="connsiteY3485" fmla="*/ 5746222 h 6859062"/>
              <a:gd name="connsiteX3486" fmla="*/ 8791975 w 12192185"/>
              <a:gd name="connsiteY3486" fmla="*/ 5739643 h 6859062"/>
              <a:gd name="connsiteX3487" fmla="*/ 8756766 w 12192185"/>
              <a:gd name="connsiteY3487" fmla="*/ 5724464 h 6859062"/>
              <a:gd name="connsiteX3488" fmla="*/ 8751973 w 12192185"/>
              <a:gd name="connsiteY3488" fmla="*/ 5726749 h 6859062"/>
              <a:gd name="connsiteX3489" fmla="*/ 8748582 w 12192185"/>
              <a:gd name="connsiteY3489" fmla="*/ 5730043 h 6859062"/>
              <a:gd name="connsiteX3490" fmla="*/ 8742137 w 12192185"/>
              <a:gd name="connsiteY3490" fmla="*/ 5724733 h 6859062"/>
              <a:gd name="connsiteX3491" fmla="*/ 8744792 w 12192185"/>
              <a:gd name="connsiteY3491" fmla="*/ 5721510 h 6859062"/>
              <a:gd name="connsiteX3492" fmla="*/ 8741570 w 12192185"/>
              <a:gd name="connsiteY3492" fmla="*/ 5718857 h 6859062"/>
              <a:gd name="connsiteX3493" fmla="*/ 8739173 w 12192185"/>
              <a:gd name="connsiteY3493" fmla="*/ 5716880 h 6859062"/>
              <a:gd name="connsiteX3494" fmla="*/ 8638893 w 12192185"/>
              <a:gd name="connsiteY3494" fmla="*/ 5673651 h 6859062"/>
              <a:gd name="connsiteX3495" fmla="*/ 8612911 w 12192185"/>
              <a:gd name="connsiteY3495" fmla="*/ 5660070 h 6859062"/>
              <a:gd name="connsiteX3496" fmla="*/ 8596357 w 12192185"/>
              <a:gd name="connsiteY3496" fmla="*/ 5658716 h 6859062"/>
              <a:gd name="connsiteX3497" fmla="*/ 8574936 w 12192185"/>
              <a:gd name="connsiteY3497" fmla="*/ 5651885 h 6859062"/>
              <a:gd name="connsiteX3498" fmla="*/ 8552945 w 12192185"/>
              <a:gd name="connsiteY3498" fmla="*/ 5639177 h 6859062"/>
              <a:gd name="connsiteX3499" fmla="*/ 8525079 w 12192185"/>
              <a:gd name="connsiteY3499" fmla="*/ 5627035 h 6859062"/>
              <a:gd name="connsiteX3500" fmla="*/ 8487544 w 12192185"/>
              <a:gd name="connsiteY3500" fmla="*/ 5606928 h 6859062"/>
              <a:gd name="connsiteX3501" fmla="*/ 8462899 w 12192185"/>
              <a:gd name="connsiteY3501" fmla="*/ 5597442 h 6859062"/>
              <a:gd name="connsiteX3502" fmla="*/ 8459677 w 12192185"/>
              <a:gd name="connsiteY3502" fmla="*/ 5594787 h 6859062"/>
              <a:gd name="connsiteX3503" fmla="*/ 8428589 w 12192185"/>
              <a:gd name="connsiteY3503" fmla="*/ 5579992 h 6859062"/>
              <a:gd name="connsiteX3504" fmla="*/ 8400722 w 12192185"/>
              <a:gd name="connsiteY3504" fmla="*/ 5567850 h 6859062"/>
              <a:gd name="connsiteX3505" fmla="*/ 8388400 w 12192185"/>
              <a:gd name="connsiteY3505" fmla="*/ 5563106 h 6859062"/>
              <a:gd name="connsiteX3506" fmla="*/ 8385176 w 12192185"/>
              <a:gd name="connsiteY3506" fmla="*/ 5560451 h 6859062"/>
              <a:gd name="connsiteX3507" fmla="*/ 8378165 w 12192185"/>
              <a:gd name="connsiteY3507" fmla="*/ 5549263 h 6859062"/>
              <a:gd name="connsiteX3508" fmla="*/ 8374943 w 12192185"/>
              <a:gd name="connsiteY3508" fmla="*/ 5546610 h 6859062"/>
              <a:gd name="connsiteX3509" fmla="*/ 8365842 w 12192185"/>
              <a:gd name="connsiteY3509" fmla="*/ 5544521 h 6859062"/>
              <a:gd name="connsiteX3510" fmla="*/ 8363186 w 12192185"/>
              <a:gd name="connsiteY3510" fmla="*/ 5547743 h 6859062"/>
              <a:gd name="connsiteX3511" fmla="*/ 8347075 w 12192185"/>
              <a:gd name="connsiteY3511" fmla="*/ 5534467 h 6859062"/>
              <a:gd name="connsiteX3512" fmla="*/ 8341197 w 12192185"/>
              <a:gd name="connsiteY3512" fmla="*/ 5535034 h 6859062"/>
              <a:gd name="connsiteX3513" fmla="*/ 8344420 w 12192185"/>
              <a:gd name="connsiteY3513" fmla="*/ 5537689 h 6859062"/>
              <a:gd name="connsiteX3514" fmla="*/ 8363186 w 12192185"/>
              <a:gd name="connsiteY3514" fmla="*/ 5547743 h 6859062"/>
              <a:gd name="connsiteX3515" fmla="*/ 8360533 w 12192185"/>
              <a:gd name="connsiteY3515" fmla="*/ 5550964 h 6859062"/>
              <a:gd name="connsiteX3516" fmla="*/ 8354087 w 12192185"/>
              <a:gd name="connsiteY3516" fmla="*/ 5545655 h 6859062"/>
              <a:gd name="connsiteX3517" fmla="*/ 8350865 w 12192185"/>
              <a:gd name="connsiteY3517" fmla="*/ 5543000 h 6859062"/>
              <a:gd name="connsiteX3518" fmla="*/ 8338542 w 12192185"/>
              <a:gd name="connsiteY3518" fmla="*/ 5538257 h 6859062"/>
              <a:gd name="connsiteX3519" fmla="*/ 8325654 w 12192185"/>
              <a:gd name="connsiteY3519" fmla="*/ 5527636 h 6859062"/>
              <a:gd name="connsiteX3520" fmla="*/ 8331532 w 12192185"/>
              <a:gd name="connsiteY3520" fmla="*/ 5527069 h 6859062"/>
              <a:gd name="connsiteX3521" fmla="*/ 8325086 w 12192185"/>
              <a:gd name="connsiteY3521" fmla="*/ 5521758 h 6859062"/>
              <a:gd name="connsiteX3522" fmla="*/ 8318641 w 12192185"/>
              <a:gd name="connsiteY3522" fmla="*/ 5516448 h 6859062"/>
              <a:gd name="connsiteX3523" fmla="*/ 8306317 w 12192185"/>
              <a:gd name="connsiteY3523" fmla="*/ 5511705 h 6859062"/>
              <a:gd name="connsiteX3524" fmla="*/ 8299875 w 12192185"/>
              <a:gd name="connsiteY3524" fmla="*/ 5506396 h 6859062"/>
              <a:gd name="connsiteX3525" fmla="*/ 8293996 w 12192185"/>
              <a:gd name="connsiteY3525" fmla="*/ 5506962 h 6859062"/>
              <a:gd name="connsiteX3526" fmla="*/ 8281673 w 12192185"/>
              <a:gd name="connsiteY3526" fmla="*/ 5502220 h 6859062"/>
              <a:gd name="connsiteX3527" fmla="*/ 8275229 w 12192185"/>
              <a:gd name="connsiteY3527" fmla="*/ 5496909 h 6859062"/>
              <a:gd name="connsiteX3528" fmla="*/ 8274662 w 12192185"/>
              <a:gd name="connsiteY3528" fmla="*/ 5491031 h 6859062"/>
              <a:gd name="connsiteX3529" fmla="*/ 8268785 w 12192185"/>
              <a:gd name="connsiteY3529" fmla="*/ 5491599 h 6859062"/>
              <a:gd name="connsiteX3530" fmla="*/ 8264995 w 12192185"/>
              <a:gd name="connsiteY3530" fmla="*/ 5483065 h 6859062"/>
              <a:gd name="connsiteX3531" fmla="*/ 8255894 w 12192185"/>
              <a:gd name="connsiteY3531" fmla="*/ 5480978 h 6859062"/>
              <a:gd name="connsiteX3532" fmla="*/ 8256462 w 12192185"/>
              <a:gd name="connsiteY3532" fmla="*/ 5486855 h 6859062"/>
              <a:gd name="connsiteX3533" fmla="*/ 8246795 w 12192185"/>
              <a:gd name="connsiteY3533" fmla="*/ 5478889 h 6859062"/>
              <a:gd name="connsiteX3534" fmla="*/ 8243574 w 12192185"/>
              <a:gd name="connsiteY3534" fmla="*/ 5476234 h 6859062"/>
              <a:gd name="connsiteX3535" fmla="*/ 8242763 w 12192185"/>
              <a:gd name="connsiteY3535" fmla="*/ 5475848 h 6859062"/>
              <a:gd name="connsiteX3536" fmla="*/ 8123803 w 12192185"/>
              <a:gd name="connsiteY3536" fmla="*/ 5596115 h 6859062"/>
              <a:gd name="connsiteX3537" fmla="*/ 8152870 w 12192185"/>
              <a:gd name="connsiteY3537" fmla="*/ 5537327 h 6859062"/>
              <a:gd name="connsiteX3538" fmla="*/ 8194038 w 12192185"/>
              <a:gd name="connsiteY3538" fmla="*/ 5482084 h 6859062"/>
              <a:gd name="connsiteX3539" fmla="*/ 8215650 w 12192185"/>
              <a:gd name="connsiteY3539" fmla="*/ 5458636 h 6859062"/>
              <a:gd name="connsiteX3540" fmla="*/ 8215139 w 12192185"/>
              <a:gd name="connsiteY3540" fmla="*/ 5458216 h 6859062"/>
              <a:gd name="connsiteX3541" fmla="*/ 8211513 w 12192185"/>
              <a:gd name="connsiteY3541" fmla="*/ 5455228 h 6859062"/>
              <a:gd name="connsiteX3542" fmla="*/ 11636113 w 12192185"/>
              <a:gd name="connsiteY3542" fmla="*/ 5437527 h 6859062"/>
              <a:gd name="connsiteX3543" fmla="*/ 11641756 w 12192185"/>
              <a:gd name="connsiteY3543" fmla="*/ 5437554 h 6859062"/>
              <a:gd name="connsiteX3544" fmla="*/ 11648869 w 12192185"/>
              <a:gd name="connsiteY3544" fmla="*/ 5439127 h 6859062"/>
              <a:gd name="connsiteX3545" fmla="*/ 11654162 w 12192185"/>
              <a:gd name="connsiteY3545" fmla="*/ 5441651 h 6859062"/>
              <a:gd name="connsiteX3546" fmla="*/ 11663775 w 12192185"/>
              <a:gd name="connsiteY3546" fmla="*/ 5451177 h 6859062"/>
              <a:gd name="connsiteX3547" fmla="*/ 11670040 w 12192185"/>
              <a:gd name="connsiteY3547" fmla="*/ 5456830 h 6859062"/>
              <a:gd name="connsiteX3548" fmla="*/ 11671669 w 12192185"/>
              <a:gd name="connsiteY3548" fmla="*/ 5459946 h 6859062"/>
              <a:gd name="connsiteX3549" fmla="*/ 11671805 w 12192185"/>
              <a:gd name="connsiteY3549" fmla="*/ 5467811 h 6859062"/>
              <a:gd name="connsiteX3550" fmla="*/ 11669671 w 12192185"/>
              <a:gd name="connsiteY3550" fmla="*/ 5480830 h 6859062"/>
              <a:gd name="connsiteX3551" fmla="*/ 11669752 w 12192185"/>
              <a:gd name="connsiteY3551" fmla="*/ 5485417 h 6859062"/>
              <a:gd name="connsiteX3552" fmla="*/ 11667309 w 12192185"/>
              <a:gd name="connsiteY3552" fmla="*/ 5488347 h 6859062"/>
              <a:gd name="connsiteX3553" fmla="*/ 11662278 w 12192185"/>
              <a:gd name="connsiteY3553" fmla="*/ 5493290 h 6859062"/>
              <a:gd name="connsiteX3554" fmla="*/ 11660742 w 12192185"/>
              <a:gd name="connsiteY3554" fmla="*/ 5495417 h 6859062"/>
              <a:gd name="connsiteX3555" fmla="*/ 11652963 w 12192185"/>
              <a:gd name="connsiteY3555" fmla="*/ 5500805 h 6859062"/>
              <a:gd name="connsiteX3556" fmla="*/ 11651413 w 12192185"/>
              <a:gd name="connsiteY3556" fmla="*/ 5502276 h 6859062"/>
              <a:gd name="connsiteX3557" fmla="*/ 11626843 w 12192185"/>
              <a:gd name="connsiteY3557" fmla="*/ 5500239 h 6859062"/>
              <a:gd name="connsiteX3558" fmla="*/ 11615556 w 12192185"/>
              <a:gd name="connsiteY3558" fmla="*/ 5492580 h 6859062"/>
              <a:gd name="connsiteX3559" fmla="*/ 11611428 w 12192185"/>
              <a:gd name="connsiteY3559" fmla="*/ 5489116 h 6859062"/>
              <a:gd name="connsiteX3560" fmla="*/ 11608861 w 12192185"/>
              <a:gd name="connsiteY3560" fmla="*/ 5484837 h 6859062"/>
              <a:gd name="connsiteX3561" fmla="*/ 11607876 w 12192185"/>
              <a:gd name="connsiteY3561" fmla="*/ 5481053 h 6859062"/>
              <a:gd name="connsiteX3562" fmla="*/ 11605511 w 12192185"/>
              <a:gd name="connsiteY3562" fmla="*/ 5473361 h 6859062"/>
              <a:gd name="connsiteX3563" fmla="*/ 11604414 w 12192185"/>
              <a:gd name="connsiteY3563" fmla="*/ 5470628 h 6859062"/>
              <a:gd name="connsiteX3564" fmla="*/ 11601937 w 12192185"/>
              <a:gd name="connsiteY3564" fmla="*/ 5463986 h 6859062"/>
              <a:gd name="connsiteX3565" fmla="*/ 11609644 w 12192185"/>
              <a:gd name="connsiteY3565" fmla="*/ 5447062 h 6859062"/>
              <a:gd name="connsiteX3566" fmla="*/ 11617830 w 12192185"/>
              <a:gd name="connsiteY3566" fmla="*/ 5442453 h 6859062"/>
              <a:gd name="connsiteX3567" fmla="*/ 11636113 w 12192185"/>
              <a:gd name="connsiteY3567" fmla="*/ 5437527 h 6859062"/>
              <a:gd name="connsiteX3568" fmla="*/ 1633673 w 12192185"/>
              <a:gd name="connsiteY3568" fmla="*/ 5427074 h 6859062"/>
              <a:gd name="connsiteX3569" fmla="*/ 1634824 w 12192185"/>
              <a:gd name="connsiteY3569" fmla="*/ 5429070 h 6859062"/>
              <a:gd name="connsiteX3570" fmla="*/ 1648853 w 12192185"/>
              <a:gd name="connsiteY3570" fmla="*/ 5446940 h 6859062"/>
              <a:gd name="connsiteX3571" fmla="*/ 1650072 w 12192185"/>
              <a:gd name="connsiteY3571" fmla="*/ 5447267 h 6859062"/>
              <a:gd name="connsiteX3572" fmla="*/ 1591827 w 12192185"/>
              <a:gd name="connsiteY3572" fmla="*/ 5375552 h 6859062"/>
              <a:gd name="connsiteX3573" fmla="*/ 1591395 w 12192185"/>
              <a:gd name="connsiteY3573" fmla="*/ 5375834 h 6859062"/>
              <a:gd name="connsiteX3574" fmla="*/ 1594782 w 12192185"/>
              <a:gd name="connsiteY3574" fmla="*/ 5385413 h 6859062"/>
              <a:gd name="connsiteX3575" fmla="*/ 1588422 w 12192185"/>
              <a:gd name="connsiteY3575" fmla="*/ 5378418 h 6859062"/>
              <a:gd name="connsiteX3576" fmla="*/ 1586067 w 12192185"/>
              <a:gd name="connsiteY3576" fmla="*/ 5382938 h 6859062"/>
              <a:gd name="connsiteX3577" fmla="*/ 1586257 w 12192185"/>
              <a:gd name="connsiteY3577" fmla="*/ 5383215 h 6859062"/>
              <a:gd name="connsiteX3578" fmla="*/ 1609242 w 12192185"/>
              <a:gd name="connsiteY3578" fmla="*/ 5396996 h 6859062"/>
              <a:gd name="connsiteX3579" fmla="*/ 1596906 w 12192185"/>
              <a:gd name="connsiteY3579" fmla="*/ 5381805 h 6859062"/>
              <a:gd name="connsiteX3580" fmla="*/ 1595956 w 12192185"/>
              <a:gd name="connsiteY3580" fmla="*/ 5381024 h 6859062"/>
              <a:gd name="connsiteX3581" fmla="*/ 1594606 w 12192185"/>
              <a:gd name="connsiteY3581" fmla="*/ 5378975 h 6859062"/>
              <a:gd name="connsiteX3582" fmla="*/ 59700 w 12192185"/>
              <a:gd name="connsiteY3582" fmla="*/ 5360465 h 6859062"/>
              <a:gd name="connsiteX3583" fmla="*/ 70622 w 12192185"/>
              <a:gd name="connsiteY3583" fmla="*/ 5365302 h 6859062"/>
              <a:gd name="connsiteX3584" fmla="*/ 87249 w 12192185"/>
              <a:gd name="connsiteY3584" fmla="*/ 5380588 h 6859062"/>
              <a:gd name="connsiteX3585" fmla="*/ 93441 w 12192185"/>
              <a:gd name="connsiteY3585" fmla="*/ 5407092 h 6859062"/>
              <a:gd name="connsiteX3586" fmla="*/ 88390 w 12192185"/>
              <a:gd name="connsiteY3586" fmla="*/ 5417164 h 6859062"/>
              <a:gd name="connsiteX3587" fmla="*/ 86341 w 12192185"/>
              <a:gd name="connsiteY3587" fmla="*/ 5436742 h 6859062"/>
              <a:gd name="connsiteX3588" fmla="*/ 86875 w 12192185"/>
              <a:gd name="connsiteY3588" fmla="*/ 5444776 h 6859062"/>
              <a:gd name="connsiteX3589" fmla="*/ 80225 w 12192185"/>
              <a:gd name="connsiteY3589" fmla="*/ 5470334 h 6859062"/>
              <a:gd name="connsiteX3590" fmla="*/ 64707 w 12192185"/>
              <a:gd name="connsiteY3590" fmla="*/ 5477181 h 6859062"/>
              <a:gd name="connsiteX3591" fmla="*/ 47913 w 12192185"/>
              <a:gd name="connsiteY3591" fmla="*/ 5477229 h 6859062"/>
              <a:gd name="connsiteX3592" fmla="*/ 36557 w 12192185"/>
              <a:gd name="connsiteY3592" fmla="*/ 5473810 h 6859062"/>
              <a:gd name="connsiteX3593" fmla="*/ 24133 w 12192185"/>
              <a:gd name="connsiteY3593" fmla="*/ 5454323 h 6859062"/>
              <a:gd name="connsiteX3594" fmla="*/ 28504 w 12192185"/>
              <a:gd name="connsiteY3594" fmla="*/ 5434788 h 6859062"/>
              <a:gd name="connsiteX3595" fmla="*/ 27143 w 12192185"/>
              <a:gd name="connsiteY3595" fmla="*/ 5415861 h 6859062"/>
              <a:gd name="connsiteX3596" fmla="*/ 23807 w 12192185"/>
              <a:gd name="connsiteY3596" fmla="*/ 5397432 h 6859062"/>
              <a:gd name="connsiteX3597" fmla="*/ 25752 w 12192185"/>
              <a:gd name="connsiteY3597" fmla="*/ 5382488 h 6859062"/>
              <a:gd name="connsiteX3598" fmla="*/ 33917 w 12192185"/>
              <a:gd name="connsiteY3598" fmla="*/ 5368908 h 6859062"/>
              <a:gd name="connsiteX3599" fmla="*/ 44793 w 12192185"/>
              <a:gd name="connsiteY3599" fmla="*/ 5361974 h 6859062"/>
              <a:gd name="connsiteX3600" fmla="*/ 47805 w 12192185"/>
              <a:gd name="connsiteY3600" fmla="*/ 5363100 h 6859062"/>
              <a:gd name="connsiteX3601" fmla="*/ 59700 w 12192185"/>
              <a:gd name="connsiteY3601" fmla="*/ 5360465 h 6859062"/>
              <a:gd name="connsiteX3602" fmla="*/ 8041692 w 12192185"/>
              <a:gd name="connsiteY3602" fmla="*/ 5348396 h 6859062"/>
              <a:gd name="connsiteX3603" fmla="*/ 7998314 w 12192185"/>
              <a:gd name="connsiteY3603" fmla="*/ 5387913 h 6859062"/>
              <a:gd name="connsiteX3604" fmla="*/ 7965104 w 12192185"/>
              <a:gd name="connsiteY3604" fmla="*/ 5433632 h 6859062"/>
              <a:gd name="connsiteX3605" fmla="*/ 8047196 w 12192185"/>
              <a:gd name="connsiteY3605" fmla="*/ 5352809 h 6859062"/>
              <a:gd name="connsiteX3606" fmla="*/ 1555181 w 12192185"/>
              <a:gd name="connsiteY3606" fmla="*/ 5315328 h 6859062"/>
              <a:gd name="connsiteX3607" fmla="*/ 1555051 w 12192185"/>
              <a:gd name="connsiteY3607" fmla="*/ 5323024 h 6859062"/>
              <a:gd name="connsiteX3608" fmla="*/ 1570379 w 12192185"/>
              <a:gd name="connsiteY3608" fmla="*/ 5342347 h 6859062"/>
              <a:gd name="connsiteX3609" fmla="*/ 1570362 w 12192185"/>
              <a:gd name="connsiteY3609" fmla="*/ 5341545 h 6859062"/>
              <a:gd name="connsiteX3610" fmla="*/ 8078670 w 12192185"/>
              <a:gd name="connsiteY3610" fmla="*/ 5314125 h 6859062"/>
              <a:gd name="connsiteX3611" fmla="*/ 8075219 w 12192185"/>
              <a:gd name="connsiteY3611" fmla="*/ 5317854 h 6859062"/>
              <a:gd name="connsiteX3612" fmla="*/ 8043174 w 12192185"/>
              <a:gd name="connsiteY3612" fmla="*/ 5347046 h 6859062"/>
              <a:gd name="connsiteX3613" fmla="*/ 8044532 w 12192185"/>
              <a:gd name="connsiteY3613" fmla="*/ 5350103 h 6859062"/>
              <a:gd name="connsiteX3614" fmla="*/ 8048870 w 12192185"/>
              <a:gd name="connsiteY3614" fmla="*/ 5348944 h 6859062"/>
              <a:gd name="connsiteX3615" fmla="*/ 8050200 w 12192185"/>
              <a:gd name="connsiteY3615" fmla="*/ 5349851 h 6859062"/>
              <a:gd name="connsiteX3616" fmla="*/ 8067707 w 12192185"/>
              <a:gd name="connsiteY3616" fmla="*/ 5332616 h 6859062"/>
              <a:gd name="connsiteX3617" fmla="*/ 8069239 w 12192185"/>
              <a:gd name="connsiteY3617" fmla="*/ 5329120 h 6859062"/>
              <a:gd name="connsiteX3618" fmla="*/ 8079534 w 12192185"/>
              <a:gd name="connsiteY3618" fmla="*/ 5315147 h 6859062"/>
              <a:gd name="connsiteX3619" fmla="*/ 723119 w 12192185"/>
              <a:gd name="connsiteY3619" fmla="*/ 5305066 h 6859062"/>
              <a:gd name="connsiteX3620" fmla="*/ 721754 w 12192185"/>
              <a:gd name="connsiteY3620" fmla="*/ 5306274 h 6859062"/>
              <a:gd name="connsiteX3621" fmla="*/ 715701 w 12192185"/>
              <a:gd name="connsiteY3621" fmla="*/ 5309115 h 6859062"/>
              <a:gd name="connsiteX3622" fmla="*/ 715689 w 12192185"/>
              <a:gd name="connsiteY3622" fmla="*/ 5309117 h 6859062"/>
              <a:gd name="connsiteX3623" fmla="*/ 716662 w 12192185"/>
              <a:gd name="connsiteY3623" fmla="*/ 5310760 h 6859062"/>
              <a:gd name="connsiteX3624" fmla="*/ 723456 w 12192185"/>
              <a:gd name="connsiteY3624" fmla="*/ 5309286 h 6859062"/>
              <a:gd name="connsiteX3625" fmla="*/ 520826 w 12192185"/>
              <a:gd name="connsiteY3625" fmla="*/ 5305029 h 6859062"/>
              <a:gd name="connsiteX3626" fmla="*/ 526906 w 12192185"/>
              <a:gd name="connsiteY3626" fmla="*/ 5308666 h 6859062"/>
              <a:gd name="connsiteX3627" fmla="*/ 545980 w 12192185"/>
              <a:gd name="connsiteY3627" fmla="*/ 5315827 h 6859062"/>
              <a:gd name="connsiteX3628" fmla="*/ 556403 w 12192185"/>
              <a:gd name="connsiteY3628" fmla="*/ 5322062 h 6859062"/>
              <a:gd name="connsiteX3629" fmla="*/ 559322 w 12192185"/>
              <a:gd name="connsiteY3629" fmla="*/ 5326641 h 6859062"/>
              <a:gd name="connsiteX3630" fmla="*/ 562069 w 12192185"/>
              <a:gd name="connsiteY3630" fmla="*/ 5339378 h 6859062"/>
              <a:gd name="connsiteX3631" fmla="*/ 567423 w 12192185"/>
              <a:gd name="connsiteY3631" fmla="*/ 5359579 h 6859062"/>
              <a:gd name="connsiteX3632" fmla="*/ 566732 w 12192185"/>
              <a:gd name="connsiteY3632" fmla="*/ 5368607 h 6859062"/>
              <a:gd name="connsiteX3633" fmla="*/ 563364 w 12192185"/>
              <a:gd name="connsiteY3633" fmla="*/ 5379340 h 6859062"/>
              <a:gd name="connsiteX3634" fmla="*/ 559058 w 12192185"/>
              <a:gd name="connsiteY3634" fmla="*/ 5386915 h 6859062"/>
              <a:gd name="connsiteX3635" fmla="*/ 538393 w 12192185"/>
              <a:gd name="connsiteY3635" fmla="*/ 5407603 h 6859062"/>
              <a:gd name="connsiteX3636" fmla="*/ 525924 w 12192185"/>
              <a:gd name="connsiteY3636" fmla="*/ 5415016 h 6859062"/>
              <a:gd name="connsiteX3637" fmla="*/ 497334 w 12192185"/>
              <a:gd name="connsiteY3637" fmla="*/ 5412313 h 6859062"/>
              <a:gd name="connsiteX3638" fmla="*/ 490349 w 12192185"/>
              <a:gd name="connsiteY3638" fmla="*/ 5403885 h 6859062"/>
              <a:gd name="connsiteX3639" fmla="*/ 487534 w 12192185"/>
              <a:gd name="connsiteY3639" fmla="*/ 5400313 h 6859062"/>
              <a:gd name="connsiteX3640" fmla="*/ 479055 w 12192185"/>
              <a:gd name="connsiteY3640" fmla="*/ 5391228 h 6859062"/>
              <a:gd name="connsiteX3641" fmla="*/ 474747 w 12192185"/>
              <a:gd name="connsiteY3641" fmla="*/ 5386999 h 6859062"/>
              <a:gd name="connsiteX3642" fmla="*/ 470994 w 12192185"/>
              <a:gd name="connsiteY3642" fmla="*/ 5380269 h 6859062"/>
              <a:gd name="connsiteX3643" fmla="*/ 469533 w 12192185"/>
              <a:gd name="connsiteY3643" fmla="*/ 5372077 h 6859062"/>
              <a:gd name="connsiteX3644" fmla="*/ 467964 w 12192185"/>
              <a:gd name="connsiteY3644" fmla="*/ 5351073 h 6859062"/>
              <a:gd name="connsiteX3645" fmla="*/ 484144 w 12192185"/>
              <a:gd name="connsiteY3645" fmla="*/ 5316608 h 6859062"/>
              <a:gd name="connsiteX3646" fmla="*/ 487305 w 12192185"/>
              <a:gd name="connsiteY3646" fmla="*/ 5315667 h 6859062"/>
              <a:gd name="connsiteX3647" fmla="*/ 500504 w 12192185"/>
              <a:gd name="connsiteY3647" fmla="*/ 5309398 h 6859062"/>
              <a:gd name="connsiteX3648" fmla="*/ 504533 w 12192185"/>
              <a:gd name="connsiteY3648" fmla="*/ 5308975 h 6859062"/>
              <a:gd name="connsiteX3649" fmla="*/ 515024 w 12192185"/>
              <a:gd name="connsiteY3649" fmla="*/ 5306044 h 6859062"/>
              <a:gd name="connsiteX3650" fmla="*/ 520826 w 12192185"/>
              <a:gd name="connsiteY3650" fmla="*/ 5305029 h 6859062"/>
              <a:gd name="connsiteX3651" fmla="*/ 329966 w 12192185"/>
              <a:gd name="connsiteY3651" fmla="*/ 5296981 h 6859062"/>
              <a:gd name="connsiteX3652" fmla="*/ 333500 w 12192185"/>
              <a:gd name="connsiteY3652" fmla="*/ 5297273 h 6859062"/>
              <a:gd name="connsiteX3653" fmla="*/ 349364 w 12192185"/>
              <a:gd name="connsiteY3653" fmla="*/ 5304192 h 6859062"/>
              <a:gd name="connsiteX3654" fmla="*/ 353774 w 12192185"/>
              <a:gd name="connsiteY3654" fmla="*/ 5311740 h 6859062"/>
              <a:gd name="connsiteX3655" fmla="*/ 358632 w 12192185"/>
              <a:gd name="connsiteY3655" fmla="*/ 5328677 h 6859062"/>
              <a:gd name="connsiteX3656" fmla="*/ 358691 w 12192185"/>
              <a:gd name="connsiteY3656" fmla="*/ 5333928 h 6859062"/>
              <a:gd name="connsiteX3657" fmla="*/ 357335 w 12192185"/>
              <a:gd name="connsiteY3657" fmla="*/ 5340570 h 6859062"/>
              <a:gd name="connsiteX3658" fmla="*/ 355065 w 12192185"/>
              <a:gd name="connsiteY3658" fmla="*/ 5345532 h 6859062"/>
              <a:gd name="connsiteX3659" fmla="*/ 346346 w 12192185"/>
              <a:gd name="connsiteY3659" fmla="*/ 5354619 h 6859062"/>
              <a:gd name="connsiteX3660" fmla="*/ 341181 w 12192185"/>
              <a:gd name="connsiteY3660" fmla="*/ 5360533 h 6859062"/>
              <a:gd name="connsiteX3661" fmla="*/ 338305 w 12192185"/>
              <a:gd name="connsiteY3661" fmla="*/ 5362096 h 6859062"/>
              <a:gd name="connsiteX3662" fmla="*/ 330991 w 12192185"/>
              <a:gd name="connsiteY3662" fmla="*/ 5362341 h 6859062"/>
              <a:gd name="connsiteX3663" fmla="*/ 318844 w 12192185"/>
              <a:gd name="connsiteY3663" fmla="*/ 5360551 h 6859062"/>
              <a:gd name="connsiteX3664" fmla="*/ 314577 w 12192185"/>
              <a:gd name="connsiteY3664" fmla="*/ 5360695 h 6859062"/>
              <a:gd name="connsiteX3665" fmla="*/ 311814 w 12192185"/>
              <a:gd name="connsiteY3665" fmla="*/ 5358466 h 6859062"/>
              <a:gd name="connsiteX3666" fmla="*/ 307139 w 12192185"/>
              <a:gd name="connsiteY3666" fmla="*/ 5353860 h 6859062"/>
              <a:gd name="connsiteX3667" fmla="*/ 305137 w 12192185"/>
              <a:gd name="connsiteY3667" fmla="*/ 5352460 h 6859062"/>
              <a:gd name="connsiteX3668" fmla="*/ 300008 w 12192185"/>
              <a:gd name="connsiteY3668" fmla="*/ 5345304 h 6859062"/>
              <a:gd name="connsiteX3669" fmla="*/ 298616 w 12192185"/>
              <a:gd name="connsiteY3669" fmla="*/ 5343885 h 6859062"/>
              <a:gd name="connsiteX3670" fmla="*/ 300143 w 12192185"/>
              <a:gd name="connsiteY3670" fmla="*/ 5320991 h 6859062"/>
              <a:gd name="connsiteX3671" fmla="*/ 307100 w 12192185"/>
              <a:gd name="connsiteY3671" fmla="*/ 5310375 h 6859062"/>
              <a:gd name="connsiteX3672" fmla="*/ 310261 w 12192185"/>
              <a:gd name="connsiteY3672" fmla="*/ 5306482 h 6859062"/>
              <a:gd name="connsiteX3673" fmla="*/ 314204 w 12192185"/>
              <a:gd name="connsiteY3673" fmla="*/ 5304029 h 6859062"/>
              <a:gd name="connsiteX3674" fmla="*/ 317710 w 12192185"/>
              <a:gd name="connsiteY3674" fmla="*/ 5303056 h 6859062"/>
              <a:gd name="connsiteX3675" fmla="*/ 324832 w 12192185"/>
              <a:gd name="connsiteY3675" fmla="*/ 5300740 h 6859062"/>
              <a:gd name="connsiteX3676" fmla="*/ 327358 w 12192185"/>
              <a:gd name="connsiteY3676" fmla="*/ 5299679 h 6859062"/>
              <a:gd name="connsiteX3677" fmla="*/ 329966 w 12192185"/>
              <a:gd name="connsiteY3677" fmla="*/ 5296981 h 6859062"/>
              <a:gd name="connsiteX3678" fmla="*/ 1544355 w 12192185"/>
              <a:gd name="connsiteY3678" fmla="*/ 5296633 h 6859062"/>
              <a:gd name="connsiteX3679" fmla="*/ 1542201 w 12192185"/>
              <a:gd name="connsiteY3679" fmla="*/ 5300767 h 6859062"/>
              <a:gd name="connsiteX3680" fmla="*/ 1552876 w 12192185"/>
              <a:gd name="connsiteY3680" fmla="*/ 5311349 h 6859062"/>
              <a:gd name="connsiteX3681" fmla="*/ 11965802 w 12192185"/>
              <a:gd name="connsiteY3681" fmla="*/ 5295377 h 6859062"/>
              <a:gd name="connsiteX3682" fmla="*/ 11965775 w 12192185"/>
              <a:gd name="connsiteY3682" fmla="*/ 5295870 h 6859062"/>
              <a:gd name="connsiteX3683" fmla="*/ 11965376 w 12192185"/>
              <a:gd name="connsiteY3683" fmla="*/ 5295747 h 6859062"/>
              <a:gd name="connsiteX3684" fmla="*/ 11856017 w 12192185"/>
              <a:gd name="connsiteY3684" fmla="*/ 5260615 h 6859062"/>
              <a:gd name="connsiteX3685" fmla="*/ 11878115 w 12192185"/>
              <a:gd name="connsiteY3685" fmla="*/ 5266662 h 6859062"/>
              <a:gd name="connsiteX3686" fmla="*/ 11883929 w 12192185"/>
              <a:gd name="connsiteY3686" fmla="*/ 5270537 h 6859062"/>
              <a:gd name="connsiteX3687" fmla="*/ 11899540 w 12192185"/>
              <a:gd name="connsiteY3687" fmla="*/ 5277460 h 6859062"/>
              <a:gd name="connsiteX3688" fmla="*/ 11909299 w 12192185"/>
              <a:gd name="connsiteY3688" fmla="*/ 5278015 h 6859062"/>
              <a:gd name="connsiteX3689" fmla="*/ 11926561 w 12192185"/>
              <a:gd name="connsiteY3689" fmla="*/ 5294131 h 6859062"/>
              <a:gd name="connsiteX3690" fmla="*/ 11930870 w 12192185"/>
              <a:gd name="connsiteY3690" fmla="*/ 5313247 h 6859062"/>
              <a:gd name="connsiteX3691" fmla="*/ 11922662 w 12192185"/>
              <a:gd name="connsiteY3691" fmla="*/ 5331361 h 6859062"/>
              <a:gd name="connsiteX3692" fmla="*/ 11922206 w 12192185"/>
              <a:gd name="connsiteY3692" fmla="*/ 5334114 h 6859062"/>
              <a:gd name="connsiteX3693" fmla="*/ 11912290 w 12192185"/>
              <a:gd name="connsiteY3693" fmla="*/ 5339297 h 6859062"/>
              <a:gd name="connsiteX3694" fmla="*/ 11898543 w 12192185"/>
              <a:gd name="connsiteY3694" fmla="*/ 5339568 h 6859062"/>
              <a:gd name="connsiteX3695" fmla="*/ 11886463 w 12192185"/>
              <a:gd name="connsiteY3695" fmla="*/ 5334570 h 6859062"/>
              <a:gd name="connsiteX3696" fmla="*/ 11874042 w 12192185"/>
              <a:gd name="connsiteY3696" fmla="*/ 5324093 h 6859062"/>
              <a:gd name="connsiteX3697" fmla="*/ 11860394 w 12192185"/>
              <a:gd name="connsiteY3697" fmla="*/ 5314887 h 6859062"/>
              <a:gd name="connsiteX3698" fmla="*/ 11843809 w 12192185"/>
              <a:gd name="connsiteY3698" fmla="*/ 5309729 h 6859062"/>
              <a:gd name="connsiteX3699" fmla="*/ 11834523 w 12192185"/>
              <a:gd name="connsiteY3699" fmla="*/ 5291959 h 6859062"/>
              <a:gd name="connsiteX3700" fmla="*/ 11836860 w 12192185"/>
              <a:gd name="connsiteY3700" fmla="*/ 5281939 h 6859062"/>
              <a:gd name="connsiteX3701" fmla="*/ 11844157 w 12192185"/>
              <a:gd name="connsiteY3701" fmla="*/ 5269328 h 6859062"/>
              <a:gd name="connsiteX3702" fmla="*/ 11856017 w 12192185"/>
              <a:gd name="connsiteY3702" fmla="*/ 5260615 h 6859062"/>
              <a:gd name="connsiteX3703" fmla="*/ 11408705 w 12192185"/>
              <a:gd name="connsiteY3703" fmla="*/ 5226425 h 6859062"/>
              <a:gd name="connsiteX3704" fmla="*/ 11322103 w 12192185"/>
              <a:gd name="connsiteY3704" fmla="*/ 5317014 h 6859062"/>
              <a:gd name="connsiteX3705" fmla="*/ 11116824 w 12192185"/>
              <a:gd name="connsiteY3705" fmla="*/ 5479141 h 6859062"/>
              <a:gd name="connsiteX3706" fmla="*/ 11043288 w 12192185"/>
              <a:gd name="connsiteY3706" fmla="*/ 5530086 h 6859062"/>
              <a:gd name="connsiteX3707" fmla="*/ 11033710 w 12192185"/>
              <a:gd name="connsiteY3707" fmla="*/ 5538790 h 6859062"/>
              <a:gd name="connsiteX3708" fmla="*/ 10909239 w 12192185"/>
              <a:gd name="connsiteY3708" fmla="*/ 5634797 h 6859062"/>
              <a:gd name="connsiteX3709" fmla="*/ 10909089 w 12192185"/>
              <a:gd name="connsiteY3709" fmla="*/ 5647853 h 6859062"/>
              <a:gd name="connsiteX3710" fmla="*/ 10892537 w 12192185"/>
              <a:gd name="connsiteY3710" fmla="*/ 5676439 h 6859062"/>
              <a:gd name="connsiteX3711" fmla="*/ 10889735 w 12192185"/>
              <a:gd name="connsiteY3711" fmla="*/ 5677018 h 6859062"/>
              <a:gd name="connsiteX3712" fmla="*/ 10877858 w 12192185"/>
              <a:gd name="connsiteY3712" fmla="*/ 5681452 h 6859062"/>
              <a:gd name="connsiteX3713" fmla="*/ 10874344 w 12192185"/>
              <a:gd name="connsiteY3713" fmla="*/ 5681517 h 6859062"/>
              <a:gd name="connsiteX3714" fmla="*/ 10865057 w 12192185"/>
              <a:gd name="connsiteY3714" fmla="*/ 5683270 h 6859062"/>
              <a:gd name="connsiteX3715" fmla="*/ 10859967 w 12192185"/>
              <a:gd name="connsiteY3715" fmla="*/ 5683716 h 6859062"/>
              <a:gd name="connsiteX3716" fmla="*/ 10854983 w 12192185"/>
              <a:gd name="connsiteY3716" fmla="*/ 5680119 h 6859062"/>
              <a:gd name="connsiteX3717" fmla="*/ 10846009 w 12192185"/>
              <a:gd name="connsiteY3717" fmla="*/ 5679619 h 6859062"/>
              <a:gd name="connsiteX3718" fmla="*/ 10716076 w 12192185"/>
              <a:gd name="connsiteY3718" fmla="*/ 5764239 h 6859062"/>
              <a:gd name="connsiteX3719" fmla="*/ 10370122 w 12192185"/>
              <a:gd name="connsiteY3719" fmla="*/ 5935415 h 6859062"/>
              <a:gd name="connsiteX3720" fmla="*/ 10378087 w 12192185"/>
              <a:gd name="connsiteY3720" fmla="*/ 5925747 h 6859062"/>
              <a:gd name="connsiteX3721" fmla="*/ 10309825 w 12192185"/>
              <a:gd name="connsiteY3721" fmla="*/ 5956065 h 6859062"/>
              <a:gd name="connsiteX3722" fmla="*/ 10223931 w 12192185"/>
              <a:gd name="connsiteY3722" fmla="*/ 5988084 h 6859062"/>
              <a:gd name="connsiteX3723" fmla="*/ 10172167 w 12192185"/>
              <a:gd name="connsiteY3723" fmla="*/ 6004945 h 6859062"/>
              <a:gd name="connsiteX3724" fmla="*/ 10168946 w 12192185"/>
              <a:gd name="connsiteY3724" fmla="*/ 6002289 h 6859062"/>
              <a:gd name="connsiteX3725" fmla="*/ 10166290 w 12192185"/>
              <a:gd name="connsiteY3725" fmla="*/ 6005512 h 6859062"/>
              <a:gd name="connsiteX3726" fmla="*/ 10160412 w 12192185"/>
              <a:gd name="connsiteY3726" fmla="*/ 6006079 h 6859062"/>
              <a:gd name="connsiteX3727" fmla="*/ 10151879 w 12192185"/>
              <a:gd name="connsiteY3727" fmla="*/ 6009868 h 6859062"/>
              <a:gd name="connsiteX3728" fmla="*/ 10128937 w 12192185"/>
              <a:gd name="connsiteY3728" fmla="*/ 6018016 h 6859062"/>
              <a:gd name="connsiteX3729" fmla="*/ 10051007 w 12192185"/>
              <a:gd name="connsiteY3729" fmla="*/ 6040367 h 6859062"/>
              <a:gd name="connsiteX3730" fmla="*/ 10018964 w 12192185"/>
              <a:gd name="connsiteY3730" fmla="*/ 6046426 h 6859062"/>
              <a:gd name="connsiteX3731" fmla="*/ 9946346 w 12192185"/>
              <a:gd name="connsiteY3731" fmla="*/ 6062333 h 6859062"/>
              <a:gd name="connsiteX3732" fmla="*/ 9949001 w 12192185"/>
              <a:gd name="connsiteY3732" fmla="*/ 6059110 h 6859062"/>
              <a:gd name="connsiteX3733" fmla="*/ 9934591 w 12192185"/>
              <a:gd name="connsiteY3733" fmla="*/ 6063467 h 6859062"/>
              <a:gd name="connsiteX3734" fmla="*/ 9219091 w 12192185"/>
              <a:gd name="connsiteY3734" fmla="*/ 6100821 h 6859062"/>
              <a:gd name="connsiteX3735" fmla="*/ 9065454 w 12192185"/>
              <a:gd name="connsiteY3735" fmla="*/ 6078870 h 6859062"/>
              <a:gd name="connsiteX3736" fmla="*/ 9067656 w 12192185"/>
              <a:gd name="connsiteY3736" fmla="*/ 6081402 h 6859062"/>
              <a:gd name="connsiteX3737" fmla="*/ 9217986 w 12192185"/>
              <a:gd name="connsiteY3737" fmla="*/ 6106675 h 6859062"/>
              <a:gd name="connsiteX3738" fmla="*/ 9462867 w 12192185"/>
              <a:gd name="connsiteY3738" fmla="*/ 6123826 h 6859062"/>
              <a:gd name="connsiteX3739" fmla="*/ 9454334 w 12192185"/>
              <a:gd name="connsiteY3739" fmla="*/ 6127616 h 6859062"/>
              <a:gd name="connsiteX3740" fmla="*/ 9528654 w 12192185"/>
              <a:gd name="connsiteY3740" fmla="*/ 6129341 h 6859062"/>
              <a:gd name="connsiteX3741" fmla="*/ 9569796 w 12192185"/>
              <a:gd name="connsiteY3741" fmla="*/ 6125371 h 6859062"/>
              <a:gd name="connsiteX3742" fmla="*/ 9696447 w 12192185"/>
              <a:gd name="connsiteY3742" fmla="*/ 6116114 h 6859062"/>
              <a:gd name="connsiteX3743" fmla="*/ 9743467 w 12192185"/>
              <a:gd name="connsiteY3743" fmla="*/ 6111574 h 6859062"/>
              <a:gd name="connsiteX3744" fmla="*/ 10157371 w 12192185"/>
              <a:gd name="connsiteY3744" fmla="*/ 6036034 h 6859062"/>
              <a:gd name="connsiteX3745" fmla="*/ 10045879 w 12192185"/>
              <a:gd name="connsiteY3745" fmla="*/ 6079422 h 6859062"/>
              <a:gd name="connsiteX3746" fmla="*/ 10019145 w 12192185"/>
              <a:gd name="connsiteY3746" fmla="*/ 6079036 h 6859062"/>
              <a:gd name="connsiteX3747" fmla="*/ 9983981 w 12192185"/>
              <a:gd name="connsiteY3747" fmla="*/ 6088801 h 6859062"/>
              <a:gd name="connsiteX3748" fmla="*/ 9994550 w 12192185"/>
              <a:gd name="connsiteY3748" fmla="*/ 6093686 h 6859062"/>
              <a:gd name="connsiteX3749" fmla="*/ 10005687 w 12192185"/>
              <a:gd name="connsiteY3749" fmla="*/ 6106256 h 6859062"/>
              <a:gd name="connsiteX3750" fmla="*/ 10005906 w 12192185"/>
              <a:gd name="connsiteY3750" fmla="*/ 6106734 h 6859062"/>
              <a:gd name="connsiteX3751" fmla="*/ 10029090 w 12192185"/>
              <a:gd name="connsiteY3751" fmla="*/ 6099488 h 6859062"/>
              <a:gd name="connsiteX3752" fmla="*/ 10047012 w 12192185"/>
              <a:gd name="connsiteY3752" fmla="*/ 6091177 h 6859062"/>
              <a:gd name="connsiteX3753" fmla="*/ 10073745 w 12192185"/>
              <a:gd name="connsiteY3753" fmla="*/ 6091563 h 6859062"/>
              <a:gd name="connsiteX3754" fmla="*/ 10147884 w 12192185"/>
              <a:gd name="connsiteY3754" fmla="*/ 6060680 h 6859062"/>
              <a:gd name="connsiteX3755" fmla="*/ 10229035 w 12192185"/>
              <a:gd name="connsiteY3755" fmla="*/ 6040983 h 6859062"/>
              <a:gd name="connsiteX3756" fmla="*/ 10245534 w 12192185"/>
              <a:gd name="connsiteY3756" fmla="*/ 6027527 h 6859062"/>
              <a:gd name="connsiteX3757" fmla="*/ 10283454 w 12192185"/>
              <a:gd name="connsiteY3757" fmla="*/ 6020900 h 6859062"/>
              <a:gd name="connsiteX3758" fmla="*/ 10326686 w 12192185"/>
              <a:gd name="connsiteY3758" fmla="*/ 6007829 h 6859062"/>
              <a:gd name="connsiteX3759" fmla="*/ 10364993 w 12192185"/>
              <a:gd name="connsiteY3759" fmla="*/ 5974470 h 6859062"/>
              <a:gd name="connsiteX3760" fmla="*/ 10347361 w 12192185"/>
              <a:gd name="connsiteY3760" fmla="*/ 5976172 h 6859062"/>
              <a:gd name="connsiteX3761" fmla="*/ 11408147 w 12192185"/>
              <a:gd name="connsiteY3761" fmla="*/ 5227171 h 6859062"/>
              <a:gd name="connsiteX3762" fmla="*/ 588988 w 12192185"/>
              <a:gd name="connsiteY3762" fmla="*/ 5197260 h 6859062"/>
              <a:gd name="connsiteX3763" fmla="*/ 589116 w 12192185"/>
              <a:gd name="connsiteY3763" fmla="*/ 5197732 h 6859062"/>
              <a:gd name="connsiteX3764" fmla="*/ 588770 w 12192185"/>
              <a:gd name="connsiteY3764" fmla="*/ 5197629 h 6859062"/>
              <a:gd name="connsiteX3765" fmla="*/ 1423244 w 12192185"/>
              <a:gd name="connsiteY3765" fmla="*/ 5165408 h 6859062"/>
              <a:gd name="connsiteX3766" fmla="*/ 1427633 w 12192185"/>
              <a:gd name="connsiteY3766" fmla="*/ 5166584 h 6859062"/>
              <a:gd name="connsiteX3767" fmla="*/ 1426456 w 12192185"/>
              <a:gd name="connsiteY3767" fmla="*/ 5170973 h 6859062"/>
              <a:gd name="connsiteX3768" fmla="*/ 1423244 w 12192185"/>
              <a:gd name="connsiteY3768" fmla="*/ 5165408 h 6859062"/>
              <a:gd name="connsiteX3769" fmla="*/ 593017 w 12192185"/>
              <a:gd name="connsiteY3769" fmla="*/ 5149910 h 6859062"/>
              <a:gd name="connsiteX3770" fmla="*/ 592522 w 12192185"/>
              <a:gd name="connsiteY3770" fmla="*/ 5151063 h 6859062"/>
              <a:gd name="connsiteX3771" fmla="*/ 590724 w 12192185"/>
              <a:gd name="connsiteY3771" fmla="*/ 5155592 h 6859062"/>
              <a:gd name="connsiteX3772" fmla="*/ 581761 w 12192185"/>
              <a:gd name="connsiteY3772" fmla="*/ 5163940 h 6859062"/>
              <a:gd name="connsiteX3773" fmla="*/ 617289 w 12192185"/>
              <a:gd name="connsiteY3773" fmla="*/ 5218250 h 6859062"/>
              <a:gd name="connsiteX3774" fmla="*/ 650463 w 12192185"/>
              <a:gd name="connsiteY3774" fmla="*/ 5276942 h 6859062"/>
              <a:gd name="connsiteX3775" fmla="*/ 653918 w 12192185"/>
              <a:gd name="connsiteY3775" fmla="*/ 5282002 h 6859062"/>
              <a:gd name="connsiteX3776" fmla="*/ 656744 w 12192185"/>
              <a:gd name="connsiteY3776" fmla="*/ 5280796 h 6859062"/>
              <a:gd name="connsiteX3777" fmla="*/ 656337 w 12192185"/>
              <a:gd name="connsiteY3777" fmla="*/ 5279758 h 6859062"/>
              <a:gd name="connsiteX3778" fmla="*/ 654170 w 12192185"/>
              <a:gd name="connsiteY3778" fmla="*/ 5278286 h 6859062"/>
              <a:gd name="connsiteX3779" fmla="*/ 652242 w 12192185"/>
              <a:gd name="connsiteY3779" fmla="*/ 5273457 h 6859062"/>
              <a:gd name="connsiteX3780" fmla="*/ 648835 w 12192185"/>
              <a:gd name="connsiteY3780" fmla="*/ 5262928 h 6859062"/>
              <a:gd name="connsiteX3781" fmla="*/ 654024 w 12192185"/>
              <a:gd name="connsiteY3781" fmla="*/ 5269973 h 6859062"/>
              <a:gd name="connsiteX3782" fmla="*/ 654934 w 12192185"/>
              <a:gd name="connsiteY3782" fmla="*/ 5270438 h 6859062"/>
              <a:gd name="connsiteX3783" fmla="*/ 654128 w 12192185"/>
              <a:gd name="connsiteY3783" fmla="*/ 5266514 h 6859062"/>
              <a:gd name="connsiteX3784" fmla="*/ 653939 w 12192185"/>
              <a:gd name="connsiteY3784" fmla="*/ 5264688 h 6859062"/>
              <a:gd name="connsiteX3785" fmla="*/ 623103 w 12192185"/>
              <a:gd name="connsiteY3785" fmla="*/ 5203643 h 6859062"/>
              <a:gd name="connsiteX3786" fmla="*/ 1426782 w 12192185"/>
              <a:gd name="connsiteY3786" fmla="*/ 5143426 h 6859062"/>
              <a:gd name="connsiteX3787" fmla="*/ 1433513 w 12192185"/>
              <a:gd name="connsiteY3787" fmla="*/ 5144641 h 6859062"/>
              <a:gd name="connsiteX3788" fmla="*/ 1436724 w 12192185"/>
              <a:gd name="connsiteY3788" fmla="*/ 5150207 h 6859062"/>
              <a:gd name="connsiteX3789" fmla="*/ 1432337 w 12192185"/>
              <a:gd name="connsiteY3789" fmla="*/ 5149029 h 6859062"/>
              <a:gd name="connsiteX3790" fmla="*/ 1426782 w 12192185"/>
              <a:gd name="connsiteY3790" fmla="*/ 5143426 h 6859062"/>
              <a:gd name="connsiteX3791" fmla="*/ 12026666 w 12192185"/>
              <a:gd name="connsiteY3791" fmla="*/ 5107079 h 6859062"/>
              <a:gd name="connsiteX3792" fmla="*/ 12029572 w 12192185"/>
              <a:gd name="connsiteY3792" fmla="*/ 5107455 h 6859062"/>
              <a:gd name="connsiteX3793" fmla="*/ 12044824 w 12192185"/>
              <a:gd name="connsiteY3793" fmla="*/ 5113833 h 6859062"/>
              <a:gd name="connsiteX3794" fmla="*/ 12060571 w 12192185"/>
              <a:gd name="connsiteY3794" fmla="*/ 5129970 h 6859062"/>
              <a:gd name="connsiteX3795" fmla="*/ 12066783 w 12192185"/>
              <a:gd name="connsiteY3795" fmla="*/ 5135117 h 6859062"/>
              <a:gd name="connsiteX3796" fmla="*/ 12071034 w 12192185"/>
              <a:gd name="connsiteY3796" fmla="*/ 5144807 h 6859062"/>
              <a:gd name="connsiteX3797" fmla="*/ 12074295 w 12192185"/>
              <a:gd name="connsiteY3797" fmla="*/ 5153120 h 6859062"/>
              <a:gd name="connsiteX3798" fmla="*/ 12076175 w 12192185"/>
              <a:gd name="connsiteY3798" fmla="*/ 5156199 h 6859062"/>
              <a:gd name="connsiteX3799" fmla="*/ 12071180 w 12192185"/>
              <a:gd name="connsiteY3799" fmla="*/ 5177220 h 6859062"/>
              <a:gd name="connsiteX3800" fmla="*/ 12062934 w 12192185"/>
              <a:gd name="connsiteY3800" fmla="*/ 5190465 h 6859062"/>
              <a:gd name="connsiteX3801" fmla="*/ 12060111 w 12192185"/>
              <a:gd name="connsiteY3801" fmla="*/ 5206831 h 6859062"/>
              <a:gd name="connsiteX3802" fmla="*/ 12062610 w 12192185"/>
              <a:gd name="connsiteY3802" fmla="*/ 5208503 h 6859062"/>
              <a:gd name="connsiteX3803" fmla="*/ 12082943 w 12192185"/>
              <a:gd name="connsiteY3803" fmla="*/ 5216828 h 6859062"/>
              <a:gd name="connsiteX3804" fmla="*/ 12086423 w 12192185"/>
              <a:gd name="connsiteY3804" fmla="*/ 5219341 h 6859062"/>
              <a:gd name="connsiteX3805" fmla="*/ 12093681 w 12192185"/>
              <a:gd name="connsiteY3805" fmla="*/ 5229084 h 6859062"/>
              <a:gd name="connsiteX3806" fmla="*/ 12103107 w 12192185"/>
              <a:gd name="connsiteY3806" fmla="*/ 5239861 h 6859062"/>
              <a:gd name="connsiteX3807" fmla="*/ 12105561 w 12192185"/>
              <a:gd name="connsiteY3807" fmla="*/ 5245076 h 6859062"/>
              <a:gd name="connsiteX3808" fmla="*/ 12108621 w 12192185"/>
              <a:gd name="connsiteY3808" fmla="*/ 5278401 h 6859062"/>
              <a:gd name="connsiteX3809" fmla="*/ 12107384 w 12192185"/>
              <a:gd name="connsiteY3809" fmla="*/ 5281215 h 6859062"/>
              <a:gd name="connsiteX3810" fmla="*/ 12097628 w 12192185"/>
              <a:gd name="connsiteY3810" fmla="*/ 5294165 h 6859062"/>
              <a:gd name="connsiteX3811" fmla="*/ 12092985 w 12192185"/>
              <a:gd name="connsiteY3811" fmla="*/ 5298757 h 6859062"/>
              <a:gd name="connsiteX3812" fmla="*/ 12084736 w 12192185"/>
              <a:gd name="connsiteY3812" fmla="*/ 5305776 h 6859062"/>
              <a:gd name="connsiteX3813" fmla="*/ 12080938 w 12192185"/>
              <a:gd name="connsiteY3813" fmla="*/ 5315613 h 6859062"/>
              <a:gd name="connsiteX3814" fmla="*/ 12078344 w 12192185"/>
              <a:gd name="connsiteY3814" fmla="*/ 5318424 h 6859062"/>
              <a:gd name="connsiteX3815" fmla="*/ 12074943 w 12192185"/>
              <a:gd name="connsiteY3815" fmla="*/ 5316580 h 6859062"/>
              <a:gd name="connsiteX3816" fmla="*/ 12072970 w 12192185"/>
              <a:gd name="connsiteY3816" fmla="*/ 5314362 h 6859062"/>
              <a:gd name="connsiteX3817" fmla="*/ 12069500 w 12192185"/>
              <a:gd name="connsiteY3817" fmla="*/ 5312386 h 6859062"/>
              <a:gd name="connsiteX3818" fmla="*/ 12067733 w 12192185"/>
              <a:gd name="connsiteY3818" fmla="*/ 5315745 h 6859062"/>
              <a:gd name="connsiteX3819" fmla="*/ 12060795 w 12192185"/>
              <a:gd name="connsiteY3819" fmla="*/ 5318018 h 6859062"/>
              <a:gd name="connsiteX3820" fmla="*/ 12058073 w 12192185"/>
              <a:gd name="connsiteY3820" fmla="*/ 5315920 h 6859062"/>
              <a:gd name="connsiteX3821" fmla="*/ 12053465 w 12192185"/>
              <a:gd name="connsiteY3821" fmla="*/ 5316433 h 6859062"/>
              <a:gd name="connsiteX3822" fmla="*/ 12053867 w 12192185"/>
              <a:gd name="connsiteY3822" fmla="*/ 5320827 h 6859062"/>
              <a:gd name="connsiteX3823" fmla="*/ 12055906 w 12192185"/>
              <a:gd name="connsiteY3823" fmla="*/ 5323855 h 6859062"/>
              <a:gd name="connsiteX3824" fmla="*/ 12030632 w 12192185"/>
              <a:gd name="connsiteY3824" fmla="*/ 5316009 h 6859062"/>
              <a:gd name="connsiteX3825" fmla="*/ 12030879 w 12192185"/>
              <a:gd name="connsiteY3825" fmla="*/ 5314160 h 6859062"/>
              <a:gd name="connsiteX3826" fmla="*/ 12026852 w 12192185"/>
              <a:gd name="connsiteY3826" fmla="*/ 5311120 h 6859062"/>
              <a:gd name="connsiteX3827" fmla="*/ 12022133 w 12192185"/>
              <a:gd name="connsiteY3827" fmla="*/ 5311421 h 6859062"/>
              <a:gd name="connsiteX3828" fmla="*/ 12016912 w 12192185"/>
              <a:gd name="connsiteY3828" fmla="*/ 5307651 h 6859062"/>
              <a:gd name="connsiteX3829" fmla="*/ 12000057 w 12192185"/>
              <a:gd name="connsiteY3829" fmla="*/ 5295614 h 6859062"/>
              <a:gd name="connsiteX3830" fmla="*/ 11995855 w 12192185"/>
              <a:gd name="connsiteY3830" fmla="*/ 5294832 h 6859062"/>
              <a:gd name="connsiteX3831" fmla="*/ 11998564 w 12192185"/>
              <a:gd name="connsiteY3831" fmla="*/ 5290167 h 6859062"/>
              <a:gd name="connsiteX3832" fmla="*/ 11999204 w 12192185"/>
              <a:gd name="connsiteY3832" fmla="*/ 5289833 h 6859062"/>
              <a:gd name="connsiteX3833" fmla="*/ 11999466 w 12192185"/>
              <a:gd name="connsiteY3833" fmla="*/ 5280490 h 6859062"/>
              <a:gd name="connsiteX3834" fmla="*/ 11994668 w 12192185"/>
              <a:gd name="connsiteY3834" fmla="*/ 5270273 h 6859062"/>
              <a:gd name="connsiteX3835" fmla="*/ 11990950 w 12192185"/>
              <a:gd name="connsiteY3835" fmla="*/ 5254348 h 6859062"/>
              <a:gd name="connsiteX3836" fmla="*/ 11992142 w 12192185"/>
              <a:gd name="connsiteY3836" fmla="*/ 5248852 h 6859062"/>
              <a:gd name="connsiteX3837" fmla="*/ 11995084 w 12192185"/>
              <a:gd name="connsiteY3837" fmla="*/ 5233234 h 6859062"/>
              <a:gd name="connsiteX3838" fmla="*/ 11999190 w 12192185"/>
              <a:gd name="connsiteY3838" fmla="*/ 5228652 h 6859062"/>
              <a:gd name="connsiteX3839" fmla="*/ 12017031 w 12192185"/>
              <a:gd name="connsiteY3839" fmla="*/ 5211477 h 6859062"/>
              <a:gd name="connsiteX3840" fmla="*/ 12014586 w 12192185"/>
              <a:gd name="connsiteY3840" fmla="*/ 5206798 h 6859062"/>
              <a:gd name="connsiteX3841" fmla="*/ 12008720 w 12192185"/>
              <a:gd name="connsiteY3841" fmla="*/ 5209051 h 6859062"/>
              <a:gd name="connsiteX3842" fmla="*/ 12006224 w 12192185"/>
              <a:gd name="connsiteY3842" fmla="*/ 5213604 h 6859062"/>
              <a:gd name="connsiteX3843" fmla="*/ 12002831 w 12192185"/>
              <a:gd name="connsiteY3843" fmla="*/ 5215921 h 6859062"/>
              <a:gd name="connsiteX3844" fmla="*/ 12001467 w 12192185"/>
              <a:gd name="connsiteY3844" fmla="*/ 5211759 h 6859062"/>
              <a:gd name="connsiteX3845" fmla="*/ 12003001 w 12192185"/>
              <a:gd name="connsiteY3845" fmla="*/ 5207438 h 6859062"/>
              <a:gd name="connsiteX3846" fmla="*/ 12000620 w 12192185"/>
              <a:gd name="connsiteY3846" fmla="*/ 5200290 h 6859062"/>
              <a:gd name="connsiteX3847" fmla="*/ 11995543 w 12192185"/>
              <a:gd name="connsiteY3847" fmla="*/ 5204568 h 6859062"/>
              <a:gd name="connsiteX3848" fmla="*/ 11992963 w 12192185"/>
              <a:gd name="connsiteY3848" fmla="*/ 5210518 h 6859062"/>
              <a:gd name="connsiteX3849" fmla="*/ 11987263 w 12192185"/>
              <a:gd name="connsiteY3849" fmla="*/ 5209978 h 6859062"/>
              <a:gd name="connsiteX3850" fmla="*/ 11985609 w 12192185"/>
              <a:gd name="connsiteY3850" fmla="*/ 5195409 h 6859062"/>
              <a:gd name="connsiteX3851" fmla="*/ 11979496 w 12192185"/>
              <a:gd name="connsiteY3851" fmla="*/ 5183714 h 6859062"/>
              <a:gd name="connsiteX3852" fmla="*/ 11972797 w 12192185"/>
              <a:gd name="connsiteY3852" fmla="*/ 5181260 h 6859062"/>
              <a:gd name="connsiteX3853" fmla="*/ 11970298 w 12192185"/>
              <a:gd name="connsiteY3853" fmla="*/ 5179588 h 6859062"/>
              <a:gd name="connsiteX3854" fmla="*/ 11971971 w 12192185"/>
              <a:gd name="connsiteY3854" fmla="*/ 5177088 h 6859062"/>
              <a:gd name="connsiteX3855" fmla="*/ 11974216 w 12192185"/>
              <a:gd name="connsiteY3855" fmla="*/ 5170500 h 6859062"/>
              <a:gd name="connsiteX3856" fmla="*/ 11974747 w 12192185"/>
              <a:gd name="connsiteY3856" fmla="*/ 5158040 h 6859062"/>
              <a:gd name="connsiteX3857" fmla="*/ 11972291 w 12192185"/>
              <a:gd name="connsiteY3857" fmla="*/ 5152825 h 6859062"/>
              <a:gd name="connsiteX3858" fmla="*/ 11968811 w 12192185"/>
              <a:gd name="connsiteY3858" fmla="*/ 5150312 h 6859062"/>
              <a:gd name="connsiteX3859" fmla="*/ 11971205 w 12192185"/>
              <a:gd name="connsiteY3859" fmla="*/ 5146083 h 6859062"/>
              <a:gd name="connsiteX3860" fmla="*/ 11973962 w 12192185"/>
              <a:gd name="connsiteY3860" fmla="*/ 5144100 h 6859062"/>
              <a:gd name="connsiteX3861" fmla="*/ 11973022 w 12192185"/>
              <a:gd name="connsiteY3861" fmla="*/ 5133491 h 6859062"/>
              <a:gd name="connsiteX3862" fmla="*/ 11971069 w 12192185"/>
              <a:gd name="connsiteY3862" fmla="*/ 5132346 h 6859062"/>
              <a:gd name="connsiteX3863" fmla="*/ 11969281 w 12192185"/>
              <a:gd name="connsiteY3863" fmla="*/ 5128407 h 6859062"/>
              <a:gd name="connsiteX3864" fmla="*/ 11973130 w 12192185"/>
              <a:gd name="connsiteY3864" fmla="*/ 5127478 h 6859062"/>
              <a:gd name="connsiteX3865" fmla="*/ 11976703 w 12192185"/>
              <a:gd name="connsiteY3865" fmla="*/ 5129131 h 6859062"/>
              <a:gd name="connsiteX3866" fmla="*/ 11981291 w 12192185"/>
              <a:gd name="connsiteY3866" fmla="*/ 5127545 h 6859062"/>
              <a:gd name="connsiteX3867" fmla="*/ 11992492 w 12192185"/>
              <a:gd name="connsiteY3867" fmla="*/ 5117359 h 6859062"/>
              <a:gd name="connsiteX3868" fmla="*/ 12008105 w 12192185"/>
              <a:gd name="connsiteY3868" fmla="*/ 5107845 h 6859062"/>
              <a:gd name="connsiteX3869" fmla="*/ 12012935 w 12192185"/>
              <a:gd name="connsiteY3869" fmla="*/ 5107758 h 6859062"/>
              <a:gd name="connsiteX3870" fmla="*/ 12026666 w 12192185"/>
              <a:gd name="connsiteY3870" fmla="*/ 5107079 h 6859062"/>
              <a:gd name="connsiteX3871" fmla="*/ 790691 w 12192185"/>
              <a:gd name="connsiteY3871" fmla="*/ 5082017 h 6859062"/>
              <a:gd name="connsiteX3872" fmla="*/ 799219 w 12192185"/>
              <a:gd name="connsiteY3872" fmla="*/ 5082075 h 6859062"/>
              <a:gd name="connsiteX3873" fmla="*/ 805191 w 12192185"/>
              <a:gd name="connsiteY3873" fmla="*/ 5085612 h 6859062"/>
              <a:gd name="connsiteX3874" fmla="*/ 817135 w 12192185"/>
              <a:gd name="connsiteY3874" fmla="*/ 5087713 h 6859062"/>
              <a:gd name="connsiteX3875" fmla="*/ 822096 w 12192185"/>
              <a:gd name="connsiteY3875" fmla="*/ 5087730 h 6859062"/>
              <a:gd name="connsiteX3876" fmla="*/ 837518 w 12192185"/>
              <a:gd name="connsiteY3876" fmla="*/ 5092916 h 6859062"/>
              <a:gd name="connsiteX3877" fmla="*/ 841059 w 12192185"/>
              <a:gd name="connsiteY3877" fmla="*/ 5102748 h 6859062"/>
              <a:gd name="connsiteX3878" fmla="*/ 840366 w 12192185"/>
              <a:gd name="connsiteY3878" fmla="*/ 5113071 h 6859062"/>
              <a:gd name="connsiteX3879" fmla="*/ 837777 w 12192185"/>
              <a:gd name="connsiteY3879" fmla="*/ 5119904 h 6859062"/>
              <a:gd name="connsiteX3880" fmla="*/ 825267 w 12192185"/>
              <a:gd name="connsiteY3880" fmla="*/ 5126701 h 6859062"/>
              <a:gd name="connsiteX3881" fmla="*/ 813447 w 12192185"/>
              <a:gd name="connsiteY3881" fmla="*/ 5123176 h 6859062"/>
              <a:gd name="connsiteX3882" fmla="*/ 801756 w 12192185"/>
              <a:gd name="connsiteY3882" fmla="*/ 5123197 h 6859062"/>
              <a:gd name="connsiteX3883" fmla="*/ 790288 w 12192185"/>
              <a:gd name="connsiteY3883" fmla="*/ 5124455 h 6859062"/>
              <a:gd name="connsiteX3884" fmla="*/ 781187 w 12192185"/>
              <a:gd name="connsiteY3884" fmla="*/ 5122618 h 6859062"/>
              <a:gd name="connsiteX3885" fmla="*/ 773191 w 12192185"/>
              <a:gd name="connsiteY3885" fmla="*/ 5117015 h 6859062"/>
              <a:gd name="connsiteX3886" fmla="*/ 769398 w 12192185"/>
              <a:gd name="connsiteY3886" fmla="*/ 5110034 h 6859062"/>
              <a:gd name="connsiteX3887" fmla="*/ 770219 w 12192185"/>
              <a:gd name="connsiteY3887" fmla="*/ 5108231 h 6859062"/>
              <a:gd name="connsiteX3888" fmla="*/ 772554 w 12192185"/>
              <a:gd name="connsiteY3888" fmla="*/ 5094302 h 6859062"/>
              <a:gd name="connsiteX3889" fmla="*/ 782662 w 12192185"/>
              <a:gd name="connsiteY3889" fmla="*/ 5084740 h 6859062"/>
              <a:gd name="connsiteX3890" fmla="*/ 790691 w 12192185"/>
              <a:gd name="connsiteY3890" fmla="*/ 5082017 h 6859062"/>
              <a:gd name="connsiteX3891" fmla="*/ 568517 w 12192185"/>
              <a:gd name="connsiteY3891" fmla="*/ 5041734 h 6859062"/>
              <a:gd name="connsiteX3892" fmla="*/ 573346 w 12192185"/>
              <a:gd name="connsiteY3892" fmla="*/ 5053137 h 6859062"/>
              <a:gd name="connsiteX3893" fmla="*/ 574497 w 12192185"/>
              <a:gd name="connsiteY3893" fmla="*/ 5050061 h 6859062"/>
              <a:gd name="connsiteX3894" fmla="*/ 233828 w 12192185"/>
              <a:gd name="connsiteY3894" fmla="*/ 5038094 h 6859062"/>
              <a:gd name="connsiteX3895" fmla="*/ 233829 w 12192185"/>
              <a:gd name="connsiteY3895" fmla="*/ 5038094 h 6859062"/>
              <a:gd name="connsiteX3896" fmla="*/ 246596 w 12192185"/>
              <a:gd name="connsiteY3896" fmla="*/ 5045238 h 6859062"/>
              <a:gd name="connsiteX3897" fmla="*/ 251325 w 12192185"/>
              <a:gd name="connsiteY3897" fmla="*/ 5048559 h 6859062"/>
              <a:gd name="connsiteX3898" fmla="*/ 254464 w 12192185"/>
              <a:gd name="connsiteY3898" fmla="*/ 5052896 h 6859062"/>
              <a:gd name="connsiteX3899" fmla="*/ 255864 w 12192185"/>
              <a:gd name="connsiteY3899" fmla="*/ 5056850 h 6859062"/>
              <a:gd name="connsiteX3900" fmla="*/ 259099 w 12192185"/>
              <a:gd name="connsiteY3900" fmla="*/ 5064852 h 6859062"/>
              <a:gd name="connsiteX3901" fmla="*/ 260524 w 12192185"/>
              <a:gd name="connsiteY3901" fmla="*/ 5067672 h 6859062"/>
              <a:gd name="connsiteX3902" fmla="*/ 263783 w 12192185"/>
              <a:gd name="connsiteY3902" fmla="*/ 5074539 h 6859062"/>
              <a:gd name="connsiteX3903" fmla="*/ 257104 w 12192185"/>
              <a:gd name="connsiteY3903" fmla="*/ 5093336 h 6859062"/>
              <a:gd name="connsiteX3904" fmla="*/ 248780 w 12192185"/>
              <a:gd name="connsiteY3904" fmla="*/ 5099015 h 6859062"/>
              <a:gd name="connsiteX3905" fmla="*/ 229696 w 12192185"/>
              <a:gd name="connsiteY3905" fmla="*/ 5105963 h 6859062"/>
              <a:gd name="connsiteX3906" fmla="*/ 223663 w 12192185"/>
              <a:gd name="connsiteY3906" fmla="*/ 5106454 h 6859062"/>
              <a:gd name="connsiteX3907" fmla="*/ 223662 w 12192185"/>
              <a:gd name="connsiteY3907" fmla="*/ 5106454 h 6859062"/>
              <a:gd name="connsiteX3908" fmla="*/ 215917 w 12192185"/>
              <a:gd name="connsiteY3908" fmla="*/ 5105428 h 6859062"/>
              <a:gd name="connsiteX3909" fmla="*/ 210028 w 12192185"/>
              <a:gd name="connsiteY3909" fmla="*/ 5103217 h 6859062"/>
              <a:gd name="connsiteX3910" fmla="*/ 198878 w 12192185"/>
              <a:gd name="connsiteY3910" fmla="*/ 5093924 h 6859062"/>
              <a:gd name="connsiteX3911" fmla="*/ 191662 w 12192185"/>
              <a:gd name="connsiteY3911" fmla="*/ 5088460 h 6859062"/>
              <a:gd name="connsiteX3912" fmla="*/ 189634 w 12192185"/>
              <a:gd name="connsiteY3912" fmla="*/ 5085279 h 6859062"/>
              <a:gd name="connsiteX3913" fmla="*/ 188764 w 12192185"/>
              <a:gd name="connsiteY3913" fmla="*/ 5076889 h 6859062"/>
              <a:gd name="connsiteX3914" fmla="*/ 189846 w 12192185"/>
              <a:gd name="connsiteY3914" fmla="*/ 5062779 h 6859062"/>
              <a:gd name="connsiteX3915" fmla="*/ 189338 w 12192185"/>
              <a:gd name="connsiteY3915" fmla="*/ 5057884 h 6859062"/>
              <a:gd name="connsiteX3916" fmla="*/ 191677 w 12192185"/>
              <a:gd name="connsiteY3916" fmla="*/ 5054528 h 6859062"/>
              <a:gd name="connsiteX3917" fmla="*/ 196598 w 12192185"/>
              <a:gd name="connsiteY3917" fmla="*/ 5048781 h 6859062"/>
              <a:gd name="connsiteX3918" fmla="*/ 198046 w 12192185"/>
              <a:gd name="connsiteY3918" fmla="*/ 5046368 h 6859062"/>
              <a:gd name="connsiteX3919" fmla="*/ 205862 w 12192185"/>
              <a:gd name="connsiteY3919" fmla="*/ 5039894 h 6859062"/>
              <a:gd name="connsiteX3920" fmla="*/ 207382 w 12192185"/>
              <a:gd name="connsiteY3920" fmla="*/ 5038179 h 6859062"/>
              <a:gd name="connsiteX3921" fmla="*/ 233828 w 12192185"/>
              <a:gd name="connsiteY3921" fmla="*/ 5038094 h 6859062"/>
              <a:gd name="connsiteX3922" fmla="*/ 8348858 w 12192185"/>
              <a:gd name="connsiteY3922" fmla="*/ 5006626 h 6859062"/>
              <a:gd name="connsiteX3923" fmla="*/ 8348635 w 12192185"/>
              <a:gd name="connsiteY3923" fmla="*/ 5006953 h 6859062"/>
              <a:gd name="connsiteX3924" fmla="*/ 8342757 w 12192185"/>
              <a:gd name="connsiteY3924" fmla="*/ 5017016 h 6859062"/>
              <a:gd name="connsiteX3925" fmla="*/ 8340894 w 12192185"/>
              <a:gd name="connsiteY3925" fmla="*/ 5022436 h 6859062"/>
              <a:gd name="connsiteX3926" fmla="*/ 8346148 w 12192185"/>
              <a:gd name="connsiteY3926" fmla="*/ 5027186 h 6859062"/>
              <a:gd name="connsiteX3927" fmla="*/ 8357602 w 12192185"/>
              <a:gd name="connsiteY3927" fmla="*/ 5014963 h 6859062"/>
              <a:gd name="connsiteX3928" fmla="*/ 684890 w 12192185"/>
              <a:gd name="connsiteY3928" fmla="*/ 4919580 h 6859062"/>
              <a:gd name="connsiteX3929" fmla="*/ 692646 w 12192185"/>
              <a:gd name="connsiteY3929" fmla="*/ 4923014 h 6859062"/>
              <a:gd name="connsiteX3930" fmla="*/ 704454 w 12192185"/>
              <a:gd name="connsiteY3930" fmla="*/ 4933869 h 6859062"/>
              <a:gd name="connsiteX3931" fmla="*/ 708851 w 12192185"/>
              <a:gd name="connsiteY3931" fmla="*/ 4952691 h 6859062"/>
              <a:gd name="connsiteX3932" fmla="*/ 705264 w 12192185"/>
              <a:gd name="connsiteY3932" fmla="*/ 4959843 h 6859062"/>
              <a:gd name="connsiteX3933" fmla="*/ 703809 w 12192185"/>
              <a:gd name="connsiteY3933" fmla="*/ 4973746 h 6859062"/>
              <a:gd name="connsiteX3934" fmla="*/ 704188 w 12192185"/>
              <a:gd name="connsiteY3934" fmla="*/ 4979451 h 6859062"/>
              <a:gd name="connsiteX3935" fmla="*/ 699466 w 12192185"/>
              <a:gd name="connsiteY3935" fmla="*/ 4997599 h 6859062"/>
              <a:gd name="connsiteX3936" fmla="*/ 688446 w 12192185"/>
              <a:gd name="connsiteY3936" fmla="*/ 5002461 h 6859062"/>
              <a:gd name="connsiteX3937" fmla="*/ 676521 w 12192185"/>
              <a:gd name="connsiteY3937" fmla="*/ 5002496 h 6859062"/>
              <a:gd name="connsiteX3938" fmla="*/ 668457 w 12192185"/>
              <a:gd name="connsiteY3938" fmla="*/ 5000068 h 6859062"/>
              <a:gd name="connsiteX3939" fmla="*/ 659635 w 12192185"/>
              <a:gd name="connsiteY3939" fmla="*/ 4986230 h 6859062"/>
              <a:gd name="connsiteX3940" fmla="*/ 662738 w 12192185"/>
              <a:gd name="connsiteY3940" fmla="*/ 4972358 h 6859062"/>
              <a:gd name="connsiteX3941" fmla="*/ 661772 w 12192185"/>
              <a:gd name="connsiteY3941" fmla="*/ 4958917 h 6859062"/>
              <a:gd name="connsiteX3942" fmla="*/ 659403 w 12192185"/>
              <a:gd name="connsiteY3942" fmla="*/ 4945831 h 6859062"/>
              <a:gd name="connsiteX3943" fmla="*/ 660784 w 12192185"/>
              <a:gd name="connsiteY3943" fmla="*/ 4935219 h 6859062"/>
              <a:gd name="connsiteX3944" fmla="*/ 666583 w 12192185"/>
              <a:gd name="connsiteY3944" fmla="*/ 4925575 h 6859062"/>
              <a:gd name="connsiteX3945" fmla="*/ 674306 w 12192185"/>
              <a:gd name="connsiteY3945" fmla="*/ 4920652 h 6859062"/>
              <a:gd name="connsiteX3946" fmla="*/ 676444 w 12192185"/>
              <a:gd name="connsiteY3946" fmla="*/ 4921451 h 6859062"/>
              <a:gd name="connsiteX3947" fmla="*/ 684890 w 12192185"/>
              <a:gd name="connsiteY3947" fmla="*/ 4919580 h 6859062"/>
              <a:gd name="connsiteX3948" fmla="*/ 22389 w 12192185"/>
              <a:gd name="connsiteY3948" fmla="*/ 4907938 h 6859062"/>
              <a:gd name="connsiteX3949" fmla="*/ 36107 w 12192185"/>
              <a:gd name="connsiteY3949" fmla="*/ 4915616 h 6859062"/>
              <a:gd name="connsiteX3950" fmla="*/ 41190 w 12192185"/>
              <a:gd name="connsiteY3950" fmla="*/ 4919185 h 6859062"/>
              <a:gd name="connsiteX3951" fmla="*/ 44562 w 12192185"/>
              <a:gd name="connsiteY3951" fmla="*/ 4923846 h 6859062"/>
              <a:gd name="connsiteX3952" fmla="*/ 46067 w 12192185"/>
              <a:gd name="connsiteY3952" fmla="*/ 4928093 h 6859062"/>
              <a:gd name="connsiteX3953" fmla="*/ 49544 w 12192185"/>
              <a:gd name="connsiteY3953" fmla="*/ 4936692 h 6859062"/>
              <a:gd name="connsiteX3954" fmla="*/ 51075 w 12192185"/>
              <a:gd name="connsiteY3954" fmla="*/ 4939722 h 6859062"/>
              <a:gd name="connsiteX3955" fmla="*/ 54577 w 12192185"/>
              <a:gd name="connsiteY3955" fmla="*/ 4947104 h 6859062"/>
              <a:gd name="connsiteX3956" fmla="*/ 47400 w 12192185"/>
              <a:gd name="connsiteY3956" fmla="*/ 4967301 h 6859062"/>
              <a:gd name="connsiteX3957" fmla="*/ 38456 w 12192185"/>
              <a:gd name="connsiteY3957" fmla="*/ 4973404 h 6859062"/>
              <a:gd name="connsiteX3958" fmla="*/ 17947 w 12192185"/>
              <a:gd name="connsiteY3958" fmla="*/ 4980870 h 6859062"/>
              <a:gd name="connsiteX3959" fmla="*/ 11466 w 12192185"/>
              <a:gd name="connsiteY3959" fmla="*/ 4981398 h 6859062"/>
              <a:gd name="connsiteX3960" fmla="*/ 3142 w 12192185"/>
              <a:gd name="connsiteY3960" fmla="*/ 4980296 h 6859062"/>
              <a:gd name="connsiteX3961" fmla="*/ 0 w 12192185"/>
              <a:gd name="connsiteY3961" fmla="*/ 4979116 h 6859062"/>
              <a:gd name="connsiteX3962" fmla="*/ 0 w 12192185"/>
              <a:gd name="connsiteY3962" fmla="*/ 4908010 h 6859062"/>
              <a:gd name="connsiteX3963" fmla="*/ 12041898 w 12192185"/>
              <a:gd name="connsiteY3963" fmla="*/ 4874853 h 6859062"/>
              <a:gd name="connsiteX3964" fmla="*/ 12054051 w 12192185"/>
              <a:gd name="connsiteY3964" fmla="*/ 4879955 h 6859062"/>
              <a:gd name="connsiteX3965" fmla="*/ 12066477 w 12192185"/>
              <a:gd name="connsiteY3965" fmla="*/ 4881271 h 6859062"/>
              <a:gd name="connsiteX3966" fmla="*/ 12078808 w 12192185"/>
              <a:gd name="connsiteY3966" fmla="*/ 4881249 h 6859062"/>
              <a:gd name="connsiteX3967" fmla="*/ 12088268 w 12192185"/>
              <a:gd name="connsiteY3967" fmla="*/ 4884245 h 6859062"/>
              <a:gd name="connsiteX3968" fmla="*/ 12096121 w 12192185"/>
              <a:gd name="connsiteY3968" fmla="*/ 4891115 h 6859062"/>
              <a:gd name="connsiteX3969" fmla="*/ 12099352 w 12192185"/>
              <a:gd name="connsiteY3969" fmla="*/ 4898967 h 6859062"/>
              <a:gd name="connsiteX3970" fmla="*/ 12098273 w 12192185"/>
              <a:gd name="connsiteY3970" fmla="*/ 4900789 h 6859062"/>
              <a:gd name="connsiteX3971" fmla="*/ 12094196 w 12192185"/>
              <a:gd name="connsiteY3971" fmla="*/ 4915321 h 6859062"/>
              <a:gd name="connsiteX3972" fmla="*/ 12082359 w 12192185"/>
              <a:gd name="connsiteY3972" fmla="*/ 4924323 h 6859062"/>
              <a:gd name="connsiteX3973" fmla="*/ 12064461 w 12192185"/>
              <a:gd name="connsiteY3973" fmla="*/ 4925258 h 6859062"/>
              <a:gd name="connsiteX3974" fmla="*/ 12058520 w 12192185"/>
              <a:gd name="connsiteY3974" fmla="*/ 4920816 h 6859062"/>
              <a:gd name="connsiteX3975" fmla="*/ 12046068 w 12192185"/>
              <a:gd name="connsiteY3975" fmla="*/ 4917213 h 6859062"/>
              <a:gd name="connsiteX3976" fmla="*/ 12040799 w 12192185"/>
              <a:gd name="connsiteY3976" fmla="*/ 4916627 h 6859062"/>
              <a:gd name="connsiteX3977" fmla="*/ 12025007 w 12192185"/>
              <a:gd name="connsiteY3977" fmla="*/ 4909349 h 6859062"/>
              <a:gd name="connsiteX3978" fmla="*/ 12022371 w 12192185"/>
              <a:gd name="connsiteY3978" fmla="*/ 4898496 h 6859062"/>
              <a:gd name="connsiteX3979" fmla="*/ 12024291 w 12192185"/>
              <a:gd name="connsiteY3979" fmla="*/ 4887606 h 6859062"/>
              <a:gd name="connsiteX3980" fmla="*/ 12027826 w 12192185"/>
              <a:gd name="connsiteY3980" fmla="*/ 4880642 h 6859062"/>
              <a:gd name="connsiteX3981" fmla="*/ 12041898 w 12192185"/>
              <a:gd name="connsiteY3981" fmla="*/ 4874853 h 6859062"/>
              <a:gd name="connsiteX3982" fmla="*/ 180893 w 12192185"/>
              <a:gd name="connsiteY3982" fmla="*/ 4730660 h 6859062"/>
              <a:gd name="connsiteX3983" fmla="*/ 188650 w 12192185"/>
              <a:gd name="connsiteY3983" fmla="*/ 4734095 h 6859062"/>
              <a:gd name="connsiteX3984" fmla="*/ 200457 w 12192185"/>
              <a:gd name="connsiteY3984" fmla="*/ 4744948 h 6859062"/>
              <a:gd name="connsiteX3985" fmla="*/ 204854 w 12192185"/>
              <a:gd name="connsiteY3985" fmla="*/ 4763771 h 6859062"/>
              <a:gd name="connsiteX3986" fmla="*/ 201267 w 12192185"/>
              <a:gd name="connsiteY3986" fmla="*/ 4770922 h 6859062"/>
              <a:gd name="connsiteX3987" fmla="*/ 199812 w 12192185"/>
              <a:gd name="connsiteY3987" fmla="*/ 4784825 h 6859062"/>
              <a:gd name="connsiteX3988" fmla="*/ 200191 w 12192185"/>
              <a:gd name="connsiteY3988" fmla="*/ 4790531 h 6859062"/>
              <a:gd name="connsiteX3989" fmla="*/ 195469 w 12192185"/>
              <a:gd name="connsiteY3989" fmla="*/ 4808679 h 6859062"/>
              <a:gd name="connsiteX3990" fmla="*/ 184450 w 12192185"/>
              <a:gd name="connsiteY3990" fmla="*/ 4813541 h 6859062"/>
              <a:gd name="connsiteX3991" fmla="*/ 172524 w 12192185"/>
              <a:gd name="connsiteY3991" fmla="*/ 4813575 h 6859062"/>
              <a:gd name="connsiteX3992" fmla="*/ 164460 w 12192185"/>
              <a:gd name="connsiteY3992" fmla="*/ 4811148 h 6859062"/>
              <a:gd name="connsiteX3993" fmla="*/ 155638 w 12192185"/>
              <a:gd name="connsiteY3993" fmla="*/ 4797310 h 6859062"/>
              <a:gd name="connsiteX3994" fmla="*/ 158741 w 12192185"/>
              <a:gd name="connsiteY3994" fmla="*/ 4783438 h 6859062"/>
              <a:gd name="connsiteX3995" fmla="*/ 157775 w 12192185"/>
              <a:gd name="connsiteY3995" fmla="*/ 4769997 h 6859062"/>
              <a:gd name="connsiteX3996" fmla="*/ 155406 w 12192185"/>
              <a:gd name="connsiteY3996" fmla="*/ 4756911 h 6859062"/>
              <a:gd name="connsiteX3997" fmla="*/ 156787 w 12192185"/>
              <a:gd name="connsiteY3997" fmla="*/ 4746298 h 6859062"/>
              <a:gd name="connsiteX3998" fmla="*/ 162586 w 12192185"/>
              <a:gd name="connsiteY3998" fmla="*/ 4736656 h 6859062"/>
              <a:gd name="connsiteX3999" fmla="*/ 170309 w 12192185"/>
              <a:gd name="connsiteY3999" fmla="*/ 4731731 h 6859062"/>
              <a:gd name="connsiteX4000" fmla="*/ 172447 w 12192185"/>
              <a:gd name="connsiteY4000" fmla="*/ 4732531 h 6859062"/>
              <a:gd name="connsiteX4001" fmla="*/ 180893 w 12192185"/>
              <a:gd name="connsiteY4001" fmla="*/ 4730660 h 6859062"/>
              <a:gd name="connsiteX4002" fmla="*/ 559061 w 12192185"/>
              <a:gd name="connsiteY4002" fmla="*/ 4720007 h 6859062"/>
              <a:gd name="connsiteX4003" fmla="*/ 559502 w 12192185"/>
              <a:gd name="connsiteY4003" fmla="*/ 4720229 h 6859062"/>
              <a:gd name="connsiteX4004" fmla="*/ 558969 w 12192185"/>
              <a:gd name="connsiteY4004" fmla="*/ 4720414 h 6859062"/>
              <a:gd name="connsiteX4005" fmla="*/ 12179227 w 12192185"/>
              <a:gd name="connsiteY4005" fmla="*/ 4693579 h 6859062"/>
              <a:gd name="connsiteX4006" fmla="*/ 12186943 w 12192185"/>
              <a:gd name="connsiteY4006" fmla="*/ 4693585 h 6859062"/>
              <a:gd name="connsiteX4007" fmla="*/ 12191999 w 12192185"/>
              <a:gd name="connsiteY4007" fmla="*/ 4694107 h 6859062"/>
              <a:gd name="connsiteX4008" fmla="*/ 12191999 w 12192185"/>
              <a:gd name="connsiteY4008" fmla="*/ 4784183 h 6859062"/>
              <a:gd name="connsiteX4009" fmla="*/ 12182342 w 12192185"/>
              <a:gd name="connsiteY4009" fmla="*/ 4784976 h 6859062"/>
              <a:gd name="connsiteX4010" fmla="*/ 12174215 w 12192185"/>
              <a:gd name="connsiteY4010" fmla="*/ 4782867 h 6859062"/>
              <a:gd name="connsiteX4011" fmla="*/ 12164969 w 12192185"/>
              <a:gd name="connsiteY4011" fmla="*/ 4778039 h 6859062"/>
              <a:gd name="connsiteX4012" fmla="*/ 12158759 w 12192185"/>
              <a:gd name="connsiteY4012" fmla="*/ 4772870 h 6859062"/>
              <a:gd name="connsiteX4013" fmla="*/ 12143256 w 12192185"/>
              <a:gd name="connsiteY4013" fmla="*/ 4750626 h 6859062"/>
              <a:gd name="connsiteX4014" fmla="*/ 12138530 w 12192185"/>
              <a:gd name="connsiteY4014" fmla="*/ 4738032 h 6859062"/>
              <a:gd name="connsiteX4015" fmla="*/ 12145673 w 12192185"/>
              <a:gd name="connsiteY4015" fmla="*/ 4712380 h 6859062"/>
              <a:gd name="connsiteX4016" fmla="*/ 12154507 w 12192185"/>
              <a:gd name="connsiteY4016" fmla="*/ 4707382 h 6859062"/>
              <a:gd name="connsiteX4017" fmla="*/ 12158228 w 12192185"/>
              <a:gd name="connsiteY4017" fmla="*/ 4705398 h 6859062"/>
              <a:gd name="connsiteX4018" fmla="*/ 12167906 w 12192185"/>
              <a:gd name="connsiteY4018" fmla="*/ 4699144 h 6859062"/>
              <a:gd name="connsiteX4019" fmla="*/ 12172471 w 12192185"/>
              <a:gd name="connsiteY4019" fmla="*/ 4695904 h 6859062"/>
              <a:gd name="connsiteX4020" fmla="*/ 12179227 w 12192185"/>
              <a:gd name="connsiteY4020" fmla="*/ 4693579 h 6859062"/>
              <a:gd name="connsiteX4021" fmla="*/ 1144363 w 12192185"/>
              <a:gd name="connsiteY4021" fmla="*/ 4643820 h 6859062"/>
              <a:gd name="connsiteX4022" fmla="*/ 1147575 w 12192185"/>
              <a:gd name="connsiteY4022" fmla="*/ 4649385 h 6859062"/>
              <a:gd name="connsiteX4023" fmla="*/ 1147322 w 12192185"/>
              <a:gd name="connsiteY4023" fmla="*/ 4650328 h 6859062"/>
              <a:gd name="connsiteX4024" fmla="*/ 370394 w 12192185"/>
              <a:gd name="connsiteY4024" fmla="*/ 4483520 h 6859062"/>
              <a:gd name="connsiteX4025" fmla="*/ 368538 w 12192185"/>
              <a:gd name="connsiteY4025" fmla="*/ 4495754 h 6859062"/>
              <a:gd name="connsiteX4026" fmla="*/ 370394 w 12192185"/>
              <a:gd name="connsiteY4026" fmla="*/ 4483520 h 6859062"/>
              <a:gd name="connsiteX4027" fmla="*/ 118469 w 12192185"/>
              <a:gd name="connsiteY4027" fmla="*/ 4473538 h 6859062"/>
              <a:gd name="connsiteX4028" fmla="*/ 131235 w 12192185"/>
              <a:gd name="connsiteY4028" fmla="*/ 4480683 h 6859062"/>
              <a:gd name="connsiteX4029" fmla="*/ 135966 w 12192185"/>
              <a:gd name="connsiteY4029" fmla="*/ 4484005 h 6859062"/>
              <a:gd name="connsiteX4030" fmla="*/ 139103 w 12192185"/>
              <a:gd name="connsiteY4030" fmla="*/ 4488341 h 6859062"/>
              <a:gd name="connsiteX4031" fmla="*/ 140505 w 12192185"/>
              <a:gd name="connsiteY4031" fmla="*/ 4492294 h 6859062"/>
              <a:gd name="connsiteX4032" fmla="*/ 143740 w 12192185"/>
              <a:gd name="connsiteY4032" fmla="*/ 4500297 h 6859062"/>
              <a:gd name="connsiteX4033" fmla="*/ 145164 w 12192185"/>
              <a:gd name="connsiteY4033" fmla="*/ 4503116 h 6859062"/>
              <a:gd name="connsiteX4034" fmla="*/ 148424 w 12192185"/>
              <a:gd name="connsiteY4034" fmla="*/ 4509985 h 6859062"/>
              <a:gd name="connsiteX4035" fmla="*/ 141744 w 12192185"/>
              <a:gd name="connsiteY4035" fmla="*/ 4528781 h 6859062"/>
              <a:gd name="connsiteX4036" fmla="*/ 133421 w 12192185"/>
              <a:gd name="connsiteY4036" fmla="*/ 4534461 h 6859062"/>
              <a:gd name="connsiteX4037" fmla="*/ 114336 w 12192185"/>
              <a:gd name="connsiteY4037" fmla="*/ 4541409 h 6859062"/>
              <a:gd name="connsiteX4038" fmla="*/ 108304 w 12192185"/>
              <a:gd name="connsiteY4038" fmla="*/ 4541899 h 6859062"/>
              <a:gd name="connsiteX4039" fmla="*/ 100558 w 12192185"/>
              <a:gd name="connsiteY4039" fmla="*/ 4540872 h 6859062"/>
              <a:gd name="connsiteX4040" fmla="*/ 94670 w 12192185"/>
              <a:gd name="connsiteY4040" fmla="*/ 4538662 h 6859062"/>
              <a:gd name="connsiteX4041" fmla="*/ 83520 w 12192185"/>
              <a:gd name="connsiteY4041" fmla="*/ 4529369 h 6859062"/>
              <a:gd name="connsiteX4042" fmla="*/ 76304 w 12192185"/>
              <a:gd name="connsiteY4042" fmla="*/ 4523905 h 6859062"/>
              <a:gd name="connsiteX4043" fmla="*/ 74276 w 12192185"/>
              <a:gd name="connsiteY4043" fmla="*/ 4520724 h 6859062"/>
              <a:gd name="connsiteX4044" fmla="*/ 73405 w 12192185"/>
              <a:gd name="connsiteY4044" fmla="*/ 4512333 h 6859062"/>
              <a:gd name="connsiteX4045" fmla="*/ 74488 w 12192185"/>
              <a:gd name="connsiteY4045" fmla="*/ 4498223 h 6859062"/>
              <a:gd name="connsiteX4046" fmla="*/ 73980 w 12192185"/>
              <a:gd name="connsiteY4046" fmla="*/ 4493329 h 6859062"/>
              <a:gd name="connsiteX4047" fmla="*/ 76320 w 12192185"/>
              <a:gd name="connsiteY4047" fmla="*/ 4489973 h 6859062"/>
              <a:gd name="connsiteX4048" fmla="*/ 81241 w 12192185"/>
              <a:gd name="connsiteY4048" fmla="*/ 4484226 h 6859062"/>
              <a:gd name="connsiteX4049" fmla="*/ 82688 w 12192185"/>
              <a:gd name="connsiteY4049" fmla="*/ 4481813 h 6859062"/>
              <a:gd name="connsiteX4050" fmla="*/ 90505 w 12192185"/>
              <a:gd name="connsiteY4050" fmla="*/ 4475339 h 6859062"/>
              <a:gd name="connsiteX4051" fmla="*/ 92024 w 12192185"/>
              <a:gd name="connsiteY4051" fmla="*/ 4473624 h 6859062"/>
              <a:gd name="connsiteX4052" fmla="*/ 118469 w 12192185"/>
              <a:gd name="connsiteY4052" fmla="*/ 4473538 h 6859062"/>
              <a:gd name="connsiteX4053" fmla="*/ 1192990 w 12192185"/>
              <a:gd name="connsiteY4053" fmla="*/ 4448284 h 6859062"/>
              <a:gd name="connsiteX4054" fmla="*/ 1193752 w 12192185"/>
              <a:gd name="connsiteY4054" fmla="*/ 4459494 h 6859062"/>
              <a:gd name="connsiteX4055" fmla="*/ 1196455 w 12192185"/>
              <a:gd name="connsiteY4055" fmla="*/ 4463503 h 6859062"/>
              <a:gd name="connsiteX4056" fmla="*/ 393998 w 12192185"/>
              <a:gd name="connsiteY4056" fmla="*/ 4398066 h 6859062"/>
              <a:gd name="connsiteX4057" fmla="*/ 406764 w 12192185"/>
              <a:gd name="connsiteY4057" fmla="*/ 4405211 h 6859062"/>
              <a:gd name="connsiteX4058" fmla="*/ 411494 w 12192185"/>
              <a:gd name="connsiteY4058" fmla="*/ 4408533 h 6859062"/>
              <a:gd name="connsiteX4059" fmla="*/ 414632 w 12192185"/>
              <a:gd name="connsiteY4059" fmla="*/ 4412869 h 6859062"/>
              <a:gd name="connsiteX4060" fmla="*/ 416032 w 12192185"/>
              <a:gd name="connsiteY4060" fmla="*/ 4416823 h 6859062"/>
              <a:gd name="connsiteX4061" fmla="*/ 419268 w 12192185"/>
              <a:gd name="connsiteY4061" fmla="*/ 4424825 h 6859062"/>
              <a:gd name="connsiteX4062" fmla="*/ 420692 w 12192185"/>
              <a:gd name="connsiteY4062" fmla="*/ 4427644 h 6859062"/>
              <a:gd name="connsiteX4063" fmla="*/ 423951 w 12192185"/>
              <a:gd name="connsiteY4063" fmla="*/ 4434513 h 6859062"/>
              <a:gd name="connsiteX4064" fmla="*/ 417272 w 12192185"/>
              <a:gd name="connsiteY4064" fmla="*/ 4453309 h 6859062"/>
              <a:gd name="connsiteX4065" fmla="*/ 408949 w 12192185"/>
              <a:gd name="connsiteY4065" fmla="*/ 4458989 h 6859062"/>
              <a:gd name="connsiteX4066" fmla="*/ 389864 w 12192185"/>
              <a:gd name="connsiteY4066" fmla="*/ 4465937 h 6859062"/>
              <a:gd name="connsiteX4067" fmla="*/ 383832 w 12192185"/>
              <a:gd name="connsiteY4067" fmla="*/ 4466428 h 6859062"/>
              <a:gd name="connsiteX4068" fmla="*/ 376086 w 12192185"/>
              <a:gd name="connsiteY4068" fmla="*/ 4465401 h 6859062"/>
              <a:gd name="connsiteX4069" fmla="*/ 370198 w 12192185"/>
              <a:gd name="connsiteY4069" fmla="*/ 4463190 h 6859062"/>
              <a:gd name="connsiteX4070" fmla="*/ 359048 w 12192185"/>
              <a:gd name="connsiteY4070" fmla="*/ 4453897 h 6859062"/>
              <a:gd name="connsiteX4071" fmla="*/ 351832 w 12192185"/>
              <a:gd name="connsiteY4071" fmla="*/ 4448433 h 6859062"/>
              <a:gd name="connsiteX4072" fmla="*/ 349804 w 12192185"/>
              <a:gd name="connsiteY4072" fmla="*/ 4445252 h 6859062"/>
              <a:gd name="connsiteX4073" fmla="*/ 348934 w 12192185"/>
              <a:gd name="connsiteY4073" fmla="*/ 4436861 h 6859062"/>
              <a:gd name="connsiteX4074" fmla="*/ 350016 w 12192185"/>
              <a:gd name="connsiteY4074" fmla="*/ 4422751 h 6859062"/>
              <a:gd name="connsiteX4075" fmla="*/ 349509 w 12192185"/>
              <a:gd name="connsiteY4075" fmla="*/ 4417856 h 6859062"/>
              <a:gd name="connsiteX4076" fmla="*/ 351847 w 12192185"/>
              <a:gd name="connsiteY4076" fmla="*/ 4414501 h 6859062"/>
              <a:gd name="connsiteX4077" fmla="*/ 356768 w 12192185"/>
              <a:gd name="connsiteY4077" fmla="*/ 4408754 h 6859062"/>
              <a:gd name="connsiteX4078" fmla="*/ 358216 w 12192185"/>
              <a:gd name="connsiteY4078" fmla="*/ 4406340 h 6859062"/>
              <a:gd name="connsiteX4079" fmla="*/ 366032 w 12192185"/>
              <a:gd name="connsiteY4079" fmla="*/ 4399867 h 6859062"/>
              <a:gd name="connsiteX4080" fmla="*/ 367552 w 12192185"/>
              <a:gd name="connsiteY4080" fmla="*/ 4398153 h 6859062"/>
              <a:gd name="connsiteX4081" fmla="*/ 393998 w 12192185"/>
              <a:gd name="connsiteY4081" fmla="*/ 4398066 h 6859062"/>
              <a:gd name="connsiteX4082" fmla="*/ 12179050 w 12192185"/>
              <a:gd name="connsiteY4082" fmla="*/ 4254399 h 6859062"/>
              <a:gd name="connsiteX4083" fmla="*/ 12187434 w 12192185"/>
              <a:gd name="connsiteY4083" fmla="*/ 4255019 h 6859062"/>
              <a:gd name="connsiteX4084" fmla="*/ 12191999 w 12192185"/>
              <a:gd name="connsiteY4084" fmla="*/ 4256204 h 6859062"/>
              <a:gd name="connsiteX4085" fmla="*/ 12191999 w 12192185"/>
              <a:gd name="connsiteY4085" fmla="*/ 4327898 h 6859062"/>
              <a:gd name="connsiteX4086" fmla="*/ 12191598 w 12192185"/>
              <a:gd name="connsiteY4086" fmla="*/ 4328330 h 6859062"/>
              <a:gd name="connsiteX4087" fmla="*/ 12186879 w 12192185"/>
              <a:gd name="connsiteY4087" fmla="*/ 4326118 h 6859062"/>
              <a:gd name="connsiteX4088" fmla="*/ 12183863 w 12192185"/>
              <a:gd name="connsiteY4088" fmla="*/ 4327020 h 6859062"/>
              <a:gd name="connsiteX4089" fmla="*/ 12176554 w 12192185"/>
              <a:gd name="connsiteY4089" fmla="*/ 4329010 h 6859062"/>
              <a:gd name="connsiteX4090" fmla="*/ 12159292 w 12192185"/>
              <a:gd name="connsiteY4090" fmla="*/ 4319155 h 6859062"/>
              <a:gd name="connsiteX4091" fmla="*/ 12155184 w 12192185"/>
              <a:gd name="connsiteY4091" fmla="*/ 4309994 h 6859062"/>
              <a:gd name="connsiteX4092" fmla="*/ 12151723 w 12192185"/>
              <a:gd name="connsiteY4092" fmla="*/ 4290055 h 6859062"/>
              <a:gd name="connsiteX4093" fmla="*/ 12152301 w 12192185"/>
              <a:gd name="connsiteY4093" fmla="*/ 4284052 h 6859062"/>
              <a:gd name="connsiteX4094" fmla="*/ 12154669 w 12192185"/>
              <a:gd name="connsiteY4094" fmla="*/ 4276635 h 6859062"/>
              <a:gd name="connsiteX4095" fmla="*/ 12157873 w 12192185"/>
              <a:gd name="connsiteY4095" fmla="*/ 4271250 h 6859062"/>
              <a:gd name="connsiteX4096" fmla="*/ 12168947 w 12192185"/>
              <a:gd name="connsiteY4096" fmla="*/ 4261946 h 6859062"/>
              <a:gd name="connsiteX4097" fmla="*/ 12175574 w 12192185"/>
              <a:gd name="connsiteY4097" fmla="*/ 4255829 h 6859062"/>
              <a:gd name="connsiteX4098" fmla="*/ 12179050 w 12192185"/>
              <a:gd name="connsiteY4098" fmla="*/ 4254399 h 6859062"/>
              <a:gd name="connsiteX4099" fmla="*/ 0 w 12192185"/>
              <a:gd name="connsiteY4099" fmla="*/ 4199775 h 6859062"/>
              <a:gd name="connsiteX4100" fmla="*/ 5035 w 12192185"/>
              <a:gd name="connsiteY4100" fmla="*/ 4218766 h 6859062"/>
              <a:gd name="connsiteX4101" fmla="*/ 4342 w 12192185"/>
              <a:gd name="connsiteY4101" fmla="*/ 4227795 h 6859062"/>
              <a:gd name="connsiteX4102" fmla="*/ 975 w 12192185"/>
              <a:gd name="connsiteY4102" fmla="*/ 4238528 h 6859062"/>
              <a:gd name="connsiteX4103" fmla="*/ 0 w 12192185"/>
              <a:gd name="connsiteY4103" fmla="*/ 4240243 h 6859062"/>
              <a:gd name="connsiteX4104" fmla="*/ 146591 w 12192185"/>
              <a:gd name="connsiteY4104" fmla="*/ 4111897 h 6859062"/>
              <a:gd name="connsiteX4105" fmla="*/ 157514 w 12192185"/>
              <a:gd name="connsiteY4105" fmla="*/ 4116734 h 6859062"/>
              <a:gd name="connsiteX4106" fmla="*/ 174141 w 12192185"/>
              <a:gd name="connsiteY4106" fmla="*/ 4132019 h 6859062"/>
              <a:gd name="connsiteX4107" fmla="*/ 180332 w 12192185"/>
              <a:gd name="connsiteY4107" fmla="*/ 4158525 h 6859062"/>
              <a:gd name="connsiteX4108" fmla="*/ 175282 w 12192185"/>
              <a:gd name="connsiteY4108" fmla="*/ 4168596 h 6859062"/>
              <a:gd name="connsiteX4109" fmla="*/ 173233 w 12192185"/>
              <a:gd name="connsiteY4109" fmla="*/ 4188174 h 6859062"/>
              <a:gd name="connsiteX4110" fmla="*/ 173766 w 12192185"/>
              <a:gd name="connsiteY4110" fmla="*/ 4196209 h 6859062"/>
              <a:gd name="connsiteX4111" fmla="*/ 167117 w 12192185"/>
              <a:gd name="connsiteY4111" fmla="*/ 4221765 h 6859062"/>
              <a:gd name="connsiteX4112" fmla="*/ 151599 w 12192185"/>
              <a:gd name="connsiteY4112" fmla="*/ 4228612 h 6859062"/>
              <a:gd name="connsiteX4113" fmla="*/ 134805 w 12192185"/>
              <a:gd name="connsiteY4113" fmla="*/ 4228661 h 6859062"/>
              <a:gd name="connsiteX4114" fmla="*/ 123448 w 12192185"/>
              <a:gd name="connsiteY4114" fmla="*/ 4225243 h 6859062"/>
              <a:gd name="connsiteX4115" fmla="*/ 111025 w 12192185"/>
              <a:gd name="connsiteY4115" fmla="*/ 4205755 h 6859062"/>
              <a:gd name="connsiteX4116" fmla="*/ 115395 w 12192185"/>
              <a:gd name="connsiteY4116" fmla="*/ 4186219 h 6859062"/>
              <a:gd name="connsiteX4117" fmla="*/ 114036 w 12192185"/>
              <a:gd name="connsiteY4117" fmla="*/ 4167292 h 6859062"/>
              <a:gd name="connsiteX4118" fmla="*/ 110698 w 12192185"/>
              <a:gd name="connsiteY4118" fmla="*/ 4148864 h 6859062"/>
              <a:gd name="connsiteX4119" fmla="*/ 112643 w 12192185"/>
              <a:gd name="connsiteY4119" fmla="*/ 4133920 h 6859062"/>
              <a:gd name="connsiteX4120" fmla="*/ 120810 w 12192185"/>
              <a:gd name="connsiteY4120" fmla="*/ 4120339 h 6859062"/>
              <a:gd name="connsiteX4121" fmla="*/ 131685 w 12192185"/>
              <a:gd name="connsiteY4121" fmla="*/ 4113407 h 6859062"/>
              <a:gd name="connsiteX4122" fmla="*/ 134697 w 12192185"/>
              <a:gd name="connsiteY4122" fmla="*/ 4114532 h 6859062"/>
              <a:gd name="connsiteX4123" fmla="*/ 146591 w 12192185"/>
              <a:gd name="connsiteY4123" fmla="*/ 4111897 h 6859062"/>
              <a:gd name="connsiteX4124" fmla="*/ 12155223 w 12192185"/>
              <a:gd name="connsiteY4124" fmla="*/ 3990579 h 6859062"/>
              <a:gd name="connsiteX4125" fmla="*/ 12163606 w 12192185"/>
              <a:gd name="connsiteY4125" fmla="*/ 3991200 h 6859062"/>
              <a:gd name="connsiteX4126" fmla="*/ 12177254 w 12192185"/>
              <a:gd name="connsiteY4126" fmla="*/ 3994741 h 6859062"/>
              <a:gd name="connsiteX4127" fmla="*/ 12182145 w 12192185"/>
              <a:gd name="connsiteY4127" fmla="*/ 3995102 h 6859062"/>
              <a:gd name="connsiteX4128" fmla="*/ 12185025 w 12192185"/>
              <a:gd name="connsiteY4128" fmla="*/ 3997987 h 6859062"/>
              <a:gd name="connsiteX4129" fmla="*/ 12189796 w 12192185"/>
              <a:gd name="connsiteY4129" fmla="*/ 4003823 h 6859062"/>
              <a:gd name="connsiteX4130" fmla="*/ 12191909 w 12192185"/>
              <a:gd name="connsiteY4130" fmla="*/ 4005667 h 6859062"/>
              <a:gd name="connsiteX4131" fmla="*/ 12191999 w 12192185"/>
              <a:gd name="connsiteY4131" fmla="*/ 4005826 h 6859062"/>
              <a:gd name="connsiteX4132" fmla="*/ 12191999 w 12192185"/>
              <a:gd name="connsiteY4132" fmla="*/ 4044331 h 6859062"/>
              <a:gd name="connsiteX4133" fmla="*/ 12184485 w 12192185"/>
              <a:gd name="connsiteY4133" fmla="*/ 4053480 h 6859062"/>
              <a:gd name="connsiteX4134" fmla="*/ 12180396 w 12192185"/>
              <a:gd name="connsiteY4134" fmla="*/ 4057537 h 6859062"/>
              <a:gd name="connsiteX4135" fmla="*/ 12175591 w 12192185"/>
              <a:gd name="connsiteY4135" fmla="*/ 4059852 h 6859062"/>
              <a:gd name="connsiteX4136" fmla="*/ 12171469 w 12192185"/>
              <a:gd name="connsiteY4136" fmla="*/ 4060531 h 6859062"/>
              <a:gd name="connsiteX4137" fmla="*/ 12163051 w 12192185"/>
              <a:gd name="connsiteY4137" fmla="*/ 4062297 h 6859062"/>
              <a:gd name="connsiteX4138" fmla="*/ 12160035 w 12192185"/>
              <a:gd name="connsiteY4138" fmla="*/ 4063199 h 6859062"/>
              <a:gd name="connsiteX4139" fmla="*/ 12152726 w 12192185"/>
              <a:gd name="connsiteY4139" fmla="*/ 4065189 h 6859062"/>
              <a:gd name="connsiteX4140" fmla="*/ 12135464 w 12192185"/>
              <a:gd name="connsiteY4140" fmla="*/ 4055335 h 6859062"/>
              <a:gd name="connsiteX4141" fmla="*/ 12131357 w 12192185"/>
              <a:gd name="connsiteY4141" fmla="*/ 4046174 h 6859062"/>
              <a:gd name="connsiteX4142" fmla="*/ 12127897 w 12192185"/>
              <a:gd name="connsiteY4142" fmla="*/ 4026234 h 6859062"/>
              <a:gd name="connsiteX4143" fmla="*/ 12128475 w 12192185"/>
              <a:gd name="connsiteY4143" fmla="*/ 4020233 h 6859062"/>
              <a:gd name="connsiteX4144" fmla="*/ 12130842 w 12192185"/>
              <a:gd name="connsiteY4144" fmla="*/ 4012816 h 6859062"/>
              <a:gd name="connsiteX4145" fmla="*/ 12134045 w 12192185"/>
              <a:gd name="connsiteY4145" fmla="*/ 4007429 h 6859062"/>
              <a:gd name="connsiteX4146" fmla="*/ 12145119 w 12192185"/>
              <a:gd name="connsiteY4146" fmla="*/ 3998126 h 6859062"/>
              <a:gd name="connsiteX4147" fmla="*/ 12151747 w 12192185"/>
              <a:gd name="connsiteY4147" fmla="*/ 3992009 h 6859062"/>
              <a:gd name="connsiteX4148" fmla="*/ 12155223 w 12192185"/>
              <a:gd name="connsiteY4148" fmla="*/ 3990579 h 6859062"/>
              <a:gd name="connsiteX4149" fmla="*/ 12191999 w 12192185"/>
              <a:gd name="connsiteY4149" fmla="*/ 3678488 h 6859062"/>
              <a:gd name="connsiteX4150" fmla="*/ 12191999 w 12192185"/>
              <a:gd name="connsiteY4150" fmla="*/ 3764525 h 6859062"/>
              <a:gd name="connsiteX4151" fmla="*/ 12191339 w 12192185"/>
              <a:gd name="connsiteY4151" fmla="*/ 3764446 h 6859062"/>
              <a:gd name="connsiteX4152" fmla="*/ 12182962 w 12192185"/>
              <a:gd name="connsiteY4152" fmla="*/ 3767482 h 6859062"/>
              <a:gd name="connsiteX4153" fmla="*/ 12170176 w 12192185"/>
              <a:gd name="connsiteY4153" fmla="*/ 3769258 h 6859062"/>
              <a:gd name="connsiteX4154" fmla="*/ 12165940 w 12192185"/>
              <a:gd name="connsiteY4154" fmla="*/ 3767926 h 6859062"/>
              <a:gd name="connsiteX4155" fmla="*/ 12153876 w 12192185"/>
              <a:gd name="connsiteY4155" fmla="*/ 3764488 h 6859062"/>
              <a:gd name="connsiteX4156" fmla="*/ 12150569 w 12192185"/>
              <a:gd name="connsiteY4156" fmla="*/ 3760930 h 6859062"/>
              <a:gd name="connsiteX4157" fmla="*/ 12138351 w 12192185"/>
              <a:gd name="connsiteY4157" fmla="*/ 3745670 h 6859062"/>
              <a:gd name="connsiteX4158" fmla="*/ 12134497 w 12192185"/>
              <a:gd name="connsiteY4158" fmla="*/ 3747255 h 6859062"/>
              <a:gd name="connsiteX4159" fmla="*/ 12135846 w 12192185"/>
              <a:gd name="connsiteY4159" fmla="*/ 3752028 h 6859062"/>
              <a:gd name="connsiteX4160" fmla="*/ 12139246 w 12192185"/>
              <a:gd name="connsiteY4160" fmla="*/ 3754317 h 6859062"/>
              <a:gd name="connsiteX4161" fmla="*/ 12140822 w 12192185"/>
              <a:gd name="connsiteY4161" fmla="*/ 3757153 h 6859062"/>
              <a:gd name="connsiteX4162" fmla="*/ 12137453 w 12192185"/>
              <a:gd name="connsiteY4162" fmla="*/ 3757924 h 6859062"/>
              <a:gd name="connsiteX4163" fmla="*/ 12134166 w 12192185"/>
              <a:gd name="connsiteY4163" fmla="*/ 3756407 h 6859062"/>
              <a:gd name="connsiteX4164" fmla="*/ 12128375 w 12192185"/>
              <a:gd name="connsiteY4164" fmla="*/ 3757765 h 6859062"/>
              <a:gd name="connsiteX4165" fmla="*/ 12131373 w 12192185"/>
              <a:gd name="connsiteY4165" fmla="*/ 3762065 h 6859062"/>
              <a:gd name="connsiteX4166" fmla="*/ 12135866 w 12192185"/>
              <a:gd name="connsiteY4166" fmla="*/ 3764520 h 6859062"/>
              <a:gd name="connsiteX4167" fmla="*/ 12135030 w 12192185"/>
              <a:gd name="connsiteY4167" fmla="*/ 3768962 h 6859062"/>
              <a:gd name="connsiteX4168" fmla="*/ 12123460 w 12192185"/>
              <a:gd name="connsiteY4168" fmla="*/ 3769214 h 6859062"/>
              <a:gd name="connsiteX4169" fmla="*/ 12113825 w 12192185"/>
              <a:gd name="connsiteY4169" fmla="*/ 3773177 h 6859062"/>
              <a:gd name="connsiteX4170" fmla="*/ 12111413 w 12192185"/>
              <a:gd name="connsiteY4170" fmla="*/ 3778268 h 6859062"/>
              <a:gd name="connsiteX4171" fmla="*/ 12109919 w 12192185"/>
              <a:gd name="connsiteY4171" fmla="*/ 3780111 h 6859062"/>
              <a:gd name="connsiteX4172" fmla="*/ 12108074 w 12192185"/>
              <a:gd name="connsiteY4172" fmla="*/ 3778616 h 6859062"/>
              <a:gd name="connsiteX4173" fmla="*/ 12103057 w 12192185"/>
              <a:gd name="connsiteY4173" fmla="*/ 3776377 h 6859062"/>
              <a:gd name="connsiteX4174" fmla="*/ 12093301 w 12192185"/>
              <a:gd name="connsiteY4174" fmla="*/ 3775063 h 6859062"/>
              <a:gd name="connsiteX4175" fmla="*/ 12089024 w 12192185"/>
              <a:gd name="connsiteY4175" fmla="*/ 3776617 h 6859062"/>
              <a:gd name="connsiteX4176" fmla="*/ 12086798 w 12192185"/>
              <a:gd name="connsiteY4176" fmla="*/ 3779172 h 6859062"/>
              <a:gd name="connsiteX4177" fmla="*/ 12083645 w 12192185"/>
              <a:gd name="connsiteY4177" fmla="*/ 3776985 h 6859062"/>
              <a:gd name="connsiteX4178" fmla="*/ 12082285 w 12192185"/>
              <a:gd name="connsiteY4178" fmla="*/ 3774676 h 6859062"/>
              <a:gd name="connsiteX4179" fmla="*/ 12073878 w 12192185"/>
              <a:gd name="connsiteY4179" fmla="*/ 3774650 h 6859062"/>
              <a:gd name="connsiteX4180" fmla="*/ 12072837 w 12192185"/>
              <a:gd name="connsiteY4180" fmla="*/ 3776103 h 6859062"/>
              <a:gd name="connsiteX4181" fmla="*/ 12069613 w 12192185"/>
              <a:gd name="connsiteY4181" fmla="*/ 3777225 h 6859062"/>
              <a:gd name="connsiteX4182" fmla="*/ 12069160 w 12192185"/>
              <a:gd name="connsiteY4182" fmla="*/ 3774133 h 6859062"/>
              <a:gd name="connsiteX4183" fmla="*/ 12070715 w 12192185"/>
              <a:gd name="connsiteY4183" fmla="*/ 3771444 h 6859062"/>
              <a:gd name="connsiteX4184" fmla="*/ 12069799 w 12192185"/>
              <a:gd name="connsiteY4184" fmla="*/ 3767722 h 6859062"/>
              <a:gd name="connsiteX4185" fmla="*/ 12062599 w 12192185"/>
              <a:gd name="connsiteY4185" fmla="*/ 3758184 h 6859062"/>
              <a:gd name="connsiteX4186" fmla="*/ 12056244 w 12192185"/>
              <a:gd name="connsiteY4186" fmla="*/ 3745224 h 6859062"/>
              <a:gd name="connsiteX4187" fmla="*/ 12056523 w 12192185"/>
              <a:gd name="connsiteY4187" fmla="*/ 3741421 h 6859062"/>
              <a:gd name="connsiteX4188" fmla="*/ 12056977 w 12192185"/>
              <a:gd name="connsiteY4188" fmla="*/ 3730578 h 6859062"/>
              <a:gd name="connsiteX4189" fmla="*/ 12057483 w 12192185"/>
              <a:gd name="connsiteY4189" fmla="*/ 3728322 h 6859062"/>
              <a:gd name="connsiteX4190" fmla="*/ 12063595 w 12192185"/>
              <a:gd name="connsiteY4190" fmla="*/ 3716791 h 6859062"/>
              <a:gd name="connsiteX4191" fmla="*/ 12077413 w 12192185"/>
              <a:gd name="connsiteY4191" fmla="*/ 3705573 h 6859062"/>
              <a:gd name="connsiteX4192" fmla="*/ 12081907 w 12192185"/>
              <a:gd name="connsiteY4192" fmla="*/ 3701061 h 6859062"/>
              <a:gd name="connsiteX4193" fmla="*/ 12089829 w 12192185"/>
              <a:gd name="connsiteY4193" fmla="*/ 3698417 h 6859062"/>
              <a:gd name="connsiteX4194" fmla="*/ 12096600 w 12192185"/>
              <a:gd name="connsiteY4194" fmla="*/ 3696451 h 6859062"/>
              <a:gd name="connsiteX4195" fmla="*/ 12099155 w 12192185"/>
              <a:gd name="connsiteY4195" fmla="*/ 3695195 h 6859062"/>
              <a:gd name="connsiteX4196" fmla="*/ 12115320 w 12192185"/>
              <a:gd name="connsiteY4196" fmla="*/ 3700636 h 6859062"/>
              <a:gd name="connsiteX4197" fmla="*/ 12125139 w 12192185"/>
              <a:gd name="connsiteY4197" fmla="*/ 3708072 h 6859062"/>
              <a:gd name="connsiteX4198" fmla="*/ 12137801 w 12192185"/>
              <a:gd name="connsiteY4198" fmla="*/ 3711470 h 6859062"/>
              <a:gd name="connsiteX4199" fmla="*/ 12139295 w 12192185"/>
              <a:gd name="connsiteY4199" fmla="*/ 3709625 h 6859062"/>
              <a:gd name="connsiteX4200" fmla="*/ 12147303 w 12192185"/>
              <a:gd name="connsiteY4200" fmla="*/ 3694240 h 6859062"/>
              <a:gd name="connsiteX4201" fmla="*/ 12149530 w 12192185"/>
              <a:gd name="connsiteY4201" fmla="*/ 3691686 h 6859062"/>
              <a:gd name="connsiteX4202" fmla="*/ 12157710 w 12192185"/>
              <a:gd name="connsiteY4202" fmla="*/ 3686680 h 6859062"/>
              <a:gd name="connsiteX4203" fmla="*/ 12166861 w 12192185"/>
              <a:gd name="connsiteY4203" fmla="*/ 3680047 h 6859062"/>
              <a:gd name="connsiteX4204" fmla="*/ 12171137 w 12192185"/>
              <a:gd name="connsiteY4204" fmla="*/ 3678494 h 6859062"/>
              <a:gd name="connsiteX4205" fmla="*/ 109281 w 12192185"/>
              <a:gd name="connsiteY4205" fmla="*/ 3659371 h 6859062"/>
              <a:gd name="connsiteX4206" fmla="*/ 123000 w 12192185"/>
              <a:gd name="connsiteY4206" fmla="*/ 3667049 h 6859062"/>
              <a:gd name="connsiteX4207" fmla="*/ 128083 w 12192185"/>
              <a:gd name="connsiteY4207" fmla="*/ 3670619 h 6859062"/>
              <a:gd name="connsiteX4208" fmla="*/ 131455 w 12192185"/>
              <a:gd name="connsiteY4208" fmla="*/ 3675278 h 6859062"/>
              <a:gd name="connsiteX4209" fmla="*/ 132960 w 12192185"/>
              <a:gd name="connsiteY4209" fmla="*/ 3679527 h 6859062"/>
              <a:gd name="connsiteX4210" fmla="*/ 136437 w 12192185"/>
              <a:gd name="connsiteY4210" fmla="*/ 3688125 h 6859062"/>
              <a:gd name="connsiteX4211" fmla="*/ 137967 w 12192185"/>
              <a:gd name="connsiteY4211" fmla="*/ 3691155 h 6859062"/>
              <a:gd name="connsiteX4212" fmla="*/ 141470 w 12192185"/>
              <a:gd name="connsiteY4212" fmla="*/ 3698535 h 6859062"/>
              <a:gd name="connsiteX4213" fmla="*/ 134292 w 12192185"/>
              <a:gd name="connsiteY4213" fmla="*/ 3718734 h 6859062"/>
              <a:gd name="connsiteX4214" fmla="*/ 125348 w 12192185"/>
              <a:gd name="connsiteY4214" fmla="*/ 3724836 h 6859062"/>
              <a:gd name="connsiteX4215" fmla="*/ 104840 w 12192185"/>
              <a:gd name="connsiteY4215" fmla="*/ 3732303 h 6859062"/>
              <a:gd name="connsiteX4216" fmla="*/ 98358 w 12192185"/>
              <a:gd name="connsiteY4216" fmla="*/ 3732830 h 6859062"/>
              <a:gd name="connsiteX4217" fmla="*/ 90034 w 12192185"/>
              <a:gd name="connsiteY4217" fmla="*/ 3731727 h 6859062"/>
              <a:gd name="connsiteX4218" fmla="*/ 83707 w 12192185"/>
              <a:gd name="connsiteY4218" fmla="*/ 3729352 h 6859062"/>
              <a:gd name="connsiteX4219" fmla="*/ 71725 w 12192185"/>
              <a:gd name="connsiteY4219" fmla="*/ 3719366 h 6859062"/>
              <a:gd name="connsiteX4220" fmla="*/ 63970 w 12192185"/>
              <a:gd name="connsiteY4220" fmla="*/ 3713493 h 6859062"/>
              <a:gd name="connsiteX4221" fmla="*/ 61791 w 12192185"/>
              <a:gd name="connsiteY4221" fmla="*/ 3710075 h 6859062"/>
              <a:gd name="connsiteX4222" fmla="*/ 60856 w 12192185"/>
              <a:gd name="connsiteY4222" fmla="*/ 3701058 h 6859062"/>
              <a:gd name="connsiteX4223" fmla="*/ 62018 w 12192185"/>
              <a:gd name="connsiteY4223" fmla="*/ 3685896 h 6859062"/>
              <a:gd name="connsiteX4224" fmla="*/ 61472 w 12192185"/>
              <a:gd name="connsiteY4224" fmla="*/ 3680636 h 6859062"/>
              <a:gd name="connsiteX4225" fmla="*/ 63987 w 12192185"/>
              <a:gd name="connsiteY4225" fmla="*/ 3677030 h 6859062"/>
              <a:gd name="connsiteX4226" fmla="*/ 69275 w 12192185"/>
              <a:gd name="connsiteY4226" fmla="*/ 3670856 h 6859062"/>
              <a:gd name="connsiteX4227" fmla="*/ 70829 w 12192185"/>
              <a:gd name="connsiteY4227" fmla="*/ 3668262 h 6859062"/>
              <a:gd name="connsiteX4228" fmla="*/ 79230 w 12192185"/>
              <a:gd name="connsiteY4228" fmla="*/ 3661305 h 6859062"/>
              <a:gd name="connsiteX4229" fmla="*/ 80862 w 12192185"/>
              <a:gd name="connsiteY4229" fmla="*/ 3659462 h 6859062"/>
              <a:gd name="connsiteX4230" fmla="*/ 109281 w 12192185"/>
              <a:gd name="connsiteY4230" fmla="*/ 3659371 h 6859062"/>
              <a:gd name="connsiteX4231" fmla="*/ 997430 w 12192185"/>
              <a:gd name="connsiteY4231" fmla="*/ 3642962 h 6859062"/>
              <a:gd name="connsiteX4232" fmla="*/ 996872 w 12192185"/>
              <a:gd name="connsiteY4232" fmla="*/ 3649429 h 6859062"/>
              <a:gd name="connsiteX4233" fmla="*/ 997733 w 12192185"/>
              <a:gd name="connsiteY4233" fmla="*/ 3663769 h 6859062"/>
              <a:gd name="connsiteX4234" fmla="*/ 993345 w 12192185"/>
              <a:gd name="connsiteY4234" fmla="*/ 3662594 h 6859062"/>
              <a:gd name="connsiteX4235" fmla="*/ 1001492 w 12192185"/>
              <a:gd name="connsiteY4235" fmla="*/ 3702405 h 6859062"/>
              <a:gd name="connsiteX4236" fmla="*/ 999140 w 12192185"/>
              <a:gd name="connsiteY4236" fmla="*/ 3711183 h 6859062"/>
              <a:gd name="connsiteX4237" fmla="*/ 997964 w 12192185"/>
              <a:gd name="connsiteY4237" fmla="*/ 3715572 h 6859062"/>
              <a:gd name="connsiteX4238" fmla="*/ 996788 w 12192185"/>
              <a:gd name="connsiteY4238" fmla="*/ 3719961 h 6859062"/>
              <a:gd name="connsiteX4239" fmla="*/ 1001178 w 12192185"/>
              <a:gd name="connsiteY4239" fmla="*/ 3721136 h 6859062"/>
              <a:gd name="connsiteX4240" fmla="*/ 998824 w 12192185"/>
              <a:gd name="connsiteY4240" fmla="*/ 3729914 h 6859062"/>
              <a:gd name="connsiteX4241" fmla="*/ 991224 w 12192185"/>
              <a:gd name="connsiteY4241" fmla="*/ 3723172 h 6859062"/>
              <a:gd name="connsiteX4242" fmla="*/ 992084 w 12192185"/>
              <a:gd name="connsiteY4242" fmla="*/ 3737515 h 6859062"/>
              <a:gd name="connsiteX4243" fmla="*/ 990908 w 12192185"/>
              <a:gd name="connsiteY4243" fmla="*/ 3741905 h 6859062"/>
              <a:gd name="connsiteX4244" fmla="*/ 989733 w 12192185"/>
              <a:gd name="connsiteY4244" fmla="*/ 3746293 h 6859062"/>
              <a:gd name="connsiteX4245" fmla="*/ 988556 w 12192185"/>
              <a:gd name="connsiteY4245" fmla="*/ 3750681 h 6859062"/>
              <a:gd name="connsiteX4246" fmla="*/ 988243 w 12192185"/>
              <a:gd name="connsiteY4246" fmla="*/ 3769413 h 6859062"/>
              <a:gd name="connsiteX4247" fmla="*/ 991455 w 12192185"/>
              <a:gd name="connsiteY4247" fmla="*/ 3774977 h 6859062"/>
              <a:gd name="connsiteX4248" fmla="*/ 990278 w 12192185"/>
              <a:gd name="connsiteY4248" fmla="*/ 3779367 h 6859062"/>
              <a:gd name="connsiteX4249" fmla="*/ 991455 w 12192185"/>
              <a:gd name="connsiteY4249" fmla="*/ 3774977 h 6859062"/>
              <a:gd name="connsiteX4250" fmla="*/ 992860 w 12192185"/>
              <a:gd name="connsiteY4250" fmla="*/ 3822391 h 6859062"/>
              <a:gd name="connsiteX4251" fmla="*/ 990510 w 12192185"/>
              <a:gd name="connsiteY4251" fmla="*/ 3831170 h 6859062"/>
              <a:gd name="connsiteX4252" fmla="*/ 994897 w 12192185"/>
              <a:gd name="connsiteY4252" fmla="*/ 3832347 h 6859062"/>
              <a:gd name="connsiteX4253" fmla="*/ 997480 w 12192185"/>
              <a:gd name="connsiteY4253" fmla="*/ 3875372 h 6859062"/>
              <a:gd name="connsiteX4254" fmla="*/ 1001869 w 12192185"/>
              <a:gd name="connsiteY4254" fmla="*/ 3876548 h 6859062"/>
              <a:gd name="connsiteX4255" fmla="*/ 1000693 w 12192185"/>
              <a:gd name="connsiteY4255" fmla="*/ 3880937 h 6859062"/>
              <a:gd name="connsiteX4256" fmla="*/ 996305 w 12192185"/>
              <a:gd name="connsiteY4256" fmla="*/ 3879761 h 6859062"/>
              <a:gd name="connsiteX4257" fmla="*/ 995127 w 12192185"/>
              <a:gd name="connsiteY4257" fmla="*/ 3884150 h 6859062"/>
              <a:gd name="connsiteX4258" fmla="*/ 998341 w 12192185"/>
              <a:gd name="connsiteY4258" fmla="*/ 3889714 h 6859062"/>
              <a:gd name="connsiteX4259" fmla="*/ 1004914 w 12192185"/>
              <a:gd name="connsiteY4259" fmla="*/ 4023181 h 6859062"/>
              <a:gd name="connsiteX4260" fmla="*/ 1004283 w 12192185"/>
              <a:gd name="connsiteY4260" fmla="*/ 4060643 h 6859062"/>
              <a:gd name="connsiteX4261" fmla="*/ 1011569 w 12192185"/>
              <a:gd name="connsiteY4261" fmla="*/ 4086116 h 6859062"/>
              <a:gd name="connsiteX4262" fmla="*/ 1019716 w 12192185"/>
              <a:gd name="connsiteY4262" fmla="*/ 4125929 h 6859062"/>
              <a:gd name="connsiteX4263" fmla="*/ 1074394 w 12192185"/>
              <a:gd name="connsiteY4263" fmla="*/ 4413401 h 6859062"/>
              <a:gd name="connsiteX4264" fmla="*/ 1067656 w 12192185"/>
              <a:gd name="connsiteY4264" fmla="*/ 4421004 h 6859062"/>
              <a:gd name="connsiteX4265" fmla="*/ 1068830 w 12192185"/>
              <a:gd name="connsiteY4265" fmla="*/ 4416614 h 6859062"/>
              <a:gd name="connsiteX4266" fmla="*/ 1064443 w 12192185"/>
              <a:gd name="connsiteY4266" fmla="*/ 4415437 h 6859062"/>
              <a:gd name="connsiteX4267" fmla="*/ 1066480 w 12192185"/>
              <a:gd name="connsiteY4267" fmla="*/ 4425392 h 6859062"/>
              <a:gd name="connsiteX4268" fmla="*/ 1062952 w 12192185"/>
              <a:gd name="connsiteY4268" fmla="*/ 4438558 h 6859062"/>
              <a:gd name="connsiteX4269" fmla="*/ 1076979 w 12192185"/>
              <a:gd name="connsiteY4269" fmla="*/ 4456428 h 6859062"/>
              <a:gd name="connsiteX4270" fmla="*/ 1075802 w 12192185"/>
              <a:gd name="connsiteY4270" fmla="*/ 4460816 h 6859062"/>
              <a:gd name="connsiteX4271" fmla="*/ 1079015 w 12192185"/>
              <a:gd name="connsiteY4271" fmla="*/ 4466381 h 6859062"/>
              <a:gd name="connsiteX4272" fmla="*/ 1077840 w 12192185"/>
              <a:gd name="connsiteY4272" fmla="*/ 4470769 h 6859062"/>
              <a:gd name="connsiteX4273" fmla="*/ 1082228 w 12192185"/>
              <a:gd name="connsiteY4273" fmla="*/ 4471945 h 6859062"/>
              <a:gd name="connsiteX4274" fmla="*/ 1084266 w 12192185"/>
              <a:gd name="connsiteY4274" fmla="*/ 4481898 h 6859062"/>
              <a:gd name="connsiteX4275" fmla="*/ 1087161 w 12192185"/>
              <a:gd name="connsiteY4275" fmla="*/ 4506194 h 6859062"/>
              <a:gd name="connsiteX4276" fmla="*/ 1082774 w 12192185"/>
              <a:gd name="connsiteY4276" fmla="*/ 4505018 h 6859062"/>
              <a:gd name="connsiteX4277" fmla="*/ 1079561 w 12192185"/>
              <a:gd name="connsiteY4277" fmla="*/ 4499453 h 6859062"/>
              <a:gd name="connsiteX4278" fmla="*/ 1081597 w 12192185"/>
              <a:gd name="connsiteY4278" fmla="*/ 4509407 h 6859062"/>
              <a:gd name="connsiteX4279" fmla="*/ 1084810 w 12192185"/>
              <a:gd name="connsiteY4279" fmla="*/ 4514972 h 6859062"/>
              <a:gd name="connsiteX4280" fmla="*/ 1093273 w 12192185"/>
              <a:gd name="connsiteY4280" fmla="*/ 4536054 h 6859062"/>
              <a:gd name="connsiteX4281" fmla="*/ 1092097 w 12192185"/>
              <a:gd name="connsiteY4281" fmla="*/ 4540443 h 6859062"/>
              <a:gd name="connsiteX4282" fmla="*/ 1094133 w 12192185"/>
              <a:gd name="connsiteY4282" fmla="*/ 4550397 h 6859062"/>
              <a:gd name="connsiteX4283" fmla="*/ 1098523 w 12192185"/>
              <a:gd name="connsiteY4283" fmla="*/ 4551573 h 6859062"/>
              <a:gd name="connsiteX4284" fmla="*/ 1099699 w 12192185"/>
              <a:gd name="connsiteY4284" fmla="*/ 4547184 h 6859062"/>
              <a:gd name="connsiteX4285" fmla="*/ 1100559 w 12192185"/>
              <a:gd name="connsiteY4285" fmla="*/ 4561525 h 6859062"/>
              <a:gd name="connsiteX4286" fmla="*/ 1109337 w 12192185"/>
              <a:gd name="connsiteY4286" fmla="*/ 4563878 h 6859062"/>
              <a:gd name="connsiteX4287" fmla="*/ 1106985 w 12192185"/>
              <a:gd name="connsiteY4287" fmla="*/ 4572655 h 6859062"/>
              <a:gd name="connsiteX4288" fmla="*/ 1110199 w 12192185"/>
              <a:gd name="connsiteY4288" fmla="*/ 4578220 h 6859062"/>
              <a:gd name="connsiteX4289" fmla="*/ 1109022 w 12192185"/>
              <a:gd name="connsiteY4289" fmla="*/ 4582609 h 6859062"/>
              <a:gd name="connsiteX4290" fmla="*/ 1113410 w 12192185"/>
              <a:gd name="connsiteY4290" fmla="*/ 4583785 h 6859062"/>
              <a:gd name="connsiteX4291" fmla="*/ 1114587 w 12192185"/>
              <a:gd name="connsiteY4291" fmla="*/ 4579396 h 6859062"/>
              <a:gd name="connsiteX4292" fmla="*/ 1136759 w 12192185"/>
              <a:gd name="connsiteY4292" fmla="*/ 4637079 h 6859062"/>
              <a:gd name="connsiteX4293" fmla="*/ 1138798 w 12192185"/>
              <a:gd name="connsiteY4293" fmla="*/ 4647032 h 6859062"/>
              <a:gd name="connsiteX4294" fmla="*/ 1146398 w 12192185"/>
              <a:gd name="connsiteY4294" fmla="*/ 4653774 h 6859062"/>
              <a:gd name="connsiteX4295" fmla="*/ 1147322 w 12192185"/>
              <a:gd name="connsiteY4295" fmla="*/ 4650328 h 6859062"/>
              <a:gd name="connsiteX4296" fmla="*/ 1154908 w 12192185"/>
              <a:gd name="connsiteY4296" fmla="*/ 4667004 h 6859062"/>
              <a:gd name="connsiteX4297" fmla="*/ 1178212 w 12192185"/>
              <a:gd name="connsiteY4297" fmla="*/ 4728150 h 6859062"/>
              <a:gd name="connsiteX4298" fmla="*/ 1196628 w 12192185"/>
              <a:gd name="connsiteY4298" fmla="*/ 4747197 h 6859062"/>
              <a:gd name="connsiteX4299" fmla="*/ 1193100 w 12192185"/>
              <a:gd name="connsiteY4299" fmla="*/ 4760363 h 6859062"/>
              <a:gd name="connsiteX4300" fmla="*/ 1207988 w 12192185"/>
              <a:gd name="connsiteY4300" fmla="*/ 4792576 h 6859062"/>
              <a:gd name="connsiteX4301" fmla="*/ 1223190 w 12192185"/>
              <a:gd name="connsiteY4301" fmla="*/ 4806057 h 6859062"/>
              <a:gd name="connsiteX4302" fmla="*/ 1230477 w 12192185"/>
              <a:gd name="connsiteY4302" fmla="*/ 4831528 h 6859062"/>
              <a:gd name="connsiteX4303" fmla="*/ 1226088 w 12192185"/>
              <a:gd name="connsiteY4303" fmla="*/ 4830353 h 6859062"/>
              <a:gd name="connsiteX4304" fmla="*/ 1218487 w 12192185"/>
              <a:gd name="connsiteY4304" fmla="*/ 4823612 h 6859062"/>
              <a:gd name="connsiteX4305" fmla="*/ 1220524 w 12192185"/>
              <a:gd name="connsiteY4305" fmla="*/ 4833565 h 6859062"/>
              <a:gd name="connsiteX4306" fmla="*/ 1223736 w 12192185"/>
              <a:gd name="connsiteY4306" fmla="*/ 4839130 h 6859062"/>
              <a:gd name="connsiteX4307" fmla="*/ 1212922 w 12192185"/>
              <a:gd name="connsiteY4307" fmla="*/ 4826824 h 6859062"/>
              <a:gd name="connsiteX4308" fmla="*/ 1225773 w 12192185"/>
              <a:gd name="connsiteY4308" fmla="*/ 4849082 h 6859062"/>
              <a:gd name="connsiteX4309" fmla="*/ 1228986 w 12192185"/>
              <a:gd name="connsiteY4309" fmla="*/ 4854648 h 6859062"/>
              <a:gd name="connsiteX4310" fmla="*/ 1239801 w 12192185"/>
              <a:gd name="connsiteY4310" fmla="*/ 4866952 h 6859062"/>
              <a:gd name="connsiteX4311" fmla="*/ 1237764 w 12192185"/>
              <a:gd name="connsiteY4311" fmla="*/ 4856999 h 6859062"/>
              <a:gd name="connsiteX4312" fmla="*/ 1238940 w 12192185"/>
              <a:gd name="connsiteY4312" fmla="*/ 4852611 h 6859062"/>
              <a:gd name="connsiteX4313" fmla="*/ 1248578 w 12192185"/>
              <a:gd name="connsiteY4313" fmla="*/ 4869304 h 6859062"/>
              <a:gd name="connsiteX4314" fmla="*/ 1248893 w 12192185"/>
              <a:gd name="connsiteY4314" fmla="*/ 4850574 h 6859062"/>
              <a:gd name="connsiteX4315" fmla="*/ 1258215 w 12192185"/>
              <a:gd name="connsiteY4315" fmla="*/ 4885998 h 6859062"/>
              <a:gd name="connsiteX4316" fmla="*/ 1255002 w 12192185"/>
              <a:gd name="connsiteY4316" fmla="*/ 4880434 h 6859062"/>
              <a:gd name="connsiteX4317" fmla="*/ 1246226 w 12192185"/>
              <a:gd name="connsiteY4317" fmla="*/ 4878082 h 6859062"/>
              <a:gd name="connsiteX4318" fmla="*/ 1252651 w 12192185"/>
              <a:gd name="connsiteY4318" fmla="*/ 4889210 h 6859062"/>
              <a:gd name="connsiteX4319" fmla="*/ 1251476 w 12192185"/>
              <a:gd name="connsiteY4319" fmla="*/ 4893600 h 6859062"/>
              <a:gd name="connsiteX4320" fmla="*/ 1250299 w 12192185"/>
              <a:gd name="connsiteY4320" fmla="*/ 4897989 h 6859062"/>
              <a:gd name="connsiteX4321" fmla="*/ 1245912 w 12192185"/>
              <a:gd name="connsiteY4321" fmla="*/ 4896814 h 6859062"/>
              <a:gd name="connsiteX4322" fmla="*/ 1253513 w 12192185"/>
              <a:gd name="connsiteY4322" fmla="*/ 4903554 h 6859062"/>
              <a:gd name="connsiteX4323" fmla="*/ 1256724 w 12192185"/>
              <a:gd name="connsiteY4323" fmla="*/ 4909119 h 6859062"/>
              <a:gd name="connsiteX4324" fmla="*/ 1260798 w 12192185"/>
              <a:gd name="connsiteY4324" fmla="*/ 4929025 h 6859062"/>
              <a:gd name="connsiteX4325" fmla="*/ 1257587 w 12192185"/>
              <a:gd name="connsiteY4325" fmla="*/ 4923461 h 6859062"/>
              <a:gd name="connsiteX4326" fmla="*/ 1249985 w 12192185"/>
              <a:gd name="connsiteY4326" fmla="*/ 4916720 h 6859062"/>
              <a:gd name="connsiteX4327" fmla="*/ 1255234 w 12192185"/>
              <a:gd name="connsiteY4327" fmla="*/ 4932238 h 6859062"/>
              <a:gd name="connsiteX4328" fmla="*/ 1258446 w 12192185"/>
              <a:gd name="connsiteY4328" fmla="*/ 4937802 h 6859062"/>
              <a:gd name="connsiteX4329" fmla="*/ 1261660 w 12192185"/>
              <a:gd name="connsiteY4329" fmla="*/ 4943368 h 6859062"/>
              <a:gd name="connsiteX4330" fmla="*/ 1270437 w 12192185"/>
              <a:gd name="connsiteY4330" fmla="*/ 4945718 h 6859062"/>
              <a:gd name="connsiteX4331" fmla="*/ 1268401 w 12192185"/>
              <a:gd name="connsiteY4331" fmla="*/ 4935766 h 6859062"/>
              <a:gd name="connsiteX4332" fmla="*/ 1264011 w 12192185"/>
              <a:gd name="connsiteY4332" fmla="*/ 4934589 h 6859062"/>
              <a:gd name="connsiteX4333" fmla="*/ 1260798 w 12192185"/>
              <a:gd name="connsiteY4333" fmla="*/ 4929025 h 6859062"/>
              <a:gd name="connsiteX4334" fmla="*/ 1261114 w 12192185"/>
              <a:gd name="connsiteY4334" fmla="*/ 4910295 h 6859062"/>
              <a:gd name="connsiteX4335" fmla="*/ 1264326 w 12192185"/>
              <a:gd name="connsiteY4335" fmla="*/ 4915859 h 6859062"/>
              <a:gd name="connsiteX4336" fmla="*/ 1265501 w 12192185"/>
              <a:gd name="connsiteY4336" fmla="*/ 4911470 h 6859062"/>
              <a:gd name="connsiteX4337" fmla="*/ 1266678 w 12192185"/>
              <a:gd name="connsiteY4337" fmla="*/ 4907082 h 6859062"/>
              <a:gd name="connsiteX4338" fmla="*/ 1262290 w 12192185"/>
              <a:gd name="connsiteY4338" fmla="*/ 4905907 h 6859062"/>
              <a:gd name="connsiteX4339" fmla="*/ 1259077 w 12192185"/>
              <a:gd name="connsiteY4339" fmla="*/ 4900341 h 6859062"/>
              <a:gd name="connsiteX4340" fmla="*/ 1263467 w 12192185"/>
              <a:gd name="connsiteY4340" fmla="*/ 4901517 h 6859062"/>
              <a:gd name="connsiteX4341" fmla="*/ 1260253 w 12192185"/>
              <a:gd name="connsiteY4341" fmla="*/ 4895953 h 6859062"/>
              <a:gd name="connsiteX4342" fmla="*/ 1261429 w 12192185"/>
              <a:gd name="connsiteY4342" fmla="*/ 4891564 h 6859062"/>
              <a:gd name="connsiteX4343" fmla="*/ 1283919 w 12192185"/>
              <a:gd name="connsiteY4343" fmla="*/ 4930516 h 6859062"/>
              <a:gd name="connsiteX4344" fmla="*/ 1279529 w 12192185"/>
              <a:gd name="connsiteY4344" fmla="*/ 4929340 h 6859062"/>
              <a:gd name="connsiteX4345" fmla="*/ 1275140 w 12192185"/>
              <a:gd name="connsiteY4345" fmla="*/ 4928164 h 6859062"/>
              <a:gd name="connsiteX4346" fmla="*/ 1278354 w 12192185"/>
              <a:gd name="connsiteY4346" fmla="*/ 4933729 h 6859062"/>
              <a:gd name="connsiteX4347" fmla="*/ 1282743 w 12192185"/>
              <a:gd name="connsiteY4347" fmla="*/ 4934905 h 6859062"/>
              <a:gd name="connsiteX4348" fmla="*/ 1285955 w 12192185"/>
              <a:gd name="connsiteY4348" fmla="*/ 4940470 h 6859062"/>
              <a:gd name="connsiteX4349" fmla="*/ 1290029 w 12192185"/>
              <a:gd name="connsiteY4349" fmla="*/ 4960376 h 6859062"/>
              <a:gd name="connsiteX4350" fmla="*/ 1288853 w 12192185"/>
              <a:gd name="connsiteY4350" fmla="*/ 4964765 h 6859062"/>
              <a:gd name="connsiteX4351" fmla="*/ 1292065 w 12192185"/>
              <a:gd name="connsiteY4351" fmla="*/ 4970330 h 6859062"/>
              <a:gd name="connsiteX4352" fmla="*/ 1296455 w 12192185"/>
              <a:gd name="connsiteY4352" fmla="*/ 4971507 h 6859062"/>
              <a:gd name="connsiteX4353" fmla="*/ 1297630 w 12192185"/>
              <a:gd name="connsiteY4353" fmla="*/ 4967117 h 6859062"/>
              <a:gd name="connsiteX4354" fmla="*/ 1309305 w 12192185"/>
              <a:gd name="connsiteY4354" fmla="*/ 4993764 h 6859062"/>
              <a:gd name="connsiteX4355" fmla="*/ 1312518 w 12192185"/>
              <a:gd name="connsiteY4355" fmla="*/ 4999330 h 6859062"/>
              <a:gd name="connsiteX4356" fmla="*/ 1316907 w 12192185"/>
              <a:gd name="connsiteY4356" fmla="*/ 5000505 h 6859062"/>
              <a:gd name="connsiteX4357" fmla="*/ 1318083 w 12192185"/>
              <a:gd name="connsiteY4357" fmla="*/ 4996115 h 6859062"/>
              <a:gd name="connsiteX4358" fmla="*/ 1333286 w 12192185"/>
              <a:gd name="connsiteY4358" fmla="*/ 5009598 h 6859062"/>
              <a:gd name="connsiteX4359" fmla="*/ 1368311 w 12192185"/>
              <a:gd name="connsiteY4359" fmla="*/ 5089540 h 6859062"/>
              <a:gd name="connsiteX4360" fmla="*/ 1373874 w 12192185"/>
              <a:gd name="connsiteY4360" fmla="*/ 5086328 h 6859062"/>
              <a:gd name="connsiteX4361" fmla="*/ 1372700 w 12192185"/>
              <a:gd name="connsiteY4361" fmla="*/ 5090716 h 6859062"/>
              <a:gd name="connsiteX4362" fmla="*/ 1375913 w 12192185"/>
              <a:gd name="connsiteY4362" fmla="*/ 5096281 h 6859062"/>
              <a:gd name="connsiteX4363" fmla="*/ 1377088 w 12192185"/>
              <a:gd name="connsiteY4363" fmla="*/ 5091892 h 6859062"/>
              <a:gd name="connsiteX4364" fmla="*/ 1392836 w 12192185"/>
              <a:gd name="connsiteY4364" fmla="*/ 5138445 h 6859062"/>
              <a:gd name="connsiteX4365" fmla="*/ 1402790 w 12192185"/>
              <a:gd name="connsiteY4365" fmla="*/ 5136410 h 6859062"/>
              <a:gd name="connsiteX4366" fmla="*/ 1404828 w 12192185"/>
              <a:gd name="connsiteY4366" fmla="*/ 5146363 h 6859062"/>
              <a:gd name="connsiteX4367" fmla="*/ 1411253 w 12192185"/>
              <a:gd name="connsiteY4367" fmla="*/ 5157491 h 6859062"/>
              <a:gd name="connsiteX4368" fmla="*/ 1406865 w 12192185"/>
              <a:gd name="connsiteY4368" fmla="*/ 5156315 h 6859062"/>
              <a:gd name="connsiteX4369" fmla="*/ 1405688 w 12192185"/>
              <a:gd name="connsiteY4369" fmla="*/ 5160705 h 6859062"/>
              <a:gd name="connsiteX4370" fmla="*/ 1413290 w 12192185"/>
              <a:gd name="connsiteY4370" fmla="*/ 5167446 h 6859062"/>
              <a:gd name="connsiteX4371" fmla="*/ 1417678 w 12192185"/>
              <a:gd name="connsiteY4371" fmla="*/ 5168622 h 6859062"/>
              <a:gd name="connsiteX4372" fmla="*/ 1441343 w 12192185"/>
              <a:gd name="connsiteY4372" fmla="*/ 5203186 h 6859062"/>
              <a:gd name="connsiteX4373" fmla="*/ 1436095 w 12192185"/>
              <a:gd name="connsiteY4373" fmla="*/ 5187668 h 6859062"/>
              <a:gd name="connsiteX4374" fmla="*/ 1420891 w 12192185"/>
              <a:gd name="connsiteY4374" fmla="*/ 5174186 h 6859062"/>
              <a:gd name="connsiteX4375" fmla="*/ 1424105 w 12192185"/>
              <a:gd name="connsiteY4375" fmla="*/ 5179751 h 6859062"/>
              <a:gd name="connsiteX4376" fmla="*/ 1428494 w 12192185"/>
              <a:gd name="connsiteY4376" fmla="*/ 5180927 h 6859062"/>
              <a:gd name="connsiteX4377" fmla="*/ 1429669 w 12192185"/>
              <a:gd name="connsiteY4377" fmla="*/ 5176539 h 6859062"/>
              <a:gd name="connsiteX4378" fmla="*/ 1426456 w 12192185"/>
              <a:gd name="connsiteY4378" fmla="*/ 5170973 h 6859062"/>
              <a:gd name="connsiteX4379" fmla="*/ 1430844 w 12192185"/>
              <a:gd name="connsiteY4379" fmla="*/ 5172150 h 6859062"/>
              <a:gd name="connsiteX4380" fmla="*/ 1434057 w 12192185"/>
              <a:gd name="connsiteY4380" fmla="*/ 5177713 h 6859062"/>
              <a:gd name="connsiteX4381" fmla="*/ 1435233 w 12192185"/>
              <a:gd name="connsiteY4381" fmla="*/ 5173325 h 6859062"/>
              <a:gd name="connsiteX4382" fmla="*/ 1432022 w 12192185"/>
              <a:gd name="connsiteY4382" fmla="*/ 5167761 h 6859062"/>
              <a:gd name="connsiteX4383" fmla="*/ 1428808 w 12192185"/>
              <a:gd name="connsiteY4383" fmla="*/ 5162195 h 6859062"/>
              <a:gd name="connsiteX4384" fmla="*/ 1436408 w 12192185"/>
              <a:gd name="connsiteY4384" fmla="*/ 5168936 h 6859062"/>
              <a:gd name="connsiteX4385" fmla="*/ 1439622 w 12192185"/>
              <a:gd name="connsiteY4385" fmla="*/ 5174501 h 6859062"/>
              <a:gd name="connsiteX4386" fmla="*/ 1442835 w 12192185"/>
              <a:gd name="connsiteY4386" fmla="*/ 5180066 h 6859062"/>
              <a:gd name="connsiteX4387" fmla="*/ 1449261 w 12192185"/>
              <a:gd name="connsiteY4387" fmla="*/ 5191195 h 6859062"/>
              <a:gd name="connsiteX4388" fmla="*/ 1451612 w 12192185"/>
              <a:gd name="connsiteY4388" fmla="*/ 5182418 h 6859062"/>
              <a:gd name="connsiteX4389" fmla="*/ 1452788 w 12192185"/>
              <a:gd name="connsiteY4389" fmla="*/ 5178029 h 6859062"/>
              <a:gd name="connsiteX4390" fmla="*/ 1464465 w 12192185"/>
              <a:gd name="connsiteY4390" fmla="*/ 5204675 h 6859062"/>
              <a:gd name="connsiteX4391" fmla="*/ 1460075 w 12192185"/>
              <a:gd name="connsiteY4391" fmla="*/ 5203500 h 6859062"/>
              <a:gd name="connsiteX4392" fmla="*/ 1458898 w 12192185"/>
              <a:gd name="connsiteY4392" fmla="*/ 5207889 h 6859062"/>
              <a:gd name="connsiteX4393" fmla="*/ 1463288 w 12192185"/>
              <a:gd name="connsiteY4393" fmla="*/ 5209065 h 6859062"/>
              <a:gd name="connsiteX4394" fmla="*/ 1467676 w 12192185"/>
              <a:gd name="connsiteY4394" fmla="*/ 5210241 h 6859062"/>
              <a:gd name="connsiteX4395" fmla="*/ 1470889 w 12192185"/>
              <a:gd name="connsiteY4395" fmla="*/ 5215806 h 6859062"/>
              <a:gd name="connsiteX4396" fmla="*/ 1480528 w 12192185"/>
              <a:gd name="connsiteY4396" fmla="*/ 5232500 h 6859062"/>
              <a:gd name="connsiteX4397" fmla="*/ 1506860 w 12192185"/>
              <a:gd name="connsiteY4397" fmla="*/ 5239556 h 6859062"/>
              <a:gd name="connsiteX4398" fmla="*/ 1488444 w 12192185"/>
              <a:gd name="connsiteY4398" fmla="*/ 5220510 h 6859062"/>
              <a:gd name="connsiteX4399" fmla="*/ 1497221 w 12192185"/>
              <a:gd name="connsiteY4399" fmla="*/ 5222862 h 6859062"/>
              <a:gd name="connsiteX4400" fmla="*/ 1498397 w 12192185"/>
              <a:gd name="connsiteY4400" fmla="*/ 5218473 h 6859062"/>
              <a:gd name="connsiteX4401" fmla="*/ 1524100 w 12192185"/>
              <a:gd name="connsiteY4401" fmla="*/ 5262990 h 6859062"/>
              <a:gd name="connsiteX4402" fmla="*/ 1529803 w 12192185"/>
              <a:gd name="connsiteY4402" fmla="*/ 5271505 h 6859062"/>
              <a:gd name="connsiteX4403" fmla="*/ 1437995 w 12192185"/>
              <a:gd name="connsiteY4403" fmla="*/ 5112967 h 6859062"/>
              <a:gd name="connsiteX4404" fmla="*/ 1311258 w 12192185"/>
              <a:gd name="connsiteY4404" fmla="*/ 4846888 h 6859062"/>
              <a:gd name="connsiteX4405" fmla="*/ 1218056 w 12192185"/>
              <a:gd name="connsiteY4405" fmla="*/ 4558384 h 6859062"/>
              <a:gd name="connsiteX4406" fmla="*/ 1201334 w 12192185"/>
              <a:gd name="connsiteY4406" fmla="*/ 4484933 h 6859062"/>
              <a:gd name="connsiteX4407" fmla="*/ 1197261 w 12192185"/>
              <a:gd name="connsiteY4407" fmla="*/ 4477118 h 6859062"/>
              <a:gd name="connsiteX4408" fmla="*/ 1180039 w 12192185"/>
              <a:gd name="connsiteY4408" fmla="*/ 4422892 h 6859062"/>
              <a:gd name="connsiteX4409" fmla="*/ 1181216 w 12192185"/>
              <a:gd name="connsiteY4409" fmla="*/ 4418505 h 6859062"/>
              <a:gd name="connsiteX4410" fmla="*/ 1182392 w 12192185"/>
              <a:gd name="connsiteY4410" fmla="*/ 4414117 h 6859062"/>
              <a:gd name="connsiteX4411" fmla="*/ 1178003 w 12192185"/>
              <a:gd name="connsiteY4411" fmla="*/ 4412939 h 6859062"/>
              <a:gd name="connsiteX4412" fmla="*/ 1175105 w 12192185"/>
              <a:gd name="connsiteY4412" fmla="*/ 4388646 h 6859062"/>
              <a:gd name="connsiteX4413" fmla="*/ 1176282 w 12192185"/>
              <a:gd name="connsiteY4413" fmla="*/ 4384256 h 6859062"/>
              <a:gd name="connsiteX4414" fmla="*/ 1173069 w 12192185"/>
              <a:gd name="connsiteY4414" fmla="*/ 4378691 h 6859062"/>
              <a:gd name="connsiteX4415" fmla="*/ 1171892 w 12192185"/>
              <a:gd name="connsiteY4415" fmla="*/ 4383080 h 6859062"/>
              <a:gd name="connsiteX4416" fmla="*/ 1154106 w 12192185"/>
              <a:gd name="connsiteY4416" fmla="*/ 4326573 h 6859062"/>
              <a:gd name="connsiteX4417" fmla="*/ 1158496 w 12192185"/>
              <a:gd name="connsiteY4417" fmla="*/ 4327748 h 6859062"/>
              <a:gd name="connsiteX4418" fmla="*/ 1159672 w 12192185"/>
              <a:gd name="connsiteY4418" fmla="*/ 4323360 h 6859062"/>
              <a:gd name="connsiteX4419" fmla="*/ 1156459 w 12192185"/>
              <a:gd name="connsiteY4419" fmla="*/ 4317795 h 6859062"/>
              <a:gd name="connsiteX4420" fmla="*/ 1152070 w 12192185"/>
              <a:gd name="connsiteY4420" fmla="*/ 4316619 h 6859062"/>
              <a:gd name="connsiteX4421" fmla="*/ 1153245 w 12192185"/>
              <a:gd name="connsiteY4421" fmla="*/ 4312229 h 6859062"/>
              <a:gd name="connsiteX4422" fmla="*/ 1151524 w 12192185"/>
              <a:gd name="connsiteY4422" fmla="*/ 4283546 h 6859062"/>
              <a:gd name="connsiteX4423" fmla="*/ 1143923 w 12192185"/>
              <a:gd name="connsiteY4423" fmla="*/ 4276806 h 6859062"/>
              <a:gd name="connsiteX4424" fmla="*/ 1141886 w 12192185"/>
              <a:gd name="connsiteY4424" fmla="*/ 4266851 h 6859062"/>
              <a:gd name="connsiteX4425" fmla="*/ 1147451 w 12192185"/>
              <a:gd name="connsiteY4425" fmla="*/ 4263640 h 6859062"/>
              <a:gd name="connsiteX4426" fmla="*/ 1144238 w 12192185"/>
              <a:gd name="connsiteY4426" fmla="*/ 4258074 h 6859062"/>
              <a:gd name="connsiteX4427" fmla="*/ 1141026 w 12192185"/>
              <a:gd name="connsiteY4427" fmla="*/ 4252510 h 6859062"/>
              <a:gd name="connsiteX4428" fmla="*/ 1129664 w 12192185"/>
              <a:gd name="connsiteY4428" fmla="*/ 4207132 h 6859062"/>
              <a:gd name="connsiteX4429" fmla="*/ 1129350 w 12192185"/>
              <a:gd name="connsiteY4429" fmla="*/ 4225863 h 6859062"/>
              <a:gd name="connsiteX4430" fmla="*/ 1137813 w 12192185"/>
              <a:gd name="connsiteY4430" fmla="*/ 4246945 h 6859062"/>
              <a:gd name="connsiteX4431" fmla="*/ 1136636 w 12192185"/>
              <a:gd name="connsiteY4431" fmla="*/ 4251335 h 6859062"/>
              <a:gd name="connsiteX4432" fmla="*/ 1135460 w 12192185"/>
              <a:gd name="connsiteY4432" fmla="*/ 4255723 h 6859062"/>
              <a:gd name="connsiteX4433" fmla="*/ 1137498 w 12192185"/>
              <a:gd name="connsiteY4433" fmla="*/ 4265676 h 6859062"/>
              <a:gd name="connsiteX4434" fmla="*/ 1150033 w 12192185"/>
              <a:gd name="connsiteY4434" fmla="*/ 4306665 h 6859062"/>
              <a:gd name="connsiteX4435" fmla="*/ 1147682 w 12192185"/>
              <a:gd name="connsiteY4435" fmla="*/ 4315442 h 6859062"/>
              <a:gd name="connsiteX4436" fmla="*/ 1146506 w 12192185"/>
              <a:gd name="connsiteY4436" fmla="*/ 4319832 h 6859062"/>
              <a:gd name="connsiteX4437" fmla="*/ 1144154 w 12192185"/>
              <a:gd name="connsiteY4437" fmla="*/ 4328609 h 6859062"/>
              <a:gd name="connsiteX4438" fmla="*/ 1148541 w 12192185"/>
              <a:gd name="connsiteY4438" fmla="*/ 4329785 h 6859062"/>
              <a:gd name="connsiteX4439" fmla="*/ 1152931 w 12192185"/>
              <a:gd name="connsiteY4439" fmla="*/ 4330961 h 6859062"/>
              <a:gd name="connsiteX4440" fmla="*/ 1161393 w 12192185"/>
              <a:gd name="connsiteY4440" fmla="*/ 4352045 h 6859062"/>
              <a:gd name="connsiteX4441" fmla="*/ 1167504 w 12192185"/>
              <a:gd name="connsiteY4441" fmla="*/ 4381903 h 6859062"/>
              <a:gd name="connsiteX4442" fmla="*/ 1166328 w 12192185"/>
              <a:gd name="connsiteY4442" fmla="*/ 4386292 h 6859062"/>
              <a:gd name="connsiteX4443" fmla="*/ 1165152 w 12192185"/>
              <a:gd name="connsiteY4443" fmla="*/ 4390680 h 6859062"/>
              <a:gd name="connsiteX4444" fmla="*/ 1173615 w 12192185"/>
              <a:gd name="connsiteY4444" fmla="*/ 4411764 h 6859062"/>
              <a:gd name="connsiteX4445" fmla="*/ 1170402 w 12192185"/>
              <a:gd name="connsiteY4445" fmla="*/ 4406199 h 6859062"/>
              <a:gd name="connsiteX4446" fmla="*/ 1169226 w 12192185"/>
              <a:gd name="connsiteY4446" fmla="*/ 4410588 h 6859062"/>
              <a:gd name="connsiteX4447" fmla="*/ 1172439 w 12192185"/>
              <a:gd name="connsiteY4447" fmla="*/ 4416153 h 6859062"/>
              <a:gd name="connsiteX4448" fmla="*/ 1175651 w 12192185"/>
              <a:gd name="connsiteY4448" fmla="*/ 4421717 h 6859062"/>
              <a:gd name="connsiteX4449" fmla="*/ 1176512 w 12192185"/>
              <a:gd name="connsiteY4449" fmla="*/ 4436059 h 6859062"/>
              <a:gd name="connsiteX4450" fmla="*/ 1182936 w 12192185"/>
              <a:gd name="connsiteY4450" fmla="*/ 4447190 h 6859062"/>
              <a:gd name="connsiteX4451" fmla="*/ 1175336 w 12192185"/>
              <a:gd name="connsiteY4451" fmla="*/ 4440449 h 6859062"/>
              <a:gd name="connsiteX4452" fmla="*/ 1184974 w 12192185"/>
              <a:gd name="connsiteY4452" fmla="*/ 4457141 h 6859062"/>
              <a:gd name="connsiteX4453" fmla="*/ 1192260 w 12192185"/>
              <a:gd name="connsiteY4453" fmla="*/ 4482614 h 6859062"/>
              <a:gd name="connsiteX4454" fmla="*/ 1179095 w 12192185"/>
              <a:gd name="connsiteY4454" fmla="*/ 4479085 h 6859062"/>
              <a:gd name="connsiteX4455" fmla="*/ 1191946 w 12192185"/>
              <a:gd name="connsiteY4455" fmla="*/ 4501343 h 6859062"/>
              <a:gd name="connsiteX4456" fmla="*/ 1187556 w 12192185"/>
              <a:gd name="connsiteY4456" fmla="*/ 4500168 h 6859062"/>
              <a:gd name="connsiteX4457" fmla="*/ 1186381 w 12192185"/>
              <a:gd name="connsiteY4457" fmla="*/ 4504557 h 6859062"/>
              <a:gd name="connsiteX4458" fmla="*/ 1189595 w 12192185"/>
              <a:gd name="connsiteY4458" fmla="*/ 4510122 h 6859062"/>
              <a:gd name="connsiteX4459" fmla="*/ 1199232 w 12192185"/>
              <a:gd name="connsiteY4459" fmla="*/ 4526816 h 6859062"/>
              <a:gd name="connsiteX4460" fmla="*/ 1201270 w 12192185"/>
              <a:gd name="connsiteY4460" fmla="*/ 4536768 h 6859062"/>
              <a:gd name="connsiteX4461" fmla="*/ 1204483 w 12192185"/>
              <a:gd name="connsiteY4461" fmla="*/ 4542334 h 6859062"/>
              <a:gd name="connsiteX4462" fmla="*/ 1205658 w 12192185"/>
              <a:gd name="connsiteY4462" fmla="*/ 4537945 h 6859062"/>
              <a:gd name="connsiteX4463" fmla="*/ 1206834 w 12192185"/>
              <a:gd name="connsiteY4463" fmla="*/ 4533557 h 6859062"/>
              <a:gd name="connsiteX4464" fmla="*/ 1219369 w 12192185"/>
              <a:gd name="connsiteY4464" fmla="*/ 4574546 h 6859062"/>
              <a:gd name="connsiteX4465" fmla="*/ 1207380 w 12192185"/>
              <a:gd name="connsiteY4465" fmla="*/ 4566629 h 6859062"/>
              <a:gd name="connsiteX4466" fmla="*/ 1226656 w 12192185"/>
              <a:gd name="connsiteY4466" fmla="*/ 4600018 h 6859062"/>
              <a:gd name="connsiteX4467" fmla="*/ 1239192 w 12192185"/>
              <a:gd name="connsiteY4467" fmla="*/ 4641007 h 6859062"/>
              <a:gd name="connsiteX4468" fmla="*/ 1235979 w 12192185"/>
              <a:gd name="connsiteY4468" fmla="*/ 4635441 h 6859062"/>
              <a:gd name="connsiteX4469" fmla="*/ 1231591 w 12192185"/>
              <a:gd name="connsiteY4469" fmla="*/ 4634266 h 6859062"/>
              <a:gd name="connsiteX4470" fmla="*/ 1227201 w 12192185"/>
              <a:gd name="connsiteY4470" fmla="*/ 4633090 h 6859062"/>
              <a:gd name="connsiteX4471" fmla="*/ 1229238 w 12192185"/>
              <a:gd name="connsiteY4471" fmla="*/ 4643044 h 6859062"/>
              <a:gd name="connsiteX4472" fmla="*/ 1224851 w 12192185"/>
              <a:gd name="connsiteY4472" fmla="*/ 4641868 h 6859062"/>
              <a:gd name="connsiteX4473" fmla="*/ 1221636 w 12192185"/>
              <a:gd name="connsiteY4473" fmla="*/ 4636303 h 6859062"/>
              <a:gd name="connsiteX4474" fmla="*/ 1222813 w 12192185"/>
              <a:gd name="connsiteY4474" fmla="*/ 4631914 h 6859062"/>
              <a:gd name="connsiteX4475" fmla="*/ 1219601 w 12192185"/>
              <a:gd name="connsiteY4475" fmla="*/ 4626351 h 6859062"/>
              <a:gd name="connsiteX4476" fmla="*/ 1216388 w 12192185"/>
              <a:gd name="connsiteY4476" fmla="*/ 4620785 h 6859062"/>
              <a:gd name="connsiteX4477" fmla="*/ 1166244 w 12192185"/>
              <a:gd name="connsiteY4477" fmla="*/ 4456826 h 6859062"/>
              <a:gd name="connsiteX4478" fmla="*/ 1167419 w 12192185"/>
              <a:gd name="connsiteY4478" fmla="*/ 4452437 h 6859062"/>
              <a:gd name="connsiteX4479" fmla="*/ 1164208 w 12192185"/>
              <a:gd name="connsiteY4479" fmla="*/ 4446875 h 6859062"/>
              <a:gd name="connsiteX4480" fmla="*/ 1153709 w 12192185"/>
              <a:gd name="connsiteY4480" fmla="*/ 4415837 h 6859062"/>
              <a:gd name="connsiteX4481" fmla="*/ 1152847 w 12192185"/>
              <a:gd name="connsiteY4481" fmla="*/ 4401495 h 6859062"/>
              <a:gd name="connsiteX4482" fmla="*/ 1149633 w 12192185"/>
              <a:gd name="connsiteY4482" fmla="*/ 4395931 h 6859062"/>
              <a:gd name="connsiteX4483" fmla="*/ 1135922 w 12192185"/>
              <a:gd name="connsiteY4483" fmla="*/ 4359331 h 6859062"/>
              <a:gd name="connsiteX4484" fmla="*/ 1132709 w 12192185"/>
              <a:gd name="connsiteY4484" fmla="*/ 4353765 h 6859062"/>
              <a:gd name="connsiteX4485" fmla="*/ 1136237 w 12192185"/>
              <a:gd name="connsiteY4485" fmla="*/ 4340599 h 6859062"/>
              <a:gd name="connsiteX4486" fmla="*/ 1122525 w 12192185"/>
              <a:gd name="connsiteY4486" fmla="*/ 4303999 h 6859062"/>
              <a:gd name="connsiteX4487" fmla="*/ 1119313 w 12192185"/>
              <a:gd name="connsiteY4487" fmla="*/ 4298434 h 6859062"/>
              <a:gd name="connsiteX4488" fmla="*/ 1120488 w 12192185"/>
              <a:gd name="connsiteY4488" fmla="*/ 4294045 h 6859062"/>
              <a:gd name="connsiteX4489" fmla="*/ 1096361 w 12192185"/>
              <a:gd name="connsiteY4489" fmla="*/ 4155872 h 6859062"/>
              <a:gd name="connsiteX4490" fmla="*/ 1091113 w 12192185"/>
              <a:gd name="connsiteY4490" fmla="*/ 4140355 h 6859062"/>
              <a:gd name="connsiteX4491" fmla="*/ 1094640 w 12192185"/>
              <a:gd name="connsiteY4491" fmla="*/ 4127188 h 6859062"/>
              <a:gd name="connsiteX4492" fmla="*/ 1085862 w 12192185"/>
              <a:gd name="connsiteY4492" fmla="*/ 4124836 h 6859062"/>
              <a:gd name="connsiteX4493" fmla="*/ 1083826 w 12192185"/>
              <a:gd name="connsiteY4493" fmla="*/ 4114884 h 6859062"/>
              <a:gd name="connsiteX4494" fmla="*/ 1078345 w 12192185"/>
              <a:gd name="connsiteY4494" fmla="*/ 4047561 h 6859062"/>
              <a:gd name="connsiteX4495" fmla="*/ 1079521 w 12192185"/>
              <a:gd name="connsiteY4495" fmla="*/ 4043174 h 6859062"/>
              <a:gd name="connsiteX4496" fmla="*/ 1081873 w 12192185"/>
              <a:gd name="connsiteY4496" fmla="*/ 4034397 h 6859062"/>
              <a:gd name="connsiteX4497" fmla="*/ 1077484 w 12192185"/>
              <a:gd name="connsiteY4497" fmla="*/ 4033220 h 6859062"/>
              <a:gd name="connsiteX4498" fmla="*/ 1064402 w 12192185"/>
              <a:gd name="connsiteY4498" fmla="*/ 3959157 h 6859062"/>
              <a:gd name="connsiteX4499" fmla="*/ 1052811 w 12192185"/>
              <a:gd name="connsiteY4499" fmla="*/ 3861976 h 6859062"/>
              <a:gd name="connsiteX4500" fmla="*/ 1048192 w 12192185"/>
              <a:gd name="connsiteY4500" fmla="*/ 3808995 h 6859062"/>
              <a:gd name="connsiteX4501" fmla="*/ 1049368 w 12192185"/>
              <a:gd name="connsiteY4501" fmla="*/ 3804606 h 6859062"/>
              <a:gd name="connsiteX4502" fmla="*/ 1050544 w 12192185"/>
              <a:gd name="connsiteY4502" fmla="*/ 3800218 h 6859062"/>
              <a:gd name="connsiteX4503" fmla="*/ 1051720 w 12192185"/>
              <a:gd name="connsiteY4503" fmla="*/ 3795829 h 6859062"/>
              <a:gd name="connsiteX4504" fmla="*/ 1047332 w 12192185"/>
              <a:gd name="connsiteY4504" fmla="*/ 3794654 h 6859062"/>
              <a:gd name="connsiteX4505" fmla="*/ 1039730 w 12192185"/>
              <a:gd name="connsiteY4505" fmla="*/ 3787912 h 6859062"/>
              <a:gd name="connsiteX4506" fmla="*/ 1039185 w 12192185"/>
              <a:gd name="connsiteY4506" fmla="*/ 3754841 h 6859062"/>
              <a:gd name="connsiteX4507" fmla="*/ 1032759 w 12192185"/>
              <a:gd name="connsiteY4507" fmla="*/ 3743710 h 6859062"/>
              <a:gd name="connsiteX4508" fmla="*/ 1040591 w 12192185"/>
              <a:gd name="connsiteY4508" fmla="*/ 3802254 h 6859062"/>
              <a:gd name="connsiteX4509" fmla="*/ 1038239 w 12192185"/>
              <a:gd name="connsiteY4509" fmla="*/ 3811032 h 6859062"/>
              <a:gd name="connsiteX4510" fmla="*/ 1041452 w 12192185"/>
              <a:gd name="connsiteY4510" fmla="*/ 3816598 h 6859062"/>
              <a:gd name="connsiteX4511" fmla="*/ 1044581 w 12192185"/>
              <a:gd name="connsiteY4511" fmla="*/ 3892697 h 6859062"/>
              <a:gd name="connsiteX4512" fmla="*/ 1062511 w 12192185"/>
              <a:gd name="connsiteY4512" fmla="*/ 4071543 h 6859062"/>
              <a:gd name="connsiteX4513" fmla="*/ 1087185 w 12192185"/>
              <a:gd name="connsiteY4513" fmla="*/ 4242788 h 6859062"/>
              <a:gd name="connsiteX4514" fmla="*/ 1094470 w 12192185"/>
              <a:gd name="connsiteY4514" fmla="*/ 4268258 h 6859062"/>
              <a:gd name="connsiteX4515" fmla="*/ 1117737 w 12192185"/>
              <a:gd name="connsiteY4515" fmla="*/ 4392087 h 6859062"/>
              <a:gd name="connsiteX4516" fmla="*/ 1130272 w 12192185"/>
              <a:gd name="connsiteY4516" fmla="*/ 4433077 h 6859062"/>
              <a:gd name="connsiteX4517" fmla="*/ 1158558 w 12192185"/>
              <a:gd name="connsiteY4517" fmla="*/ 4520621 h 6859062"/>
              <a:gd name="connsiteX4518" fmla="*/ 1207841 w 12192185"/>
              <a:gd name="connsiteY4518" fmla="*/ 4670237 h 6859062"/>
              <a:gd name="connsiteX4519" fmla="*/ 1223905 w 12192185"/>
              <a:gd name="connsiteY4519" fmla="*/ 4698060 h 6859062"/>
              <a:gd name="connsiteX4520" fmla="*/ 1235264 w 12192185"/>
              <a:gd name="connsiteY4520" fmla="*/ 4743438 h 6859062"/>
              <a:gd name="connsiteX4521" fmla="*/ 1242867 w 12192185"/>
              <a:gd name="connsiteY4521" fmla="*/ 4750180 h 6859062"/>
              <a:gd name="connsiteX4522" fmla="*/ 1270290 w 12192185"/>
              <a:gd name="connsiteY4522" fmla="*/ 4823381 h 6859062"/>
              <a:gd name="connsiteX4523" fmla="*/ 1285493 w 12192185"/>
              <a:gd name="connsiteY4523" fmla="*/ 4836862 h 6859062"/>
              <a:gd name="connsiteX4524" fmla="*/ 1289567 w 12192185"/>
              <a:gd name="connsiteY4524" fmla="*/ 4856770 h 6859062"/>
              <a:gd name="connsiteX4525" fmla="*/ 1383598 w 12192185"/>
              <a:gd name="connsiteY4525" fmla="*/ 5032486 h 6859062"/>
              <a:gd name="connsiteX4526" fmla="*/ 1424188 w 12192185"/>
              <a:gd name="connsiteY4526" fmla="*/ 5109216 h 6859062"/>
              <a:gd name="connsiteX4527" fmla="*/ 1452243 w 12192185"/>
              <a:gd name="connsiteY4527" fmla="*/ 5144956 h 6859062"/>
              <a:gd name="connsiteX4528" fmla="*/ 1457491 w 12192185"/>
              <a:gd name="connsiteY4528" fmla="*/ 5160475 h 6859062"/>
              <a:gd name="connsiteX4529" fmla="*/ 1471520 w 12192185"/>
              <a:gd name="connsiteY4529" fmla="*/ 5178344 h 6859062"/>
              <a:gd name="connsiteX4530" fmla="*/ 1470343 w 12192185"/>
              <a:gd name="connsiteY4530" fmla="*/ 5182734 h 6859062"/>
              <a:gd name="connsiteX4531" fmla="*/ 1451927 w 12192185"/>
              <a:gd name="connsiteY4531" fmla="*/ 5163687 h 6859062"/>
              <a:gd name="connsiteX4532" fmla="*/ 1453103 w 12192185"/>
              <a:gd name="connsiteY4532" fmla="*/ 5159298 h 6859062"/>
              <a:gd name="connsiteX4533" fmla="*/ 1445502 w 12192185"/>
              <a:gd name="connsiteY4533" fmla="*/ 5152557 h 6859062"/>
              <a:gd name="connsiteX4534" fmla="*/ 1441112 w 12192185"/>
              <a:gd name="connsiteY4534" fmla="*/ 5151381 h 6859062"/>
              <a:gd name="connsiteX4535" fmla="*/ 1437901 w 12192185"/>
              <a:gd name="connsiteY4535" fmla="*/ 5145818 h 6859062"/>
              <a:gd name="connsiteX4536" fmla="*/ 1433513 w 12192185"/>
              <a:gd name="connsiteY4536" fmla="*/ 5144641 h 6859062"/>
              <a:gd name="connsiteX4537" fmla="*/ 1413059 w 12192185"/>
              <a:gd name="connsiteY4537" fmla="*/ 5115641 h 6859062"/>
              <a:gd name="connsiteX4538" fmla="*/ 1409846 w 12192185"/>
              <a:gd name="connsiteY4538" fmla="*/ 5110078 h 6859062"/>
              <a:gd name="connsiteX4539" fmla="*/ 1405458 w 12192185"/>
              <a:gd name="connsiteY4539" fmla="*/ 5108901 h 6859062"/>
              <a:gd name="connsiteX4540" fmla="*/ 1406634 w 12192185"/>
              <a:gd name="connsiteY4540" fmla="*/ 5104513 h 6859062"/>
              <a:gd name="connsiteX4541" fmla="*/ 1412199 w 12192185"/>
              <a:gd name="connsiteY4541" fmla="*/ 5101300 h 6859062"/>
              <a:gd name="connsiteX4542" fmla="*/ 1391431 w 12192185"/>
              <a:gd name="connsiteY4542" fmla="*/ 5091032 h 6859062"/>
              <a:gd name="connsiteX4543" fmla="*/ 1370118 w 12192185"/>
              <a:gd name="connsiteY4543" fmla="*/ 5047690 h 6859062"/>
              <a:gd name="connsiteX4544" fmla="*/ 1374506 w 12192185"/>
              <a:gd name="connsiteY4544" fmla="*/ 5048866 h 6859062"/>
              <a:gd name="connsiteX4545" fmla="*/ 1371293 w 12192185"/>
              <a:gd name="connsiteY4545" fmla="*/ 5043301 h 6859062"/>
              <a:gd name="connsiteX4546" fmla="*/ 1383283 w 12192185"/>
              <a:gd name="connsiteY4546" fmla="*/ 5051218 h 6859062"/>
              <a:gd name="connsiteX4547" fmla="*/ 1364867 w 12192185"/>
              <a:gd name="connsiteY4547" fmla="*/ 5032171 h 6859062"/>
              <a:gd name="connsiteX4548" fmla="*/ 1362831 w 12192185"/>
              <a:gd name="connsiteY4548" fmla="*/ 5022217 h 6859062"/>
              <a:gd name="connsiteX4549" fmla="*/ 1359618 w 12192185"/>
              <a:gd name="connsiteY4549" fmla="*/ 5016653 h 6859062"/>
              <a:gd name="connsiteX4550" fmla="*/ 1354053 w 12192185"/>
              <a:gd name="connsiteY4550" fmla="*/ 5019866 h 6859062"/>
              <a:gd name="connsiteX4551" fmla="*/ 1334776 w 12192185"/>
              <a:gd name="connsiteY4551" fmla="*/ 4986477 h 6859062"/>
              <a:gd name="connsiteX4552" fmla="*/ 1331564 w 12192185"/>
              <a:gd name="connsiteY4552" fmla="*/ 4980914 h 6859062"/>
              <a:gd name="connsiteX4553" fmla="*/ 1327174 w 12192185"/>
              <a:gd name="connsiteY4553" fmla="*/ 4979738 h 6859062"/>
              <a:gd name="connsiteX4554" fmla="*/ 1266133 w 12192185"/>
              <a:gd name="connsiteY4554" fmla="*/ 4874009 h 6859062"/>
              <a:gd name="connsiteX4555" fmla="*/ 1265272 w 12192185"/>
              <a:gd name="connsiteY4555" fmla="*/ 4859666 h 6859062"/>
              <a:gd name="connsiteX4556" fmla="*/ 1257670 w 12192185"/>
              <a:gd name="connsiteY4556" fmla="*/ 4852926 h 6859062"/>
              <a:gd name="connsiteX4557" fmla="*/ 1216219 w 12192185"/>
              <a:gd name="connsiteY4557" fmla="*/ 4761855 h 6859062"/>
              <a:gd name="connsiteX4558" fmla="*/ 1175945 w 12192185"/>
              <a:gd name="connsiteY4558" fmla="*/ 4666393 h 6859062"/>
              <a:gd name="connsiteX4559" fmla="*/ 1175083 w 12192185"/>
              <a:gd name="connsiteY4559" fmla="*/ 4652052 h 6859062"/>
              <a:gd name="connsiteX4560" fmla="*/ 1169519 w 12192185"/>
              <a:gd name="connsiteY4560" fmla="*/ 4655265 h 6859062"/>
              <a:gd name="connsiteX4561" fmla="*/ 1151733 w 12192185"/>
              <a:gd name="connsiteY4561" fmla="*/ 4598757 h 6859062"/>
              <a:gd name="connsiteX4562" fmla="*/ 1138021 w 12192185"/>
              <a:gd name="connsiteY4562" fmla="*/ 4562157 h 6859062"/>
              <a:gd name="connsiteX4563" fmla="*/ 1117023 w 12192185"/>
              <a:gd name="connsiteY4563" fmla="*/ 4500084 h 6859062"/>
              <a:gd name="connsiteX4564" fmla="*/ 1091951 w 12192185"/>
              <a:gd name="connsiteY4564" fmla="*/ 4418105 h 6859062"/>
              <a:gd name="connsiteX4565" fmla="*/ 1094302 w 12192185"/>
              <a:gd name="connsiteY4565" fmla="*/ 4409327 h 6859062"/>
              <a:gd name="connsiteX4566" fmla="*/ 1071583 w 12192185"/>
              <a:gd name="connsiteY4566" fmla="*/ 4318571 h 6859062"/>
              <a:gd name="connsiteX4567" fmla="*/ 1065158 w 12192185"/>
              <a:gd name="connsiteY4567" fmla="*/ 4307442 h 6859062"/>
              <a:gd name="connsiteX4568" fmla="*/ 1058186 w 12192185"/>
              <a:gd name="connsiteY4568" fmla="*/ 4263240 h 6859062"/>
              <a:gd name="connsiteX4569" fmla="*/ 1046511 w 12192185"/>
              <a:gd name="connsiteY4569" fmla="*/ 4236593 h 6859062"/>
              <a:gd name="connsiteX4570" fmla="*/ 1037271 w 12192185"/>
              <a:gd name="connsiteY4570" fmla="*/ 4130632 h 6859062"/>
              <a:gd name="connsiteX4571" fmla="*/ 1018709 w 12192185"/>
              <a:gd name="connsiteY4571" fmla="*/ 3989247 h 6859062"/>
              <a:gd name="connsiteX4572" fmla="*/ 1010562 w 12192185"/>
              <a:gd name="connsiteY4572" fmla="*/ 3949435 h 6859062"/>
              <a:gd name="connsiteX4573" fmla="*/ 1013775 w 12192185"/>
              <a:gd name="connsiteY4573" fmla="*/ 3955000 h 6859062"/>
              <a:gd name="connsiteX4574" fmla="*/ 1009155 w 12192185"/>
              <a:gd name="connsiteY4574" fmla="*/ 3902019 h 6859062"/>
              <a:gd name="connsiteX4575" fmla="*/ 1012683 w 12192185"/>
              <a:gd name="connsiteY4575" fmla="*/ 3888853 h 6859062"/>
              <a:gd name="connsiteX4576" fmla="*/ 1006427 w 12192185"/>
              <a:gd name="connsiteY4576" fmla="*/ 3736656 h 6859062"/>
              <a:gd name="connsiteX4577" fmla="*/ 1010815 w 12192185"/>
              <a:gd name="connsiteY4577" fmla="*/ 3737831 h 6859062"/>
              <a:gd name="connsiteX4578" fmla="*/ 1011991 w 12192185"/>
              <a:gd name="connsiteY4578" fmla="*/ 3733442 h 6859062"/>
              <a:gd name="connsiteX4579" fmla="*/ 1008780 w 12192185"/>
              <a:gd name="connsiteY4579" fmla="*/ 3727878 h 6859062"/>
              <a:gd name="connsiteX4580" fmla="*/ 1008548 w 12192185"/>
              <a:gd name="connsiteY4580" fmla="*/ 3676075 h 6859062"/>
              <a:gd name="connsiteX4581" fmla="*/ 1009723 w 12192185"/>
              <a:gd name="connsiteY4581" fmla="*/ 3671686 h 6859062"/>
              <a:gd name="connsiteX4582" fmla="*/ 1010899 w 12192185"/>
              <a:gd name="connsiteY4582" fmla="*/ 3667297 h 6859062"/>
              <a:gd name="connsiteX4583" fmla="*/ 1006511 w 12192185"/>
              <a:gd name="connsiteY4583" fmla="*/ 3666122 h 6859062"/>
              <a:gd name="connsiteX4584" fmla="*/ 1005335 w 12192185"/>
              <a:gd name="connsiteY4584" fmla="*/ 3670511 h 6859062"/>
              <a:gd name="connsiteX4585" fmla="*/ 1005650 w 12192185"/>
              <a:gd name="connsiteY4585" fmla="*/ 3651779 h 6859062"/>
              <a:gd name="connsiteX4586" fmla="*/ 997430 w 12192185"/>
              <a:gd name="connsiteY4586" fmla="*/ 3642962 h 6859062"/>
              <a:gd name="connsiteX4587" fmla="*/ 292153 w 12192185"/>
              <a:gd name="connsiteY4587" fmla="*/ 3621827 h 6859062"/>
              <a:gd name="connsiteX4588" fmla="*/ 295256 w 12192185"/>
              <a:gd name="connsiteY4588" fmla="*/ 3667352 h 6859062"/>
              <a:gd name="connsiteX4589" fmla="*/ 291316 w 12192185"/>
              <a:gd name="connsiteY4589" fmla="*/ 3718069 h 6859062"/>
              <a:gd name="connsiteX4590" fmla="*/ 280558 w 12192185"/>
              <a:gd name="connsiteY4590" fmla="*/ 3747728 h 6859062"/>
              <a:gd name="connsiteX4591" fmla="*/ 279732 w 12192185"/>
              <a:gd name="connsiteY4591" fmla="*/ 3792347 h 6859062"/>
              <a:gd name="connsiteX4592" fmla="*/ 280276 w 12192185"/>
              <a:gd name="connsiteY4592" fmla="*/ 3803967 h 6859062"/>
              <a:gd name="connsiteX4593" fmla="*/ 283491 w 12192185"/>
              <a:gd name="connsiteY4593" fmla="*/ 3800213 h 6859062"/>
              <a:gd name="connsiteX4594" fmla="*/ 284937 w 12192185"/>
              <a:gd name="connsiteY4594" fmla="*/ 3797799 h 6859062"/>
              <a:gd name="connsiteX4595" fmla="*/ 292754 w 12192185"/>
              <a:gd name="connsiteY4595" fmla="*/ 3791326 h 6859062"/>
              <a:gd name="connsiteX4596" fmla="*/ 294274 w 12192185"/>
              <a:gd name="connsiteY4596" fmla="*/ 3789611 h 6859062"/>
              <a:gd name="connsiteX4597" fmla="*/ 320720 w 12192185"/>
              <a:gd name="connsiteY4597" fmla="*/ 3789525 h 6859062"/>
              <a:gd name="connsiteX4598" fmla="*/ 320722 w 12192185"/>
              <a:gd name="connsiteY4598" fmla="*/ 3789526 h 6859062"/>
              <a:gd name="connsiteX4599" fmla="*/ 333487 w 12192185"/>
              <a:gd name="connsiteY4599" fmla="*/ 3796670 h 6859062"/>
              <a:gd name="connsiteX4600" fmla="*/ 338218 w 12192185"/>
              <a:gd name="connsiteY4600" fmla="*/ 3799992 h 6859062"/>
              <a:gd name="connsiteX4601" fmla="*/ 341356 w 12192185"/>
              <a:gd name="connsiteY4601" fmla="*/ 3804328 h 6859062"/>
              <a:gd name="connsiteX4602" fmla="*/ 342756 w 12192185"/>
              <a:gd name="connsiteY4602" fmla="*/ 3808281 h 6859062"/>
              <a:gd name="connsiteX4603" fmla="*/ 345991 w 12192185"/>
              <a:gd name="connsiteY4603" fmla="*/ 3816284 h 6859062"/>
              <a:gd name="connsiteX4604" fmla="*/ 347415 w 12192185"/>
              <a:gd name="connsiteY4604" fmla="*/ 3819103 h 6859062"/>
              <a:gd name="connsiteX4605" fmla="*/ 350674 w 12192185"/>
              <a:gd name="connsiteY4605" fmla="*/ 3825972 h 6859062"/>
              <a:gd name="connsiteX4606" fmla="*/ 343996 w 12192185"/>
              <a:gd name="connsiteY4606" fmla="*/ 3844768 h 6859062"/>
              <a:gd name="connsiteX4607" fmla="*/ 335673 w 12192185"/>
              <a:gd name="connsiteY4607" fmla="*/ 3850447 h 6859062"/>
              <a:gd name="connsiteX4608" fmla="*/ 316588 w 12192185"/>
              <a:gd name="connsiteY4608" fmla="*/ 3857395 h 6859062"/>
              <a:gd name="connsiteX4609" fmla="*/ 310555 w 12192185"/>
              <a:gd name="connsiteY4609" fmla="*/ 3857886 h 6859062"/>
              <a:gd name="connsiteX4610" fmla="*/ 310554 w 12192185"/>
              <a:gd name="connsiteY4610" fmla="*/ 3857886 h 6859062"/>
              <a:gd name="connsiteX4611" fmla="*/ 302808 w 12192185"/>
              <a:gd name="connsiteY4611" fmla="*/ 3856860 h 6859062"/>
              <a:gd name="connsiteX4612" fmla="*/ 296920 w 12192185"/>
              <a:gd name="connsiteY4612" fmla="*/ 3854649 h 6859062"/>
              <a:gd name="connsiteX4613" fmla="*/ 285770 w 12192185"/>
              <a:gd name="connsiteY4613" fmla="*/ 3845356 h 6859062"/>
              <a:gd name="connsiteX4614" fmla="*/ 278554 w 12192185"/>
              <a:gd name="connsiteY4614" fmla="*/ 3839892 h 6859062"/>
              <a:gd name="connsiteX4615" fmla="*/ 277597 w 12192185"/>
              <a:gd name="connsiteY4615" fmla="*/ 3838391 h 6859062"/>
              <a:gd name="connsiteX4616" fmla="*/ 277581 w 12192185"/>
              <a:gd name="connsiteY4616" fmla="*/ 3838487 h 6859062"/>
              <a:gd name="connsiteX4617" fmla="*/ 276083 w 12192185"/>
              <a:gd name="connsiteY4617" fmla="*/ 3859693 h 6859062"/>
              <a:gd name="connsiteX4618" fmla="*/ 283051 w 12192185"/>
              <a:gd name="connsiteY4618" fmla="*/ 3863252 h 6859062"/>
              <a:gd name="connsiteX4619" fmla="*/ 285545 w 12192185"/>
              <a:gd name="connsiteY4619" fmla="*/ 3978777 h 6859062"/>
              <a:gd name="connsiteX4620" fmla="*/ 287963 w 12192185"/>
              <a:gd name="connsiteY4620" fmla="*/ 4103052 h 6859062"/>
              <a:gd name="connsiteX4621" fmla="*/ 280919 w 12192185"/>
              <a:gd name="connsiteY4621" fmla="*/ 4108242 h 6859062"/>
              <a:gd name="connsiteX4622" fmla="*/ 299282 w 12192185"/>
              <a:gd name="connsiteY4622" fmla="*/ 4209903 h 6859062"/>
              <a:gd name="connsiteX4623" fmla="*/ 304015 w 12192185"/>
              <a:gd name="connsiteY4623" fmla="*/ 4269444 h 6859062"/>
              <a:gd name="connsiteX4624" fmla="*/ 309279 w 12192185"/>
              <a:gd name="connsiteY4624" fmla="*/ 4267738 h 6859062"/>
              <a:gd name="connsiteX4625" fmla="*/ 319274 w 12192185"/>
              <a:gd name="connsiteY4625" fmla="*/ 4325577 h 6859062"/>
              <a:gd name="connsiteX4626" fmla="*/ 313857 w 12192185"/>
              <a:gd name="connsiteY4626" fmla="*/ 4344781 h 6859062"/>
              <a:gd name="connsiteX4627" fmla="*/ 287840 w 12192185"/>
              <a:gd name="connsiteY4627" fmla="*/ 4318306 h 6859062"/>
              <a:gd name="connsiteX4628" fmla="*/ 313171 w 12192185"/>
              <a:gd name="connsiteY4628" fmla="*/ 4423528 h 6859062"/>
              <a:gd name="connsiteX4629" fmla="*/ 314951 w 12192185"/>
              <a:gd name="connsiteY4629" fmla="*/ 4420044 h 6859062"/>
              <a:gd name="connsiteX4630" fmla="*/ 315028 w 12192185"/>
              <a:gd name="connsiteY4630" fmla="*/ 4411293 h 6859062"/>
              <a:gd name="connsiteX4631" fmla="*/ 318436 w 12192185"/>
              <a:gd name="connsiteY4631" fmla="*/ 4421822 h 6859062"/>
              <a:gd name="connsiteX4632" fmla="*/ 325176 w 12192185"/>
              <a:gd name="connsiteY4632" fmla="*/ 4451632 h 6859062"/>
              <a:gd name="connsiteX4633" fmla="*/ 330365 w 12192185"/>
              <a:gd name="connsiteY4633" fmla="*/ 4458676 h 6859062"/>
              <a:gd name="connsiteX4634" fmla="*/ 328583 w 12192185"/>
              <a:gd name="connsiteY4634" fmla="*/ 4462160 h 6859062"/>
              <a:gd name="connsiteX4635" fmla="*/ 326802 w 12192185"/>
              <a:gd name="connsiteY4635" fmla="*/ 4465646 h 6859062"/>
              <a:gd name="connsiteX4636" fmla="*/ 325100 w 12192185"/>
              <a:gd name="connsiteY4636" fmla="*/ 4460381 h 6859062"/>
              <a:gd name="connsiteX4637" fmla="*/ 335552 w 12192185"/>
              <a:gd name="connsiteY4637" fmla="*/ 4465721 h 6859062"/>
              <a:gd name="connsiteX4638" fmla="*/ 344224 w 12192185"/>
              <a:gd name="connsiteY4638" fmla="*/ 4474545 h 6859062"/>
              <a:gd name="connsiteX4639" fmla="*/ 349640 w 12192185"/>
              <a:gd name="connsiteY4639" fmla="*/ 4455341 h 6859062"/>
              <a:gd name="connsiteX4640" fmla="*/ 368538 w 12192185"/>
              <a:gd name="connsiteY4640" fmla="*/ 4495754 h 6859062"/>
              <a:gd name="connsiteX4641" fmla="*/ 380390 w 12192185"/>
              <a:gd name="connsiteY4641" fmla="*/ 4541357 h 6859062"/>
              <a:gd name="connsiteX4642" fmla="*/ 359637 w 12192185"/>
              <a:gd name="connsiteY4642" fmla="*/ 4513178 h 6859062"/>
              <a:gd name="connsiteX4643" fmla="*/ 357705 w 12192185"/>
              <a:gd name="connsiteY4643" fmla="*/ 4534163 h 6859062"/>
              <a:gd name="connsiteX4644" fmla="*/ 368005 w 12192185"/>
              <a:gd name="connsiteY4644" fmla="*/ 4557002 h 6859062"/>
              <a:gd name="connsiteX4645" fmla="*/ 436242 w 12192185"/>
              <a:gd name="connsiteY4645" fmla="*/ 4758842 h 6859062"/>
              <a:gd name="connsiteX4646" fmla="*/ 449950 w 12192185"/>
              <a:gd name="connsiteY4646" fmla="*/ 4792211 h 6859062"/>
              <a:gd name="connsiteX4647" fmla="*/ 454797 w 12192185"/>
              <a:gd name="connsiteY4647" fmla="*/ 4807046 h 6859062"/>
              <a:gd name="connsiteX4648" fmla="*/ 456109 w 12192185"/>
              <a:gd name="connsiteY4648" fmla="*/ 4810705 h 6859062"/>
              <a:gd name="connsiteX4649" fmla="*/ 457393 w 12192185"/>
              <a:gd name="connsiteY4649" fmla="*/ 4810322 h 6859062"/>
              <a:gd name="connsiteX4650" fmla="*/ 470593 w 12192185"/>
              <a:gd name="connsiteY4650" fmla="*/ 4804054 h 6859062"/>
              <a:gd name="connsiteX4651" fmla="*/ 474622 w 12192185"/>
              <a:gd name="connsiteY4651" fmla="*/ 4803631 h 6859062"/>
              <a:gd name="connsiteX4652" fmla="*/ 485112 w 12192185"/>
              <a:gd name="connsiteY4652" fmla="*/ 4800701 h 6859062"/>
              <a:gd name="connsiteX4653" fmla="*/ 490913 w 12192185"/>
              <a:gd name="connsiteY4653" fmla="*/ 4799685 h 6859062"/>
              <a:gd name="connsiteX4654" fmla="*/ 496993 w 12192185"/>
              <a:gd name="connsiteY4654" fmla="*/ 4803323 h 6859062"/>
              <a:gd name="connsiteX4655" fmla="*/ 516067 w 12192185"/>
              <a:gd name="connsiteY4655" fmla="*/ 4810483 h 6859062"/>
              <a:gd name="connsiteX4656" fmla="*/ 526490 w 12192185"/>
              <a:gd name="connsiteY4656" fmla="*/ 4816718 h 6859062"/>
              <a:gd name="connsiteX4657" fmla="*/ 529409 w 12192185"/>
              <a:gd name="connsiteY4657" fmla="*/ 4821297 h 6859062"/>
              <a:gd name="connsiteX4658" fmla="*/ 532156 w 12192185"/>
              <a:gd name="connsiteY4658" fmla="*/ 4834034 h 6859062"/>
              <a:gd name="connsiteX4659" fmla="*/ 537512 w 12192185"/>
              <a:gd name="connsiteY4659" fmla="*/ 4854235 h 6859062"/>
              <a:gd name="connsiteX4660" fmla="*/ 536819 w 12192185"/>
              <a:gd name="connsiteY4660" fmla="*/ 4863263 h 6859062"/>
              <a:gd name="connsiteX4661" fmla="*/ 533452 w 12192185"/>
              <a:gd name="connsiteY4661" fmla="*/ 4873996 h 6859062"/>
              <a:gd name="connsiteX4662" fmla="*/ 529146 w 12192185"/>
              <a:gd name="connsiteY4662" fmla="*/ 4881571 h 6859062"/>
              <a:gd name="connsiteX4663" fmla="*/ 508481 w 12192185"/>
              <a:gd name="connsiteY4663" fmla="*/ 4902258 h 6859062"/>
              <a:gd name="connsiteX4664" fmla="*/ 504407 w 12192185"/>
              <a:gd name="connsiteY4664" fmla="*/ 4905735 h 6859062"/>
              <a:gd name="connsiteX4665" fmla="*/ 513532 w 12192185"/>
              <a:gd name="connsiteY4665" fmla="*/ 4925759 h 6859062"/>
              <a:gd name="connsiteX4666" fmla="*/ 542653 w 12192185"/>
              <a:gd name="connsiteY4666" fmla="*/ 4997760 h 6859062"/>
              <a:gd name="connsiteX4667" fmla="*/ 553257 w 12192185"/>
              <a:gd name="connsiteY4667" fmla="*/ 4985600 h 6859062"/>
              <a:gd name="connsiteX4668" fmla="*/ 561930 w 12192185"/>
              <a:gd name="connsiteY4668" fmla="*/ 4994425 h 6859062"/>
              <a:gd name="connsiteX4669" fmla="*/ 575676 w 12192185"/>
              <a:gd name="connsiteY4669" fmla="*/ 5023418 h 6859062"/>
              <a:gd name="connsiteX4670" fmla="*/ 584840 w 12192185"/>
              <a:gd name="connsiteY4670" fmla="*/ 5042745 h 6859062"/>
              <a:gd name="connsiteX4671" fmla="*/ 586044 w 12192185"/>
              <a:gd name="connsiteY4671" fmla="*/ 5038089 h 6859062"/>
              <a:gd name="connsiteX4672" fmla="*/ 593786 w 12192185"/>
              <a:gd name="connsiteY4672" fmla="*/ 5033172 h 6859062"/>
              <a:gd name="connsiteX4673" fmla="*/ 600742 w 12192185"/>
              <a:gd name="connsiteY4673" fmla="*/ 5032471 h 6859062"/>
              <a:gd name="connsiteX4674" fmla="*/ 619867 w 12192185"/>
              <a:gd name="connsiteY4674" fmla="*/ 5028471 h 6859062"/>
              <a:gd name="connsiteX4675" fmla="*/ 633922 w 12192185"/>
              <a:gd name="connsiteY4675" fmla="*/ 5031254 h 6859062"/>
              <a:gd name="connsiteX4676" fmla="*/ 636194 w 12192185"/>
              <a:gd name="connsiteY4676" fmla="*/ 5032388 h 6859062"/>
              <a:gd name="connsiteX4677" fmla="*/ 645744 w 12192185"/>
              <a:gd name="connsiteY4677" fmla="*/ 5039510 h 6859062"/>
              <a:gd name="connsiteX4678" fmla="*/ 649176 w 12192185"/>
              <a:gd name="connsiteY4678" fmla="*/ 5041908 h 6859062"/>
              <a:gd name="connsiteX4679" fmla="*/ 655812 w 12192185"/>
              <a:gd name="connsiteY4679" fmla="*/ 5056297 h 6859062"/>
              <a:gd name="connsiteX4680" fmla="*/ 658947 w 12192185"/>
              <a:gd name="connsiteY4680" fmla="*/ 5069037 h 6859062"/>
              <a:gd name="connsiteX4681" fmla="*/ 661481 w 12192185"/>
              <a:gd name="connsiteY4681" fmla="*/ 5072396 h 6859062"/>
              <a:gd name="connsiteX4682" fmla="*/ 664850 w 12192185"/>
              <a:gd name="connsiteY4682" fmla="*/ 5072934 h 6859062"/>
              <a:gd name="connsiteX4683" fmla="*/ 667170 w 12192185"/>
              <a:gd name="connsiteY4683" fmla="*/ 5075461 h 6859062"/>
              <a:gd name="connsiteX4684" fmla="*/ 663981 w 12192185"/>
              <a:gd name="connsiteY4684" fmla="*/ 5077431 h 6859062"/>
              <a:gd name="connsiteX4685" fmla="*/ 662022 w 12192185"/>
              <a:gd name="connsiteY4685" fmla="*/ 5077310 h 6859062"/>
              <a:gd name="connsiteX4686" fmla="*/ 656219 w 12192185"/>
              <a:gd name="connsiteY4686" fmla="*/ 5084488 h 6859062"/>
              <a:gd name="connsiteX4687" fmla="*/ 657244 w 12192185"/>
              <a:gd name="connsiteY4687" fmla="*/ 5087247 h 6859062"/>
              <a:gd name="connsiteX4688" fmla="*/ 656924 w 12192185"/>
              <a:gd name="connsiteY4688" fmla="*/ 5091447 h 6859062"/>
              <a:gd name="connsiteX4689" fmla="*/ 653205 w 12192185"/>
              <a:gd name="connsiteY4689" fmla="*/ 5091573 h 6859062"/>
              <a:gd name="connsiteX4690" fmla="*/ 648919 w 12192185"/>
              <a:gd name="connsiteY4690" fmla="*/ 5094137 h 6859062"/>
              <a:gd name="connsiteX4691" fmla="*/ 643279 w 12192185"/>
              <a:gd name="connsiteY4691" fmla="*/ 5103359 h 6859062"/>
              <a:gd name="connsiteX4692" fmla="*/ 641711 w 12192185"/>
              <a:gd name="connsiteY4692" fmla="*/ 5109183 h 6859062"/>
              <a:gd name="connsiteX4693" fmla="*/ 641707 w 12192185"/>
              <a:gd name="connsiteY4693" fmla="*/ 5111790 h 6859062"/>
              <a:gd name="connsiteX4694" fmla="*/ 639101 w 12192185"/>
              <a:gd name="connsiteY4694" fmla="*/ 5111785 h 6859062"/>
              <a:gd name="connsiteX4695" fmla="*/ 633095 w 12192185"/>
              <a:gd name="connsiteY4695" fmla="*/ 5110313 h 6859062"/>
              <a:gd name="connsiteX4696" fmla="*/ 623046 w 12192185"/>
              <a:gd name="connsiteY4696" fmla="*/ 5115773 h 6859062"/>
              <a:gd name="connsiteX4697" fmla="*/ 614817 w 12192185"/>
              <a:gd name="connsiteY4697" fmla="*/ 5125454 h 6859062"/>
              <a:gd name="connsiteX4698" fmla="*/ 610454 w 12192185"/>
              <a:gd name="connsiteY4698" fmla="*/ 5123088 h 6859062"/>
              <a:gd name="connsiteX4699" fmla="*/ 611475 w 12192185"/>
              <a:gd name="connsiteY4699" fmla="*/ 5117562 h 6859062"/>
              <a:gd name="connsiteX4700" fmla="*/ 609889 w 12192185"/>
              <a:gd name="connsiteY4700" fmla="*/ 5112030 h 6859062"/>
              <a:gd name="connsiteX4701" fmla="*/ 604722 w 12192185"/>
              <a:gd name="connsiteY4701" fmla="*/ 5116021 h 6859062"/>
              <a:gd name="connsiteX4702" fmla="*/ 604465 w 12192185"/>
              <a:gd name="connsiteY4702" fmla="*/ 5117025 h 6859062"/>
              <a:gd name="connsiteX4703" fmla="*/ 604607 w 12192185"/>
              <a:gd name="connsiteY4703" fmla="*/ 5117294 h 6859062"/>
              <a:gd name="connsiteX4704" fmla="*/ 638992 w 12192185"/>
              <a:gd name="connsiteY4704" fmla="*/ 5187592 h 6859062"/>
              <a:gd name="connsiteX4705" fmla="*/ 669483 w 12192185"/>
              <a:gd name="connsiteY4705" fmla="*/ 5233126 h 6859062"/>
              <a:gd name="connsiteX4706" fmla="*/ 670496 w 12192185"/>
              <a:gd name="connsiteY4706" fmla="*/ 5231672 h 6859062"/>
              <a:gd name="connsiteX4707" fmla="*/ 674636 w 12192185"/>
              <a:gd name="connsiteY4707" fmla="*/ 5229423 h 6859062"/>
              <a:gd name="connsiteX4708" fmla="*/ 685827 w 12192185"/>
              <a:gd name="connsiteY4708" fmla="*/ 5227816 h 6859062"/>
              <a:gd name="connsiteX4709" fmla="*/ 703633 w 12192185"/>
              <a:gd name="connsiteY4709" fmla="*/ 5224404 h 6859062"/>
              <a:gd name="connsiteX4710" fmla="*/ 711406 w 12192185"/>
              <a:gd name="connsiteY4710" fmla="*/ 5225551 h 6859062"/>
              <a:gd name="connsiteX4711" fmla="*/ 720490 w 12192185"/>
              <a:gd name="connsiteY4711" fmla="*/ 5229115 h 6859062"/>
              <a:gd name="connsiteX4712" fmla="*/ 726786 w 12192185"/>
              <a:gd name="connsiteY4712" fmla="*/ 5233299 h 6859062"/>
              <a:gd name="connsiteX4713" fmla="*/ 743439 w 12192185"/>
              <a:gd name="connsiteY4713" fmla="*/ 5252437 h 6859062"/>
              <a:gd name="connsiteX4714" fmla="*/ 749099 w 12192185"/>
              <a:gd name="connsiteY4714" fmla="*/ 5263678 h 6859062"/>
              <a:gd name="connsiteX4715" fmla="*/ 745029 w 12192185"/>
              <a:gd name="connsiteY4715" fmla="*/ 5288259 h 6859062"/>
              <a:gd name="connsiteX4716" fmla="*/ 737313 w 12192185"/>
              <a:gd name="connsiteY4716" fmla="*/ 5293794 h 6859062"/>
              <a:gd name="connsiteX4717" fmla="*/ 734051 w 12192185"/>
              <a:gd name="connsiteY4717" fmla="*/ 5296013 h 6859062"/>
              <a:gd name="connsiteX4718" fmla="*/ 725675 w 12192185"/>
              <a:gd name="connsiteY4718" fmla="*/ 5302801 h 6859062"/>
              <a:gd name="connsiteX4719" fmla="*/ 725536 w 12192185"/>
              <a:gd name="connsiteY4719" fmla="*/ 5302924 h 6859062"/>
              <a:gd name="connsiteX4720" fmla="*/ 728972 w 12192185"/>
              <a:gd name="connsiteY4720" fmla="*/ 5303864 h 6859062"/>
              <a:gd name="connsiteX4721" fmla="*/ 744536 w 12192185"/>
              <a:gd name="connsiteY4721" fmla="*/ 5324998 h 6859062"/>
              <a:gd name="connsiteX4722" fmla="*/ 730448 w 12192185"/>
              <a:gd name="connsiteY4722" fmla="*/ 5335378 h 6859062"/>
              <a:gd name="connsiteX4723" fmla="*/ 780625 w 12192185"/>
              <a:gd name="connsiteY4723" fmla="*/ 5400560 h 6859062"/>
              <a:gd name="connsiteX4724" fmla="*/ 845295 w 12192185"/>
              <a:gd name="connsiteY4724" fmla="*/ 5496952 h 6859062"/>
              <a:gd name="connsiteX4725" fmla="*/ 851325 w 12192185"/>
              <a:gd name="connsiteY4725" fmla="*/ 5487750 h 6859062"/>
              <a:gd name="connsiteX4726" fmla="*/ 854486 w 12192185"/>
              <a:gd name="connsiteY4726" fmla="*/ 5483857 h 6859062"/>
              <a:gd name="connsiteX4727" fmla="*/ 858429 w 12192185"/>
              <a:gd name="connsiteY4727" fmla="*/ 5481404 h 6859062"/>
              <a:gd name="connsiteX4728" fmla="*/ 861936 w 12192185"/>
              <a:gd name="connsiteY4728" fmla="*/ 5480431 h 6859062"/>
              <a:gd name="connsiteX4729" fmla="*/ 869057 w 12192185"/>
              <a:gd name="connsiteY4729" fmla="*/ 5478115 h 6859062"/>
              <a:gd name="connsiteX4730" fmla="*/ 871584 w 12192185"/>
              <a:gd name="connsiteY4730" fmla="*/ 5477054 h 6859062"/>
              <a:gd name="connsiteX4731" fmla="*/ 874191 w 12192185"/>
              <a:gd name="connsiteY4731" fmla="*/ 5474356 h 6859062"/>
              <a:gd name="connsiteX4732" fmla="*/ 874193 w 12192185"/>
              <a:gd name="connsiteY4732" fmla="*/ 5474355 h 6859062"/>
              <a:gd name="connsiteX4733" fmla="*/ 877728 w 12192185"/>
              <a:gd name="connsiteY4733" fmla="*/ 5474648 h 6859062"/>
              <a:gd name="connsiteX4734" fmla="*/ 893591 w 12192185"/>
              <a:gd name="connsiteY4734" fmla="*/ 5481568 h 6859062"/>
              <a:gd name="connsiteX4735" fmla="*/ 898002 w 12192185"/>
              <a:gd name="connsiteY4735" fmla="*/ 5489115 h 6859062"/>
              <a:gd name="connsiteX4736" fmla="*/ 902859 w 12192185"/>
              <a:gd name="connsiteY4736" fmla="*/ 5506053 h 6859062"/>
              <a:gd name="connsiteX4737" fmla="*/ 902919 w 12192185"/>
              <a:gd name="connsiteY4737" fmla="*/ 5511303 h 6859062"/>
              <a:gd name="connsiteX4738" fmla="*/ 901562 w 12192185"/>
              <a:gd name="connsiteY4738" fmla="*/ 5517945 h 6859062"/>
              <a:gd name="connsiteX4739" fmla="*/ 899292 w 12192185"/>
              <a:gd name="connsiteY4739" fmla="*/ 5522907 h 6859062"/>
              <a:gd name="connsiteX4740" fmla="*/ 890574 w 12192185"/>
              <a:gd name="connsiteY4740" fmla="*/ 5531994 h 6859062"/>
              <a:gd name="connsiteX4741" fmla="*/ 885408 w 12192185"/>
              <a:gd name="connsiteY4741" fmla="*/ 5537909 h 6859062"/>
              <a:gd name="connsiteX4742" fmla="*/ 882532 w 12192185"/>
              <a:gd name="connsiteY4742" fmla="*/ 5539472 h 6859062"/>
              <a:gd name="connsiteX4743" fmla="*/ 881121 w 12192185"/>
              <a:gd name="connsiteY4743" fmla="*/ 5539519 h 6859062"/>
              <a:gd name="connsiteX4744" fmla="*/ 941537 w 12192185"/>
              <a:gd name="connsiteY4744" fmla="*/ 5610194 h 6859062"/>
              <a:gd name="connsiteX4745" fmla="*/ 872005 w 12192185"/>
              <a:gd name="connsiteY4745" fmla="*/ 5557097 h 6859062"/>
              <a:gd name="connsiteX4746" fmla="*/ 853943 w 12192185"/>
              <a:gd name="connsiteY4746" fmla="*/ 5533774 h 6859062"/>
              <a:gd name="connsiteX4747" fmla="*/ 851364 w 12192185"/>
              <a:gd name="connsiteY4747" fmla="*/ 5531235 h 6859062"/>
              <a:gd name="connsiteX4748" fmla="*/ 849363 w 12192185"/>
              <a:gd name="connsiteY4748" fmla="*/ 5529835 h 6859062"/>
              <a:gd name="connsiteX4749" fmla="*/ 844234 w 12192185"/>
              <a:gd name="connsiteY4749" fmla="*/ 5522679 h 6859062"/>
              <a:gd name="connsiteX4750" fmla="*/ 842842 w 12192185"/>
              <a:gd name="connsiteY4750" fmla="*/ 5521260 h 6859062"/>
              <a:gd name="connsiteX4751" fmla="*/ 842953 w 12192185"/>
              <a:gd name="connsiteY4751" fmla="*/ 5519584 h 6859062"/>
              <a:gd name="connsiteX4752" fmla="*/ 827663 w 12192185"/>
              <a:gd name="connsiteY4752" fmla="*/ 5499841 h 6859062"/>
              <a:gd name="connsiteX4753" fmla="*/ 780846 w 12192185"/>
              <a:gd name="connsiteY4753" fmla="*/ 5447129 h 6859062"/>
              <a:gd name="connsiteX4754" fmla="*/ 780661 w 12192185"/>
              <a:gd name="connsiteY4754" fmla="*/ 5446717 h 6859062"/>
              <a:gd name="connsiteX4755" fmla="*/ 776761 w 12192185"/>
              <a:gd name="connsiteY4755" fmla="*/ 5442529 h 6859062"/>
              <a:gd name="connsiteX4756" fmla="*/ 780846 w 12192185"/>
              <a:gd name="connsiteY4756" fmla="*/ 5447129 h 6859062"/>
              <a:gd name="connsiteX4757" fmla="*/ 781948 w 12192185"/>
              <a:gd name="connsiteY4757" fmla="*/ 5449573 h 6859062"/>
              <a:gd name="connsiteX4758" fmla="*/ 771496 w 12192185"/>
              <a:gd name="connsiteY4758" fmla="*/ 5444233 h 6859062"/>
              <a:gd name="connsiteX4759" fmla="*/ 768011 w 12192185"/>
              <a:gd name="connsiteY4759" fmla="*/ 5442452 h 6859062"/>
              <a:gd name="connsiteX4760" fmla="*/ 845757 w 12192185"/>
              <a:gd name="connsiteY4760" fmla="*/ 5556872 h 6859062"/>
              <a:gd name="connsiteX4761" fmla="*/ 887264 w 12192185"/>
              <a:gd name="connsiteY4761" fmla="*/ 5613230 h 6859062"/>
              <a:gd name="connsiteX4762" fmla="*/ 823073 w 12192185"/>
              <a:gd name="connsiteY4762" fmla="*/ 5549678 h 6859062"/>
              <a:gd name="connsiteX4763" fmla="*/ 831822 w 12192185"/>
              <a:gd name="connsiteY4763" fmla="*/ 5549753 h 6859062"/>
              <a:gd name="connsiteX4764" fmla="*/ 800540 w 12192185"/>
              <a:gd name="connsiteY4764" fmla="*/ 5524985 h 6859062"/>
              <a:gd name="connsiteX4765" fmla="*/ 800693 w 12192185"/>
              <a:gd name="connsiteY4765" fmla="*/ 5507486 h 6859062"/>
              <a:gd name="connsiteX4766" fmla="*/ 747031 w 12192185"/>
              <a:gd name="connsiteY4766" fmla="*/ 5440524 h 6859062"/>
              <a:gd name="connsiteX4767" fmla="*/ 733170 w 12192185"/>
              <a:gd name="connsiteY4767" fmla="*/ 5424654 h 6859062"/>
              <a:gd name="connsiteX4768" fmla="*/ 624446 w 12192185"/>
              <a:gd name="connsiteY4768" fmla="*/ 5250468 h 6859062"/>
              <a:gd name="connsiteX4769" fmla="*/ 595173 w 12192185"/>
              <a:gd name="connsiteY4769" fmla="*/ 5195966 h 6859062"/>
              <a:gd name="connsiteX4770" fmla="*/ 581776 w 12192185"/>
              <a:gd name="connsiteY4770" fmla="*/ 5177039 h 6859062"/>
              <a:gd name="connsiteX4771" fmla="*/ 573961 w 12192185"/>
              <a:gd name="connsiteY4771" fmla="*/ 5169086 h 6859062"/>
              <a:gd name="connsiteX4772" fmla="*/ 571965 w 12192185"/>
              <a:gd name="connsiteY4772" fmla="*/ 5170283 h 6859062"/>
              <a:gd name="connsiteX4773" fmla="*/ 567639 w 12192185"/>
              <a:gd name="connsiteY4773" fmla="*/ 5177133 h 6859062"/>
              <a:gd name="connsiteX4774" fmla="*/ 567937 w 12192185"/>
              <a:gd name="connsiteY4774" fmla="*/ 5177680 h 6859062"/>
              <a:gd name="connsiteX4775" fmla="*/ 567631 w 12192185"/>
              <a:gd name="connsiteY4775" fmla="*/ 5182345 h 6859062"/>
              <a:gd name="connsiteX4776" fmla="*/ 564231 w 12192185"/>
              <a:gd name="connsiteY4776" fmla="*/ 5180878 h 6859062"/>
              <a:gd name="connsiteX4777" fmla="*/ 546289 w 12192185"/>
              <a:gd name="connsiteY4777" fmla="*/ 5181393 h 6859062"/>
              <a:gd name="connsiteX4778" fmla="*/ 540711 w 12192185"/>
              <a:gd name="connsiteY4778" fmla="*/ 5181581 h 6859062"/>
              <a:gd name="connsiteX4779" fmla="*/ 537461 w 12192185"/>
              <a:gd name="connsiteY4779" fmla="*/ 5179085 h 6859062"/>
              <a:gd name="connsiteX4780" fmla="*/ 533096 w 12192185"/>
              <a:gd name="connsiteY4780" fmla="*/ 5179326 h 6859062"/>
              <a:gd name="connsiteX4781" fmla="*/ 532379 w 12192185"/>
              <a:gd name="connsiteY4781" fmla="*/ 5180775 h 6859062"/>
              <a:gd name="connsiteX4782" fmla="*/ 510407 w 12192185"/>
              <a:gd name="connsiteY4782" fmla="*/ 5174207 h 6859062"/>
              <a:gd name="connsiteX4783" fmla="*/ 513337 w 12192185"/>
              <a:gd name="connsiteY4783" fmla="*/ 5173014 h 6859062"/>
              <a:gd name="connsiteX4784" fmla="*/ 515748 w 12192185"/>
              <a:gd name="connsiteY4784" fmla="*/ 5170046 h 6859062"/>
              <a:gd name="connsiteX4785" fmla="*/ 512681 w 12192185"/>
              <a:gd name="connsiteY4785" fmla="*/ 5167451 h 6859062"/>
              <a:gd name="connsiteX4786" fmla="*/ 509710 w 12192185"/>
              <a:gd name="connsiteY4786" fmla="*/ 5167645 h 6859062"/>
              <a:gd name="connsiteX4787" fmla="*/ 505817 w 12192185"/>
              <a:gd name="connsiteY4787" fmla="*/ 5162657 h 6859062"/>
              <a:gd name="connsiteX4788" fmla="*/ 506169 w 12192185"/>
              <a:gd name="connsiteY4788" fmla="*/ 5159387 h 6859062"/>
              <a:gd name="connsiteX4789" fmla="*/ 502718 w 12192185"/>
              <a:gd name="connsiteY4789" fmla="*/ 5159131 h 6859062"/>
              <a:gd name="connsiteX4790" fmla="*/ 500227 w 12192185"/>
              <a:gd name="connsiteY4790" fmla="*/ 5159774 h 6859062"/>
              <a:gd name="connsiteX4791" fmla="*/ 496889 w 12192185"/>
              <a:gd name="connsiteY4791" fmla="*/ 5159457 h 6859062"/>
              <a:gd name="connsiteX4792" fmla="*/ 496382 w 12192185"/>
              <a:gd name="connsiteY4792" fmla="*/ 5156181 h 6859062"/>
              <a:gd name="connsiteX4793" fmla="*/ 498403 w 12192185"/>
              <a:gd name="connsiteY4793" fmla="*/ 5147269 h 6859062"/>
              <a:gd name="connsiteX4794" fmla="*/ 495860 w 12192185"/>
              <a:gd name="connsiteY4794" fmla="*/ 5138232 h 6859062"/>
              <a:gd name="connsiteX4795" fmla="*/ 494739 w 12192185"/>
              <a:gd name="connsiteY4795" fmla="*/ 5132685 h 6859062"/>
              <a:gd name="connsiteX4796" fmla="*/ 493979 w 12192185"/>
              <a:gd name="connsiteY4796" fmla="*/ 5118655 h 6859062"/>
              <a:gd name="connsiteX4797" fmla="*/ 494447 w 12192185"/>
              <a:gd name="connsiteY4797" fmla="*/ 5116033 h 6859062"/>
              <a:gd name="connsiteX4798" fmla="*/ 512754 w 12192185"/>
              <a:gd name="connsiteY4798" fmla="*/ 5093537 h 6859062"/>
              <a:gd name="connsiteX4799" fmla="*/ 517039 w 12192185"/>
              <a:gd name="connsiteY4799" fmla="*/ 5090972 h 6859062"/>
              <a:gd name="connsiteX4800" fmla="*/ 529027 w 12192185"/>
              <a:gd name="connsiteY4800" fmla="*/ 5087773 h 6859062"/>
              <a:gd name="connsiteX4801" fmla="*/ 538957 w 12192185"/>
              <a:gd name="connsiteY4801" fmla="*/ 5084272 h 6859062"/>
              <a:gd name="connsiteX4802" fmla="*/ 542676 w 12192185"/>
              <a:gd name="connsiteY4802" fmla="*/ 5084146 h 6859062"/>
              <a:gd name="connsiteX4803" fmla="*/ 560622 w 12192185"/>
              <a:gd name="connsiteY4803" fmla="*/ 5087838 h 6859062"/>
              <a:gd name="connsiteX4804" fmla="*/ 511218 w 12192185"/>
              <a:gd name="connsiteY4804" fmla="*/ 4990490 h 6859062"/>
              <a:gd name="connsiteX4805" fmla="*/ 493949 w 12192185"/>
              <a:gd name="connsiteY4805" fmla="*/ 4964092 h 6859062"/>
              <a:gd name="connsiteX4806" fmla="*/ 479673 w 12192185"/>
              <a:gd name="connsiteY4806" fmla="*/ 4933180 h 6859062"/>
              <a:gd name="connsiteX4807" fmla="*/ 467533 w 12192185"/>
              <a:gd name="connsiteY4807" fmla="*/ 4906992 h 6859062"/>
              <a:gd name="connsiteX4808" fmla="*/ 467421 w 12192185"/>
              <a:gd name="connsiteY4808" fmla="*/ 4906969 h 6859062"/>
              <a:gd name="connsiteX4809" fmla="*/ 460436 w 12192185"/>
              <a:gd name="connsiteY4809" fmla="*/ 4898541 h 6859062"/>
              <a:gd name="connsiteX4810" fmla="*/ 457621 w 12192185"/>
              <a:gd name="connsiteY4810" fmla="*/ 4894970 h 6859062"/>
              <a:gd name="connsiteX4811" fmla="*/ 449144 w 12192185"/>
              <a:gd name="connsiteY4811" fmla="*/ 4885885 h 6859062"/>
              <a:gd name="connsiteX4812" fmla="*/ 444834 w 12192185"/>
              <a:gd name="connsiteY4812" fmla="*/ 4881655 h 6859062"/>
              <a:gd name="connsiteX4813" fmla="*/ 441081 w 12192185"/>
              <a:gd name="connsiteY4813" fmla="*/ 4874925 h 6859062"/>
              <a:gd name="connsiteX4814" fmla="*/ 439620 w 12192185"/>
              <a:gd name="connsiteY4814" fmla="*/ 4866733 h 6859062"/>
              <a:gd name="connsiteX4815" fmla="*/ 438492 w 12192185"/>
              <a:gd name="connsiteY4815" fmla="*/ 4851614 h 6859062"/>
              <a:gd name="connsiteX4816" fmla="*/ 428436 w 12192185"/>
              <a:gd name="connsiteY4816" fmla="*/ 4851528 h 6859062"/>
              <a:gd name="connsiteX4817" fmla="*/ 412870 w 12192185"/>
              <a:gd name="connsiteY4817" fmla="*/ 4830394 h 6859062"/>
              <a:gd name="connsiteX4818" fmla="*/ 414574 w 12192185"/>
              <a:gd name="connsiteY4818" fmla="*/ 4835659 h 6859062"/>
              <a:gd name="connsiteX4819" fmla="*/ 412794 w 12192185"/>
              <a:gd name="connsiteY4819" fmla="*/ 4839144 h 6859062"/>
              <a:gd name="connsiteX4820" fmla="*/ 409386 w 12192185"/>
              <a:gd name="connsiteY4820" fmla="*/ 4828614 h 6859062"/>
              <a:gd name="connsiteX4821" fmla="*/ 407683 w 12192185"/>
              <a:gd name="connsiteY4821" fmla="*/ 4823350 h 6859062"/>
              <a:gd name="connsiteX4822" fmla="*/ 380039 w 12192185"/>
              <a:gd name="connsiteY4822" fmla="*/ 4782861 h 6859062"/>
              <a:gd name="connsiteX4823" fmla="*/ 352773 w 12192185"/>
              <a:gd name="connsiteY4823" fmla="*/ 4698626 h 6859062"/>
              <a:gd name="connsiteX4824" fmla="*/ 363149 w 12192185"/>
              <a:gd name="connsiteY4824" fmla="*/ 4712715 h 6859062"/>
              <a:gd name="connsiteX4825" fmla="*/ 361444 w 12192185"/>
              <a:gd name="connsiteY4825" fmla="*/ 4707451 h 6859062"/>
              <a:gd name="connsiteX4826" fmla="*/ 361522 w 12192185"/>
              <a:gd name="connsiteY4826" fmla="*/ 4698700 h 6859062"/>
              <a:gd name="connsiteX4827" fmla="*/ 363225 w 12192185"/>
              <a:gd name="connsiteY4827" fmla="*/ 4703965 h 6859062"/>
              <a:gd name="connsiteX4828" fmla="*/ 366709 w 12192185"/>
              <a:gd name="connsiteY4828" fmla="*/ 4705745 h 6859062"/>
              <a:gd name="connsiteX4829" fmla="*/ 361752 w 12192185"/>
              <a:gd name="connsiteY4829" fmla="*/ 4672452 h 6859062"/>
              <a:gd name="connsiteX4830" fmla="*/ 384130 w 12192185"/>
              <a:gd name="connsiteY4830" fmla="*/ 4714644 h 6859062"/>
              <a:gd name="connsiteX4831" fmla="*/ 382428 w 12192185"/>
              <a:gd name="connsiteY4831" fmla="*/ 4709380 h 6859062"/>
              <a:gd name="connsiteX4832" fmla="*/ 379018 w 12192185"/>
              <a:gd name="connsiteY4832" fmla="*/ 4698851 h 6859062"/>
              <a:gd name="connsiteX4833" fmla="*/ 382503 w 12192185"/>
              <a:gd name="connsiteY4833" fmla="*/ 4700631 h 6859062"/>
              <a:gd name="connsiteX4834" fmla="*/ 384207 w 12192185"/>
              <a:gd name="connsiteY4834" fmla="*/ 4705894 h 6859062"/>
              <a:gd name="connsiteX4835" fmla="*/ 377467 w 12192185"/>
              <a:gd name="connsiteY4835" fmla="*/ 4676087 h 6859062"/>
              <a:gd name="connsiteX4836" fmla="*/ 326270 w 12192185"/>
              <a:gd name="connsiteY4836" fmla="*/ 4526894 h 6859062"/>
              <a:gd name="connsiteX4837" fmla="*/ 317902 w 12192185"/>
              <a:gd name="connsiteY4837" fmla="*/ 4483070 h 6859062"/>
              <a:gd name="connsiteX4838" fmla="*/ 282423 w 12192185"/>
              <a:gd name="connsiteY4838" fmla="*/ 4337513 h 6859062"/>
              <a:gd name="connsiteX4839" fmla="*/ 270952 w 12192185"/>
              <a:gd name="connsiteY4839" fmla="*/ 4248160 h 6859062"/>
              <a:gd name="connsiteX4840" fmla="*/ 272732 w 12192185"/>
              <a:gd name="connsiteY4840" fmla="*/ 4244677 h 6859062"/>
              <a:gd name="connsiteX4841" fmla="*/ 271027 w 12192185"/>
              <a:gd name="connsiteY4841" fmla="*/ 4239412 h 6859062"/>
              <a:gd name="connsiteX4842" fmla="*/ 271104 w 12192185"/>
              <a:gd name="connsiteY4842" fmla="*/ 4230661 h 6859062"/>
              <a:gd name="connsiteX4843" fmla="*/ 272808 w 12192185"/>
              <a:gd name="connsiteY4843" fmla="*/ 4235926 h 6859062"/>
              <a:gd name="connsiteX4844" fmla="*/ 274512 w 12192185"/>
              <a:gd name="connsiteY4844" fmla="*/ 4241191 h 6859062"/>
              <a:gd name="connsiteX4845" fmla="*/ 269704 w 12192185"/>
              <a:gd name="connsiteY4845" fmla="*/ 4190398 h 6859062"/>
              <a:gd name="connsiteX4846" fmla="*/ 282090 w 12192185"/>
              <a:gd name="connsiteY4846" fmla="*/ 4174755 h 6859062"/>
              <a:gd name="connsiteX4847" fmla="*/ 257748 w 12192185"/>
              <a:gd name="connsiteY4847" fmla="*/ 3955789 h 6859062"/>
              <a:gd name="connsiteX4848" fmla="*/ 271276 w 12192185"/>
              <a:gd name="connsiteY4848" fmla="*/ 3808900 h 6859062"/>
              <a:gd name="connsiteX4849" fmla="*/ 273209 w 12192185"/>
              <a:gd name="connsiteY4849" fmla="*/ 3787916 h 6859062"/>
              <a:gd name="connsiteX4850" fmla="*/ 275750 w 12192185"/>
              <a:gd name="connsiteY4850" fmla="*/ 3696935 h 6859062"/>
              <a:gd name="connsiteX4851" fmla="*/ 292153 w 12192185"/>
              <a:gd name="connsiteY4851" fmla="*/ 3621827 h 6859062"/>
              <a:gd name="connsiteX4852" fmla="*/ 267785 w 12192185"/>
              <a:gd name="connsiteY4852" fmla="*/ 3482107 h 6859062"/>
              <a:gd name="connsiteX4853" fmla="*/ 275542 w 12192185"/>
              <a:gd name="connsiteY4853" fmla="*/ 3485543 h 6859062"/>
              <a:gd name="connsiteX4854" fmla="*/ 287349 w 12192185"/>
              <a:gd name="connsiteY4854" fmla="*/ 3496396 h 6859062"/>
              <a:gd name="connsiteX4855" fmla="*/ 291746 w 12192185"/>
              <a:gd name="connsiteY4855" fmla="*/ 3515219 h 6859062"/>
              <a:gd name="connsiteX4856" fmla="*/ 288159 w 12192185"/>
              <a:gd name="connsiteY4856" fmla="*/ 3522372 h 6859062"/>
              <a:gd name="connsiteX4857" fmla="*/ 286705 w 12192185"/>
              <a:gd name="connsiteY4857" fmla="*/ 3536276 h 6859062"/>
              <a:gd name="connsiteX4858" fmla="*/ 287083 w 12192185"/>
              <a:gd name="connsiteY4858" fmla="*/ 3541979 h 6859062"/>
              <a:gd name="connsiteX4859" fmla="*/ 282361 w 12192185"/>
              <a:gd name="connsiteY4859" fmla="*/ 3560131 h 6859062"/>
              <a:gd name="connsiteX4860" fmla="*/ 271342 w 12192185"/>
              <a:gd name="connsiteY4860" fmla="*/ 3564993 h 6859062"/>
              <a:gd name="connsiteX4861" fmla="*/ 259416 w 12192185"/>
              <a:gd name="connsiteY4861" fmla="*/ 3565026 h 6859062"/>
              <a:gd name="connsiteX4862" fmla="*/ 251352 w 12192185"/>
              <a:gd name="connsiteY4862" fmla="*/ 3562600 h 6859062"/>
              <a:gd name="connsiteX4863" fmla="*/ 242530 w 12192185"/>
              <a:gd name="connsiteY4863" fmla="*/ 3548760 h 6859062"/>
              <a:gd name="connsiteX4864" fmla="*/ 245633 w 12192185"/>
              <a:gd name="connsiteY4864" fmla="*/ 3534888 h 6859062"/>
              <a:gd name="connsiteX4865" fmla="*/ 244667 w 12192185"/>
              <a:gd name="connsiteY4865" fmla="*/ 3521445 h 6859062"/>
              <a:gd name="connsiteX4866" fmla="*/ 242298 w 12192185"/>
              <a:gd name="connsiteY4866" fmla="*/ 3508358 h 6859062"/>
              <a:gd name="connsiteX4867" fmla="*/ 243679 w 12192185"/>
              <a:gd name="connsiteY4867" fmla="*/ 3497748 h 6859062"/>
              <a:gd name="connsiteX4868" fmla="*/ 249478 w 12192185"/>
              <a:gd name="connsiteY4868" fmla="*/ 3488102 h 6859062"/>
              <a:gd name="connsiteX4869" fmla="*/ 257201 w 12192185"/>
              <a:gd name="connsiteY4869" fmla="*/ 3483179 h 6859062"/>
              <a:gd name="connsiteX4870" fmla="*/ 259339 w 12192185"/>
              <a:gd name="connsiteY4870" fmla="*/ 3483980 h 6859062"/>
              <a:gd name="connsiteX4871" fmla="*/ 267785 w 12192185"/>
              <a:gd name="connsiteY4871" fmla="*/ 3482107 h 6859062"/>
              <a:gd name="connsiteX4872" fmla="*/ 1199637 w 12192185"/>
              <a:gd name="connsiteY4872" fmla="*/ 3454482 h 6859062"/>
              <a:gd name="connsiteX4873" fmla="*/ 1201673 w 12192185"/>
              <a:gd name="connsiteY4873" fmla="*/ 3464432 h 6859062"/>
              <a:gd name="connsiteX4874" fmla="*/ 1196970 w 12192185"/>
              <a:gd name="connsiteY4874" fmla="*/ 3481986 h 6859062"/>
              <a:gd name="connsiteX4875" fmla="*/ 1196108 w 12192185"/>
              <a:gd name="connsiteY4875" fmla="*/ 3467644 h 6859062"/>
              <a:gd name="connsiteX4876" fmla="*/ 1197284 w 12192185"/>
              <a:gd name="connsiteY4876" fmla="*/ 3463260 h 6859062"/>
              <a:gd name="connsiteX4877" fmla="*/ 1198460 w 12192185"/>
              <a:gd name="connsiteY4877" fmla="*/ 3458873 h 6859062"/>
              <a:gd name="connsiteX4878" fmla="*/ 12191999 w 12192185"/>
              <a:gd name="connsiteY4878" fmla="*/ 3433020 h 6859062"/>
              <a:gd name="connsiteX4879" fmla="*/ 12191999 w 12192185"/>
              <a:gd name="connsiteY4879" fmla="*/ 3464861 h 6859062"/>
              <a:gd name="connsiteX4880" fmla="*/ 12186336 w 12192185"/>
              <a:gd name="connsiteY4880" fmla="*/ 3462251 h 6859062"/>
              <a:gd name="connsiteX4881" fmla="*/ 12183761 w 12192185"/>
              <a:gd name="connsiteY4881" fmla="*/ 3451653 h 6859062"/>
              <a:gd name="connsiteX4882" fmla="*/ 12185635 w 12192185"/>
              <a:gd name="connsiteY4882" fmla="*/ 3441018 h 6859062"/>
              <a:gd name="connsiteX4883" fmla="*/ 12189086 w 12192185"/>
              <a:gd name="connsiteY4883" fmla="*/ 3434218 h 6859062"/>
              <a:gd name="connsiteX4884" fmla="*/ 0 w 12192185"/>
              <a:gd name="connsiteY4884" fmla="*/ 3404521 h 6859062"/>
              <a:gd name="connsiteX4885" fmla="*/ 5568 w 12192185"/>
              <a:gd name="connsiteY4885" fmla="*/ 3405741 h 6859062"/>
              <a:gd name="connsiteX4886" fmla="*/ 14390 w 12192185"/>
              <a:gd name="connsiteY4886" fmla="*/ 3419580 h 6859062"/>
              <a:gd name="connsiteX4887" fmla="*/ 13187 w 12192185"/>
              <a:gd name="connsiteY4887" fmla="*/ 3427910 h 6859062"/>
              <a:gd name="connsiteX4888" fmla="*/ 8123 w 12192185"/>
              <a:gd name="connsiteY4888" fmla="*/ 3438709 h 6859062"/>
              <a:gd name="connsiteX4889" fmla="*/ 0 w 12192185"/>
              <a:gd name="connsiteY4889" fmla="*/ 3445826 h 6859062"/>
              <a:gd name="connsiteX4890" fmla="*/ 205362 w 12192185"/>
              <a:gd name="connsiteY4890" fmla="*/ 3224992 h 6859062"/>
              <a:gd name="connsiteX4891" fmla="*/ 218128 w 12192185"/>
              <a:gd name="connsiteY4891" fmla="*/ 3232137 h 6859062"/>
              <a:gd name="connsiteX4892" fmla="*/ 222858 w 12192185"/>
              <a:gd name="connsiteY4892" fmla="*/ 3235457 h 6859062"/>
              <a:gd name="connsiteX4893" fmla="*/ 225996 w 12192185"/>
              <a:gd name="connsiteY4893" fmla="*/ 3239795 h 6859062"/>
              <a:gd name="connsiteX4894" fmla="*/ 227396 w 12192185"/>
              <a:gd name="connsiteY4894" fmla="*/ 3243748 h 6859062"/>
              <a:gd name="connsiteX4895" fmla="*/ 230631 w 12192185"/>
              <a:gd name="connsiteY4895" fmla="*/ 3251749 h 6859062"/>
              <a:gd name="connsiteX4896" fmla="*/ 232056 w 12192185"/>
              <a:gd name="connsiteY4896" fmla="*/ 3254570 h 6859062"/>
              <a:gd name="connsiteX4897" fmla="*/ 235315 w 12192185"/>
              <a:gd name="connsiteY4897" fmla="*/ 3261437 h 6859062"/>
              <a:gd name="connsiteX4898" fmla="*/ 228636 w 12192185"/>
              <a:gd name="connsiteY4898" fmla="*/ 3280234 h 6859062"/>
              <a:gd name="connsiteX4899" fmla="*/ 220313 w 12192185"/>
              <a:gd name="connsiteY4899" fmla="*/ 3285912 h 6859062"/>
              <a:gd name="connsiteX4900" fmla="*/ 201229 w 12192185"/>
              <a:gd name="connsiteY4900" fmla="*/ 3292860 h 6859062"/>
              <a:gd name="connsiteX4901" fmla="*/ 195196 w 12192185"/>
              <a:gd name="connsiteY4901" fmla="*/ 3293351 h 6859062"/>
              <a:gd name="connsiteX4902" fmla="*/ 187450 w 12192185"/>
              <a:gd name="connsiteY4902" fmla="*/ 3292326 h 6859062"/>
              <a:gd name="connsiteX4903" fmla="*/ 181562 w 12192185"/>
              <a:gd name="connsiteY4903" fmla="*/ 3290116 h 6859062"/>
              <a:gd name="connsiteX4904" fmla="*/ 170413 w 12192185"/>
              <a:gd name="connsiteY4904" fmla="*/ 3280822 h 6859062"/>
              <a:gd name="connsiteX4905" fmla="*/ 163196 w 12192185"/>
              <a:gd name="connsiteY4905" fmla="*/ 3275358 h 6859062"/>
              <a:gd name="connsiteX4906" fmla="*/ 161168 w 12192185"/>
              <a:gd name="connsiteY4906" fmla="*/ 3272177 h 6859062"/>
              <a:gd name="connsiteX4907" fmla="*/ 160297 w 12192185"/>
              <a:gd name="connsiteY4907" fmla="*/ 3263786 h 6859062"/>
              <a:gd name="connsiteX4908" fmla="*/ 161380 w 12192185"/>
              <a:gd name="connsiteY4908" fmla="*/ 3249678 h 6859062"/>
              <a:gd name="connsiteX4909" fmla="*/ 160872 w 12192185"/>
              <a:gd name="connsiteY4909" fmla="*/ 3244781 h 6859062"/>
              <a:gd name="connsiteX4910" fmla="*/ 163211 w 12192185"/>
              <a:gd name="connsiteY4910" fmla="*/ 3241426 h 6859062"/>
              <a:gd name="connsiteX4911" fmla="*/ 168132 w 12192185"/>
              <a:gd name="connsiteY4911" fmla="*/ 3235680 h 6859062"/>
              <a:gd name="connsiteX4912" fmla="*/ 169579 w 12192185"/>
              <a:gd name="connsiteY4912" fmla="*/ 3233266 h 6859062"/>
              <a:gd name="connsiteX4913" fmla="*/ 177396 w 12192185"/>
              <a:gd name="connsiteY4913" fmla="*/ 3226792 h 6859062"/>
              <a:gd name="connsiteX4914" fmla="*/ 178916 w 12192185"/>
              <a:gd name="connsiteY4914" fmla="*/ 3225078 h 6859062"/>
              <a:gd name="connsiteX4915" fmla="*/ 205362 w 12192185"/>
              <a:gd name="connsiteY4915" fmla="*/ 3224992 h 6859062"/>
              <a:gd name="connsiteX4916" fmla="*/ 731284 w 12192185"/>
              <a:gd name="connsiteY4916" fmla="*/ 3213200 h 6859062"/>
              <a:gd name="connsiteX4917" fmla="*/ 731002 w 12192185"/>
              <a:gd name="connsiteY4917" fmla="*/ 3213582 h 6859062"/>
              <a:gd name="connsiteX4918" fmla="*/ 723038 w 12192185"/>
              <a:gd name="connsiteY4918" fmla="*/ 3219523 h 6859062"/>
              <a:gd name="connsiteX4919" fmla="*/ 698367 w 12192185"/>
              <a:gd name="connsiteY4919" fmla="*/ 3226704 h 6859062"/>
              <a:gd name="connsiteX4920" fmla="*/ 700685 w 12192185"/>
              <a:gd name="connsiteY4920" fmla="*/ 3228296 h 6859062"/>
              <a:gd name="connsiteX4921" fmla="*/ 701957 w 12192185"/>
              <a:gd name="connsiteY4921" fmla="*/ 3244505 h 6859062"/>
              <a:gd name="connsiteX4922" fmla="*/ 690563 w 12192185"/>
              <a:gd name="connsiteY4922" fmla="*/ 3323477 h 6859062"/>
              <a:gd name="connsiteX4923" fmla="*/ 694173 w 12192185"/>
              <a:gd name="connsiteY4923" fmla="*/ 3353718 h 6859062"/>
              <a:gd name="connsiteX4924" fmla="*/ 724540 w 12192185"/>
              <a:gd name="connsiteY4924" fmla="*/ 3262275 h 6859062"/>
              <a:gd name="connsiteX4925" fmla="*/ 480890 w 12192185"/>
              <a:gd name="connsiteY4925" fmla="*/ 3149514 h 6859062"/>
              <a:gd name="connsiteX4926" fmla="*/ 493656 w 12192185"/>
              <a:gd name="connsiteY4926" fmla="*/ 3156660 h 6859062"/>
              <a:gd name="connsiteX4927" fmla="*/ 498385 w 12192185"/>
              <a:gd name="connsiteY4927" fmla="*/ 3159981 h 6859062"/>
              <a:gd name="connsiteX4928" fmla="*/ 501524 w 12192185"/>
              <a:gd name="connsiteY4928" fmla="*/ 3164319 h 6859062"/>
              <a:gd name="connsiteX4929" fmla="*/ 502924 w 12192185"/>
              <a:gd name="connsiteY4929" fmla="*/ 3168273 h 6859062"/>
              <a:gd name="connsiteX4930" fmla="*/ 506160 w 12192185"/>
              <a:gd name="connsiteY4930" fmla="*/ 3176279 h 6859062"/>
              <a:gd name="connsiteX4931" fmla="*/ 507584 w 12192185"/>
              <a:gd name="connsiteY4931" fmla="*/ 3179095 h 6859062"/>
              <a:gd name="connsiteX4932" fmla="*/ 510843 w 12192185"/>
              <a:gd name="connsiteY4932" fmla="*/ 3185965 h 6859062"/>
              <a:gd name="connsiteX4933" fmla="*/ 504164 w 12192185"/>
              <a:gd name="connsiteY4933" fmla="*/ 3204766 h 6859062"/>
              <a:gd name="connsiteX4934" fmla="*/ 495841 w 12192185"/>
              <a:gd name="connsiteY4934" fmla="*/ 3210442 h 6859062"/>
              <a:gd name="connsiteX4935" fmla="*/ 476756 w 12192185"/>
              <a:gd name="connsiteY4935" fmla="*/ 3217391 h 6859062"/>
              <a:gd name="connsiteX4936" fmla="*/ 470724 w 12192185"/>
              <a:gd name="connsiteY4936" fmla="*/ 3217881 h 6859062"/>
              <a:gd name="connsiteX4937" fmla="*/ 462978 w 12192185"/>
              <a:gd name="connsiteY4937" fmla="*/ 3216855 h 6859062"/>
              <a:gd name="connsiteX4938" fmla="*/ 457090 w 12192185"/>
              <a:gd name="connsiteY4938" fmla="*/ 3214645 h 6859062"/>
              <a:gd name="connsiteX4939" fmla="*/ 445939 w 12192185"/>
              <a:gd name="connsiteY4939" fmla="*/ 3205355 h 6859062"/>
              <a:gd name="connsiteX4940" fmla="*/ 438724 w 12192185"/>
              <a:gd name="connsiteY4940" fmla="*/ 3199889 h 6859062"/>
              <a:gd name="connsiteX4941" fmla="*/ 436696 w 12192185"/>
              <a:gd name="connsiteY4941" fmla="*/ 3196707 h 6859062"/>
              <a:gd name="connsiteX4942" fmla="*/ 435825 w 12192185"/>
              <a:gd name="connsiteY4942" fmla="*/ 3188314 h 6859062"/>
              <a:gd name="connsiteX4943" fmla="*/ 436908 w 12192185"/>
              <a:gd name="connsiteY4943" fmla="*/ 3174203 h 6859062"/>
              <a:gd name="connsiteX4944" fmla="*/ 436400 w 12192185"/>
              <a:gd name="connsiteY4944" fmla="*/ 3169308 h 6859062"/>
              <a:gd name="connsiteX4945" fmla="*/ 438739 w 12192185"/>
              <a:gd name="connsiteY4945" fmla="*/ 3165952 h 6859062"/>
              <a:gd name="connsiteX4946" fmla="*/ 443660 w 12192185"/>
              <a:gd name="connsiteY4946" fmla="*/ 3160203 h 6859062"/>
              <a:gd name="connsiteX4947" fmla="*/ 445107 w 12192185"/>
              <a:gd name="connsiteY4947" fmla="*/ 3157789 h 6859062"/>
              <a:gd name="connsiteX4948" fmla="*/ 452924 w 12192185"/>
              <a:gd name="connsiteY4948" fmla="*/ 3151313 h 6859062"/>
              <a:gd name="connsiteX4949" fmla="*/ 454444 w 12192185"/>
              <a:gd name="connsiteY4949" fmla="*/ 3149601 h 6859062"/>
              <a:gd name="connsiteX4950" fmla="*/ 480890 w 12192185"/>
              <a:gd name="connsiteY4950" fmla="*/ 3149514 h 6859062"/>
              <a:gd name="connsiteX4951" fmla="*/ 1255075 w 12192185"/>
              <a:gd name="connsiteY4951" fmla="*/ 3107170 h 6859062"/>
              <a:gd name="connsiteX4952" fmla="*/ 1259464 w 12192185"/>
              <a:gd name="connsiteY4952" fmla="*/ 3108346 h 6859062"/>
              <a:gd name="connsiteX4953" fmla="*/ 1258287 w 12192185"/>
              <a:gd name="connsiteY4953" fmla="*/ 3112736 h 6859062"/>
              <a:gd name="connsiteX4954" fmla="*/ 1255075 w 12192185"/>
              <a:gd name="connsiteY4954" fmla="*/ 3107170 h 6859062"/>
              <a:gd name="connsiteX4955" fmla="*/ 12189604 w 12192185"/>
              <a:gd name="connsiteY4955" fmla="*/ 2993845 h 6859062"/>
              <a:gd name="connsiteX4956" fmla="*/ 12191999 w 12192185"/>
              <a:gd name="connsiteY4956" fmla="*/ 2994022 h 6859062"/>
              <a:gd name="connsiteX4957" fmla="*/ 12191999 w 12192185"/>
              <a:gd name="connsiteY4957" fmla="*/ 3061490 h 6859062"/>
              <a:gd name="connsiteX4958" fmla="*/ 12190970 w 12192185"/>
              <a:gd name="connsiteY4958" fmla="*/ 3062349 h 6859062"/>
              <a:gd name="connsiteX4959" fmla="*/ 12187335 w 12192185"/>
              <a:gd name="connsiteY4959" fmla="*/ 3061649 h 6859062"/>
              <a:gd name="connsiteX4960" fmla="*/ 12171648 w 12192185"/>
              <a:gd name="connsiteY4960" fmla="*/ 3052692 h 6859062"/>
              <a:gd name="connsiteX4961" fmla="*/ 12167917 w 12192185"/>
              <a:gd name="connsiteY4961" fmla="*/ 3044367 h 6859062"/>
              <a:gd name="connsiteX4962" fmla="*/ 12164108 w 12192185"/>
              <a:gd name="connsiteY4962" fmla="*/ 3035766 h 6859062"/>
              <a:gd name="connsiteX4963" fmla="*/ 12164108 w 12192185"/>
              <a:gd name="connsiteY4963" fmla="*/ 3035764 h 6859062"/>
              <a:gd name="connsiteX4964" fmla="*/ 12164771 w 12192185"/>
              <a:gd name="connsiteY4964" fmla="*/ 3026247 h 6859062"/>
              <a:gd name="connsiteX4965" fmla="*/ 12165298 w 12192185"/>
              <a:gd name="connsiteY4965" fmla="*/ 3020792 h 6859062"/>
              <a:gd name="connsiteX4966" fmla="*/ 12167448 w 12192185"/>
              <a:gd name="connsiteY4966" fmla="*/ 3014052 h 6859062"/>
              <a:gd name="connsiteX4967" fmla="*/ 12170359 w 12192185"/>
              <a:gd name="connsiteY4967" fmla="*/ 3009156 h 6859062"/>
              <a:gd name="connsiteX4968" fmla="*/ 12180422 w 12192185"/>
              <a:gd name="connsiteY4968" fmla="*/ 3000703 h 6859062"/>
              <a:gd name="connsiteX4969" fmla="*/ 12186445 w 12192185"/>
              <a:gd name="connsiteY4969" fmla="*/ 2995142 h 6859062"/>
              <a:gd name="connsiteX4970" fmla="*/ 12189604 w 12192185"/>
              <a:gd name="connsiteY4970" fmla="*/ 2993845 h 6859062"/>
              <a:gd name="connsiteX4971" fmla="*/ 1383146 w 12192185"/>
              <a:gd name="connsiteY4971" fmla="*/ 2962736 h 6859062"/>
              <a:gd name="connsiteX4972" fmla="*/ 1377581 w 12192185"/>
              <a:gd name="connsiteY4972" fmla="*/ 2965952 h 6859062"/>
              <a:gd name="connsiteX4973" fmla="*/ 1344560 w 12192185"/>
              <a:gd name="connsiteY4973" fmla="*/ 3045304 h 6859062"/>
              <a:gd name="connsiteX4974" fmla="*/ 1327291 w 12192185"/>
              <a:gd name="connsiteY4974" fmla="*/ 3074981 h 6859062"/>
              <a:gd name="connsiteX4975" fmla="*/ 1331462 w 12192185"/>
              <a:gd name="connsiteY4975" fmla="*/ 3072802 h 6859062"/>
              <a:gd name="connsiteX4976" fmla="*/ 1336725 w 12192185"/>
              <a:gd name="connsiteY4976" fmla="*/ 3071293 h 6859062"/>
              <a:gd name="connsiteX4977" fmla="*/ 1347185 w 12192185"/>
              <a:gd name="connsiteY4977" fmla="*/ 3053062 h 6859062"/>
              <a:gd name="connsiteX4978" fmla="*/ 1380794 w 12192185"/>
              <a:gd name="connsiteY4978" fmla="*/ 2971516 h 6859062"/>
              <a:gd name="connsiteX4979" fmla="*/ 1381969 w 12192185"/>
              <a:gd name="connsiteY4979" fmla="*/ 2967123 h 6859062"/>
              <a:gd name="connsiteX4980" fmla="*/ 1383146 w 12192185"/>
              <a:gd name="connsiteY4980" fmla="*/ 2962736 h 6859062"/>
              <a:gd name="connsiteX4981" fmla="*/ 45329 w 12192185"/>
              <a:gd name="connsiteY4981" fmla="*/ 2915671 h 6859062"/>
              <a:gd name="connsiteX4982" fmla="*/ 51409 w 12192185"/>
              <a:gd name="connsiteY4982" fmla="*/ 2919310 h 6859062"/>
              <a:gd name="connsiteX4983" fmla="*/ 70482 w 12192185"/>
              <a:gd name="connsiteY4983" fmla="*/ 2926470 h 6859062"/>
              <a:gd name="connsiteX4984" fmla="*/ 80906 w 12192185"/>
              <a:gd name="connsiteY4984" fmla="*/ 2932704 h 6859062"/>
              <a:gd name="connsiteX4985" fmla="*/ 83825 w 12192185"/>
              <a:gd name="connsiteY4985" fmla="*/ 2937282 h 6859062"/>
              <a:gd name="connsiteX4986" fmla="*/ 86572 w 12192185"/>
              <a:gd name="connsiteY4986" fmla="*/ 2950022 h 6859062"/>
              <a:gd name="connsiteX4987" fmla="*/ 91928 w 12192185"/>
              <a:gd name="connsiteY4987" fmla="*/ 2970221 h 6859062"/>
              <a:gd name="connsiteX4988" fmla="*/ 91235 w 12192185"/>
              <a:gd name="connsiteY4988" fmla="*/ 2979248 h 6859062"/>
              <a:gd name="connsiteX4989" fmla="*/ 87868 w 12192185"/>
              <a:gd name="connsiteY4989" fmla="*/ 2989980 h 6859062"/>
              <a:gd name="connsiteX4990" fmla="*/ 83562 w 12192185"/>
              <a:gd name="connsiteY4990" fmla="*/ 2997555 h 6859062"/>
              <a:gd name="connsiteX4991" fmla="*/ 62897 w 12192185"/>
              <a:gd name="connsiteY4991" fmla="*/ 3018242 h 6859062"/>
              <a:gd name="connsiteX4992" fmla="*/ 50427 w 12192185"/>
              <a:gd name="connsiteY4992" fmla="*/ 3025656 h 6859062"/>
              <a:gd name="connsiteX4993" fmla="*/ 21837 w 12192185"/>
              <a:gd name="connsiteY4993" fmla="*/ 3022954 h 6859062"/>
              <a:gd name="connsiteX4994" fmla="*/ 14852 w 12192185"/>
              <a:gd name="connsiteY4994" fmla="*/ 3014526 h 6859062"/>
              <a:gd name="connsiteX4995" fmla="*/ 12037 w 12192185"/>
              <a:gd name="connsiteY4995" fmla="*/ 3010956 h 6859062"/>
              <a:gd name="connsiteX4996" fmla="*/ 3559 w 12192185"/>
              <a:gd name="connsiteY4996" fmla="*/ 3001867 h 6859062"/>
              <a:gd name="connsiteX4997" fmla="*/ 0 w 12192185"/>
              <a:gd name="connsiteY4997" fmla="*/ 2998374 h 6859062"/>
              <a:gd name="connsiteX4998" fmla="*/ 0 w 12192185"/>
              <a:gd name="connsiteY4998" fmla="*/ 2945670 h 6859062"/>
              <a:gd name="connsiteX4999" fmla="*/ 8648 w 12192185"/>
              <a:gd name="connsiteY4999" fmla="*/ 2927251 h 6859062"/>
              <a:gd name="connsiteX5000" fmla="*/ 11809 w 12192185"/>
              <a:gd name="connsiteY5000" fmla="*/ 2926310 h 6859062"/>
              <a:gd name="connsiteX5001" fmla="*/ 25007 w 12192185"/>
              <a:gd name="connsiteY5001" fmla="*/ 2920043 h 6859062"/>
              <a:gd name="connsiteX5002" fmla="*/ 29037 w 12192185"/>
              <a:gd name="connsiteY5002" fmla="*/ 2919619 h 6859062"/>
              <a:gd name="connsiteX5003" fmla="*/ 39528 w 12192185"/>
              <a:gd name="connsiteY5003" fmla="*/ 2916689 h 6859062"/>
              <a:gd name="connsiteX5004" fmla="*/ 45329 w 12192185"/>
              <a:gd name="connsiteY5004" fmla="*/ 2915671 h 6859062"/>
              <a:gd name="connsiteX5005" fmla="*/ 1300390 w 12192185"/>
              <a:gd name="connsiteY5005" fmla="*/ 2902937 h 6859062"/>
              <a:gd name="connsiteX5006" fmla="*/ 1304574 w 12192185"/>
              <a:gd name="connsiteY5006" fmla="*/ 2904055 h 6859062"/>
              <a:gd name="connsiteX5007" fmla="*/ 1302301 w 12192185"/>
              <a:gd name="connsiteY5007" fmla="*/ 2911160 h 6859062"/>
              <a:gd name="connsiteX5008" fmla="*/ 1302111 w 12192185"/>
              <a:gd name="connsiteY5008" fmla="*/ 2931618 h 6859062"/>
              <a:gd name="connsiteX5009" fmla="*/ 1296548 w 12192185"/>
              <a:gd name="connsiteY5009" fmla="*/ 2934829 h 6859062"/>
              <a:gd name="connsiteX5010" fmla="*/ 1295372 w 12192185"/>
              <a:gd name="connsiteY5010" fmla="*/ 2939216 h 6859062"/>
              <a:gd name="connsiteX5011" fmla="*/ 1289807 w 12192185"/>
              <a:gd name="connsiteY5011" fmla="*/ 2942431 h 6859062"/>
              <a:gd name="connsiteX5012" fmla="*/ 1288631 w 12192185"/>
              <a:gd name="connsiteY5012" fmla="*/ 2946819 h 6859062"/>
              <a:gd name="connsiteX5013" fmla="*/ 1293020 w 12192185"/>
              <a:gd name="connsiteY5013" fmla="*/ 2947995 h 6859062"/>
              <a:gd name="connsiteX5014" fmla="*/ 1288000 w 12192185"/>
              <a:gd name="connsiteY5014" fmla="*/ 2984280 h 6859062"/>
              <a:gd name="connsiteX5015" fmla="*/ 1283612 w 12192185"/>
              <a:gd name="connsiteY5015" fmla="*/ 2983103 h 6859062"/>
              <a:gd name="connsiteX5016" fmla="*/ 1281261 w 12192185"/>
              <a:gd name="connsiteY5016" fmla="*/ 2991882 h 6859062"/>
              <a:gd name="connsiteX5017" fmla="*/ 1280084 w 12192185"/>
              <a:gd name="connsiteY5017" fmla="*/ 2996270 h 6859062"/>
              <a:gd name="connsiteX5018" fmla="*/ 1263936 w 12192185"/>
              <a:gd name="connsiteY5018" fmla="*/ 3038985 h 6859062"/>
              <a:gd name="connsiteX5019" fmla="*/ 1268325 w 12192185"/>
              <a:gd name="connsiteY5019" fmla="*/ 3040160 h 6859062"/>
              <a:gd name="connsiteX5020" fmla="*/ 1262760 w 12192185"/>
              <a:gd name="connsiteY5020" fmla="*/ 3043373 h 6859062"/>
              <a:gd name="connsiteX5021" fmla="*/ 1265973 w 12192185"/>
              <a:gd name="connsiteY5021" fmla="*/ 3048939 h 6859062"/>
              <a:gd name="connsiteX5022" fmla="*/ 1258917 w 12192185"/>
              <a:gd name="connsiteY5022" fmla="*/ 3075272 h 6859062"/>
              <a:gd name="connsiteX5023" fmla="*/ 1259778 w 12192185"/>
              <a:gd name="connsiteY5023" fmla="*/ 3089612 h 6859062"/>
              <a:gd name="connsiteX5024" fmla="*/ 1254213 w 12192185"/>
              <a:gd name="connsiteY5024" fmla="*/ 3092829 h 6859062"/>
              <a:gd name="connsiteX5025" fmla="*/ 1261815 w 12192185"/>
              <a:gd name="connsiteY5025" fmla="*/ 3099567 h 6859062"/>
              <a:gd name="connsiteX5026" fmla="*/ 1257426 w 12192185"/>
              <a:gd name="connsiteY5026" fmla="*/ 3098390 h 6859062"/>
              <a:gd name="connsiteX5027" fmla="*/ 1256250 w 12192185"/>
              <a:gd name="connsiteY5027" fmla="*/ 3102780 h 6859062"/>
              <a:gd name="connsiteX5028" fmla="*/ 1255075 w 12192185"/>
              <a:gd name="connsiteY5028" fmla="*/ 3107170 h 6859062"/>
              <a:gd name="connsiteX5029" fmla="*/ 1253899 w 12192185"/>
              <a:gd name="connsiteY5029" fmla="*/ 3111559 h 6859062"/>
              <a:gd name="connsiteX5030" fmla="*/ 1252722 w 12192185"/>
              <a:gd name="connsiteY5030" fmla="*/ 3115950 h 6859062"/>
              <a:gd name="connsiteX5031" fmla="*/ 1245982 w 12192185"/>
              <a:gd name="connsiteY5031" fmla="*/ 3123552 h 6859062"/>
              <a:gd name="connsiteX5032" fmla="*/ 1248019 w 12192185"/>
              <a:gd name="connsiteY5032" fmla="*/ 3133506 h 6859062"/>
              <a:gd name="connsiteX5033" fmla="*/ 1236575 w 12192185"/>
              <a:gd name="connsiteY5033" fmla="*/ 3158663 h 6859062"/>
              <a:gd name="connsiteX5034" fmla="*/ 1253353 w 12192185"/>
              <a:gd name="connsiteY5034" fmla="*/ 3078485 h 6859062"/>
              <a:gd name="connsiteX5035" fmla="*/ 1249594 w 12192185"/>
              <a:gd name="connsiteY5035" fmla="*/ 3039849 h 6859062"/>
              <a:gd name="connsiteX5036" fmla="*/ 1256964 w 12192185"/>
              <a:gd name="connsiteY5036" fmla="*/ 2994775 h 6859062"/>
              <a:gd name="connsiteX5037" fmla="*/ 1285733 w 12192185"/>
              <a:gd name="connsiteY5037" fmla="*/ 2922524 h 6859062"/>
              <a:gd name="connsiteX5038" fmla="*/ 1288947 w 12192185"/>
              <a:gd name="connsiteY5038" fmla="*/ 2928088 h 6859062"/>
              <a:gd name="connsiteX5039" fmla="*/ 1290122 w 12192185"/>
              <a:gd name="connsiteY5039" fmla="*/ 2923701 h 6859062"/>
              <a:gd name="connsiteX5040" fmla="*/ 1299214 w 12192185"/>
              <a:gd name="connsiteY5040" fmla="*/ 2907323 h 6859062"/>
              <a:gd name="connsiteX5041" fmla="*/ 1300390 w 12192185"/>
              <a:gd name="connsiteY5041" fmla="*/ 2902937 h 6859062"/>
              <a:gd name="connsiteX5042" fmla="*/ 1305956 w 12192185"/>
              <a:gd name="connsiteY5042" fmla="*/ 2899725 h 6859062"/>
              <a:gd name="connsiteX5043" fmla="*/ 1304779 w 12192185"/>
              <a:gd name="connsiteY5043" fmla="*/ 2904111 h 6859062"/>
              <a:gd name="connsiteX5044" fmla="*/ 1304574 w 12192185"/>
              <a:gd name="connsiteY5044" fmla="*/ 2904055 h 6859062"/>
              <a:gd name="connsiteX5045" fmla="*/ 1302743 w 12192185"/>
              <a:gd name="connsiteY5045" fmla="*/ 2894162 h 6859062"/>
              <a:gd name="connsiteX5046" fmla="*/ 1302937 w 12192185"/>
              <a:gd name="connsiteY5046" fmla="*/ 2894496 h 6859062"/>
              <a:gd name="connsiteX5047" fmla="*/ 1301566 w 12192185"/>
              <a:gd name="connsiteY5047" fmla="*/ 2898548 h 6859062"/>
              <a:gd name="connsiteX5048" fmla="*/ 1302743 w 12192185"/>
              <a:gd name="connsiteY5048" fmla="*/ 2894162 h 6859062"/>
              <a:gd name="connsiteX5049" fmla="*/ 1074759 w 12192185"/>
              <a:gd name="connsiteY5049" fmla="*/ 2884816 h 6859062"/>
              <a:gd name="connsiteX5050" fmla="*/ 1066266 w 12192185"/>
              <a:gd name="connsiteY5050" fmla="*/ 2890183 h 6859062"/>
              <a:gd name="connsiteX5051" fmla="*/ 1060693 w 12192185"/>
              <a:gd name="connsiteY5051" fmla="*/ 2895330 h 6859062"/>
              <a:gd name="connsiteX5052" fmla="*/ 1070589 w 12192185"/>
              <a:gd name="connsiteY5052" fmla="*/ 2892444 h 6859062"/>
              <a:gd name="connsiteX5053" fmla="*/ 1071990 w 12192185"/>
              <a:gd name="connsiteY5053" fmla="*/ 2892625 h 6859062"/>
              <a:gd name="connsiteX5054" fmla="*/ 567129 w 12192185"/>
              <a:gd name="connsiteY5054" fmla="*/ 2674905 h 6859062"/>
              <a:gd name="connsiteX5055" fmla="*/ 576893 w 12192185"/>
              <a:gd name="connsiteY5055" fmla="*/ 2677396 h 6859062"/>
              <a:gd name="connsiteX5056" fmla="*/ 594723 w 12192185"/>
              <a:gd name="connsiteY5056" fmla="*/ 2687122 h 6859062"/>
              <a:gd name="connsiteX5057" fmla="*/ 599079 w 12192185"/>
              <a:gd name="connsiteY5057" fmla="*/ 2691323 h 6859062"/>
              <a:gd name="connsiteX5058" fmla="*/ 603429 w 12192185"/>
              <a:gd name="connsiteY5058" fmla="*/ 2697814 h 6859062"/>
              <a:gd name="connsiteX5059" fmla="*/ 605663 w 12192185"/>
              <a:gd name="connsiteY5059" fmla="*/ 2703693 h 6859062"/>
              <a:gd name="connsiteX5060" fmla="*/ 606061 w 12192185"/>
              <a:gd name="connsiteY5060" fmla="*/ 2718204 h 6859062"/>
              <a:gd name="connsiteX5061" fmla="*/ 606731 w 12192185"/>
              <a:gd name="connsiteY5061" fmla="*/ 2727231 h 6859062"/>
              <a:gd name="connsiteX5062" fmla="*/ 605686 w 12192185"/>
              <a:gd name="connsiteY5062" fmla="*/ 2730855 h 6859062"/>
              <a:gd name="connsiteX5063" fmla="*/ 599965 w 12192185"/>
              <a:gd name="connsiteY5063" fmla="*/ 2737055 h 6859062"/>
              <a:gd name="connsiteX5064" fmla="*/ 588662 w 12192185"/>
              <a:gd name="connsiteY5064" fmla="*/ 2745570 h 6859062"/>
              <a:gd name="connsiteX5065" fmla="*/ 585326 w 12192185"/>
              <a:gd name="connsiteY5065" fmla="*/ 2749188 h 6859062"/>
              <a:gd name="connsiteX5066" fmla="*/ 581262 w 12192185"/>
              <a:gd name="connsiteY5066" fmla="*/ 2749650 h 6859062"/>
              <a:gd name="connsiteX5067" fmla="*/ 573696 w 12192185"/>
              <a:gd name="connsiteY5067" fmla="*/ 2749757 h 6859062"/>
              <a:gd name="connsiteX5068" fmla="*/ 570929 w 12192185"/>
              <a:gd name="connsiteY5068" fmla="*/ 2750266 h 6859062"/>
              <a:gd name="connsiteX5069" fmla="*/ 560904 w 12192185"/>
              <a:gd name="connsiteY5069" fmla="*/ 2748681 h 6859062"/>
              <a:gd name="connsiteX5070" fmla="*/ 558613 w 12192185"/>
              <a:gd name="connsiteY5070" fmla="*/ 2748673 h 6859062"/>
              <a:gd name="connsiteX5071" fmla="*/ 541067 w 12192185"/>
              <a:gd name="connsiteY5071" fmla="*/ 2728886 h 6859062"/>
              <a:gd name="connsiteX5072" fmla="*/ 537988 w 12192185"/>
              <a:gd name="connsiteY5072" fmla="*/ 2714587 h 6859062"/>
              <a:gd name="connsiteX5073" fmla="*/ 537353 w 12192185"/>
              <a:gd name="connsiteY5073" fmla="*/ 2708841 h 6859062"/>
              <a:gd name="connsiteX5074" fmla="*/ 538532 w 12192185"/>
              <a:gd name="connsiteY5074" fmla="*/ 2703619 h 6859062"/>
              <a:gd name="connsiteX5075" fmla="*/ 540573 w 12192185"/>
              <a:gd name="connsiteY5075" fmla="*/ 2699956 h 6859062"/>
              <a:gd name="connsiteX5076" fmla="*/ 544438 w 12192185"/>
              <a:gd name="connsiteY5076" fmla="*/ 2692237 h 6859062"/>
              <a:gd name="connsiteX5077" fmla="*/ 545612 w 12192185"/>
              <a:gd name="connsiteY5077" fmla="*/ 2689304 h 6859062"/>
              <a:gd name="connsiteX5078" fmla="*/ 548611 w 12192185"/>
              <a:gd name="connsiteY5078" fmla="*/ 2682319 h 6859062"/>
              <a:gd name="connsiteX5079" fmla="*/ 567129 w 12192185"/>
              <a:gd name="connsiteY5079" fmla="*/ 2674905 h 6859062"/>
              <a:gd name="connsiteX5080" fmla="*/ 1810292 w 12192185"/>
              <a:gd name="connsiteY5080" fmla="*/ 2663879 h 6859062"/>
              <a:gd name="connsiteX5081" fmla="*/ 1805322 w 12192185"/>
              <a:gd name="connsiteY5081" fmla="*/ 2667018 h 6859062"/>
              <a:gd name="connsiteX5082" fmla="*/ 1779484 w 12192185"/>
              <a:gd name="connsiteY5082" fmla="*/ 2698946 h 6859062"/>
              <a:gd name="connsiteX5083" fmla="*/ 1741423 w 12192185"/>
              <a:gd name="connsiteY5083" fmla="*/ 2769334 h 6859062"/>
              <a:gd name="connsiteX5084" fmla="*/ 1743592 w 12192185"/>
              <a:gd name="connsiteY5084" fmla="*/ 2766688 h 6859062"/>
              <a:gd name="connsiteX5085" fmla="*/ 1781436 w 12192185"/>
              <a:gd name="connsiteY5085" fmla="*/ 2703093 h 6859062"/>
              <a:gd name="connsiteX5086" fmla="*/ 1850002 w 12192185"/>
              <a:gd name="connsiteY5086" fmla="*/ 2609913 h 6859062"/>
              <a:gd name="connsiteX5087" fmla="*/ 1842587 w 12192185"/>
              <a:gd name="connsiteY5087" fmla="*/ 2617521 h 6859062"/>
              <a:gd name="connsiteX5088" fmla="*/ 1834936 w 12192185"/>
              <a:gd name="connsiteY5088" fmla="*/ 2628603 h 6859062"/>
              <a:gd name="connsiteX5089" fmla="*/ 1834837 w 12192185"/>
              <a:gd name="connsiteY5089" fmla="*/ 2630524 h 6859062"/>
              <a:gd name="connsiteX5090" fmla="*/ 1873269 w 12192185"/>
              <a:gd name="connsiteY5090" fmla="*/ 2578253 h 6859062"/>
              <a:gd name="connsiteX5091" fmla="*/ 1873252 w 12192185"/>
              <a:gd name="connsiteY5091" fmla="*/ 2578317 h 6859062"/>
              <a:gd name="connsiteX5092" fmla="*/ 1873293 w 12192185"/>
              <a:gd name="connsiteY5092" fmla="*/ 2578260 h 6859062"/>
              <a:gd name="connsiteX5093" fmla="*/ 1875696 w 12192185"/>
              <a:gd name="connsiteY5093" fmla="*/ 2540530 h 6859062"/>
              <a:gd name="connsiteX5094" fmla="*/ 1874738 w 12192185"/>
              <a:gd name="connsiteY5094" fmla="*/ 2544109 h 6859062"/>
              <a:gd name="connsiteX5095" fmla="*/ 1873842 w 12192185"/>
              <a:gd name="connsiteY5095" fmla="*/ 2543870 h 6859062"/>
              <a:gd name="connsiteX5096" fmla="*/ 176869 w 12192185"/>
              <a:gd name="connsiteY5096" fmla="*/ 2514032 h 6859062"/>
              <a:gd name="connsiteX5097" fmla="*/ 180314 w 12192185"/>
              <a:gd name="connsiteY5097" fmla="*/ 2515980 h 6859062"/>
              <a:gd name="connsiteX5098" fmla="*/ 199439 w 12192185"/>
              <a:gd name="connsiteY5098" fmla="*/ 2517490 h 6859062"/>
              <a:gd name="connsiteX5099" fmla="*/ 205387 w 12192185"/>
              <a:gd name="connsiteY5099" fmla="*/ 2517928 h 6859062"/>
              <a:gd name="connsiteX5100" fmla="*/ 208554 w 12192185"/>
              <a:gd name="connsiteY5100" fmla="*/ 2520954 h 6859062"/>
              <a:gd name="connsiteX5101" fmla="*/ 213220 w 12192185"/>
              <a:gd name="connsiteY5101" fmla="*/ 2521198 h 6859062"/>
              <a:gd name="connsiteX5102" fmla="*/ 214147 w 12192185"/>
              <a:gd name="connsiteY5102" fmla="*/ 2519741 h 6859062"/>
              <a:gd name="connsiteX5103" fmla="*/ 236743 w 12192185"/>
              <a:gd name="connsiteY5103" fmla="*/ 2529238 h 6859062"/>
              <a:gd name="connsiteX5104" fmla="*/ 233492 w 12192185"/>
              <a:gd name="connsiteY5104" fmla="*/ 2530170 h 6859062"/>
              <a:gd name="connsiteX5105" fmla="*/ 230591 w 12192185"/>
              <a:gd name="connsiteY5105" fmla="*/ 2533048 h 6859062"/>
              <a:gd name="connsiteX5106" fmla="*/ 233552 w 12192185"/>
              <a:gd name="connsiteY5106" fmla="*/ 2536156 h 6859062"/>
              <a:gd name="connsiteX5107" fmla="*/ 236731 w 12192185"/>
              <a:gd name="connsiteY5107" fmla="*/ 2536291 h 6859062"/>
              <a:gd name="connsiteX5108" fmla="*/ 240297 w 12192185"/>
              <a:gd name="connsiteY5108" fmla="*/ 2542037 h 6859062"/>
              <a:gd name="connsiteX5109" fmla="*/ 239547 w 12192185"/>
              <a:gd name="connsiteY5109" fmla="*/ 2545471 h 6859062"/>
              <a:gd name="connsiteX5110" fmla="*/ 243186 w 12192185"/>
              <a:gd name="connsiteY5110" fmla="*/ 2546139 h 6859062"/>
              <a:gd name="connsiteX5111" fmla="*/ 245906 w 12192185"/>
              <a:gd name="connsiteY5111" fmla="*/ 2545741 h 6859062"/>
              <a:gd name="connsiteX5112" fmla="*/ 249416 w 12192185"/>
              <a:gd name="connsiteY5112" fmla="*/ 2546461 h 6859062"/>
              <a:gd name="connsiteX5113" fmla="*/ 249580 w 12192185"/>
              <a:gd name="connsiteY5113" fmla="*/ 2550001 h 6859062"/>
              <a:gd name="connsiteX5114" fmla="*/ 246411 w 12192185"/>
              <a:gd name="connsiteY5114" fmla="*/ 2559238 h 6859062"/>
              <a:gd name="connsiteX5115" fmla="*/ 248078 w 12192185"/>
              <a:gd name="connsiteY5115" fmla="*/ 2569131 h 6859062"/>
              <a:gd name="connsiteX5116" fmla="*/ 248633 w 12192185"/>
              <a:gd name="connsiteY5116" fmla="*/ 2575154 h 6859062"/>
              <a:gd name="connsiteX5117" fmla="*/ 247833 w 12192185"/>
              <a:gd name="connsiteY5117" fmla="*/ 2590150 h 6859062"/>
              <a:gd name="connsiteX5118" fmla="*/ 247034 w 12192185"/>
              <a:gd name="connsiteY5118" fmla="*/ 2592883 h 6859062"/>
              <a:gd name="connsiteX5119" fmla="*/ 225004 w 12192185"/>
              <a:gd name="connsiteY5119" fmla="*/ 2614689 h 6859062"/>
              <a:gd name="connsiteX5120" fmla="*/ 220156 w 12192185"/>
              <a:gd name="connsiteY5120" fmla="*/ 2616923 h 6859062"/>
              <a:gd name="connsiteX5121" fmla="*/ 207051 w 12192185"/>
              <a:gd name="connsiteY5121" fmla="*/ 2618949 h 6859062"/>
              <a:gd name="connsiteX5122" fmla="*/ 196098 w 12192185"/>
              <a:gd name="connsiteY5122" fmla="*/ 2621531 h 6859062"/>
              <a:gd name="connsiteX5123" fmla="*/ 192132 w 12192185"/>
              <a:gd name="connsiteY5123" fmla="*/ 2621238 h 6859062"/>
              <a:gd name="connsiteX5124" fmla="*/ 172754 w 12192185"/>
              <a:gd name="connsiteY5124" fmla="*/ 2615024 h 6859062"/>
              <a:gd name="connsiteX5125" fmla="*/ 169986 w 12192185"/>
              <a:gd name="connsiteY5125" fmla="*/ 2614720 h 6859062"/>
              <a:gd name="connsiteX5126" fmla="*/ 162234 w 12192185"/>
              <a:gd name="connsiteY5126" fmla="*/ 2628007 h 6859062"/>
              <a:gd name="connsiteX5127" fmla="*/ 160189 w 12192185"/>
              <a:gd name="connsiteY5127" fmla="*/ 2642313 h 6859062"/>
              <a:gd name="connsiteX5128" fmla="*/ 151203 w 12192185"/>
              <a:gd name="connsiteY5128" fmla="*/ 2660195 h 6859062"/>
              <a:gd name="connsiteX5129" fmla="*/ 148036 w 12192185"/>
              <a:gd name="connsiteY5129" fmla="*/ 2661258 h 6859062"/>
              <a:gd name="connsiteX5130" fmla="*/ 140769 w 12192185"/>
              <a:gd name="connsiteY5130" fmla="*/ 2665209 h 6859062"/>
              <a:gd name="connsiteX5131" fmla="*/ 131980 w 12192185"/>
              <a:gd name="connsiteY5131" fmla="*/ 2669546 h 6859062"/>
              <a:gd name="connsiteX5132" fmla="*/ 124509 w 12192185"/>
              <a:gd name="connsiteY5132" fmla="*/ 2669494 h 6859062"/>
              <a:gd name="connsiteX5133" fmla="*/ 103727 w 12192185"/>
              <a:gd name="connsiteY5133" fmla="*/ 2671551 h 6859062"/>
              <a:gd name="connsiteX5134" fmla="*/ 89112 w 12192185"/>
              <a:gd name="connsiteY5134" fmla="*/ 2666983 h 6859062"/>
              <a:gd name="connsiteX5135" fmla="*/ 86827 w 12192185"/>
              <a:gd name="connsiteY5135" fmla="*/ 2665519 h 6859062"/>
              <a:gd name="connsiteX5136" fmla="*/ 77495 w 12192185"/>
              <a:gd name="connsiteY5136" fmla="*/ 2656855 h 6859062"/>
              <a:gd name="connsiteX5137" fmla="*/ 74123 w 12192185"/>
              <a:gd name="connsiteY5137" fmla="*/ 2653915 h 6859062"/>
              <a:gd name="connsiteX5138" fmla="*/ 68722 w 12192185"/>
              <a:gd name="connsiteY5138" fmla="*/ 2637863 h 6859062"/>
              <a:gd name="connsiteX5139" fmla="*/ 66850 w 12192185"/>
              <a:gd name="connsiteY5139" fmla="*/ 2623967 h 6859062"/>
              <a:gd name="connsiteX5140" fmla="*/ 64542 w 12192185"/>
              <a:gd name="connsiteY5140" fmla="*/ 2620108 h 6859062"/>
              <a:gd name="connsiteX5141" fmla="*/ 61024 w 12192185"/>
              <a:gd name="connsiteY5141" fmla="*/ 2619151 h 6859062"/>
              <a:gd name="connsiteX5142" fmla="*/ 58849 w 12192185"/>
              <a:gd name="connsiteY5142" fmla="*/ 2616199 h 6859062"/>
              <a:gd name="connsiteX5143" fmla="*/ 62464 w 12192185"/>
              <a:gd name="connsiteY5143" fmla="*/ 2614471 h 6859062"/>
              <a:gd name="connsiteX5144" fmla="*/ 64530 w 12192185"/>
              <a:gd name="connsiteY5144" fmla="*/ 2614823 h 6859062"/>
              <a:gd name="connsiteX5145" fmla="*/ 71519 w 12192185"/>
              <a:gd name="connsiteY5145" fmla="*/ 2607862 h 6859062"/>
              <a:gd name="connsiteX5146" fmla="*/ 70746 w 12192185"/>
              <a:gd name="connsiteY5146" fmla="*/ 2604813 h 6859062"/>
              <a:gd name="connsiteX5147" fmla="*/ 71569 w 12192185"/>
              <a:gd name="connsiteY5147" fmla="*/ 2600387 h 6859062"/>
              <a:gd name="connsiteX5148" fmla="*/ 75534 w 12192185"/>
              <a:gd name="connsiteY5148" fmla="*/ 2600679 h 6859062"/>
              <a:gd name="connsiteX5149" fmla="*/ 80382 w 12192185"/>
              <a:gd name="connsiteY5149" fmla="*/ 2598445 h 6859062"/>
              <a:gd name="connsiteX5150" fmla="*/ 87432 w 12192185"/>
              <a:gd name="connsiteY5150" fmla="*/ 2589293 h 6859062"/>
              <a:gd name="connsiteX5151" fmla="*/ 89766 w 12192185"/>
              <a:gd name="connsiteY5151" fmla="*/ 2583283 h 6859062"/>
              <a:gd name="connsiteX5152" fmla="*/ 90069 w 12192185"/>
              <a:gd name="connsiteY5152" fmla="*/ 2580514 h 6859062"/>
              <a:gd name="connsiteX5153" fmla="*/ 92837 w 12192185"/>
              <a:gd name="connsiteY5153" fmla="*/ 2580818 h 6859062"/>
              <a:gd name="connsiteX5154" fmla="*/ 99051 w 12192185"/>
              <a:gd name="connsiteY5154" fmla="*/ 2583070 h 6859062"/>
              <a:gd name="connsiteX5155" fmla="*/ 110355 w 12192185"/>
              <a:gd name="connsiteY5155" fmla="*/ 2578420 h 6859062"/>
              <a:gd name="connsiteX5156" fmla="*/ 120209 w 12192185"/>
              <a:gd name="connsiteY5156" fmla="*/ 2569078 h 6859062"/>
              <a:gd name="connsiteX5157" fmla="*/ 124573 w 12192185"/>
              <a:gd name="connsiteY5157" fmla="*/ 2572091 h 6859062"/>
              <a:gd name="connsiteX5158" fmla="*/ 122856 w 12192185"/>
              <a:gd name="connsiteY5158" fmla="*/ 2577847 h 6859062"/>
              <a:gd name="connsiteX5159" fmla="*/ 123906 w 12192185"/>
              <a:gd name="connsiteY5159" fmla="*/ 2583906 h 6859062"/>
              <a:gd name="connsiteX5160" fmla="*/ 129855 w 12192185"/>
              <a:gd name="connsiteY5160" fmla="*/ 2580257 h 6859062"/>
              <a:gd name="connsiteX5161" fmla="*/ 131343 w 12192185"/>
              <a:gd name="connsiteY5161" fmla="*/ 2576278 h 6859062"/>
              <a:gd name="connsiteX5162" fmla="*/ 134788 w 12192185"/>
              <a:gd name="connsiteY5162" fmla="*/ 2574140 h 6859062"/>
              <a:gd name="connsiteX5163" fmla="*/ 135815 w 12192185"/>
              <a:gd name="connsiteY5163" fmla="*/ 2577805 h 6859062"/>
              <a:gd name="connsiteX5164" fmla="*/ 134871 w 12192185"/>
              <a:gd name="connsiteY5164" fmla="*/ 2582521 h 6859062"/>
              <a:gd name="connsiteX5165" fmla="*/ 137687 w 12192185"/>
              <a:gd name="connsiteY5165" fmla="*/ 2587614 h 6859062"/>
              <a:gd name="connsiteX5166" fmla="*/ 142209 w 12192185"/>
              <a:gd name="connsiteY5166" fmla="*/ 2585754 h 6859062"/>
              <a:gd name="connsiteX5167" fmla="*/ 139795 w 12192185"/>
              <a:gd name="connsiteY5167" fmla="*/ 2562944 h 6859062"/>
              <a:gd name="connsiteX5168" fmla="*/ 139615 w 12192185"/>
              <a:gd name="connsiteY5168" fmla="*/ 2557248 h 6859062"/>
              <a:gd name="connsiteX5169" fmla="*/ 146834 w 12192185"/>
              <a:gd name="connsiteY5169" fmla="*/ 2544420 h 6859062"/>
              <a:gd name="connsiteX5170" fmla="*/ 149265 w 12192185"/>
              <a:gd name="connsiteY5170" fmla="*/ 2539814 h 6859062"/>
              <a:gd name="connsiteX5171" fmla="*/ 161391 w 12192185"/>
              <a:gd name="connsiteY5171" fmla="*/ 2530737 h 6859062"/>
              <a:gd name="connsiteX5172" fmla="*/ 170882 w 12192185"/>
              <a:gd name="connsiteY5172" fmla="*/ 2526353 h 6859062"/>
              <a:gd name="connsiteX5173" fmla="*/ 176264 w 12192185"/>
              <a:gd name="connsiteY5173" fmla="*/ 2519570 h 6859062"/>
              <a:gd name="connsiteX5174" fmla="*/ 176009 w 12192185"/>
              <a:gd name="connsiteY5174" fmla="*/ 2518954 h 6859062"/>
              <a:gd name="connsiteX5175" fmla="*/ 176869 w 12192185"/>
              <a:gd name="connsiteY5175" fmla="*/ 2514032 h 6859062"/>
              <a:gd name="connsiteX5176" fmla="*/ 12018787 w 12192185"/>
              <a:gd name="connsiteY5176" fmla="*/ 2511040 h 6859062"/>
              <a:gd name="connsiteX5177" fmla="*/ 12026974 w 12192185"/>
              <a:gd name="connsiteY5177" fmla="*/ 2511646 h 6859062"/>
              <a:gd name="connsiteX5178" fmla="*/ 12040303 w 12192185"/>
              <a:gd name="connsiteY5178" fmla="*/ 2515104 h 6859062"/>
              <a:gd name="connsiteX5179" fmla="*/ 12045079 w 12192185"/>
              <a:gd name="connsiteY5179" fmla="*/ 2515457 h 6859062"/>
              <a:gd name="connsiteX5180" fmla="*/ 12047890 w 12192185"/>
              <a:gd name="connsiteY5180" fmla="*/ 2518274 h 6859062"/>
              <a:gd name="connsiteX5181" fmla="*/ 12052550 w 12192185"/>
              <a:gd name="connsiteY5181" fmla="*/ 2523974 h 6859062"/>
              <a:gd name="connsiteX5182" fmla="*/ 12054613 w 12192185"/>
              <a:gd name="connsiteY5182" fmla="*/ 2525774 h 6859062"/>
              <a:gd name="connsiteX5183" fmla="*/ 12059472 w 12192185"/>
              <a:gd name="connsiteY5183" fmla="*/ 2534370 h 6859062"/>
              <a:gd name="connsiteX5184" fmla="*/ 12060855 w 12192185"/>
              <a:gd name="connsiteY5184" fmla="*/ 2536120 h 6859062"/>
              <a:gd name="connsiteX5185" fmla="*/ 12056397 w 12192185"/>
              <a:gd name="connsiteY5185" fmla="*/ 2561465 h 6859062"/>
              <a:gd name="connsiteX5186" fmla="*/ 12047363 w 12192185"/>
              <a:gd name="connsiteY5186" fmla="*/ 2572466 h 6859062"/>
              <a:gd name="connsiteX5187" fmla="*/ 12043370 w 12192185"/>
              <a:gd name="connsiteY5187" fmla="*/ 2576427 h 6859062"/>
              <a:gd name="connsiteX5188" fmla="*/ 12038678 w 12192185"/>
              <a:gd name="connsiteY5188" fmla="*/ 2578688 h 6859062"/>
              <a:gd name="connsiteX5189" fmla="*/ 12034652 w 12192185"/>
              <a:gd name="connsiteY5189" fmla="*/ 2579351 h 6859062"/>
              <a:gd name="connsiteX5190" fmla="*/ 12026433 w 12192185"/>
              <a:gd name="connsiteY5190" fmla="*/ 2581077 h 6859062"/>
              <a:gd name="connsiteX5191" fmla="*/ 12023488 w 12192185"/>
              <a:gd name="connsiteY5191" fmla="*/ 2581956 h 6859062"/>
              <a:gd name="connsiteX5192" fmla="*/ 12016349 w 12192185"/>
              <a:gd name="connsiteY5192" fmla="*/ 2583900 h 6859062"/>
              <a:gd name="connsiteX5193" fmla="*/ 11999493 w 12192185"/>
              <a:gd name="connsiteY5193" fmla="*/ 2574277 h 6859062"/>
              <a:gd name="connsiteX5194" fmla="*/ 11995482 w 12192185"/>
              <a:gd name="connsiteY5194" fmla="*/ 2565330 h 6859062"/>
              <a:gd name="connsiteX5195" fmla="*/ 11992102 w 12192185"/>
              <a:gd name="connsiteY5195" fmla="*/ 2545859 h 6859062"/>
              <a:gd name="connsiteX5196" fmla="*/ 11992667 w 12192185"/>
              <a:gd name="connsiteY5196" fmla="*/ 2539997 h 6859062"/>
              <a:gd name="connsiteX5197" fmla="*/ 11994979 w 12192185"/>
              <a:gd name="connsiteY5197" fmla="*/ 2532755 h 6859062"/>
              <a:gd name="connsiteX5198" fmla="*/ 11998107 w 12192185"/>
              <a:gd name="connsiteY5198" fmla="*/ 2527494 h 6859062"/>
              <a:gd name="connsiteX5199" fmla="*/ 12008921 w 12192185"/>
              <a:gd name="connsiteY5199" fmla="*/ 2518410 h 6859062"/>
              <a:gd name="connsiteX5200" fmla="*/ 12015393 w 12192185"/>
              <a:gd name="connsiteY5200" fmla="*/ 2512436 h 6859062"/>
              <a:gd name="connsiteX5201" fmla="*/ 12018787 w 12192185"/>
              <a:gd name="connsiteY5201" fmla="*/ 2511040 h 6859062"/>
              <a:gd name="connsiteX5202" fmla="*/ 1914914 w 12192185"/>
              <a:gd name="connsiteY5202" fmla="*/ 2508827 h 6859062"/>
              <a:gd name="connsiteX5203" fmla="*/ 1892203 w 12192185"/>
              <a:gd name="connsiteY5203" fmla="*/ 2521928 h 6859062"/>
              <a:gd name="connsiteX5204" fmla="*/ 1897702 w 12192185"/>
              <a:gd name="connsiteY5204" fmla="*/ 2515729 h 6859062"/>
              <a:gd name="connsiteX5205" fmla="*/ 1903207 w 12192185"/>
              <a:gd name="connsiteY5205" fmla="*/ 2509526 h 6859062"/>
              <a:gd name="connsiteX5206" fmla="*/ 1898663 w 12192185"/>
              <a:gd name="connsiteY5206" fmla="*/ 2512147 h 6859062"/>
              <a:gd name="connsiteX5207" fmla="*/ 1893162 w 12192185"/>
              <a:gd name="connsiteY5207" fmla="*/ 2518348 h 6859062"/>
              <a:gd name="connsiteX5208" fmla="*/ 1888619 w 12192185"/>
              <a:gd name="connsiteY5208" fmla="*/ 2520966 h 6859062"/>
              <a:gd name="connsiteX5209" fmla="*/ 1873073 w 12192185"/>
              <a:gd name="connsiteY5209" fmla="*/ 2535988 h 6859062"/>
              <a:gd name="connsiteX5210" fmla="*/ 1872114 w 12192185"/>
              <a:gd name="connsiteY5210" fmla="*/ 2539570 h 6859062"/>
              <a:gd name="connsiteX5211" fmla="*/ 1871155 w 12192185"/>
              <a:gd name="connsiteY5211" fmla="*/ 2543147 h 6859062"/>
              <a:gd name="connsiteX5212" fmla="*/ 1873842 w 12192185"/>
              <a:gd name="connsiteY5212" fmla="*/ 2543870 h 6859062"/>
              <a:gd name="connsiteX5213" fmla="*/ 1871986 w 12192185"/>
              <a:gd name="connsiteY5213" fmla="*/ 2547208 h 6859062"/>
              <a:gd name="connsiteX5214" fmla="*/ 1868275 w 12192185"/>
              <a:gd name="connsiteY5214" fmla="*/ 2553891 h 6859062"/>
              <a:gd name="connsiteX5215" fmla="*/ 1889069 w 12192185"/>
              <a:gd name="connsiteY5215" fmla="*/ 2547949 h 6859062"/>
              <a:gd name="connsiteX5216" fmla="*/ 1874230 w 12192185"/>
              <a:gd name="connsiteY5216" fmla="*/ 2574672 h 6859062"/>
              <a:gd name="connsiteX5217" fmla="*/ 1874979 w 12192185"/>
              <a:gd name="connsiteY5217" fmla="*/ 2575969 h 6859062"/>
              <a:gd name="connsiteX5218" fmla="*/ 1889036 w 12192185"/>
              <a:gd name="connsiteY5218" fmla="*/ 2556867 h 6859062"/>
              <a:gd name="connsiteX5219" fmla="*/ 1921416 w 12192185"/>
              <a:gd name="connsiteY5219" fmla="*/ 2521543 h 6859062"/>
              <a:gd name="connsiteX5220" fmla="*/ 1915444 w 12192185"/>
              <a:gd name="connsiteY5220" fmla="*/ 2517602 h 6859062"/>
              <a:gd name="connsiteX5221" fmla="*/ 1914914 w 12192185"/>
              <a:gd name="connsiteY5221" fmla="*/ 2508827 h 6859062"/>
              <a:gd name="connsiteX5222" fmla="*/ 155803 w 12192185"/>
              <a:gd name="connsiteY5222" fmla="*/ 2495219 h 6859062"/>
              <a:gd name="connsiteX5223" fmla="*/ 156158 w 12192185"/>
              <a:gd name="connsiteY5223" fmla="*/ 2495369 h 6859062"/>
              <a:gd name="connsiteX5224" fmla="*/ 155885 w 12192185"/>
              <a:gd name="connsiteY5224" fmla="*/ 2495736 h 6859062"/>
              <a:gd name="connsiteX5225" fmla="*/ 1997000 w 12192185"/>
              <a:gd name="connsiteY5225" fmla="*/ 2439085 h 6859062"/>
              <a:gd name="connsiteX5226" fmla="*/ 1984697 w 12192185"/>
              <a:gd name="connsiteY5226" fmla="*/ 2450930 h 6859062"/>
              <a:gd name="connsiteX5227" fmla="*/ 1985280 w 12192185"/>
              <a:gd name="connsiteY5227" fmla="*/ 2451493 h 6859062"/>
              <a:gd name="connsiteX5228" fmla="*/ 1985427 w 12192185"/>
              <a:gd name="connsiteY5228" fmla="*/ 2451711 h 6859062"/>
              <a:gd name="connsiteX5229" fmla="*/ 2031006 w 12192185"/>
              <a:gd name="connsiteY5229" fmla="*/ 2424812 h 6859062"/>
              <a:gd name="connsiteX5230" fmla="*/ 2026461 w 12192185"/>
              <a:gd name="connsiteY5230" fmla="*/ 2433693 h 6859062"/>
              <a:gd name="connsiteX5231" fmla="*/ 2027424 w 12192185"/>
              <a:gd name="connsiteY5231" fmla="*/ 2432923 h 6859062"/>
              <a:gd name="connsiteX5232" fmla="*/ 2026813 w 12192185"/>
              <a:gd name="connsiteY5232" fmla="*/ 2435200 h 6859062"/>
              <a:gd name="connsiteX5233" fmla="*/ 2025219 w 12192185"/>
              <a:gd name="connsiteY5233" fmla="*/ 2436120 h 6859062"/>
              <a:gd name="connsiteX5234" fmla="*/ 2021986 w 12192185"/>
              <a:gd name="connsiteY5234" fmla="*/ 2442435 h 6859062"/>
              <a:gd name="connsiteX5235" fmla="*/ 2032315 w 12192185"/>
              <a:gd name="connsiteY5235" fmla="*/ 2428999 h 6859062"/>
              <a:gd name="connsiteX5236" fmla="*/ 2027424 w 12192185"/>
              <a:gd name="connsiteY5236" fmla="*/ 2432923 h 6859062"/>
              <a:gd name="connsiteX5237" fmla="*/ 2027772 w 12192185"/>
              <a:gd name="connsiteY5237" fmla="*/ 2431618 h 6859062"/>
              <a:gd name="connsiteX5238" fmla="*/ 2033274 w 12192185"/>
              <a:gd name="connsiteY5238" fmla="*/ 2425418 h 6859062"/>
              <a:gd name="connsiteX5239" fmla="*/ 1550906 w 12192185"/>
              <a:gd name="connsiteY5239" fmla="*/ 2424413 h 6859062"/>
              <a:gd name="connsiteX5240" fmla="*/ 1549731 w 12192185"/>
              <a:gd name="connsiteY5240" fmla="*/ 2428799 h 6859062"/>
              <a:gd name="connsiteX5241" fmla="*/ 1548555 w 12192185"/>
              <a:gd name="connsiteY5241" fmla="*/ 2433189 h 6859062"/>
              <a:gd name="connsiteX5242" fmla="*/ 1547624 w 12192185"/>
              <a:gd name="connsiteY5242" fmla="*/ 2434236 h 6859062"/>
              <a:gd name="connsiteX5243" fmla="*/ 673386 w 12192185"/>
              <a:gd name="connsiteY5243" fmla="*/ 2391736 h 6859062"/>
              <a:gd name="connsiteX5244" fmla="*/ 673878 w 12192185"/>
              <a:gd name="connsiteY5244" fmla="*/ 2392015 h 6859062"/>
              <a:gd name="connsiteX5245" fmla="*/ 673513 w 12192185"/>
              <a:gd name="connsiteY5245" fmla="*/ 2392215 h 6859062"/>
              <a:gd name="connsiteX5246" fmla="*/ 34054 w 12192185"/>
              <a:gd name="connsiteY5246" fmla="*/ 2362353 h 6859062"/>
              <a:gd name="connsiteX5247" fmla="*/ 41771 w 12192185"/>
              <a:gd name="connsiteY5247" fmla="*/ 2362360 h 6859062"/>
              <a:gd name="connsiteX5248" fmla="*/ 61198 w 12192185"/>
              <a:gd name="connsiteY5248" fmla="*/ 2364363 h 6859062"/>
              <a:gd name="connsiteX5249" fmla="*/ 90008 w 12192185"/>
              <a:gd name="connsiteY5249" fmla="*/ 2384767 h 6859062"/>
              <a:gd name="connsiteX5250" fmla="*/ 90351 w 12192185"/>
              <a:gd name="connsiteY5250" fmla="*/ 2387807 h 6859062"/>
              <a:gd name="connsiteX5251" fmla="*/ 93914 w 12192185"/>
              <a:gd name="connsiteY5251" fmla="*/ 2400878 h 6859062"/>
              <a:gd name="connsiteX5252" fmla="*/ 93640 w 12192185"/>
              <a:gd name="connsiteY5252" fmla="*/ 2404625 h 6859062"/>
              <a:gd name="connsiteX5253" fmla="*/ 94600 w 12192185"/>
              <a:gd name="connsiteY5253" fmla="*/ 2414679 h 6859062"/>
              <a:gd name="connsiteX5254" fmla="*/ 94578 w 12192185"/>
              <a:gd name="connsiteY5254" fmla="*/ 2420140 h 6859062"/>
              <a:gd name="connsiteX5255" fmla="*/ 90263 w 12192185"/>
              <a:gd name="connsiteY5255" fmla="*/ 2425095 h 6859062"/>
              <a:gd name="connsiteX5256" fmla="*/ 80610 w 12192185"/>
              <a:gd name="connsiteY5256" fmla="*/ 2441332 h 6859062"/>
              <a:gd name="connsiteX5257" fmla="*/ 73214 w 12192185"/>
              <a:gd name="connsiteY5257" fmla="*/ 2449826 h 6859062"/>
              <a:gd name="connsiteX5258" fmla="*/ 68558 w 12192185"/>
              <a:gd name="connsiteY5258" fmla="*/ 2451741 h 6859062"/>
              <a:gd name="connsiteX5259" fmla="*/ 56482 w 12192185"/>
              <a:gd name="connsiteY5259" fmla="*/ 2452166 h 6859062"/>
              <a:gd name="connsiteX5260" fmla="*/ 37170 w 12192185"/>
              <a:gd name="connsiteY5260" fmla="*/ 2453751 h 6859062"/>
              <a:gd name="connsiteX5261" fmla="*/ 29042 w 12192185"/>
              <a:gd name="connsiteY5261" fmla="*/ 2451642 h 6859062"/>
              <a:gd name="connsiteX5262" fmla="*/ 19797 w 12192185"/>
              <a:gd name="connsiteY5262" fmla="*/ 2446814 h 6859062"/>
              <a:gd name="connsiteX5263" fmla="*/ 13587 w 12192185"/>
              <a:gd name="connsiteY5263" fmla="*/ 2441645 h 6859062"/>
              <a:gd name="connsiteX5264" fmla="*/ 3020 w 12192185"/>
              <a:gd name="connsiteY5264" fmla="*/ 2432363 h 6859062"/>
              <a:gd name="connsiteX5265" fmla="*/ 0 w 12192185"/>
              <a:gd name="connsiteY5265" fmla="*/ 2424433 h 6859062"/>
              <a:gd name="connsiteX5266" fmla="*/ 0 w 12192185"/>
              <a:gd name="connsiteY5266" fmla="*/ 2382435 h 6859062"/>
              <a:gd name="connsiteX5267" fmla="*/ 500 w 12192185"/>
              <a:gd name="connsiteY5267" fmla="*/ 2381154 h 6859062"/>
              <a:gd name="connsiteX5268" fmla="*/ 9334 w 12192185"/>
              <a:gd name="connsiteY5268" fmla="*/ 2376158 h 6859062"/>
              <a:gd name="connsiteX5269" fmla="*/ 13054 w 12192185"/>
              <a:gd name="connsiteY5269" fmla="*/ 2374173 h 6859062"/>
              <a:gd name="connsiteX5270" fmla="*/ 22733 w 12192185"/>
              <a:gd name="connsiteY5270" fmla="*/ 2367920 h 6859062"/>
              <a:gd name="connsiteX5271" fmla="*/ 27298 w 12192185"/>
              <a:gd name="connsiteY5271" fmla="*/ 2364679 h 6859062"/>
              <a:gd name="connsiteX5272" fmla="*/ 34054 w 12192185"/>
              <a:gd name="connsiteY5272" fmla="*/ 2362353 h 6859062"/>
              <a:gd name="connsiteX5273" fmla="*/ 441146 w 12192185"/>
              <a:gd name="connsiteY5273" fmla="*/ 2349308 h 6859062"/>
              <a:gd name="connsiteX5274" fmla="*/ 448948 w 12192185"/>
              <a:gd name="connsiteY5274" fmla="*/ 2349886 h 6859062"/>
              <a:gd name="connsiteX5275" fmla="*/ 461649 w 12192185"/>
              <a:gd name="connsiteY5275" fmla="*/ 2353182 h 6859062"/>
              <a:gd name="connsiteX5276" fmla="*/ 466200 w 12192185"/>
              <a:gd name="connsiteY5276" fmla="*/ 2353519 h 6859062"/>
              <a:gd name="connsiteX5277" fmla="*/ 468880 w 12192185"/>
              <a:gd name="connsiteY5277" fmla="*/ 2356202 h 6859062"/>
              <a:gd name="connsiteX5278" fmla="*/ 473320 w 12192185"/>
              <a:gd name="connsiteY5278" fmla="*/ 2361634 h 6859062"/>
              <a:gd name="connsiteX5279" fmla="*/ 475286 w 12192185"/>
              <a:gd name="connsiteY5279" fmla="*/ 2363349 h 6859062"/>
              <a:gd name="connsiteX5280" fmla="*/ 479917 w 12192185"/>
              <a:gd name="connsiteY5280" fmla="*/ 2371541 h 6859062"/>
              <a:gd name="connsiteX5281" fmla="*/ 481234 w 12192185"/>
              <a:gd name="connsiteY5281" fmla="*/ 2373209 h 6859062"/>
              <a:gd name="connsiteX5282" fmla="*/ 476987 w 12192185"/>
              <a:gd name="connsiteY5282" fmla="*/ 2397361 h 6859062"/>
              <a:gd name="connsiteX5283" fmla="*/ 468377 w 12192185"/>
              <a:gd name="connsiteY5283" fmla="*/ 2407844 h 6859062"/>
              <a:gd name="connsiteX5284" fmla="*/ 464572 w 12192185"/>
              <a:gd name="connsiteY5284" fmla="*/ 2411619 h 6859062"/>
              <a:gd name="connsiteX5285" fmla="*/ 460101 w 12192185"/>
              <a:gd name="connsiteY5285" fmla="*/ 2413773 h 6859062"/>
              <a:gd name="connsiteX5286" fmla="*/ 456264 w 12192185"/>
              <a:gd name="connsiteY5286" fmla="*/ 2414405 h 6859062"/>
              <a:gd name="connsiteX5287" fmla="*/ 448432 w 12192185"/>
              <a:gd name="connsiteY5287" fmla="*/ 2416050 h 6859062"/>
              <a:gd name="connsiteX5288" fmla="*/ 445625 w 12192185"/>
              <a:gd name="connsiteY5288" fmla="*/ 2416888 h 6859062"/>
              <a:gd name="connsiteX5289" fmla="*/ 438824 w 12192185"/>
              <a:gd name="connsiteY5289" fmla="*/ 2418739 h 6859062"/>
              <a:gd name="connsiteX5290" fmla="*/ 422760 w 12192185"/>
              <a:gd name="connsiteY5290" fmla="*/ 2409570 h 6859062"/>
              <a:gd name="connsiteX5291" fmla="*/ 418938 w 12192185"/>
              <a:gd name="connsiteY5291" fmla="*/ 2401045 h 6859062"/>
              <a:gd name="connsiteX5292" fmla="*/ 415718 w 12192185"/>
              <a:gd name="connsiteY5292" fmla="*/ 2382490 h 6859062"/>
              <a:gd name="connsiteX5293" fmla="*/ 416256 w 12192185"/>
              <a:gd name="connsiteY5293" fmla="*/ 2376903 h 6859062"/>
              <a:gd name="connsiteX5294" fmla="*/ 418459 w 12192185"/>
              <a:gd name="connsiteY5294" fmla="*/ 2370001 h 6859062"/>
              <a:gd name="connsiteX5295" fmla="*/ 421440 w 12192185"/>
              <a:gd name="connsiteY5295" fmla="*/ 2364989 h 6859062"/>
              <a:gd name="connsiteX5296" fmla="*/ 431745 w 12192185"/>
              <a:gd name="connsiteY5296" fmla="*/ 2356332 h 6859062"/>
              <a:gd name="connsiteX5297" fmla="*/ 437913 w 12192185"/>
              <a:gd name="connsiteY5297" fmla="*/ 2350640 h 6859062"/>
              <a:gd name="connsiteX5298" fmla="*/ 441146 w 12192185"/>
              <a:gd name="connsiteY5298" fmla="*/ 2349308 h 6859062"/>
              <a:gd name="connsiteX5299" fmla="*/ 829437 w 12192185"/>
              <a:gd name="connsiteY5299" fmla="*/ 2305154 h 6859062"/>
              <a:gd name="connsiteX5300" fmla="*/ 843693 w 12192185"/>
              <a:gd name="connsiteY5300" fmla="*/ 2309680 h 6859062"/>
              <a:gd name="connsiteX5301" fmla="*/ 857498 w 12192185"/>
              <a:gd name="connsiteY5301" fmla="*/ 2314138 h 6859062"/>
              <a:gd name="connsiteX5302" fmla="*/ 874371 w 12192185"/>
              <a:gd name="connsiteY5302" fmla="*/ 2337376 h 6859062"/>
              <a:gd name="connsiteX5303" fmla="*/ 872665 w 12192185"/>
              <a:gd name="connsiteY5303" fmla="*/ 2348188 h 6859062"/>
              <a:gd name="connsiteX5304" fmla="*/ 871846 w 12192185"/>
              <a:gd name="connsiteY5304" fmla="*/ 2352662 h 6859062"/>
              <a:gd name="connsiteX5305" fmla="*/ 870634 w 12192185"/>
              <a:gd name="connsiteY5305" fmla="*/ 2365029 h 6859062"/>
              <a:gd name="connsiteX5306" fmla="*/ 870309 w 12192185"/>
              <a:gd name="connsiteY5306" fmla="*/ 2371059 h 6859062"/>
              <a:gd name="connsiteX5307" fmla="*/ 867740 w 12192185"/>
              <a:gd name="connsiteY5307" fmla="*/ 2378324 h 6859062"/>
              <a:gd name="connsiteX5308" fmla="*/ 862559 w 12192185"/>
              <a:gd name="connsiteY5308" fmla="*/ 2384836 h 6859062"/>
              <a:gd name="connsiteX5309" fmla="*/ 847837 w 12192185"/>
              <a:gd name="connsiteY5309" fmla="*/ 2399897 h 6859062"/>
              <a:gd name="connsiteX5310" fmla="*/ 811280 w 12192185"/>
              <a:gd name="connsiteY5310" fmla="*/ 2410542 h 6859062"/>
              <a:gd name="connsiteX5311" fmla="*/ 808484 w 12192185"/>
              <a:gd name="connsiteY5311" fmla="*/ 2408792 h 6859062"/>
              <a:gd name="connsiteX5312" fmla="*/ 795056 w 12192185"/>
              <a:gd name="connsiteY5312" fmla="*/ 2403032 h 6859062"/>
              <a:gd name="connsiteX5313" fmla="*/ 792074 w 12192185"/>
              <a:gd name="connsiteY5313" fmla="*/ 2400285 h 6859062"/>
              <a:gd name="connsiteX5314" fmla="*/ 782940 w 12192185"/>
              <a:gd name="connsiteY5314" fmla="*/ 2394354 h 6859062"/>
              <a:gd name="connsiteX5315" fmla="*/ 778344 w 12192185"/>
              <a:gd name="connsiteY5315" fmla="*/ 2390672 h 6859062"/>
              <a:gd name="connsiteX5316" fmla="*/ 777053 w 12192185"/>
              <a:gd name="connsiteY5316" fmla="*/ 2383706 h 6859062"/>
              <a:gd name="connsiteX5317" fmla="*/ 769817 w 12192185"/>
              <a:gd name="connsiteY5317" fmla="*/ 2364661 h 6859062"/>
              <a:gd name="connsiteX5318" fmla="*/ 767604 w 12192185"/>
              <a:gd name="connsiteY5318" fmla="*/ 2352718 h 6859062"/>
              <a:gd name="connsiteX5319" fmla="*/ 769111 w 12192185"/>
              <a:gd name="connsiteY5319" fmla="*/ 2347502 h 6859062"/>
              <a:gd name="connsiteX5320" fmla="*/ 776853 w 12192185"/>
              <a:gd name="connsiteY5320" fmla="*/ 2337018 h 6859062"/>
              <a:gd name="connsiteX5321" fmla="*/ 788468 w 12192185"/>
              <a:gd name="connsiteY5321" fmla="*/ 2319647 h 6859062"/>
              <a:gd name="connsiteX5322" fmla="*/ 795700 w 12192185"/>
              <a:gd name="connsiteY5322" fmla="*/ 2314198 h 6859062"/>
              <a:gd name="connsiteX5323" fmla="*/ 805980 w 12192185"/>
              <a:gd name="connsiteY5323" fmla="*/ 2309629 h 6859062"/>
              <a:gd name="connsiteX5324" fmla="*/ 814510 w 12192185"/>
              <a:gd name="connsiteY5324" fmla="*/ 2307852 h 6859062"/>
              <a:gd name="connsiteX5325" fmla="*/ 829437 w 12192185"/>
              <a:gd name="connsiteY5325" fmla="*/ 2305154 h 6859062"/>
              <a:gd name="connsiteX5326" fmla="*/ 1713326 w 12192185"/>
              <a:gd name="connsiteY5326" fmla="*/ 2289186 h 6859062"/>
              <a:gd name="connsiteX5327" fmla="*/ 1714088 w 12192185"/>
              <a:gd name="connsiteY5327" fmla="*/ 2289389 h 6859062"/>
              <a:gd name="connsiteX5328" fmla="*/ 1708684 w 12192185"/>
              <a:gd name="connsiteY5328" fmla="*/ 2295402 h 6859062"/>
              <a:gd name="connsiteX5329" fmla="*/ 1724257 w 12192185"/>
              <a:gd name="connsiteY5329" fmla="*/ 2276097 h 6859062"/>
              <a:gd name="connsiteX5330" fmla="*/ 1719183 w 12192185"/>
              <a:gd name="connsiteY5330" fmla="*/ 2281348 h 6859062"/>
              <a:gd name="connsiteX5331" fmla="*/ 1713326 w 12192185"/>
              <a:gd name="connsiteY5331" fmla="*/ 2289186 h 6859062"/>
              <a:gd name="connsiteX5332" fmla="*/ 1709699 w 12192185"/>
              <a:gd name="connsiteY5332" fmla="*/ 2288213 h 6859062"/>
              <a:gd name="connsiteX5333" fmla="*/ 1722005 w 12192185"/>
              <a:gd name="connsiteY5333" fmla="*/ 2277398 h 6859062"/>
              <a:gd name="connsiteX5334" fmla="*/ 1731858 w 12192185"/>
              <a:gd name="connsiteY5334" fmla="*/ 2269343 h 6859062"/>
              <a:gd name="connsiteX5335" fmla="*/ 1727568 w 12192185"/>
              <a:gd name="connsiteY5335" fmla="*/ 2274180 h 6859062"/>
              <a:gd name="connsiteX5336" fmla="*/ 1724257 w 12192185"/>
              <a:gd name="connsiteY5336" fmla="*/ 2276097 h 6859062"/>
              <a:gd name="connsiteX5337" fmla="*/ 1730470 w 12192185"/>
              <a:gd name="connsiteY5337" fmla="*/ 2269667 h 6859062"/>
              <a:gd name="connsiteX5338" fmla="*/ 1741050 w 12192185"/>
              <a:gd name="connsiteY5338" fmla="*/ 2258980 h 6859062"/>
              <a:gd name="connsiteX5339" fmla="*/ 1738698 w 12192185"/>
              <a:gd name="connsiteY5339" fmla="*/ 2267757 h 6859062"/>
              <a:gd name="connsiteX5340" fmla="*/ 1731858 w 12192185"/>
              <a:gd name="connsiteY5340" fmla="*/ 2269343 h 6859062"/>
              <a:gd name="connsiteX5341" fmla="*/ 1734309 w 12192185"/>
              <a:gd name="connsiteY5341" fmla="*/ 2266585 h 6859062"/>
              <a:gd name="connsiteX5342" fmla="*/ 1735485 w 12192185"/>
              <a:gd name="connsiteY5342" fmla="*/ 2262191 h 6859062"/>
              <a:gd name="connsiteX5343" fmla="*/ 1741050 w 12192185"/>
              <a:gd name="connsiteY5343" fmla="*/ 2258980 h 6859062"/>
              <a:gd name="connsiteX5344" fmla="*/ 12047544 w 12192185"/>
              <a:gd name="connsiteY5344" fmla="*/ 2247450 h 6859062"/>
              <a:gd name="connsiteX5345" fmla="*/ 12055161 w 12192185"/>
              <a:gd name="connsiteY5345" fmla="*/ 2248013 h 6859062"/>
              <a:gd name="connsiteX5346" fmla="*/ 12067565 w 12192185"/>
              <a:gd name="connsiteY5346" fmla="*/ 2251232 h 6859062"/>
              <a:gd name="connsiteX5347" fmla="*/ 12072009 w 12192185"/>
              <a:gd name="connsiteY5347" fmla="*/ 2251561 h 6859062"/>
              <a:gd name="connsiteX5348" fmla="*/ 12074626 w 12192185"/>
              <a:gd name="connsiteY5348" fmla="*/ 2254182 h 6859062"/>
              <a:gd name="connsiteX5349" fmla="*/ 12078961 w 12192185"/>
              <a:gd name="connsiteY5349" fmla="*/ 2259486 h 6859062"/>
              <a:gd name="connsiteX5350" fmla="*/ 12080883 w 12192185"/>
              <a:gd name="connsiteY5350" fmla="*/ 2261161 h 6859062"/>
              <a:gd name="connsiteX5351" fmla="*/ 12085404 w 12192185"/>
              <a:gd name="connsiteY5351" fmla="*/ 2269162 h 6859062"/>
              <a:gd name="connsiteX5352" fmla="*/ 12086690 w 12192185"/>
              <a:gd name="connsiteY5352" fmla="*/ 2270789 h 6859062"/>
              <a:gd name="connsiteX5353" fmla="*/ 12082542 w 12192185"/>
              <a:gd name="connsiteY5353" fmla="*/ 2294375 h 6859062"/>
              <a:gd name="connsiteX5354" fmla="*/ 12074136 w 12192185"/>
              <a:gd name="connsiteY5354" fmla="*/ 2304612 h 6859062"/>
              <a:gd name="connsiteX5355" fmla="*/ 12070420 w 12192185"/>
              <a:gd name="connsiteY5355" fmla="*/ 2308298 h 6859062"/>
              <a:gd name="connsiteX5356" fmla="*/ 12066053 w 12192185"/>
              <a:gd name="connsiteY5356" fmla="*/ 2310402 h 6859062"/>
              <a:gd name="connsiteX5357" fmla="*/ 12062306 w 12192185"/>
              <a:gd name="connsiteY5357" fmla="*/ 2311019 h 6859062"/>
              <a:gd name="connsiteX5358" fmla="*/ 12054658 w 12192185"/>
              <a:gd name="connsiteY5358" fmla="*/ 2312625 h 6859062"/>
              <a:gd name="connsiteX5359" fmla="*/ 12051917 w 12192185"/>
              <a:gd name="connsiteY5359" fmla="*/ 2313444 h 6859062"/>
              <a:gd name="connsiteX5360" fmla="*/ 12045275 w 12192185"/>
              <a:gd name="connsiteY5360" fmla="*/ 2315252 h 6859062"/>
              <a:gd name="connsiteX5361" fmla="*/ 12029589 w 12192185"/>
              <a:gd name="connsiteY5361" fmla="*/ 2306297 h 6859062"/>
              <a:gd name="connsiteX5362" fmla="*/ 12025857 w 12192185"/>
              <a:gd name="connsiteY5362" fmla="*/ 2297972 h 6859062"/>
              <a:gd name="connsiteX5363" fmla="*/ 12022711 w 12192185"/>
              <a:gd name="connsiteY5363" fmla="*/ 2279852 h 6859062"/>
              <a:gd name="connsiteX5364" fmla="*/ 12023238 w 12192185"/>
              <a:gd name="connsiteY5364" fmla="*/ 2274397 h 6859062"/>
              <a:gd name="connsiteX5365" fmla="*/ 12025388 w 12192185"/>
              <a:gd name="connsiteY5365" fmla="*/ 2267657 h 6859062"/>
              <a:gd name="connsiteX5366" fmla="*/ 12028298 w 12192185"/>
              <a:gd name="connsiteY5366" fmla="*/ 2262762 h 6859062"/>
              <a:gd name="connsiteX5367" fmla="*/ 12038362 w 12192185"/>
              <a:gd name="connsiteY5367" fmla="*/ 2254308 h 6859062"/>
              <a:gd name="connsiteX5368" fmla="*/ 12044385 w 12192185"/>
              <a:gd name="connsiteY5368" fmla="*/ 2248750 h 6859062"/>
              <a:gd name="connsiteX5369" fmla="*/ 12047544 w 12192185"/>
              <a:gd name="connsiteY5369" fmla="*/ 2247450 h 6859062"/>
              <a:gd name="connsiteX5370" fmla="*/ 594653 w 12192185"/>
              <a:gd name="connsiteY5370" fmla="*/ 2216586 h 6859062"/>
              <a:gd name="connsiteX5371" fmla="*/ 611831 w 12192185"/>
              <a:gd name="connsiteY5371" fmla="*/ 2222792 h 6859062"/>
              <a:gd name="connsiteX5372" fmla="*/ 624821 w 12192185"/>
              <a:gd name="connsiteY5372" fmla="*/ 2230534 h 6859062"/>
              <a:gd name="connsiteX5373" fmla="*/ 629628 w 12192185"/>
              <a:gd name="connsiteY5373" fmla="*/ 2231173 h 6859062"/>
              <a:gd name="connsiteX5374" fmla="*/ 632797 w 12192185"/>
              <a:gd name="connsiteY5374" fmla="*/ 2228844 h 6859062"/>
              <a:gd name="connsiteX5375" fmla="*/ 636749 w 12192185"/>
              <a:gd name="connsiteY5375" fmla="*/ 2228987 h 6859062"/>
              <a:gd name="connsiteX5376" fmla="*/ 635783 w 12192185"/>
              <a:gd name="connsiteY5376" fmla="*/ 2233199 h 6859062"/>
              <a:gd name="connsiteX5377" fmla="*/ 634099 w 12192185"/>
              <a:gd name="connsiteY5377" fmla="*/ 2234708 h 6859062"/>
              <a:gd name="connsiteX5378" fmla="*/ 635291 w 12192185"/>
              <a:gd name="connsiteY5378" fmla="*/ 2245280 h 6859062"/>
              <a:gd name="connsiteX5379" fmla="*/ 638383 w 12192185"/>
              <a:gd name="connsiteY5379" fmla="*/ 2246672 h 6859062"/>
              <a:gd name="connsiteX5380" fmla="*/ 641569 w 12192185"/>
              <a:gd name="connsiteY5380" fmla="*/ 2250336 h 6859062"/>
              <a:gd name="connsiteX5381" fmla="*/ 638662 w 12192185"/>
              <a:gd name="connsiteY5381" fmla="*/ 2253489 h 6859062"/>
              <a:gd name="connsiteX5382" fmla="*/ 637298 w 12192185"/>
              <a:gd name="connsiteY5382" fmla="*/ 2259081 h 6859062"/>
              <a:gd name="connsiteX5383" fmla="*/ 640297 w 12192185"/>
              <a:gd name="connsiteY5383" fmla="*/ 2271174 h 6859062"/>
              <a:gd name="connsiteX5384" fmla="*/ 643806 w 12192185"/>
              <a:gd name="connsiteY5384" fmla="*/ 2277175 h 6859062"/>
              <a:gd name="connsiteX5385" fmla="*/ 645942 w 12192185"/>
              <a:gd name="connsiteY5385" fmla="*/ 2279289 h 6859062"/>
              <a:gd name="connsiteX5386" fmla="*/ 643828 w 12192185"/>
              <a:gd name="connsiteY5386" fmla="*/ 2281423 h 6859062"/>
              <a:gd name="connsiteX5387" fmla="*/ 637757 w 12192185"/>
              <a:gd name="connsiteY5387" fmla="*/ 2285159 h 6859062"/>
              <a:gd name="connsiteX5388" fmla="*/ 634102 w 12192185"/>
              <a:gd name="connsiteY5388" fmla="*/ 2297825 h 6859062"/>
              <a:gd name="connsiteX5389" fmla="*/ 635382 w 12192185"/>
              <a:gd name="connsiteY5389" fmla="*/ 2312414 h 6859062"/>
              <a:gd name="connsiteX5390" fmla="*/ 629910 w 12192185"/>
              <a:gd name="connsiteY5390" fmla="*/ 2314077 h 6859062"/>
              <a:gd name="connsiteX5391" fmla="*/ 626202 w 12192185"/>
              <a:gd name="connsiteY5391" fmla="*/ 2308767 h 6859062"/>
              <a:gd name="connsiteX5392" fmla="*/ 620380 w 12192185"/>
              <a:gd name="connsiteY5392" fmla="*/ 2305588 h 6859062"/>
              <a:gd name="connsiteX5393" fmla="*/ 619471 w 12192185"/>
              <a:gd name="connsiteY5393" fmla="*/ 2313060 h 6859062"/>
              <a:gd name="connsiteX5394" fmla="*/ 621832 w 12192185"/>
              <a:gd name="connsiteY5394" fmla="*/ 2316984 h 6859062"/>
              <a:gd name="connsiteX5395" fmla="*/ 621328 w 12192185"/>
              <a:gd name="connsiteY5395" fmla="*/ 2321330 h 6859062"/>
              <a:gd name="connsiteX5396" fmla="*/ 617544 w 12192185"/>
              <a:gd name="connsiteY5396" fmla="*/ 2319739 h 6859062"/>
              <a:gd name="connsiteX5397" fmla="*/ 614194 w 12192185"/>
              <a:gd name="connsiteY5397" fmla="*/ 2315778 h 6859062"/>
              <a:gd name="connsiteX5398" fmla="*/ 608005 w 12192185"/>
              <a:gd name="connsiteY5398" fmla="*/ 2314740 h 6859062"/>
              <a:gd name="connsiteX5399" fmla="*/ 606543 w 12192185"/>
              <a:gd name="connsiteY5399" fmla="*/ 2319806 h 6859062"/>
              <a:gd name="connsiteX5400" fmla="*/ 627424 w 12192185"/>
              <a:gd name="connsiteY5400" fmla="*/ 2333068 h 6859062"/>
              <a:gd name="connsiteX5401" fmla="*/ 632356 w 12192185"/>
              <a:gd name="connsiteY5401" fmla="*/ 2336736 h 6859062"/>
              <a:gd name="connsiteX5402" fmla="*/ 638345 w 12192185"/>
              <a:gd name="connsiteY5402" fmla="*/ 2351438 h 6859062"/>
              <a:gd name="connsiteX5403" fmla="*/ 640605 w 12192185"/>
              <a:gd name="connsiteY5403" fmla="*/ 2356580 h 6859062"/>
              <a:gd name="connsiteX5404" fmla="*/ 640134 w 12192185"/>
              <a:gd name="connsiteY5404" fmla="*/ 2372909 h 6859062"/>
              <a:gd name="connsiteX5405" fmla="*/ 637472 w 12192185"/>
              <a:gd name="connsiteY5405" fmla="*/ 2383865 h 6859062"/>
              <a:gd name="connsiteX5406" fmla="*/ 639590 w 12192185"/>
              <a:gd name="connsiteY5406" fmla="*/ 2392959 h 6859062"/>
              <a:gd name="connsiteX5407" fmla="*/ 640280 w 12192185"/>
              <a:gd name="connsiteY5407" fmla="*/ 2393158 h 6859062"/>
              <a:gd name="connsiteX5408" fmla="*/ 643860 w 12192185"/>
              <a:gd name="connsiteY5408" fmla="*/ 2397184 h 6859062"/>
              <a:gd name="connsiteX5409" fmla="*/ 639904 w 12192185"/>
              <a:gd name="connsiteY5409" fmla="*/ 2398784 h 6859062"/>
              <a:gd name="connsiteX5410" fmla="*/ 625801 w 12192185"/>
              <a:gd name="connsiteY5410" fmla="*/ 2413925 h 6859062"/>
              <a:gd name="connsiteX5411" fmla="*/ 621441 w 12192185"/>
              <a:gd name="connsiteY5411" fmla="*/ 2418654 h 6859062"/>
              <a:gd name="connsiteX5412" fmla="*/ 616761 w 12192185"/>
              <a:gd name="connsiteY5412" fmla="*/ 2419300 h 6859062"/>
              <a:gd name="connsiteX5413" fmla="*/ 613425 w 12192185"/>
              <a:gd name="connsiteY5413" fmla="*/ 2423076 h 6859062"/>
              <a:gd name="connsiteX5414" fmla="*/ 614034 w 12192185"/>
              <a:gd name="connsiteY5414" fmla="*/ 2424836 h 6859062"/>
              <a:gd name="connsiteX5415" fmla="*/ 590857 w 12192185"/>
              <a:gd name="connsiteY5415" fmla="*/ 2437548 h 6859062"/>
              <a:gd name="connsiteX5416" fmla="*/ 592250 w 12192185"/>
              <a:gd name="connsiteY5416" fmla="*/ 2434178 h 6859062"/>
              <a:gd name="connsiteX5417" fmla="*/ 591768 w 12192185"/>
              <a:gd name="connsiteY5417" fmla="*/ 2429797 h 6859062"/>
              <a:gd name="connsiteX5418" fmla="*/ 587155 w 12192185"/>
              <a:gd name="connsiteY5418" fmla="*/ 2430212 h 6859062"/>
              <a:gd name="connsiteX5419" fmla="*/ 584909 w 12192185"/>
              <a:gd name="connsiteY5419" fmla="*/ 2432806 h 6859062"/>
              <a:gd name="connsiteX5420" fmla="*/ 577664 w 12192185"/>
              <a:gd name="connsiteY5420" fmla="*/ 2431963 h 6859062"/>
              <a:gd name="connsiteX5421" fmla="*/ 575267 w 12192185"/>
              <a:gd name="connsiteY5421" fmla="*/ 2429027 h 6859062"/>
              <a:gd name="connsiteX5422" fmla="*/ 572263 w 12192185"/>
              <a:gd name="connsiteY5422" fmla="*/ 2431651 h 6859062"/>
              <a:gd name="connsiteX5423" fmla="*/ 570774 w 12192185"/>
              <a:gd name="connsiteY5423" fmla="*/ 2434216 h 6859062"/>
              <a:gd name="connsiteX5424" fmla="*/ 567812 w 12192185"/>
              <a:gd name="connsiteY5424" fmla="*/ 2436696 h 6859062"/>
              <a:gd name="connsiteX5425" fmla="*/ 564713 w 12192185"/>
              <a:gd name="connsiteY5425" fmla="*/ 2434462 h 6859062"/>
              <a:gd name="connsiteX5426" fmla="*/ 559038 w 12192185"/>
              <a:gd name="connsiteY5426" fmla="*/ 2425590 h 6859062"/>
              <a:gd name="connsiteX5427" fmla="*/ 549565 w 12192185"/>
              <a:gd name="connsiteY5427" fmla="*/ 2420359 h 6859062"/>
              <a:gd name="connsiteX5428" fmla="*/ 544106 w 12192185"/>
              <a:gd name="connsiteY5428" fmla="*/ 2416788 h 6859062"/>
              <a:gd name="connsiteX5429" fmla="*/ 531979 w 12192185"/>
              <a:gd name="connsiteY5429" fmla="*/ 2406054 h 6859062"/>
              <a:gd name="connsiteX5430" fmla="*/ 530208 w 12192185"/>
              <a:gd name="connsiteY5430" fmla="*/ 2403547 h 6859062"/>
              <a:gd name="connsiteX5431" fmla="*/ 526570 w 12192185"/>
              <a:gd name="connsiteY5431" fmla="*/ 2370315 h 6859062"/>
              <a:gd name="connsiteX5432" fmla="*/ 527935 w 12192185"/>
              <a:gd name="connsiteY5432" fmla="*/ 2364722 h 6859062"/>
              <a:gd name="connsiteX5433" fmla="*/ 535016 w 12192185"/>
              <a:gd name="connsiteY5433" fmla="*/ 2352298 h 6859062"/>
              <a:gd name="connsiteX5434" fmla="*/ 540182 w 12192185"/>
              <a:gd name="connsiteY5434" fmla="*/ 2341314 h 6859062"/>
              <a:gd name="connsiteX5435" fmla="*/ 543089 w 12192185"/>
              <a:gd name="connsiteY5435" fmla="*/ 2338162 h 6859062"/>
              <a:gd name="connsiteX5436" fmla="*/ 561335 w 12192185"/>
              <a:gd name="connsiteY5436" fmla="*/ 2325967 h 6859062"/>
              <a:gd name="connsiteX5437" fmla="*/ 563449 w 12192185"/>
              <a:gd name="connsiteY5437" fmla="*/ 2323832 h 6859062"/>
              <a:gd name="connsiteX5438" fmla="*/ 557428 w 12192185"/>
              <a:gd name="connsiteY5438" fmla="*/ 2308374 h 6859062"/>
              <a:gd name="connsiteX5439" fmla="*/ 546718 w 12192185"/>
              <a:gd name="connsiteY5439" fmla="*/ 2297050 h 6859062"/>
              <a:gd name="connsiteX5440" fmla="*/ 537646 w 12192185"/>
              <a:gd name="connsiteY5440" fmla="*/ 2277467 h 6859062"/>
              <a:gd name="connsiteX5441" fmla="*/ 538873 w 12192185"/>
              <a:gd name="connsiteY5441" fmla="*/ 2274079 h 6859062"/>
              <a:gd name="connsiteX5442" fmla="*/ 540411 w 12192185"/>
              <a:gd name="connsiteY5442" fmla="*/ 2265293 h 6859062"/>
              <a:gd name="connsiteX5443" fmla="*/ 542643 w 12192185"/>
              <a:gd name="connsiteY5443" fmla="*/ 2254962 h 6859062"/>
              <a:gd name="connsiteX5444" fmla="*/ 547699 w 12192185"/>
              <a:gd name="connsiteY5444" fmla="*/ 2248687 h 6859062"/>
              <a:gd name="connsiteX5445" fmla="*/ 559902 w 12192185"/>
              <a:gd name="connsiteY5445" fmla="*/ 2229757 h 6859062"/>
              <a:gd name="connsiteX5446" fmla="*/ 573562 w 12192185"/>
              <a:gd name="connsiteY5446" fmla="*/ 2220478 h 6859062"/>
              <a:gd name="connsiteX5447" fmla="*/ 576331 w 12192185"/>
              <a:gd name="connsiteY5447" fmla="*/ 2219531 h 6859062"/>
              <a:gd name="connsiteX5448" fmla="*/ 589907 w 12192185"/>
              <a:gd name="connsiteY5448" fmla="*/ 2217463 h 6859062"/>
              <a:gd name="connsiteX5449" fmla="*/ 594653 w 12192185"/>
              <a:gd name="connsiteY5449" fmla="*/ 2216586 h 6859062"/>
              <a:gd name="connsiteX5450" fmla="*/ 1713685 w 12192185"/>
              <a:gd name="connsiteY5450" fmla="*/ 2198744 h 6859062"/>
              <a:gd name="connsiteX5451" fmla="*/ 1718875 w 12192185"/>
              <a:gd name="connsiteY5451" fmla="*/ 2201309 h 6859062"/>
              <a:gd name="connsiteX5452" fmla="*/ 1713311 w 12192185"/>
              <a:gd name="connsiteY5452" fmla="*/ 2204523 h 6859062"/>
              <a:gd name="connsiteX5453" fmla="*/ 1713685 w 12192185"/>
              <a:gd name="connsiteY5453" fmla="*/ 2198744 h 6859062"/>
              <a:gd name="connsiteX5454" fmla="*/ 1830399 w 12192185"/>
              <a:gd name="connsiteY5454" fmla="*/ 2188859 h 6859062"/>
              <a:gd name="connsiteX5455" fmla="*/ 1822696 w 12192185"/>
              <a:gd name="connsiteY5455" fmla="*/ 2195935 h 6859062"/>
              <a:gd name="connsiteX5456" fmla="*/ 1822709 w 12192185"/>
              <a:gd name="connsiteY5456" fmla="*/ 2195615 h 6859062"/>
              <a:gd name="connsiteX5457" fmla="*/ 1830399 w 12192185"/>
              <a:gd name="connsiteY5457" fmla="*/ 2188859 h 6859062"/>
              <a:gd name="connsiteX5458" fmla="*/ 2301609 w 12192185"/>
              <a:gd name="connsiteY5458" fmla="*/ 2177720 h 6859062"/>
              <a:gd name="connsiteX5459" fmla="*/ 2236356 w 12192185"/>
              <a:gd name="connsiteY5459" fmla="*/ 2226569 h 6859062"/>
              <a:gd name="connsiteX5460" fmla="*/ 2164379 w 12192185"/>
              <a:gd name="connsiteY5460" fmla="*/ 2280185 h 6859062"/>
              <a:gd name="connsiteX5461" fmla="*/ 2102192 w 12192185"/>
              <a:gd name="connsiteY5461" fmla="*/ 2340271 h 6859062"/>
              <a:gd name="connsiteX5462" fmla="*/ 2050993 w 12192185"/>
              <a:gd name="connsiteY5462" fmla="*/ 2387958 h 6859062"/>
              <a:gd name="connsiteX5463" fmla="*/ 2046451 w 12192185"/>
              <a:gd name="connsiteY5463" fmla="*/ 2390579 h 6859062"/>
              <a:gd name="connsiteX5464" fmla="*/ 2040948 w 12192185"/>
              <a:gd name="connsiteY5464" fmla="*/ 2396776 h 6859062"/>
              <a:gd name="connsiteX5465" fmla="*/ 2026464 w 12192185"/>
              <a:gd name="connsiteY5465" fmla="*/ 2410717 h 6859062"/>
              <a:gd name="connsiteX5466" fmla="*/ 2036878 w 12192185"/>
              <a:gd name="connsiteY5466" fmla="*/ 2408978 h 6859062"/>
              <a:gd name="connsiteX5467" fmla="*/ 2044532 w 12192185"/>
              <a:gd name="connsiteY5467" fmla="*/ 2397734 h 6859062"/>
              <a:gd name="connsiteX5468" fmla="*/ 2043573 w 12192185"/>
              <a:gd name="connsiteY5468" fmla="*/ 2401315 h 6859062"/>
              <a:gd name="connsiteX5469" fmla="*/ 2049076 w 12192185"/>
              <a:gd name="connsiteY5469" fmla="*/ 2395111 h 6859062"/>
              <a:gd name="connsiteX5470" fmla="*/ 2053617 w 12192185"/>
              <a:gd name="connsiteY5470" fmla="*/ 2392497 h 6859062"/>
              <a:gd name="connsiteX5471" fmla="*/ 2140200 w 12192185"/>
              <a:gd name="connsiteY5471" fmla="*/ 2327431 h 6859062"/>
              <a:gd name="connsiteX5472" fmla="*/ 2135657 w 12192185"/>
              <a:gd name="connsiteY5472" fmla="*/ 2330052 h 6859062"/>
              <a:gd name="connsiteX5473" fmla="*/ 2138280 w 12192185"/>
              <a:gd name="connsiteY5473" fmla="*/ 2334593 h 6859062"/>
              <a:gd name="connsiteX5474" fmla="*/ 2139238 w 12192185"/>
              <a:gd name="connsiteY5474" fmla="*/ 2331013 h 6859062"/>
              <a:gd name="connsiteX5475" fmla="*/ 2140200 w 12192185"/>
              <a:gd name="connsiteY5475" fmla="*/ 2327431 h 6859062"/>
              <a:gd name="connsiteX5476" fmla="*/ 2144743 w 12192185"/>
              <a:gd name="connsiteY5476" fmla="*/ 2324810 h 6859062"/>
              <a:gd name="connsiteX5477" fmla="*/ 2167455 w 12192185"/>
              <a:gd name="connsiteY5477" fmla="*/ 2311709 h 6859062"/>
              <a:gd name="connsiteX5478" fmla="*/ 2159332 w 12192185"/>
              <a:gd name="connsiteY5478" fmla="*/ 2313370 h 6859062"/>
              <a:gd name="connsiteX5479" fmla="*/ 2160290 w 12192185"/>
              <a:gd name="connsiteY5479" fmla="*/ 2309790 h 6859062"/>
              <a:gd name="connsiteX5480" fmla="*/ 2161248 w 12192185"/>
              <a:gd name="connsiteY5480" fmla="*/ 2306208 h 6859062"/>
              <a:gd name="connsiteX5481" fmla="*/ 2156706 w 12192185"/>
              <a:gd name="connsiteY5481" fmla="*/ 2308832 h 6859062"/>
              <a:gd name="connsiteX5482" fmla="*/ 2177754 w 12192185"/>
              <a:gd name="connsiteY5482" fmla="*/ 2287607 h 6859062"/>
              <a:gd name="connsiteX5483" fmla="*/ 2176793 w 12192185"/>
              <a:gd name="connsiteY5483" fmla="*/ 2291184 h 6859062"/>
              <a:gd name="connsiteX5484" fmla="*/ 2172250 w 12192185"/>
              <a:gd name="connsiteY5484" fmla="*/ 2293809 h 6859062"/>
              <a:gd name="connsiteX5485" fmla="*/ 2171292 w 12192185"/>
              <a:gd name="connsiteY5485" fmla="*/ 2297388 h 6859062"/>
              <a:gd name="connsiteX5486" fmla="*/ 2180376 w 12192185"/>
              <a:gd name="connsiteY5486" fmla="*/ 2292148 h 6859062"/>
              <a:gd name="connsiteX5487" fmla="*/ 2184919 w 12192185"/>
              <a:gd name="connsiteY5487" fmla="*/ 2289528 h 6859062"/>
              <a:gd name="connsiteX5488" fmla="*/ 2223884 w 12192185"/>
              <a:gd name="connsiteY5488" fmla="*/ 2273108 h 6859062"/>
              <a:gd name="connsiteX5489" fmla="*/ 2245229 w 12192185"/>
              <a:gd name="connsiteY5489" fmla="*/ 2254355 h 6859062"/>
              <a:gd name="connsiteX5490" fmla="*/ 2251607 w 12192185"/>
              <a:gd name="connsiteY5490" fmla="*/ 2247046 h 6859062"/>
              <a:gd name="connsiteX5491" fmla="*/ 2256890 w 12192185"/>
              <a:gd name="connsiteY5491" fmla="*/ 2229083 h 6859062"/>
              <a:gd name="connsiteX5492" fmla="*/ 2278764 w 12192185"/>
              <a:gd name="connsiteY5492" fmla="*/ 2208775 h 6859062"/>
              <a:gd name="connsiteX5493" fmla="*/ 2303977 w 12192185"/>
              <a:gd name="connsiteY5493" fmla="*/ 2194332 h 6859062"/>
              <a:gd name="connsiteX5494" fmla="*/ 2305303 w 12192185"/>
              <a:gd name="connsiteY5494" fmla="*/ 2193447 h 6859062"/>
              <a:gd name="connsiteX5495" fmla="*/ 151573 w 12192185"/>
              <a:gd name="connsiteY5495" fmla="*/ 2114518 h 6859062"/>
              <a:gd name="connsiteX5496" fmla="*/ 163727 w 12192185"/>
              <a:gd name="connsiteY5496" fmla="*/ 2119619 h 6859062"/>
              <a:gd name="connsiteX5497" fmla="*/ 176152 w 12192185"/>
              <a:gd name="connsiteY5497" fmla="*/ 2120935 h 6859062"/>
              <a:gd name="connsiteX5498" fmla="*/ 188484 w 12192185"/>
              <a:gd name="connsiteY5498" fmla="*/ 2120913 h 6859062"/>
              <a:gd name="connsiteX5499" fmla="*/ 197943 w 12192185"/>
              <a:gd name="connsiteY5499" fmla="*/ 2123908 h 6859062"/>
              <a:gd name="connsiteX5500" fmla="*/ 205797 w 12192185"/>
              <a:gd name="connsiteY5500" fmla="*/ 2130778 h 6859062"/>
              <a:gd name="connsiteX5501" fmla="*/ 209028 w 12192185"/>
              <a:gd name="connsiteY5501" fmla="*/ 2138632 h 6859062"/>
              <a:gd name="connsiteX5502" fmla="*/ 207949 w 12192185"/>
              <a:gd name="connsiteY5502" fmla="*/ 2140453 h 6859062"/>
              <a:gd name="connsiteX5503" fmla="*/ 203872 w 12192185"/>
              <a:gd name="connsiteY5503" fmla="*/ 2154986 h 6859062"/>
              <a:gd name="connsiteX5504" fmla="*/ 192034 w 12192185"/>
              <a:gd name="connsiteY5504" fmla="*/ 2163987 h 6859062"/>
              <a:gd name="connsiteX5505" fmla="*/ 174136 w 12192185"/>
              <a:gd name="connsiteY5505" fmla="*/ 2164923 h 6859062"/>
              <a:gd name="connsiteX5506" fmla="*/ 168195 w 12192185"/>
              <a:gd name="connsiteY5506" fmla="*/ 2160480 h 6859062"/>
              <a:gd name="connsiteX5507" fmla="*/ 155744 w 12192185"/>
              <a:gd name="connsiteY5507" fmla="*/ 2156879 h 6859062"/>
              <a:gd name="connsiteX5508" fmla="*/ 150474 w 12192185"/>
              <a:gd name="connsiteY5508" fmla="*/ 2156291 h 6859062"/>
              <a:gd name="connsiteX5509" fmla="*/ 134683 w 12192185"/>
              <a:gd name="connsiteY5509" fmla="*/ 2149014 h 6859062"/>
              <a:gd name="connsiteX5510" fmla="*/ 132046 w 12192185"/>
              <a:gd name="connsiteY5510" fmla="*/ 2138161 h 6859062"/>
              <a:gd name="connsiteX5511" fmla="*/ 133966 w 12192185"/>
              <a:gd name="connsiteY5511" fmla="*/ 2127271 h 6859062"/>
              <a:gd name="connsiteX5512" fmla="*/ 137500 w 12192185"/>
              <a:gd name="connsiteY5512" fmla="*/ 2120308 h 6859062"/>
              <a:gd name="connsiteX5513" fmla="*/ 151573 w 12192185"/>
              <a:gd name="connsiteY5513" fmla="*/ 2114518 h 6859062"/>
              <a:gd name="connsiteX5514" fmla="*/ 788976 w 12192185"/>
              <a:gd name="connsiteY5514" fmla="*/ 2103352 h 6859062"/>
              <a:gd name="connsiteX5515" fmla="*/ 799909 w 12192185"/>
              <a:gd name="connsiteY5515" fmla="*/ 2108406 h 6859062"/>
              <a:gd name="connsiteX5516" fmla="*/ 807818 w 12192185"/>
              <a:gd name="connsiteY5516" fmla="*/ 2117332 h 6859062"/>
              <a:gd name="connsiteX5517" fmla="*/ 811328 w 12192185"/>
              <a:gd name="connsiteY5517" fmla="*/ 2124987 h 6859062"/>
              <a:gd name="connsiteX5518" fmla="*/ 806777 w 12192185"/>
              <a:gd name="connsiteY5518" fmla="*/ 2140755 h 6859062"/>
              <a:gd name="connsiteX5519" fmla="*/ 794316 w 12192185"/>
              <a:gd name="connsiteY5519" fmla="*/ 2147596 h 6859062"/>
              <a:gd name="connsiteX5520" fmla="*/ 784870 w 12192185"/>
              <a:gd name="connsiteY5520" fmla="*/ 2157207 h 6859062"/>
              <a:gd name="connsiteX5521" fmla="*/ 776618 w 12192185"/>
              <a:gd name="connsiteY5521" fmla="*/ 2167635 h 6859062"/>
              <a:gd name="connsiteX5522" fmla="*/ 767743 w 12192185"/>
              <a:gd name="connsiteY5522" fmla="*/ 2173615 h 6859062"/>
              <a:gd name="connsiteX5523" fmla="*/ 756672 w 12192185"/>
              <a:gd name="connsiteY5523" fmla="*/ 2175639 h 6859062"/>
              <a:gd name="connsiteX5524" fmla="*/ 747873 w 12192185"/>
              <a:gd name="connsiteY5524" fmla="*/ 2173099 h 6859062"/>
              <a:gd name="connsiteX5525" fmla="*/ 747060 w 12192185"/>
              <a:gd name="connsiteY5525" fmla="*/ 2170966 h 6859062"/>
              <a:gd name="connsiteX5526" fmla="*/ 737522 w 12192185"/>
              <a:gd name="connsiteY5526" fmla="*/ 2157775 h 6859062"/>
              <a:gd name="connsiteX5527" fmla="*/ 737860 w 12192185"/>
              <a:gd name="connsiteY5527" fmla="*/ 2141740 h 6859062"/>
              <a:gd name="connsiteX5528" fmla="*/ 749076 w 12192185"/>
              <a:gd name="connsiteY5528" fmla="*/ 2125999 h 6859062"/>
              <a:gd name="connsiteX5529" fmla="*/ 756814 w 12192185"/>
              <a:gd name="connsiteY5529" fmla="*/ 2123961 h 6859062"/>
              <a:gd name="connsiteX5530" fmla="*/ 768207 w 12192185"/>
              <a:gd name="connsiteY5530" fmla="*/ 2115861 h 6859062"/>
              <a:gd name="connsiteX5531" fmla="*/ 772237 w 12192185"/>
              <a:gd name="connsiteY5531" fmla="*/ 2111806 h 6859062"/>
              <a:gd name="connsiteX5532" fmla="*/ 788976 w 12192185"/>
              <a:gd name="connsiteY5532" fmla="*/ 2103352 h 6859062"/>
              <a:gd name="connsiteX5533" fmla="*/ 417319 w 12192185"/>
              <a:gd name="connsiteY5533" fmla="*/ 2085489 h 6859062"/>
              <a:gd name="connsiteX5534" fmla="*/ 425121 w 12192185"/>
              <a:gd name="connsiteY5534" fmla="*/ 2086067 h 6859062"/>
              <a:gd name="connsiteX5535" fmla="*/ 437822 w 12192185"/>
              <a:gd name="connsiteY5535" fmla="*/ 2089362 h 6859062"/>
              <a:gd name="connsiteX5536" fmla="*/ 442372 w 12192185"/>
              <a:gd name="connsiteY5536" fmla="*/ 2089699 h 6859062"/>
              <a:gd name="connsiteX5537" fmla="*/ 445052 w 12192185"/>
              <a:gd name="connsiteY5537" fmla="*/ 2092383 h 6859062"/>
              <a:gd name="connsiteX5538" fmla="*/ 449493 w 12192185"/>
              <a:gd name="connsiteY5538" fmla="*/ 2097814 h 6859062"/>
              <a:gd name="connsiteX5539" fmla="*/ 451458 w 12192185"/>
              <a:gd name="connsiteY5539" fmla="*/ 2099529 h 6859062"/>
              <a:gd name="connsiteX5540" fmla="*/ 456090 w 12192185"/>
              <a:gd name="connsiteY5540" fmla="*/ 2107722 h 6859062"/>
              <a:gd name="connsiteX5541" fmla="*/ 457406 w 12192185"/>
              <a:gd name="connsiteY5541" fmla="*/ 2109390 h 6859062"/>
              <a:gd name="connsiteX5542" fmla="*/ 453159 w 12192185"/>
              <a:gd name="connsiteY5542" fmla="*/ 2133541 h 6859062"/>
              <a:gd name="connsiteX5543" fmla="*/ 444550 w 12192185"/>
              <a:gd name="connsiteY5543" fmla="*/ 2144024 h 6859062"/>
              <a:gd name="connsiteX5544" fmla="*/ 440745 w 12192185"/>
              <a:gd name="connsiteY5544" fmla="*/ 2147799 h 6859062"/>
              <a:gd name="connsiteX5545" fmla="*/ 436274 w 12192185"/>
              <a:gd name="connsiteY5545" fmla="*/ 2149954 h 6859062"/>
              <a:gd name="connsiteX5546" fmla="*/ 432437 w 12192185"/>
              <a:gd name="connsiteY5546" fmla="*/ 2150585 h 6859062"/>
              <a:gd name="connsiteX5547" fmla="*/ 424605 w 12192185"/>
              <a:gd name="connsiteY5547" fmla="*/ 2152229 h 6859062"/>
              <a:gd name="connsiteX5548" fmla="*/ 421798 w 12192185"/>
              <a:gd name="connsiteY5548" fmla="*/ 2153068 h 6859062"/>
              <a:gd name="connsiteX5549" fmla="*/ 414996 w 12192185"/>
              <a:gd name="connsiteY5549" fmla="*/ 2154920 h 6859062"/>
              <a:gd name="connsiteX5550" fmla="*/ 398933 w 12192185"/>
              <a:gd name="connsiteY5550" fmla="*/ 2145750 h 6859062"/>
              <a:gd name="connsiteX5551" fmla="*/ 395111 w 12192185"/>
              <a:gd name="connsiteY5551" fmla="*/ 2137225 h 6859062"/>
              <a:gd name="connsiteX5552" fmla="*/ 391889 w 12192185"/>
              <a:gd name="connsiteY5552" fmla="*/ 2118669 h 6859062"/>
              <a:gd name="connsiteX5553" fmla="*/ 392428 w 12192185"/>
              <a:gd name="connsiteY5553" fmla="*/ 2113084 h 6859062"/>
              <a:gd name="connsiteX5554" fmla="*/ 394631 w 12192185"/>
              <a:gd name="connsiteY5554" fmla="*/ 2106182 h 6859062"/>
              <a:gd name="connsiteX5555" fmla="*/ 397612 w 12192185"/>
              <a:gd name="connsiteY5555" fmla="*/ 2101170 h 6859062"/>
              <a:gd name="connsiteX5556" fmla="*/ 407917 w 12192185"/>
              <a:gd name="connsiteY5556" fmla="*/ 2092512 h 6859062"/>
              <a:gd name="connsiteX5557" fmla="*/ 414085 w 12192185"/>
              <a:gd name="connsiteY5557" fmla="*/ 2086820 h 6859062"/>
              <a:gd name="connsiteX5558" fmla="*/ 417319 w 12192185"/>
              <a:gd name="connsiteY5558" fmla="*/ 2085489 h 6859062"/>
              <a:gd name="connsiteX5559" fmla="*/ 2928371 w 12192185"/>
              <a:gd name="connsiteY5559" fmla="*/ 2079100 h 6859062"/>
              <a:gd name="connsiteX5560" fmla="*/ 2928081 w 12192185"/>
              <a:gd name="connsiteY5560" fmla="*/ 2080134 h 6859062"/>
              <a:gd name="connsiteX5561" fmla="*/ 2928529 w 12192185"/>
              <a:gd name="connsiteY5561" fmla="*/ 2079961 h 6859062"/>
              <a:gd name="connsiteX5562" fmla="*/ 2913905 w 12192185"/>
              <a:gd name="connsiteY5562" fmla="*/ 2070337 h 6859062"/>
              <a:gd name="connsiteX5563" fmla="*/ 2786679 w 12192185"/>
              <a:gd name="connsiteY5563" fmla="*/ 2116909 h 6859062"/>
              <a:gd name="connsiteX5564" fmla="*/ 2611391 w 12192185"/>
              <a:gd name="connsiteY5564" fmla="*/ 2210073 h 6859062"/>
              <a:gd name="connsiteX5565" fmla="*/ 2511632 w 12192185"/>
              <a:gd name="connsiteY5565" fmla="*/ 2267156 h 6859062"/>
              <a:gd name="connsiteX5566" fmla="*/ 2503744 w 12192185"/>
              <a:gd name="connsiteY5566" fmla="*/ 2273718 h 6859062"/>
              <a:gd name="connsiteX5567" fmla="*/ 2500035 w 12192185"/>
              <a:gd name="connsiteY5567" fmla="*/ 2272853 h 6859062"/>
              <a:gd name="connsiteX5568" fmla="*/ 2449168 w 12192185"/>
              <a:gd name="connsiteY5568" fmla="*/ 2306321 h 6859062"/>
              <a:gd name="connsiteX5569" fmla="*/ 2493695 w 12192185"/>
              <a:gd name="connsiteY5569" fmla="*/ 2270016 h 6859062"/>
              <a:gd name="connsiteX5570" fmla="*/ 2489686 w 12192185"/>
              <a:gd name="connsiteY5570" fmla="*/ 2261287 h 6859062"/>
              <a:gd name="connsiteX5571" fmla="*/ 2493900 w 12192185"/>
              <a:gd name="connsiteY5571" fmla="*/ 2250665 h 6859062"/>
              <a:gd name="connsiteX5572" fmla="*/ 2534675 w 12192185"/>
              <a:gd name="connsiteY5572" fmla="*/ 2216903 h 6859062"/>
              <a:gd name="connsiteX5573" fmla="*/ 2666296 w 12192185"/>
              <a:gd name="connsiteY5573" fmla="*/ 2142124 h 6859062"/>
              <a:gd name="connsiteX5574" fmla="*/ 2724658 w 12192185"/>
              <a:gd name="connsiteY5574" fmla="*/ 2113068 h 6859062"/>
              <a:gd name="connsiteX5575" fmla="*/ 2726147 w 12192185"/>
              <a:gd name="connsiteY5575" fmla="*/ 2112178 h 6859062"/>
              <a:gd name="connsiteX5576" fmla="*/ 2729836 w 12192185"/>
              <a:gd name="connsiteY5576" fmla="*/ 2110490 h 6859062"/>
              <a:gd name="connsiteX5577" fmla="*/ 2734632 w 12192185"/>
              <a:gd name="connsiteY5577" fmla="*/ 2108102 h 6859062"/>
              <a:gd name="connsiteX5578" fmla="*/ 2736718 w 12192185"/>
              <a:gd name="connsiteY5578" fmla="*/ 2107336 h 6859062"/>
              <a:gd name="connsiteX5579" fmla="*/ 2801923 w 12192185"/>
              <a:gd name="connsiteY5579" fmla="*/ 2077462 h 6859062"/>
              <a:gd name="connsiteX5580" fmla="*/ 2798871 w 12192185"/>
              <a:gd name="connsiteY5580" fmla="*/ 2075023 h 6859062"/>
              <a:gd name="connsiteX5581" fmla="*/ 2789511 w 12192185"/>
              <a:gd name="connsiteY5581" fmla="*/ 2073055 h 6859062"/>
              <a:gd name="connsiteX5582" fmla="*/ 2785162 w 12192185"/>
              <a:gd name="connsiteY5582" fmla="*/ 2071955 h 6859062"/>
              <a:gd name="connsiteX5583" fmla="*/ 2692598 w 12192185"/>
              <a:gd name="connsiteY5583" fmla="*/ 2107276 h 6859062"/>
              <a:gd name="connsiteX5584" fmla="*/ 2492106 w 12192185"/>
              <a:gd name="connsiteY5584" fmla="*/ 2212288 h 6859062"/>
              <a:gd name="connsiteX5585" fmla="*/ 2469378 w 12192185"/>
              <a:gd name="connsiteY5585" fmla="*/ 2225334 h 6859062"/>
              <a:gd name="connsiteX5586" fmla="*/ 2452624 w 12192185"/>
              <a:gd name="connsiteY5586" fmla="*/ 2236148 h 6859062"/>
              <a:gd name="connsiteX5587" fmla="*/ 2448781 w 12192185"/>
              <a:gd name="connsiteY5587" fmla="*/ 2236860 h 6859062"/>
              <a:gd name="connsiteX5588" fmla="*/ 2243250 w 12192185"/>
              <a:gd name="connsiteY5588" fmla="*/ 2383592 h 6859062"/>
              <a:gd name="connsiteX5589" fmla="*/ 2046942 w 12192185"/>
              <a:gd name="connsiteY5589" fmla="*/ 2569962 h 6859062"/>
              <a:gd name="connsiteX5590" fmla="*/ 1962364 w 12192185"/>
              <a:gd name="connsiteY5590" fmla="*/ 2675535 h 6859062"/>
              <a:gd name="connsiteX5591" fmla="*/ 1906914 w 12192185"/>
              <a:gd name="connsiteY5591" fmla="*/ 2764553 h 6859062"/>
              <a:gd name="connsiteX5592" fmla="*/ 1916101 w 12192185"/>
              <a:gd name="connsiteY5592" fmla="*/ 2766945 h 6859062"/>
              <a:gd name="connsiteX5593" fmla="*/ 1923876 w 12192185"/>
              <a:gd name="connsiteY5593" fmla="*/ 2774054 h 6859062"/>
              <a:gd name="connsiteX5594" fmla="*/ 1928232 w 12192185"/>
              <a:gd name="connsiteY5594" fmla="*/ 2778255 h 6859062"/>
              <a:gd name="connsiteX5595" fmla="*/ 1932583 w 12192185"/>
              <a:gd name="connsiteY5595" fmla="*/ 2784745 h 6859062"/>
              <a:gd name="connsiteX5596" fmla="*/ 1934817 w 12192185"/>
              <a:gd name="connsiteY5596" fmla="*/ 2790626 h 6859062"/>
              <a:gd name="connsiteX5597" fmla="*/ 1935215 w 12192185"/>
              <a:gd name="connsiteY5597" fmla="*/ 2805133 h 6859062"/>
              <a:gd name="connsiteX5598" fmla="*/ 1935885 w 12192185"/>
              <a:gd name="connsiteY5598" fmla="*/ 2814162 h 6859062"/>
              <a:gd name="connsiteX5599" fmla="*/ 1934839 w 12192185"/>
              <a:gd name="connsiteY5599" fmla="*/ 2817784 h 6859062"/>
              <a:gd name="connsiteX5600" fmla="*/ 1929118 w 12192185"/>
              <a:gd name="connsiteY5600" fmla="*/ 2823988 h 6859062"/>
              <a:gd name="connsiteX5601" fmla="*/ 1917816 w 12192185"/>
              <a:gd name="connsiteY5601" fmla="*/ 2832503 h 6859062"/>
              <a:gd name="connsiteX5602" fmla="*/ 1914478 w 12192185"/>
              <a:gd name="connsiteY5602" fmla="*/ 2836120 h 6859062"/>
              <a:gd name="connsiteX5603" fmla="*/ 1910415 w 12192185"/>
              <a:gd name="connsiteY5603" fmla="*/ 2836582 h 6859062"/>
              <a:gd name="connsiteX5604" fmla="*/ 1902850 w 12192185"/>
              <a:gd name="connsiteY5604" fmla="*/ 2836690 h 6859062"/>
              <a:gd name="connsiteX5605" fmla="*/ 1900081 w 12192185"/>
              <a:gd name="connsiteY5605" fmla="*/ 2837199 h 6859062"/>
              <a:gd name="connsiteX5606" fmla="*/ 1890057 w 12192185"/>
              <a:gd name="connsiteY5606" fmla="*/ 2835614 h 6859062"/>
              <a:gd name="connsiteX5607" fmla="*/ 1887766 w 12192185"/>
              <a:gd name="connsiteY5607" fmla="*/ 2835606 h 6859062"/>
              <a:gd name="connsiteX5608" fmla="*/ 1874439 w 12192185"/>
              <a:gd name="connsiteY5608" fmla="*/ 2820576 h 6859062"/>
              <a:gd name="connsiteX5609" fmla="*/ 1816290 w 12192185"/>
              <a:gd name="connsiteY5609" fmla="*/ 2931799 h 6859062"/>
              <a:gd name="connsiteX5610" fmla="*/ 1796624 w 12192185"/>
              <a:gd name="connsiteY5610" fmla="*/ 3005951 h 6859062"/>
              <a:gd name="connsiteX5611" fmla="*/ 1782147 w 12192185"/>
              <a:gd name="connsiteY5611" fmla="*/ 3060683 h 6859062"/>
              <a:gd name="connsiteX5612" fmla="*/ 1678581 w 12192185"/>
              <a:gd name="connsiteY5612" fmla="*/ 3349644 h 6859062"/>
              <a:gd name="connsiteX5613" fmla="*/ 1680232 w 12192185"/>
              <a:gd name="connsiteY5613" fmla="*/ 3369607 h 6859062"/>
              <a:gd name="connsiteX5614" fmla="*/ 1695544 w 12192185"/>
              <a:gd name="connsiteY5614" fmla="*/ 3350186 h 6859062"/>
              <a:gd name="connsiteX5615" fmla="*/ 1871279 w 12192185"/>
              <a:gd name="connsiteY5615" fmla="*/ 2917548 h 6859062"/>
              <a:gd name="connsiteX5616" fmla="*/ 1878660 w 12192185"/>
              <a:gd name="connsiteY5616" fmla="*/ 2901129 h 6859062"/>
              <a:gd name="connsiteX5617" fmla="*/ 1896443 w 12192185"/>
              <a:gd name="connsiteY5617" fmla="*/ 2896470 h 6859062"/>
              <a:gd name="connsiteX5618" fmla="*/ 1899460 w 12192185"/>
              <a:gd name="connsiteY5618" fmla="*/ 2914527 h 6859062"/>
              <a:gd name="connsiteX5619" fmla="*/ 1856399 w 12192185"/>
              <a:gd name="connsiteY5619" fmla="*/ 2996673 h 6859062"/>
              <a:gd name="connsiteX5620" fmla="*/ 1842847 w 12192185"/>
              <a:gd name="connsiteY5620" fmla="*/ 3028340 h 6859062"/>
              <a:gd name="connsiteX5621" fmla="*/ 1918347 w 12192185"/>
              <a:gd name="connsiteY5621" fmla="*/ 2898251 h 6859062"/>
              <a:gd name="connsiteX5622" fmla="*/ 2146913 w 12192185"/>
              <a:gd name="connsiteY5622" fmla="*/ 2615572 h 6859062"/>
              <a:gd name="connsiteX5623" fmla="*/ 2258301 w 12192185"/>
              <a:gd name="connsiteY5623" fmla="*/ 2510965 h 6859062"/>
              <a:gd name="connsiteX5624" fmla="*/ 2255458 w 12192185"/>
              <a:gd name="connsiteY5624" fmla="*/ 2505845 h 6859062"/>
              <a:gd name="connsiteX5625" fmla="*/ 2261869 w 12192185"/>
              <a:gd name="connsiteY5625" fmla="*/ 2483641 h 6859062"/>
              <a:gd name="connsiteX5626" fmla="*/ 2271795 w 12192185"/>
              <a:gd name="connsiteY5626" fmla="*/ 2477152 h 6859062"/>
              <a:gd name="connsiteX5627" fmla="*/ 2287918 w 12192185"/>
              <a:gd name="connsiteY5627" fmla="*/ 2472452 h 6859062"/>
              <a:gd name="connsiteX5628" fmla="*/ 2301286 w 12192185"/>
              <a:gd name="connsiteY5628" fmla="*/ 2474185 h 6859062"/>
              <a:gd name="connsiteX5629" fmla="*/ 2419981 w 12192185"/>
              <a:gd name="connsiteY5629" fmla="*/ 2381321 h 6859062"/>
              <a:gd name="connsiteX5630" fmla="*/ 2465133 w 12192185"/>
              <a:gd name="connsiteY5630" fmla="*/ 2352297 h 6859062"/>
              <a:gd name="connsiteX5631" fmla="*/ 2467644 w 12192185"/>
              <a:gd name="connsiteY5631" fmla="*/ 2350295 h 6859062"/>
              <a:gd name="connsiteX5632" fmla="*/ 2490292 w 12192185"/>
              <a:gd name="connsiteY5632" fmla="*/ 2327626 h 6859062"/>
              <a:gd name="connsiteX5633" fmla="*/ 2570884 w 12192185"/>
              <a:gd name="connsiteY5633" fmla="*/ 2279342 h 6859062"/>
              <a:gd name="connsiteX5634" fmla="*/ 2696123 w 12192185"/>
              <a:gd name="connsiteY5634" fmla="*/ 2197560 h 6859062"/>
              <a:gd name="connsiteX5635" fmla="*/ 2908966 w 12192185"/>
              <a:gd name="connsiteY5635" fmla="*/ 2087852 h 6859062"/>
              <a:gd name="connsiteX5636" fmla="*/ 11560177 w 12192185"/>
              <a:gd name="connsiteY5636" fmla="*/ 2006425 h 6859062"/>
              <a:gd name="connsiteX5637" fmla="*/ 11555082 w 12192185"/>
              <a:gd name="connsiteY5637" fmla="*/ 2008521 h 6859062"/>
              <a:gd name="connsiteX5638" fmla="*/ 11556865 w 12192185"/>
              <a:gd name="connsiteY5638" fmla="*/ 2014831 h 6859062"/>
              <a:gd name="connsiteX5639" fmla="*/ 11561360 w 12192185"/>
              <a:gd name="connsiteY5639" fmla="*/ 2017859 h 6859062"/>
              <a:gd name="connsiteX5640" fmla="*/ 11563445 w 12192185"/>
              <a:gd name="connsiteY5640" fmla="*/ 2021607 h 6859062"/>
              <a:gd name="connsiteX5641" fmla="*/ 11559370 w 12192185"/>
              <a:gd name="connsiteY5641" fmla="*/ 2022540 h 6859062"/>
              <a:gd name="connsiteX5642" fmla="*/ 11594267 w 12192185"/>
              <a:gd name="connsiteY5642" fmla="*/ 2059689 h 6859062"/>
              <a:gd name="connsiteX5643" fmla="*/ 11633896 w 12192185"/>
              <a:gd name="connsiteY5643" fmla="*/ 2110568 h 6859062"/>
              <a:gd name="connsiteX5644" fmla="*/ 11637471 w 12192185"/>
              <a:gd name="connsiteY5644" fmla="*/ 2108321 h 6859062"/>
              <a:gd name="connsiteX5645" fmla="*/ 11657749 w 12192185"/>
              <a:gd name="connsiteY5645" fmla="*/ 2105662 h 6859062"/>
              <a:gd name="connsiteX5646" fmla="*/ 11675795 w 12192185"/>
              <a:gd name="connsiteY5646" fmla="*/ 2115917 h 6859062"/>
              <a:gd name="connsiteX5647" fmla="*/ 11676909 w 12192185"/>
              <a:gd name="connsiteY5647" fmla="*/ 2116208 h 6859062"/>
              <a:gd name="connsiteX5648" fmla="*/ 11655760 w 12192185"/>
              <a:gd name="connsiteY5648" fmla="*/ 2090118 h 6859062"/>
              <a:gd name="connsiteX5649" fmla="*/ 11605617 w 12192185"/>
              <a:gd name="connsiteY5649" fmla="*/ 2037144 h 6859062"/>
              <a:gd name="connsiteX5650" fmla="*/ 11602251 w 12192185"/>
              <a:gd name="connsiteY5650" fmla="*/ 2037612 h 6859062"/>
              <a:gd name="connsiteX5651" fmla="*/ 11596654 w 12192185"/>
              <a:gd name="connsiteY5651" fmla="*/ 2035851 h 6859062"/>
              <a:gd name="connsiteX5652" fmla="*/ 11580702 w 12192185"/>
              <a:gd name="connsiteY5652" fmla="*/ 2031306 h 6859062"/>
              <a:gd name="connsiteX5653" fmla="*/ 11576330 w 12192185"/>
              <a:gd name="connsiteY5653" fmla="*/ 2026602 h 6859062"/>
              <a:gd name="connsiteX5654" fmla="*/ 11560177 w 12192185"/>
              <a:gd name="connsiteY5654" fmla="*/ 2006425 h 6859062"/>
              <a:gd name="connsiteX5655" fmla="*/ 1930371 w 12192185"/>
              <a:gd name="connsiteY5655" fmla="*/ 2003698 h 6859062"/>
              <a:gd name="connsiteX5656" fmla="*/ 1926029 w 12192185"/>
              <a:gd name="connsiteY5656" fmla="*/ 2007512 h 6859062"/>
              <a:gd name="connsiteX5657" fmla="*/ 1929948 w 12192185"/>
              <a:gd name="connsiteY5657" fmla="*/ 2003860 h 6859062"/>
              <a:gd name="connsiteX5658" fmla="*/ 3140180 w 12192185"/>
              <a:gd name="connsiteY5658" fmla="*/ 1998474 h 6859062"/>
              <a:gd name="connsiteX5659" fmla="*/ 2973305 w 12192185"/>
              <a:gd name="connsiteY5659" fmla="*/ 2049522 h 6859062"/>
              <a:gd name="connsiteX5660" fmla="*/ 2971125 w 12192185"/>
              <a:gd name="connsiteY5660" fmla="*/ 2063043 h 6859062"/>
              <a:gd name="connsiteX5661" fmla="*/ 2970922 w 12192185"/>
              <a:gd name="connsiteY5661" fmla="*/ 2063638 h 6859062"/>
              <a:gd name="connsiteX5662" fmla="*/ 701131 w 12192185"/>
              <a:gd name="connsiteY5662" fmla="*/ 1980273 h 6859062"/>
              <a:gd name="connsiteX5663" fmla="*/ 708848 w 12192185"/>
              <a:gd name="connsiteY5663" fmla="*/ 1980279 h 6859062"/>
              <a:gd name="connsiteX5664" fmla="*/ 728274 w 12192185"/>
              <a:gd name="connsiteY5664" fmla="*/ 1982282 h 6859062"/>
              <a:gd name="connsiteX5665" fmla="*/ 757085 w 12192185"/>
              <a:gd name="connsiteY5665" fmla="*/ 2002685 h 6859062"/>
              <a:gd name="connsiteX5666" fmla="*/ 757428 w 12192185"/>
              <a:gd name="connsiteY5666" fmla="*/ 2005725 h 6859062"/>
              <a:gd name="connsiteX5667" fmla="*/ 760991 w 12192185"/>
              <a:gd name="connsiteY5667" fmla="*/ 2018797 h 6859062"/>
              <a:gd name="connsiteX5668" fmla="*/ 760717 w 12192185"/>
              <a:gd name="connsiteY5668" fmla="*/ 2022544 h 6859062"/>
              <a:gd name="connsiteX5669" fmla="*/ 761677 w 12192185"/>
              <a:gd name="connsiteY5669" fmla="*/ 2032597 h 6859062"/>
              <a:gd name="connsiteX5670" fmla="*/ 761655 w 12192185"/>
              <a:gd name="connsiteY5670" fmla="*/ 2038059 h 6859062"/>
              <a:gd name="connsiteX5671" fmla="*/ 757340 w 12192185"/>
              <a:gd name="connsiteY5671" fmla="*/ 2043013 h 6859062"/>
              <a:gd name="connsiteX5672" fmla="*/ 747686 w 12192185"/>
              <a:gd name="connsiteY5672" fmla="*/ 2059251 h 6859062"/>
              <a:gd name="connsiteX5673" fmla="*/ 740291 w 12192185"/>
              <a:gd name="connsiteY5673" fmla="*/ 2067745 h 6859062"/>
              <a:gd name="connsiteX5674" fmla="*/ 735634 w 12192185"/>
              <a:gd name="connsiteY5674" fmla="*/ 2069661 h 6859062"/>
              <a:gd name="connsiteX5675" fmla="*/ 723558 w 12192185"/>
              <a:gd name="connsiteY5675" fmla="*/ 2070085 h 6859062"/>
              <a:gd name="connsiteX5676" fmla="*/ 704246 w 12192185"/>
              <a:gd name="connsiteY5676" fmla="*/ 2071669 h 6859062"/>
              <a:gd name="connsiteX5677" fmla="*/ 696119 w 12192185"/>
              <a:gd name="connsiteY5677" fmla="*/ 2069560 h 6859062"/>
              <a:gd name="connsiteX5678" fmla="*/ 686874 w 12192185"/>
              <a:gd name="connsiteY5678" fmla="*/ 2064733 h 6859062"/>
              <a:gd name="connsiteX5679" fmla="*/ 680664 w 12192185"/>
              <a:gd name="connsiteY5679" fmla="*/ 2059564 h 6859062"/>
              <a:gd name="connsiteX5680" fmla="*/ 665161 w 12192185"/>
              <a:gd name="connsiteY5680" fmla="*/ 2037320 h 6859062"/>
              <a:gd name="connsiteX5681" fmla="*/ 660434 w 12192185"/>
              <a:gd name="connsiteY5681" fmla="*/ 2024726 h 6859062"/>
              <a:gd name="connsiteX5682" fmla="*/ 667577 w 12192185"/>
              <a:gd name="connsiteY5682" fmla="*/ 1999073 h 6859062"/>
              <a:gd name="connsiteX5683" fmla="*/ 676411 w 12192185"/>
              <a:gd name="connsiteY5683" fmla="*/ 1994076 h 6859062"/>
              <a:gd name="connsiteX5684" fmla="*/ 680132 w 12192185"/>
              <a:gd name="connsiteY5684" fmla="*/ 1992092 h 6859062"/>
              <a:gd name="connsiteX5685" fmla="*/ 689810 w 12192185"/>
              <a:gd name="connsiteY5685" fmla="*/ 1985838 h 6859062"/>
              <a:gd name="connsiteX5686" fmla="*/ 694375 w 12192185"/>
              <a:gd name="connsiteY5686" fmla="*/ 1982598 h 6859062"/>
              <a:gd name="connsiteX5687" fmla="*/ 701131 w 12192185"/>
              <a:gd name="connsiteY5687" fmla="*/ 1980273 h 6859062"/>
              <a:gd name="connsiteX5688" fmla="*/ 11975466 w 12192185"/>
              <a:gd name="connsiteY5688" fmla="*/ 1973253 h 6859062"/>
              <a:gd name="connsiteX5689" fmla="*/ 11983000 w 12192185"/>
              <a:gd name="connsiteY5689" fmla="*/ 1973258 h 6859062"/>
              <a:gd name="connsiteX5690" fmla="*/ 12001971 w 12192185"/>
              <a:gd name="connsiteY5690" fmla="*/ 1975215 h 6859062"/>
              <a:gd name="connsiteX5691" fmla="*/ 12030106 w 12192185"/>
              <a:gd name="connsiteY5691" fmla="*/ 1995139 h 6859062"/>
              <a:gd name="connsiteX5692" fmla="*/ 12030440 w 12192185"/>
              <a:gd name="connsiteY5692" fmla="*/ 1998107 h 6859062"/>
              <a:gd name="connsiteX5693" fmla="*/ 12033919 w 12192185"/>
              <a:gd name="connsiteY5693" fmla="*/ 2010872 h 6859062"/>
              <a:gd name="connsiteX5694" fmla="*/ 12033652 w 12192185"/>
              <a:gd name="connsiteY5694" fmla="*/ 2014531 h 6859062"/>
              <a:gd name="connsiteX5695" fmla="*/ 12034590 w 12192185"/>
              <a:gd name="connsiteY5695" fmla="*/ 2024349 h 6859062"/>
              <a:gd name="connsiteX5696" fmla="*/ 12034568 w 12192185"/>
              <a:gd name="connsiteY5696" fmla="*/ 2029682 h 6859062"/>
              <a:gd name="connsiteX5697" fmla="*/ 12030355 w 12192185"/>
              <a:gd name="connsiteY5697" fmla="*/ 2034520 h 6859062"/>
              <a:gd name="connsiteX5698" fmla="*/ 12020928 w 12192185"/>
              <a:gd name="connsiteY5698" fmla="*/ 2050376 h 6859062"/>
              <a:gd name="connsiteX5699" fmla="*/ 12013707 w 12192185"/>
              <a:gd name="connsiteY5699" fmla="*/ 2058670 h 6859062"/>
              <a:gd name="connsiteX5700" fmla="*/ 12009158 w 12192185"/>
              <a:gd name="connsiteY5700" fmla="*/ 2060541 h 6859062"/>
              <a:gd name="connsiteX5701" fmla="*/ 11997366 w 12192185"/>
              <a:gd name="connsiteY5701" fmla="*/ 2060956 h 6859062"/>
              <a:gd name="connsiteX5702" fmla="*/ 11978508 w 12192185"/>
              <a:gd name="connsiteY5702" fmla="*/ 2062503 h 6859062"/>
              <a:gd name="connsiteX5703" fmla="*/ 11970571 w 12192185"/>
              <a:gd name="connsiteY5703" fmla="*/ 2060444 h 6859062"/>
              <a:gd name="connsiteX5704" fmla="*/ 11961543 w 12192185"/>
              <a:gd name="connsiteY5704" fmla="*/ 2055730 h 6859062"/>
              <a:gd name="connsiteX5705" fmla="*/ 11955479 w 12192185"/>
              <a:gd name="connsiteY5705" fmla="*/ 2050683 h 6859062"/>
              <a:gd name="connsiteX5706" fmla="*/ 11940339 w 12192185"/>
              <a:gd name="connsiteY5706" fmla="*/ 2028960 h 6859062"/>
              <a:gd name="connsiteX5707" fmla="*/ 11935724 w 12192185"/>
              <a:gd name="connsiteY5707" fmla="*/ 2016663 h 6859062"/>
              <a:gd name="connsiteX5708" fmla="*/ 11942699 w 12192185"/>
              <a:gd name="connsiteY5708" fmla="*/ 1991612 h 6859062"/>
              <a:gd name="connsiteX5709" fmla="*/ 11951325 w 12192185"/>
              <a:gd name="connsiteY5709" fmla="*/ 1986732 h 6859062"/>
              <a:gd name="connsiteX5710" fmla="*/ 11954958 w 12192185"/>
              <a:gd name="connsiteY5710" fmla="*/ 1984794 h 6859062"/>
              <a:gd name="connsiteX5711" fmla="*/ 11964410 w 12192185"/>
              <a:gd name="connsiteY5711" fmla="*/ 1978688 h 6859062"/>
              <a:gd name="connsiteX5712" fmla="*/ 11968868 w 12192185"/>
              <a:gd name="connsiteY5712" fmla="*/ 1975523 h 6859062"/>
              <a:gd name="connsiteX5713" fmla="*/ 11975466 w 12192185"/>
              <a:gd name="connsiteY5713" fmla="*/ 1973253 h 6859062"/>
              <a:gd name="connsiteX5714" fmla="*/ 1188836 w 12192185"/>
              <a:gd name="connsiteY5714" fmla="*/ 1948646 h 6859062"/>
              <a:gd name="connsiteX5715" fmla="*/ 1203092 w 12192185"/>
              <a:gd name="connsiteY5715" fmla="*/ 1953172 h 6859062"/>
              <a:gd name="connsiteX5716" fmla="*/ 1216898 w 12192185"/>
              <a:gd name="connsiteY5716" fmla="*/ 1957628 h 6859062"/>
              <a:gd name="connsiteX5717" fmla="*/ 1233770 w 12192185"/>
              <a:gd name="connsiteY5717" fmla="*/ 1980866 h 6859062"/>
              <a:gd name="connsiteX5718" fmla="*/ 1232064 w 12192185"/>
              <a:gd name="connsiteY5718" fmla="*/ 1991678 h 6859062"/>
              <a:gd name="connsiteX5719" fmla="*/ 1231245 w 12192185"/>
              <a:gd name="connsiteY5719" fmla="*/ 1996151 h 6859062"/>
              <a:gd name="connsiteX5720" fmla="*/ 1230033 w 12192185"/>
              <a:gd name="connsiteY5720" fmla="*/ 2008518 h 6859062"/>
              <a:gd name="connsiteX5721" fmla="*/ 1229708 w 12192185"/>
              <a:gd name="connsiteY5721" fmla="*/ 2014547 h 6859062"/>
              <a:gd name="connsiteX5722" fmla="*/ 1227139 w 12192185"/>
              <a:gd name="connsiteY5722" fmla="*/ 2021813 h 6859062"/>
              <a:gd name="connsiteX5723" fmla="*/ 1221958 w 12192185"/>
              <a:gd name="connsiteY5723" fmla="*/ 2028324 h 6859062"/>
              <a:gd name="connsiteX5724" fmla="*/ 1207236 w 12192185"/>
              <a:gd name="connsiteY5724" fmla="*/ 2043387 h 6859062"/>
              <a:gd name="connsiteX5725" fmla="*/ 1170679 w 12192185"/>
              <a:gd name="connsiteY5725" fmla="*/ 2054030 h 6859062"/>
              <a:gd name="connsiteX5726" fmla="*/ 1167883 w 12192185"/>
              <a:gd name="connsiteY5726" fmla="*/ 2052281 h 6859062"/>
              <a:gd name="connsiteX5727" fmla="*/ 1154454 w 12192185"/>
              <a:gd name="connsiteY5727" fmla="*/ 2046521 h 6859062"/>
              <a:gd name="connsiteX5728" fmla="*/ 1151474 w 12192185"/>
              <a:gd name="connsiteY5728" fmla="*/ 2043776 h 6859062"/>
              <a:gd name="connsiteX5729" fmla="*/ 1142339 w 12192185"/>
              <a:gd name="connsiteY5729" fmla="*/ 2037843 h 6859062"/>
              <a:gd name="connsiteX5730" fmla="*/ 1137743 w 12192185"/>
              <a:gd name="connsiteY5730" fmla="*/ 2034161 h 6859062"/>
              <a:gd name="connsiteX5731" fmla="*/ 1136452 w 12192185"/>
              <a:gd name="connsiteY5731" fmla="*/ 2027194 h 6859062"/>
              <a:gd name="connsiteX5732" fmla="*/ 1129216 w 12192185"/>
              <a:gd name="connsiteY5732" fmla="*/ 2008150 h 6859062"/>
              <a:gd name="connsiteX5733" fmla="*/ 1127004 w 12192185"/>
              <a:gd name="connsiteY5733" fmla="*/ 1996208 h 6859062"/>
              <a:gd name="connsiteX5734" fmla="*/ 1128509 w 12192185"/>
              <a:gd name="connsiteY5734" fmla="*/ 1990991 h 6859062"/>
              <a:gd name="connsiteX5735" fmla="*/ 1136251 w 12192185"/>
              <a:gd name="connsiteY5735" fmla="*/ 1980508 h 6859062"/>
              <a:gd name="connsiteX5736" fmla="*/ 1147867 w 12192185"/>
              <a:gd name="connsiteY5736" fmla="*/ 1963137 h 6859062"/>
              <a:gd name="connsiteX5737" fmla="*/ 1155100 w 12192185"/>
              <a:gd name="connsiteY5737" fmla="*/ 1957689 h 6859062"/>
              <a:gd name="connsiteX5738" fmla="*/ 1165378 w 12192185"/>
              <a:gd name="connsiteY5738" fmla="*/ 1953119 h 6859062"/>
              <a:gd name="connsiteX5739" fmla="*/ 1173909 w 12192185"/>
              <a:gd name="connsiteY5739" fmla="*/ 1951343 h 6859062"/>
              <a:gd name="connsiteX5740" fmla="*/ 1188836 w 12192185"/>
              <a:gd name="connsiteY5740" fmla="*/ 1948646 h 6859062"/>
              <a:gd name="connsiteX5741" fmla="*/ 11736418 w 12192185"/>
              <a:gd name="connsiteY5741" fmla="*/ 1947087 h 6859062"/>
              <a:gd name="connsiteX5742" fmla="*/ 11738836 w 12192185"/>
              <a:gd name="connsiteY5742" fmla="*/ 1951254 h 6859062"/>
              <a:gd name="connsiteX5743" fmla="*/ 11735544 w 12192185"/>
              <a:gd name="connsiteY5743" fmla="*/ 1950383 h 6859062"/>
              <a:gd name="connsiteX5744" fmla="*/ 11732253 w 12192185"/>
              <a:gd name="connsiteY5744" fmla="*/ 1949511 h 6859062"/>
              <a:gd name="connsiteX5745" fmla="*/ 11736418 w 12192185"/>
              <a:gd name="connsiteY5745" fmla="*/ 1947087 h 6859062"/>
              <a:gd name="connsiteX5746" fmla="*/ 33877 w 12192185"/>
              <a:gd name="connsiteY5746" fmla="*/ 1923174 h 6859062"/>
              <a:gd name="connsiteX5747" fmla="*/ 42260 w 12192185"/>
              <a:gd name="connsiteY5747" fmla="*/ 1923795 h 6859062"/>
              <a:gd name="connsiteX5748" fmla="*/ 55909 w 12192185"/>
              <a:gd name="connsiteY5748" fmla="*/ 1927336 h 6859062"/>
              <a:gd name="connsiteX5749" fmla="*/ 60799 w 12192185"/>
              <a:gd name="connsiteY5749" fmla="*/ 1927698 h 6859062"/>
              <a:gd name="connsiteX5750" fmla="*/ 63679 w 12192185"/>
              <a:gd name="connsiteY5750" fmla="*/ 1930582 h 6859062"/>
              <a:gd name="connsiteX5751" fmla="*/ 68450 w 12192185"/>
              <a:gd name="connsiteY5751" fmla="*/ 1936419 h 6859062"/>
              <a:gd name="connsiteX5752" fmla="*/ 70563 w 12192185"/>
              <a:gd name="connsiteY5752" fmla="*/ 1938262 h 6859062"/>
              <a:gd name="connsiteX5753" fmla="*/ 75539 w 12192185"/>
              <a:gd name="connsiteY5753" fmla="*/ 1947066 h 6859062"/>
              <a:gd name="connsiteX5754" fmla="*/ 76954 w 12192185"/>
              <a:gd name="connsiteY5754" fmla="*/ 1948857 h 6859062"/>
              <a:gd name="connsiteX5755" fmla="*/ 72390 w 12192185"/>
              <a:gd name="connsiteY5755" fmla="*/ 1974811 h 6859062"/>
              <a:gd name="connsiteX5756" fmla="*/ 63139 w 12192185"/>
              <a:gd name="connsiteY5756" fmla="*/ 1986076 h 6859062"/>
              <a:gd name="connsiteX5757" fmla="*/ 59050 w 12192185"/>
              <a:gd name="connsiteY5757" fmla="*/ 1990132 h 6859062"/>
              <a:gd name="connsiteX5758" fmla="*/ 54246 w 12192185"/>
              <a:gd name="connsiteY5758" fmla="*/ 1992448 h 6859062"/>
              <a:gd name="connsiteX5759" fmla="*/ 50122 w 12192185"/>
              <a:gd name="connsiteY5759" fmla="*/ 1993126 h 6859062"/>
              <a:gd name="connsiteX5760" fmla="*/ 41705 w 12192185"/>
              <a:gd name="connsiteY5760" fmla="*/ 1994893 h 6859062"/>
              <a:gd name="connsiteX5761" fmla="*/ 38689 w 12192185"/>
              <a:gd name="connsiteY5761" fmla="*/ 1995795 h 6859062"/>
              <a:gd name="connsiteX5762" fmla="*/ 31379 w 12192185"/>
              <a:gd name="connsiteY5762" fmla="*/ 1997785 h 6859062"/>
              <a:gd name="connsiteX5763" fmla="*/ 14118 w 12192185"/>
              <a:gd name="connsiteY5763" fmla="*/ 1987931 h 6859062"/>
              <a:gd name="connsiteX5764" fmla="*/ 10011 w 12192185"/>
              <a:gd name="connsiteY5764" fmla="*/ 1978769 h 6859062"/>
              <a:gd name="connsiteX5765" fmla="*/ 6549 w 12192185"/>
              <a:gd name="connsiteY5765" fmla="*/ 1958830 h 6859062"/>
              <a:gd name="connsiteX5766" fmla="*/ 7129 w 12192185"/>
              <a:gd name="connsiteY5766" fmla="*/ 1952828 h 6859062"/>
              <a:gd name="connsiteX5767" fmla="*/ 9496 w 12192185"/>
              <a:gd name="connsiteY5767" fmla="*/ 1945411 h 6859062"/>
              <a:gd name="connsiteX5768" fmla="*/ 12699 w 12192185"/>
              <a:gd name="connsiteY5768" fmla="*/ 1940025 h 6859062"/>
              <a:gd name="connsiteX5769" fmla="*/ 23773 w 12192185"/>
              <a:gd name="connsiteY5769" fmla="*/ 1930722 h 6859062"/>
              <a:gd name="connsiteX5770" fmla="*/ 30401 w 12192185"/>
              <a:gd name="connsiteY5770" fmla="*/ 1924605 h 6859062"/>
              <a:gd name="connsiteX5771" fmla="*/ 33877 w 12192185"/>
              <a:gd name="connsiteY5771" fmla="*/ 1923174 h 6859062"/>
              <a:gd name="connsiteX5772" fmla="*/ 8142407 w 12192185"/>
              <a:gd name="connsiteY5772" fmla="*/ 1923150 h 6859062"/>
              <a:gd name="connsiteX5773" fmla="*/ 8131978 w 12192185"/>
              <a:gd name="connsiteY5773" fmla="*/ 1932830 h 6859062"/>
              <a:gd name="connsiteX5774" fmla="*/ 8147226 w 12192185"/>
              <a:gd name="connsiteY5774" fmla="*/ 1952766 h 6859062"/>
              <a:gd name="connsiteX5775" fmla="*/ 8157375 w 12192185"/>
              <a:gd name="connsiteY5775" fmla="*/ 1945538 h 6859062"/>
              <a:gd name="connsiteX5776" fmla="*/ 329548 w 12192185"/>
              <a:gd name="connsiteY5776" fmla="*/ 1856074 h 6859062"/>
              <a:gd name="connsiteX5777" fmla="*/ 342671 w 12192185"/>
              <a:gd name="connsiteY5777" fmla="*/ 1863531 h 6859062"/>
              <a:gd name="connsiteX5778" fmla="*/ 344719 w 12192185"/>
              <a:gd name="connsiteY5778" fmla="*/ 1864066 h 6859062"/>
              <a:gd name="connsiteX5779" fmla="*/ 347949 w 12192185"/>
              <a:gd name="connsiteY5779" fmla="*/ 1871920 h 6859062"/>
              <a:gd name="connsiteX5780" fmla="*/ 347203 w 12192185"/>
              <a:gd name="connsiteY5780" fmla="*/ 1882328 h 6859062"/>
              <a:gd name="connsiteX5781" fmla="*/ 342590 w 12192185"/>
              <a:gd name="connsiteY5781" fmla="*/ 1891112 h 6859062"/>
              <a:gd name="connsiteX5782" fmla="*/ 333812 w 12192185"/>
              <a:gd name="connsiteY5782" fmla="*/ 1899773 h 6859062"/>
              <a:gd name="connsiteX5783" fmla="*/ 325910 w 12192185"/>
              <a:gd name="connsiteY5783" fmla="*/ 1909452 h 6859062"/>
              <a:gd name="connsiteX5784" fmla="*/ 320864 w 12192185"/>
              <a:gd name="connsiteY5784" fmla="*/ 1921629 h 6859062"/>
              <a:gd name="connsiteX5785" fmla="*/ 306790 w 12192185"/>
              <a:gd name="connsiteY5785" fmla="*/ 1927418 h 6859062"/>
              <a:gd name="connsiteX5786" fmla="*/ 299379 w 12192185"/>
              <a:gd name="connsiteY5786" fmla="*/ 1924957 h 6859062"/>
              <a:gd name="connsiteX5787" fmla="*/ 290353 w 12192185"/>
              <a:gd name="connsiteY5787" fmla="*/ 1918570 h 6859062"/>
              <a:gd name="connsiteX5788" fmla="*/ 284589 w 12192185"/>
              <a:gd name="connsiteY5788" fmla="*/ 1909003 h 6859062"/>
              <a:gd name="connsiteX5789" fmla="*/ 290689 w 12192185"/>
              <a:gd name="connsiteY5789" fmla="*/ 1892720 h 6859062"/>
              <a:gd name="connsiteX5790" fmla="*/ 294020 w 12192185"/>
              <a:gd name="connsiteY5790" fmla="*/ 1888596 h 6859062"/>
              <a:gd name="connsiteX5791" fmla="*/ 300333 w 12192185"/>
              <a:gd name="connsiteY5791" fmla="*/ 1877275 h 6859062"/>
              <a:gd name="connsiteX5792" fmla="*/ 301427 w 12192185"/>
              <a:gd name="connsiteY5792" fmla="*/ 1869937 h 6859062"/>
              <a:gd name="connsiteX5793" fmla="*/ 314803 w 12192185"/>
              <a:gd name="connsiteY5793" fmla="*/ 1858008 h 6859062"/>
              <a:gd name="connsiteX5794" fmla="*/ 329548 w 12192185"/>
              <a:gd name="connsiteY5794" fmla="*/ 1856074 h 6859062"/>
              <a:gd name="connsiteX5795" fmla="*/ 8058960 w 12192185"/>
              <a:gd name="connsiteY5795" fmla="*/ 1804199 h 6859062"/>
              <a:gd name="connsiteX5796" fmla="*/ 8042228 w 12192185"/>
              <a:gd name="connsiteY5796" fmla="*/ 1814726 h 6859062"/>
              <a:gd name="connsiteX5797" fmla="*/ 8036183 w 12192185"/>
              <a:gd name="connsiteY5797" fmla="*/ 1819455 h 6859062"/>
              <a:gd name="connsiteX5798" fmla="*/ 8068664 w 12192185"/>
              <a:gd name="connsiteY5798" fmla="*/ 1854355 h 6859062"/>
              <a:gd name="connsiteX5799" fmla="*/ 8083953 w 12192185"/>
              <a:gd name="connsiteY5799" fmla="*/ 1839131 h 6859062"/>
              <a:gd name="connsiteX5800" fmla="*/ 2305545 w 12192185"/>
              <a:gd name="connsiteY5800" fmla="*/ 1769529 h 6859062"/>
              <a:gd name="connsiteX5801" fmla="*/ 2304765 w 12192185"/>
              <a:gd name="connsiteY5801" fmla="*/ 1770316 h 6859062"/>
              <a:gd name="connsiteX5802" fmla="*/ 2299200 w 12192185"/>
              <a:gd name="connsiteY5802" fmla="*/ 1773527 h 6859062"/>
              <a:gd name="connsiteX5803" fmla="*/ 2288070 w 12192185"/>
              <a:gd name="connsiteY5803" fmla="*/ 1779952 h 6859062"/>
              <a:gd name="connsiteX5804" fmla="*/ 2307988 w 12192185"/>
              <a:gd name="connsiteY5804" fmla="*/ 1767065 h 6859062"/>
              <a:gd name="connsiteX5805" fmla="*/ 2309877 w 12192185"/>
              <a:gd name="connsiteY5805" fmla="*/ 1767096 h 6859062"/>
              <a:gd name="connsiteX5806" fmla="*/ 2306093 w 12192185"/>
              <a:gd name="connsiteY5806" fmla="*/ 1769203 h 6859062"/>
              <a:gd name="connsiteX5807" fmla="*/ 2305545 w 12192185"/>
              <a:gd name="connsiteY5807" fmla="*/ 1769529 h 6859062"/>
              <a:gd name="connsiteX5808" fmla="*/ 2401948 w 12192185"/>
              <a:gd name="connsiteY5808" fmla="*/ 1758726 h 6859062"/>
              <a:gd name="connsiteX5809" fmla="*/ 2396347 w 12192185"/>
              <a:gd name="connsiteY5809" fmla="*/ 1762071 h 6859062"/>
              <a:gd name="connsiteX5810" fmla="*/ 2396382 w 12192185"/>
              <a:gd name="connsiteY5810" fmla="*/ 1761940 h 6859062"/>
              <a:gd name="connsiteX5811" fmla="*/ 2401948 w 12192185"/>
              <a:gd name="connsiteY5811" fmla="*/ 1758726 h 6859062"/>
              <a:gd name="connsiteX5812" fmla="*/ 928044 w 12192185"/>
              <a:gd name="connsiteY5812" fmla="*/ 1743740 h 6859062"/>
              <a:gd name="connsiteX5813" fmla="*/ 951734 w 12192185"/>
              <a:gd name="connsiteY5813" fmla="*/ 1751457 h 6859062"/>
              <a:gd name="connsiteX5814" fmla="*/ 956046 w 12192185"/>
              <a:gd name="connsiteY5814" fmla="*/ 1759920 h 6859062"/>
              <a:gd name="connsiteX5815" fmla="*/ 957750 w 12192185"/>
              <a:gd name="connsiteY5815" fmla="*/ 1763476 h 6859062"/>
              <a:gd name="connsiteX5816" fmla="*/ 963202 w 12192185"/>
              <a:gd name="connsiteY5816" fmla="*/ 1772775 h 6859062"/>
              <a:gd name="connsiteX5817" fmla="*/ 966047 w 12192185"/>
              <a:gd name="connsiteY5817" fmla="*/ 1777174 h 6859062"/>
              <a:gd name="connsiteX5818" fmla="*/ 967946 w 12192185"/>
              <a:gd name="connsiteY5818" fmla="*/ 1783585 h 6859062"/>
              <a:gd name="connsiteX5819" fmla="*/ 967627 w 12192185"/>
              <a:gd name="connsiteY5819" fmla="*/ 1790797 h 6859062"/>
              <a:gd name="connsiteX5820" fmla="*/ 964966 w 12192185"/>
              <a:gd name="connsiteY5820" fmla="*/ 1808877 h 6859062"/>
              <a:gd name="connsiteX5821" fmla="*/ 944724 w 12192185"/>
              <a:gd name="connsiteY5821" fmla="*/ 1834980 h 6859062"/>
              <a:gd name="connsiteX5822" fmla="*/ 941868 w 12192185"/>
              <a:gd name="connsiteY5822" fmla="*/ 1835177 h 6859062"/>
              <a:gd name="connsiteX5823" fmla="*/ 929505 w 12192185"/>
              <a:gd name="connsiteY5823" fmla="*/ 1837977 h 6859062"/>
              <a:gd name="connsiteX5824" fmla="*/ 926013 w 12192185"/>
              <a:gd name="connsiteY5824" fmla="*/ 1837569 h 6859062"/>
              <a:gd name="connsiteX5825" fmla="*/ 916576 w 12192185"/>
              <a:gd name="connsiteY5825" fmla="*/ 1838058 h 6859062"/>
              <a:gd name="connsiteX5826" fmla="*/ 911472 w 12192185"/>
              <a:gd name="connsiteY5826" fmla="*/ 1837815 h 6859062"/>
              <a:gd name="connsiteX5827" fmla="*/ 907015 w 12192185"/>
              <a:gd name="connsiteY5827" fmla="*/ 1833582 h 6859062"/>
              <a:gd name="connsiteX5828" fmla="*/ 892230 w 12192185"/>
              <a:gd name="connsiteY5828" fmla="*/ 1823899 h 6859062"/>
              <a:gd name="connsiteX5829" fmla="*/ 884590 w 12192185"/>
              <a:gd name="connsiteY5829" fmla="*/ 1816640 h 6859062"/>
              <a:gd name="connsiteX5830" fmla="*/ 882988 w 12192185"/>
              <a:gd name="connsiteY5830" fmla="*/ 1812210 h 6859062"/>
              <a:gd name="connsiteX5831" fmla="*/ 883081 w 12192185"/>
              <a:gd name="connsiteY5831" fmla="*/ 1800903 h 6859062"/>
              <a:gd name="connsiteX5832" fmla="*/ 882384 w 12192185"/>
              <a:gd name="connsiteY5832" fmla="*/ 1782785 h 6859062"/>
              <a:gd name="connsiteX5833" fmla="*/ 884685 w 12192185"/>
              <a:gd name="connsiteY5833" fmla="*/ 1775275 h 6859062"/>
              <a:gd name="connsiteX5834" fmla="*/ 889574 w 12192185"/>
              <a:gd name="connsiteY5834" fmla="*/ 1766830 h 6859062"/>
              <a:gd name="connsiteX5835" fmla="*/ 894657 w 12192185"/>
              <a:gd name="connsiteY5835" fmla="*/ 1761235 h 6859062"/>
              <a:gd name="connsiteX5836" fmla="*/ 916080 w 12192185"/>
              <a:gd name="connsiteY5836" fmla="*/ 1747647 h 6859062"/>
              <a:gd name="connsiteX5837" fmla="*/ 928044 w 12192185"/>
              <a:gd name="connsiteY5837" fmla="*/ 1743740 h 6859062"/>
              <a:gd name="connsiteX5838" fmla="*/ 2340626 w 12192185"/>
              <a:gd name="connsiteY5838" fmla="*/ 1742046 h 6859062"/>
              <a:gd name="connsiteX5839" fmla="*/ 2340505 w 12192185"/>
              <a:gd name="connsiteY5839" fmla="*/ 1742262 h 6859062"/>
              <a:gd name="connsiteX5840" fmla="*/ 2340322 w 12192185"/>
              <a:gd name="connsiteY5840" fmla="*/ 1742214 h 6859062"/>
              <a:gd name="connsiteX5841" fmla="*/ 2346071 w 12192185"/>
              <a:gd name="connsiteY5841" fmla="*/ 1739050 h 6859062"/>
              <a:gd name="connsiteX5842" fmla="*/ 2340626 w 12192185"/>
              <a:gd name="connsiteY5842" fmla="*/ 1742046 h 6859062"/>
              <a:gd name="connsiteX5843" fmla="*/ 2341643 w 12192185"/>
              <a:gd name="connsiteY5843" fmla="*/ 1740214 h 6859062"/>
              <a:gd name="connsiteX5844" fmla="*/ 2346071 w 12192185"/>
              <a:gd name="connsiteY5844" fmla="*/ 1739050 h 6859062"/>
              <a:gd name="connsiteX5845" fmla="*/ 8201475 w 12192185"/>
              <a:gd name="connsiteY5845" fmla="*/ 1706196 h 6859062"/>
              <a:gd name="connsiteX5846" fmla="*/ 8194286 w 12192185"/>
              <a:gd name="connsiteY5846" fmla="*/ 1711439 h 6859062"/>
              <a:gd name="connsiteX5847" fmla="*/ 8144839 w 12192185"/>
              <a:gd name="connsiteY5847" fmla="*/ 1748467 h 6859062"/>
              <a:gd name="connsiteX5848" fmla="*/ 8111134 w 12192185"/>
              <a:gd name="connsiteY5848" fmla="*/ 1768033 h 6859062"/>
              <a:gd name="connsiteX5849" fmla="*/ 8094050 w 12192185"/>
              <a:gd name="connsiteY5849" fmla="*/ 1782790 h 6859062"/>
              <a:gd name="connsiteX5850" fmla="*/ 8094971 w 12192185"/>
              <a:gd name="connsiteY5850" fmla="*/ 1783936 h 6859062"/>
              <a:gd name="connsiteX5851" fmla="*/ 8109155 w 12192185"/>
              <a:gd name="connsiteY5851" fmla="*/ 1793492 h 6859062"/>
              <a:gd name="connsiteX5852" fmla="*/ 8116424 w 12192185"/>
              <a:gd name="connsiteY5852" fmla="*/ 1808987 h 6859062"/>
              <a:gd name="connsiteX5853" fmla="*/ 8210110 w 12192185"/>
              <a:gd name="connsiteY5853" fmla="*/ 1729321 h 6859062"/>
              <a:gd name="connsiteX5854" fmla="*/ 8200019 w 12192185"/>
              <a:gd name="connsiteY5854" fmla="*/ 1715127 h 6859062"/>
              <a:gd name="connsiteX5855" fmla="*/ 8204405 w 12192185"/>
              <a:gd name="connsiteY5855" fmla="*/ 1713326 h 6859062"/>
              <a:gd name="connsiteX5856" fmla="*/ 8202601 w 12192185"/>
              <a:gd name="connsiteY5856" fmla="*/ 1708939 h 6859062"/>
              <a:gd name="connsiteX5857" fmla="*/ 7970997 w 12192185"/>
              <a:gd name="connsiteY5857" fmla="*/ 1681243 h 6859062"/>
              <a:gd name="connsiteX5858" fmla="*/ 7934209 w 12192185"/>
              <a:gd name="connsiteY5858" fmla="*/ 1709890 h 6859062"/>
              <a:gd name="connsiteX5859" fmla="*/ 7963991 w 12192185"/>
              <a:gd name="connsiteY5859" fmla="*/ 1741890 h 6859062"/>
              <a:gd name="connsiteX5860" fmla="*/ 7995961 w 12192185"/>
              <a:gd name="connsiteY5860" fmla="*/ 1716137 h 6859062"/>
              <a:gd name="connsiteX5861" fmla="*/ 10049 w 12192185"/>
              <a:gd name="connsiteY5861" fmla="*/ 1659355 h 6859062"/>
              <a:gd name="connsiteX5862" fmla="*/ 18432 w 12192185"/>
              <a:gd name="connsiteY5862" fmla="*/ 1659975 h 6859062"/>
              <a:gd name="connsiteX5863" fmla="*/ 32080 w 12192185"/>
              <a:gd name="connsiteY5863" fmla="*/ 1663516 h 6859062"/>
              <a:gd name="connsiteX5864" fmla="*/ 36971 w 12192185"/>
              <a:gd name="connsiteY5864" fmla="*/ 1663879 h 6859062"/>
              <a:gd name="connsiteX5865" fmla="*/ 39851 w 12192185"/>
              <a:gd name="connsiteY5865" fmla="*/ 1666763 h 6859062"/>
              <a:gd name="connsiteX5866" fmla="*/ 44623 w 12192185"/>
              <a:gd name="connsiteY5866" fmla="*/ 1672599 h 6859062"/>
              <a:gd name="connsiteX5867" fmla="*/ 46736 w 12192185"/>
              <a:gd name="connsiteY5867" fmla="*/ 1674442 h 6859062"/>
              <a:gd name="connsiteX5868" fmla="*/ 51712 w 12192185"/>
              <a:gd name="connsiteY5868" fmla="*/ 1683246 h 6859062"/>
              <a:gd name="connsiteX5869" fmla="*/ 53126 w 12192185"/>
              <a:gd name="connsiteY5869" fmla="*/ 1685038 h 6859062"/>
              <a:gd name="connsiteX5870" fmla="*/ 48562 w 12192185"/>
              <a:gd name="connsiteY5870" fmla="*/ 1710991 h 6859062"/>
              <a:gd name="connsiteX5871" fmla="*/ 39311 w 12192185"/>
              <a:gd name="connsiteY5871" fmla="*/ 1722257 h 6859062"/>
              <a:gd name="connsiteX5872" fmla="*/ 35223 w 12192185"/>
              <a:gd name="connsiteY5872" fmla="*/ 1726312 h 6859062"/>
              <a:gd name="connsiteX5873" fmla="*/ 30417 w 12192185"/>
              <a:gd name="connsiteY5873" fmla="*/ 1728628 h 6859062"/>
              <a:gd name="connsiteX5874" fmla="*/ 26294 w 12192185"/>
              <a:gd name="connsiteY5874" fmla="*/ 1729307 h 6859062"/>
              <a:gd name="connsiteX5875" fmla="*/ 17878 w 12192185"/>
              <a:gd name="connsiteY5875" fmla="*/ 1731074 h 6859062"/>
              <a:gd name="connsiteX5876" fmla="*/ 14862 w 12192185"/>
              <a:gd name="connsiteY5876" fmla="*/ 1731976 h 6859062"/>
              <a:gd name="connsiteX5877" fmla="*/ 7552 w 12192185"/>
              <a:gd name="connsiteY5877" fmla="*/ 1733965 h 6859062"/>
              <a:gd name="connsiteX5878" fmla="*/ 0 w 12192185"/>
              <a:gd name="connsiteY5878" fmla="*/ 1730612 h 6859062"/>
              <a:gd name="connsiteX5879" fmla="*/ 0 w 12192185"/>
              <a:gd name="connsiteY5879" fmla="*/ 1666852 h 6859062"/>
              <a:gd name="connsiteX5880" fmla="*/ 6574 w 12192185"/>
              <a:gd name="connsiteY5880" fmla="*/ 1660785 h 6859062"/>
              <a:gd name="connsiteX5881" fmla="*/ 10049 w 12192185"/>
              <a:gd name="connsiteY5881" fmla="*/ 1659355 h 6859062"/>
              <a:gd name="connsiteX5882" fmla="*/ 8327378 w 12192185"/>
              <a:gd name="connsiteY5882" fmla="*/ 1631809 h 6859062"/>
              <a:gd name="connsiteX5883" fmla="*/ 8309506 w 12192185"/>
              <a:gd name="connsiteY5883" fmla="*/ 1641367 h 6859062"/>
              <a:gd name="connsiteX5884" fmla="*/ 8270749 w 12192185"/>
              <a:gd name="connsiteY5884" fmla="*/ 1661648 h 6859062"/>
              <a:gd name="connsiteX5885" fmla="*/ 8281054 w 12192185"/>
              <a:gd name="connsiteY5885" fmla="*/ 1675507 h 6859062"/>
              <a:gd name="connsiteX5886" fmla="*/ 8333174 w 12192185"/>
              <a:gd name="connsiteY5886" fmla="*/ 1638870 h 6859062"/>
              <a:gd name="connsiteX5887" fmla="*/ 11509262 w 12192185"/>
              <a:gd name="connsiteY5887" fmla="*/ 1601475 h 6859062"/>
              <a:gd name="connsiteX5888" fmla="*/ 11520594 w 12192185"/>
              <a:gd name="connsiteY5888" fmla="*/ 1601841 h 6859062"/>
              <a:gd name="connsiteX5889" fmla="*/ 11528717 w 12192185"/>
              <a:gd name="connsiteY5889" fmla="*/ 1606217 h 6859062"/>
              <a:gd name="connsiteX5890" fmla="*/ 11529064 w 12192185"/>
              <a:gd name="connsiteY5890" fmla="*/ 1608491 h 6859062"/>
              <a:gd name="connsiteX5891" fmla="*/ 11535646 w 12192185"/>
              <a:gd name="connsiteY5891" fmla="*/ 1623514 h 6859062"/>
              <a:gd name="connsiteX5892" fmla="*/ 11531896 w 12192185"/>
              <a:gd name="connsiteY5892" fmla="*/ 1639232 h 6859062"/>
              <a:gd name="connsiteX5893" fmla="*/ 11517496 w 12192185"/>
              <a:gd name="connsiteY5893" fmla="*/ 1652344 h 6859062"/>
              <a:gd name="connsiteX5894" fmla="*/ 11509442 w 12192185"/>
              <a:gd name="connsiteY5894" fmla="*/ 1652701 h 6859062"/>
              <a:gd name="connsiteX5895" fmla="*/ 11496496 w 12192185"/>
              <a:gd name="connsiteY5895" fmla="*/ 1658247 h 6859062"/>
              <a:gd name="connsiteX5896" fmla="*/ 11491662 w 12192185"/>
              <a:gd name="connsiteY5896" fmla="*/ 1661384 h 6859062"/>
              <a:gd name="connsiteX5897" fmla="*/ 11473377 w 12192185"/>
              <a:gd name="connsiteY5897" fmla="*/ 1666141 h 6859062"/>
              <a:gd name="connsiteX5898" fmla="*/ 11463688 w 12192185"/>
              <a:gd name="connsiteY5898" fmla="*/ 1658834 h 6859062"/>
              <a:gd name="connsiteX5899" fmla="*/ 11457802 w 12192185"/>
              <a:gd name="connsiteY5899" fmla="*/ 1648360 h 6859062"/>
              <a:gd name="connsiteX5900" fmla="*/ 11455977 w 12192185"/>
              <a:gd name="connsiteY5900" fmla="*/ 1640072 h 6859062"/>
              <a:gd name="connsiteX5901" fmla="*/ 11463820 w 12192185"/>
              <a:gd name="connsiteY5901" fmla="*/ 1625515 h 6859062"/>
              <a:gd name="connsiteX5902" fmla="*/ 11477547 w 12192185"/>
              <a:gd name="connsiteY5902" fmla="*/ 1621433 h 6859062"/>
              <a:gd name="connsiteX5903" fmla="*/ 11488898 w 12192185"/>
              <a:gd name="connsiteY5903" fmla="*/ 1613982 h 6859062"/>
              <a:gd name="connsiteX5904" fmla="*/ 11499247 w 12192185"/>
              <a:gd name="connsiteY5904" fmla="*/ 1605471 h 6859062"/>
              <a:gd name="connsiteX5905" fmla="*/ 11509262 w 12192185"/>
              <a:gd name="connsiteY5905" fmla="*/ 1601475 h 6859062"/>
              <a:gd name="connsiteX5906" fmla="*/ 8092885 w 12192185"/>
              <a:gd name="connsiteY5906" fmla="*/ 1595365 h 6859062"/>
              <a:gd name="connsiteX5907" fmla="*/ 8000810 w 12192185"/>
              <a:gd name="connsiteY5907" fmla="*/ 1658026 h 6859062"/>
              <a:gd name="connsiteX5908" fmla="*/ 7992044 w 12192185"/>
              <a:gd name="connsiteY5908" fmla="*/ 1664852 h 6859062"/>
              <a:gd name="connsiteX5909" fmla="*/ 7991431 w 12192185"/>
              <a:gd name="connsiteY5909" fmla="*/ 1666324 h 6859062"/>
              <a:gd name="connsiteX5910" fmla="*/ 8004489 w 12192185"/>
              <a:gd name="connsiteY5910" fmla="*/ 1680749 h 6859062"/>
              <a:gd name="connsiteX5911" fmla="*/ 8021279 w 12192185"/>
              <a:gd name="connsiteY5911" fmla="*/ 1695745 h 6859062"/>
              <a:gd name="connsiteX5912" fmla="*/ 8043420 w 12192185"/>
              <a:gd name="connsiteY5912" fmla="*/ 1677910 h 6859062"/>
              <a:gd name="connsiteX5913" fmla="*/ 8123974 w 12192185"/>
              <a:gd name="connsiteY5913" fmla="*/ 1623142 h 6859062"/>
              <a:gd name="connsiteX5914" fmla="*/ 8116959 w 12192185"/>
              <a:gd name="connsiteY5914" fmla="*/ 1615374 h 6859062"/>
              <a:gd name="connsiteX5915" fmla="*/ 8095871 w 12192185"/>
              <a:gd name="connsiteY5915" fmla="*/ 1598961 h 6859062"/>
              <a:gd name="connsiteX5916" fmla="*/ 11331747 w 12192185"/>
              <a:gd name="connsiteY5916" fmla="*/ 1585925 h 6859062"/>
              <a:gd name="connsiteX5917" fmla="*/ 11396524 w 12192185"/>
              <a:gd name="connsiteY5917" fmla="*/ 1620727 h 6859062"/>
              <a:gd name="connsiteX5918" fmla="*/ 11438054 w 12192185"/>
              <a:gd name="connsiteY5918" fmla="*/ 1663475 h 6859062"/>
              <a:gd name="connsiteX5919" fmla="*/ 11442220 w 12192185"/>
              <a:gd name="connsiteY5919" fmla="*/ 1661053 h 6859062"/>
              <a:gd name="connsiteX5920" fmla="*/ 11450352 w 12192185"/>
              <a:gd name="connsiteY5920" fmla="*/ 1670260 h 6859062"/>
              <a:gd name="connsiteX5921" fmla="*/ 11452771 w 12192185"/>
              <a:gd name="connsiteY5921" fmla="*/ 1674427 h 6859062"/>
              <a:gd name="connsiteX5922" fmla="*/ 11453644 w 12192185"/>
              <a:gd name="connsiteY5922" fmla="*/ 1671132 h 6859062"/>
              <a:gd name="connsiteX5923" fmla="*/ 11497792 w 12192185"/>
              <a:gd name="connsiteY5923" fmla="*/ 1703993 h 6859062"/>
              <a:gd name="connsiteX5924" fmla="*/ 11501085 w 12192185"/>
              <a:gd name="connsiteY5924" fmla="*/ 1704864 h 6859062"/>
              <a:gd name="connsiteX5925" fmla="*/ 11504378 w 12192185"/>
              <a:gd name="connsiteY5925" fmla="*/ 1705737 h 6859062"/>
              <a:gd name="connsiteX5926" fmla="*/ 11507670 w 12192185"/>
              <a:gd name="connsiteY5926" fmla="*/ 1706610 h 6859062"/>
              <a:gd name="connsiteX5927" fmla="*/ 11506796 w 12192185"/>
              <a:gd name="connsiteY5927" fmla="*/ 1709905 h 6859062"/>
              <a:gd name="connsiteX5928" fmla="*/ 11510964 w 12192185"/>
              <a:gd name="connsiteY5928" fmla="*/ 1707483 h 6859062"/>
              <a:gd name="connsiteX5929" fmla="*/ 11535558 w 12192185"/>
              <a:gd name="connsiteY5929" fmla="*/ 1721053 h 6859062"/>
              <a:gd name="connsiteX5930" fmla="*/ 11530046 w 12192185"/>
              <a:gd name="connsiteY5930" fmla="*/ 1701960 h 6859062"/>
              <a:gd name="connsiteX5931" fmla="*/ 11536194 w 12192185"/>
              <a:gd name="connsiteY5931" fmla="*/ 1705353 h 6859062"/>
              <a:gd name="connsiteX5932" fmla="*/ 11539268 w 12192185"/>
              <a:gd name="connsiteY5932" fmla="*/ 1707048 h 6859062"/>
              <a:gd name="connsiteX5933" fmla="*/ 11539050 w 12192185"/>
              <a:gd name="connsiteY5933" fmla="*/ 1707872 h 6859062"/>
              <a:gd name="connsiteX5934" fmla="*/ 11542342 w 12192185"/>
              <a:gd name="connsiteY5934" fmla="*/ 1708745 h 6859062"/>
              <a:gd name="connsiteX5935" fmla="*/ 11539268 w 12192185"/>
              <a:gd name="connsiteY5935" fmla="*/ 1707048 h 6859062"/>
              <a:gd name="connsiteX5936" fmla="*/ 11539923 w 12192185"/>
              <a:gd name="connsiteY5936" fmla="*/ 1704578 h 6859062"/>
              <a:gd name="connsiteX5937" fmla="*/ 11543216 w 12192185"/>
              <a:gd name="connsiteY5937" fmla="*/ 1705449 h 6859062"/>
              <a:gd name="connsiteX5938" fmla="*/ 11546508 w 12192185"/>
              <a:gd name="connsiteY5938" fmla="*/ 1706322 h 6859062"/>
              <a:gd name="connsiteX5939" fmla="*/ 11560351 w 12192185"/>
              <a:gd name="connsiteY5939" fmla="*/ 1720570 h 6859062"/>
              <a:gd name="connsiteX5940" fmla="*/ 11562771 w 12192185"/>
              <a:gd name="connsiteY5940" fmla="*/ 1724738 h 6859062"/>
              <a:gd name="connsiteX5941" fmla="*/ 11568482 w 12192185"/>
              <a:gd name="connsiteY5941" fmla="*/ 1729778 h 6859062"/>
              <a:gd name="connsiteX5942" fmla="*/ 11570902 w 12192185"/>
              <a:gd name="connsiteY5942" fmla="*/ 1733946 h 6859062"/>
              <a:gd name="connsiteX5943" fmla="*/ 11565191 w 12192185"/>
              <a:gd name="connsiteY5943" fmla="*/ 1728906 h 6859062"/>
              <a:gd name="connsiteX5944" fmla="*/ 11559478 w 12192185"/>
              <a:gd name="connsiteY5944" fmla="*/ 1723865 h 6859062"/>
              <a:gd name="connsiteX5945" fmla="*/ 11571576 w 12192185"/>
              <a:gd name="connsiteY5945" fmla="*/ 1744704 h 6859062"/>
              <a:gd name="connsiteX5946" fmla="*/ 11559076 w 12192185"/>
              <a:gd name="connsiteY5946" fmla="*/ 1751972 h 6859062"/>
              <a:gd name="connsiteX5947" fmla="*/ 11674861 w 12192185"/>
              <a:gd name="connsiteY5947" fmla="*/ 1860241 h 6859062"/>
              <a:gd name="connsiteX5948" fmla="*/ 11680573 w 12192185"/>
              <a:gd name="connsiteY5948" fmla="*/ 1865282 h 6859062"/>
              <a:gd name="connsiteX5949" fmla="*/ 11682992 w 12192185"/>
              <a:gd name="connsiteY5949" fmla="*/ 1869450 h 6859062"/>
              <a:gd name="connsiteX5950" fmla="*/ 11726940 w 12192185"/>
              <a:gd name="connsiteY5950" fmla="*/ 1916361 h 6859062"/>
              <a:gd name="connsiteX5951" fmla="*/ 11782314 w 12192185"/>
              <a:gd name="connsiteY5951" fmla="*/ 1973355 h 6859062"/>
              <a:gd name="connsiteX5952" fmla="*/ 11831773 w 12192185"/>
              <a:gd name="connsiteY5952" fmla="*/ 2039360 h 6859062"/>
              <a:gd name="connsiteX5953" fmla="*/ 11904754 w 12192185"/>
              <a:gd name="connsiteY5953" fmla="*/ 2136286 h 6859062"/>
              <a:gd name="connsiteX5954" fmla="*/ 11945681 w 12192185"/>
              <a:gd name="connsiteY5954" fmla="*/ 2221190 h 6859062"/>
              <a:gd name="connsiteX5955" fmla="*/ 11938423 w 12192185"/>
              <a:gd name="connsiteY5955" fmla="*/ 2208695 h 6859062"/>
              <a:gd name="connsiteX5956" fmla="*/ 11939969 w 12192185"/>
              <a:gd name="connsiteY5956" fmla="*/ 2216155 h 6859062"/>
              <a:gd name="connsiteX5957" fmla="*/ 11942388 w 12192185"/>
              <a:gd name="connsiteY5957" fmla="*/ 2220322 h 6859062"/>
              <a:gd name="connsiteX5958" fmla="*/ 11936677 w 12192185"/>
              <a:gd name="connsiteY5958" fmla="*/ 2215281 h 6859062"/>
              <a:gd name="connsiteX5959" fmla="*/ 11933384 w 12192185"/>
              <a:gd name="connsiteY5959" fmla="*/ 2214409 h 6859062"/>
              <a:gd name="connsiteX5960" fmla="*/ 11990775 w 12192185"/>
              <a:gd name="connsiteY5960" fmla="*/ 2303670 h 6859062"/>
              <a:gd name="connsiteX5961" fmla="*/ 12028209 w 12192185"/>
              <a:gd name="connsiteY5961" fmla="*/ 2401754 h 6859062"/>
              <a:gd name="connsiteX5962" fmla="*/ 11941987 w 12192185"/>
              <a:gd name="connsiteY5962" fmla="*/ 2248422 h 6859062"/>
              <a:gd name="connsiteX5963" fmla="*/ 11924852 w 12192185"/>
              <a:gd name="connsiteY5963" fmla="*/ 2233305 h 6859062"/>
              <a:gd name="connsiteX5964" fmla="*/ 11904825 w 12192185"/>
              <a:gd name="connsiteY5964" fmla="*/ 2189205 h 6859062"/>
              <a:gd name="connsiteX5965" fmla="*/ 11877138 w 12192185"/>
              <a:gd name="connsiteY5965" fmla="*/ 2160708 h 6859062"/>
              <a:gd name="connsiteX5966" fmla="*/ 11857984 w 12192185"/>
              <a:gd name="connsiteY5966" fmla="*/ 2113311 h 6859062"/>
              <a:gd name="connsiteX5967" fmla="*/ 11866316 w 12192185"/>
              <a:gd name="connsiteY5967" fmla="*/ 2108466 h 6859062"/>
              <a:gd name="connsiteX5968" fmla="*/ 11846088 w 12192185"/>
              <a:gd name="connsiteY5968" fmla="*/ 2078421 h 6859062"/>
              <a:gd name="connsiteX5969" fmla="*/ 11845215 w 12192185"/>
              <a:gd name="connsiteY5969" fmla="*/ 2081717 h 6859062"/>
              <a:gd name="connsiteX5970" fmla="*/ 11847634 w 12192185"/>
              <a:gd name="connsiteY5970" fmla="*/ 2085884 h 6859062"/>
              <a:gd name="connsiteX5971" fmla="*/ 11844342 w 12192185"/>
              <a:gd name="connsiteY5971" fmla="*/ 2085012 h 6859062"/>
              <a:gd name="connsiteX5972" fmla="*/ 11845014 w 12192185"/>
              <a:gd name="connsiteY5972" fmla="*/ 2095770 h 6859062"/>
              <a:gd name="connsiteX5973" fmla="*/ 11829626 w 12192185"/>
              <a:gd name="connsiteY5973" fmla="*/ 2074058 h 6859062"/>
              <a:gd name="connsiteX5974" fmla="*/ 11826334 w 12192185"/>
              <a:gd name="connsiteY5974" fmla="*/ 2073184 h 6859062"/>
              <a:gd name="connsiteX5975" fmla="*/ 11827205 w 12192185"/>
              <a:gd name="connsiteY5975" fmla="*/ 2069890 h 6859062"/>
              <a:gd name="connsiteX5976" fmla="*/ 11821495 w 12192185"/>
              <a:gd name="connsiteY5976" fmla="*/ 2064850 h 6859062"/>
              <a:gd name="connsiteX5977" fmla="*/ 11822369 w 12192185"/>
              <a:gd name="connsiteY5977" fmla="*/ 2061555 h 6859062"/>
              <a:gd name="connsiteX5978" fmla="*/ 11788970 w 12192185"/>
              <a:gd name="connsiteY5978" fmla="*/ 2028019 h 6859062"/>
              <a:gd name="connsiteX5979" fmla="*/ 11773781 w 12192185"/>
              <a:gd name="connsiteY5979" fmla="*/ 1992254 h 6859062"/>
              <a:gd name="connsiteX5980" fmla="*/ 11771362 w 12192185"/>
              <a:gd name="connsiteY5980" fmla="*/ 1988086 h 6859062"/>
              <a:gd name="connsiteX5981" fmla="*/ 11766523 w 12192185"/>
              <a:gd name="connsiteY5981" fmla="*/ 1979751 h 6859062"/>
              <a:gd name="connsiteX5982" fmla="*/ 11769815 w 12192185"/>
              <a:gd name="connsiteY5982" fmla="*/ 1980624 h 6859062"/>
              <a:gd name="connsiteX5983" fmla="*/ 11772234 w 12192185"/>
              <a:gd name="connsiteY5983" fmla="*/ 1984790 h 6859062"/>
              <a:gd name="connsiteX5984" fmla="*/ 11775528 w 12192185"/>
              <a:gd name="connsiteY5984" fmla="*/ 1985663 h 6859062"/>
              <a:gd name="connsiteX5985" fmla="*/ 11755972 w 12192185"/>
              <a:gd name="connsiteY5985" fmla="*/ 1966376 h 6859062"/>
              <a:gd name="connsiteX5986" fmla="*/ 11758392 w 12192185"/>
              <a:gd name="connsiteY5986" fmla="*/ 1970544 h 6859062"/>
              <a:gd name="connsiteX5987" fmla="*/ 11755099 w 12192185"/>
              <a:gd name="connsiteY5987" fmla="*/ 1969671 h 6859062"/>
              <a:gd name="connsiteX5988" fmla="*/ 11751806 w 12192185"/>
              <a:gd name="connsiteY5988" fmla="*/ 1968799 h 6859062"/>
              <a:gd name="connsiteX5989" fmla="*/ 11753353 w 12192185"/>
              <a:gd name="connsiteY5989" fmla="*/ 1976262 h 6859062"/>
              <a:gd name="connsiteX5990" fmla="*/ 11741256 w 12192185"/>
              <a:gd name="connsiteY5990" fmla="*/ 1955422 h 6859062"/>
              <a:gd name="connsiteX5991" fmla="*/ 11738836 w 12192185"/>
              <a:gd name="connsiteY5991" fmla="*/ 1951254 h 6859062"/>
              <a:gd name="connsiteX5992" fmla="*/ 11678827 w 12192185"/>
              <a:gd name="connsiteY5992" fmla="*/ 1871872 h 6859062"/>
              <a:gd name="connsiteX5993" fmla="*/ 11676407 w 12192185"/>
              <a:gd name="connsiteY5993" fmla="*/ 1867705 h 6859062"/>
              <a:gd name="connsiteX5994" fmla="*/ 11670695 w 12192185"/>
              <a:gd name="connsiteY5994" fmla="*/ 1862664 h 6859062"/>
              <a:gd name="connsiteX5995" fmla="*/ 11673987 w 12192185"/>
              <a:gd name="connsiteY5995" fmla="*/ 1863537 h 6859062"/>
              <a:gd name="connsiteX5996" fmla="*/ 11643682 w 12192185"/>
              <a:gd name="connsiteY5996" fmla="*/ 1844925 h 6859062"/>
              <a:gd name="connsiteX5997" fmla="*/ 11649394 w 12192185"/>
              <a:gd name="connsiteY5997" fmla="*/ 1849965 h 6859062"/>
              <a:gd name="connsiteX5998" fmla="*/ 11648520 w 12192185"/>
              <a:gd name="connsiteY5998" fmla="*/ 1853260 h 6859062"/>
              <a:gd name="connsiteX5999" fmla="*/ 11642809 w 12192185"/>
              <a:gd name="connsiteY5999" fmla="*/ 1848219 h 6859062"/>
              <a:gd name="connsiteX6000" fmla="*/ 11641611 w 12192185"/>
              <a:gd name="connsiteY6000" fmla="*/ 1847903 h 6859062"/>
              <a:gd name="connsiteX6001" fmla="*/ 11640254 w 12192185"/>
              <a:gd name="connsiteY6001" fmla="*/ 1846219 h 6859062"/>
              <a:gd name="connsiteX6002" fmla="*/ 11637096 w 12192185"/>
              <a:gd name="connsiteY6002" fmla="*/ 1843181 h 6859062"/>
              <a:gd name="connsiteX6003" fmla="*/ 11639516 w 12192185"/>
              <a:gd name="connsiteY6003" fmla="*/ 1847348 h 6859062"/>
              <a:gd name="connsiteX6004" fmla="*/ 11641611 w 12192185"/>
              <a:gd name="connsiteY6004" fmla="*/ 1847903 h 6859062"/>
              <a:gd name="connsiteX6005" fmla="*/ 11645229 w 12192185"/>
              <a:gd name="connsiteY6005" fmla="*/ 1852388 h 6859062"/>
              <a:gd name="connsiteX6006" fmla="*/ 11530990 w 12192185"/>
              <a:gd name="connsiteY6006" fmla="*/ 1751583 h 6859062"/>
              <a:gd name="connsiteX6007" fmla="*/ 11518020 w 12192185"/>
              <a:gd name="connsiteY6007" fmla="*/ 1734038 h 6859062"/>
              <a:gd name="connsiteX6008" fmla="*/ 11510562 w 12192185"/>
              <a:gd name="connsiteY6008" fmla="*/ 1735588 h 6859062"/>
              <a:gd name="connsiteX6009" fmla="*/ 11508144 w 12192185"/>
              <a:gd name="connsiteY6009" fmla="*/ 1731420 h 6859062"/>
              <a:gd name="connsiteX6010" fmla="*/ 11502431 w 12192185"/>
              <a:gd name="connsiteY6010" fmla="*/ 1726380 h 6859062"/>
              <a:gd name="connsiteX6011" fmla="*/ 11455189 w 12192185"/>
              <a:gd name="connsiteY6011" fmla="*/ 1678597 h 6859062"/>
              <a:gd name="connsiteX6012" fmla="*/ 11457609 w 12192185"/>
              <a:gd name="connsiteY6012" fmla="*/ 1682764 h 6859062"/>
              <a:gd name="connsiteX6013" fmla="*/ 11453443 w 12192185"/>
              <a:gd name="connsiteY6013" fmla="*/ 1685186 h 6859062"/>
              <a:gd name="connsiteX6014" fmla="*/ 11451024 w 12192185"/>
              <a:gd name="connsiteY6014" fmla="*/ 1681019 h 6859062"/>
              <a:gd name="connsiteX6015" fmla="*/ 11447732 w 12192185"/>
              <a:gd name="connsiteY6015" fmla="*/ 1680146 h 6859062"/>
              <a:gd name="connsiteX6016" fmla="*/ 11402909 w 12192185"/>
              <a:gd name="connsiteY6016" fmla="*/ 1636528 h 6859062"/>
              <a:gd name="connsiteX6017" fmla="*/ 11331747 w 12192185"/>
              <a:gd name="connsiteY6017" fmla="*/ 1585925 h 6859062"/>
              <a:gd name="connsiteX6018" fmla="*/ 8467781 w 12192185"/>
              <a:gd name="connsiteY6018" fmla="*/ 1556361 h 6859062"/>
              <a:gd name="connsiteX6019" fmla="*/ 8423966 w 12192185"/>
              <a:gd name="connsiteY6019" fmla="*/ 1578779 h 6859062"/>
              <a:gd name="connsiteX6020" fmla="*/ 8407534 w 12192185"/>
              <a:gd name="connsiteY6020" fmla="*/ 1588158 h 6859062"/>
              <a:gd name="connsiteX6021" fmla="*/ 8408594 w 12192185"/>
              <a:gd name="connsiteY6021" fmla="*/ 1589670 h 6859062"/>
              <a:gd name="connsiteX6022" fmla="*/ 4356339 w 12192185"/>
              <a:gd name="connsiteY6022" fmla="*/ 1550368 h 6859062"/>
              <a:gd name="connsiteX6023" fmla="*/ 4352843 w 12192185"/>
              <a:gd name="connsiteY6023" fmla="*/ 1552385 h 6859062"/>
              <a:gd name="connsiteX6024" fmla="*/ 4353380 w 12192185"/>
              <a:gd name="connsiteY6024" fmla="*/ 1553320 h 6859062"/>
              <a:gd name="connsiteX6025" fmla="*/ 4359355 w 12192185"/>
              <a:gd name="connsiteY6025" fmla="*/ 1549700 h 6859062"/>
              <a:gd name="connsiteX6026" fmla="*/ 4358279 w 12192185"/>
              <a:gd name="connsiteY6026" fmla="*/ 1550489 h 6859062"/>
              <a:gd name="connsiteX6027" fmla="*/ 4354349 w 12192185"/>
              <a:gd name="connsiteY6027" fmla="*/ 1554996 h 6859062"/>
              <a:gd name="connsiteX6028" fmla="*/ 4354896 w 12192185"/>
              <a:gd name="connsiteY6028" fmla="*/ 1555954 h 6859062"/>
              <a:gd name="connsiteX6029" fmla="*/ 4360829 w 12192185"/>
              <a:gd name="connsiteY6029" fmla="*/ 1550519 h 6859062"/>
              <a:gd name="connsiteX6030" fmla="*/ 4257144 w 12192185"/>
              <a:gd name="connsiteY6030" fmla="*/ 1540856 h 6859062"/>
              <a:gd name="connsiteX6031" fmla="*/ 4257659 w 12192185"/>
              <a:gd name="connsiteY6031" fmla="*/ 1541757 h 6859062"/>
              <a:gd name="connsiteX6032" fmla="*/ 4279035 w 12192185"/>
              <a:gd name="connsiteY6032" fmla="*/ 1548214 h 6859062"/>
              <a:gd name="connsiteX6033" fmla="*/ 4280483 w 12192185"/>
              <a:gd name="connsiteY6033" fmla="*/ 1546928 h 6859062"/>
              <a:gd name="connsiteX6034" fmla="*/ 4279086 w 12192185"/>
              <a:gd name="connsiteY6034" fmla="*/ 1546735 h 6859062"/>
              <a:gd name="connsiteX6035" fmla="*/ 4274697 w 12192185"/>
              <a:gd name="connsiteY6035" fmla="*/ 1545559 h 6859062"/>
              <a:gd name="connsiteX6036" fmla="*/ 4270310 w 12192185"/>
              <a:gd name="connsiteY6036" fmla="*/ 1544384 h 6859062"/>
              <a:gd name="connsiteX6037" fmla="*/ 4261530 w 12192185"/>
              <a:gd name="connsiteY6037" fmla="*/ 1542032 h 6859062"/>
              <a:gd name="connsiteX6038" fmla="*/ 4257144 w 12192185"/>
              <a:gd name="connsiteY6038" fmla="*/ 1540856 h 6859062"/>
              <a:gd name="connsiteX6039" fmla="*/ 4341761 w 12192185"/>
              <a:gd name="connsiteY6039" fmla="*/ 1537636 h 6859062"/>
              <a:gd name="connsiteX6040" fmla="*/ 4340324 w 12192185"/>
              <a:gd name="connsiteY6040" fmla="*/ 1538874 h 6859062"/>
              <a:gd name="connsiteX6041" fmla="*/ 4350798 w 12192185"/>
              <a:gd name="connsiteY6041" fmla="*/ 1542432 h 6859062"/>
              <a:gd name="connsiteX6042" fmla="*/ 4346414 w 12192185"/>
              <a:gd name="connsiteY6042" fmla="*/ 1541257 h 6859062"/>
              <a:gd name="connsiteX6043" fmla="*/ 4342026 w 12192185"/>
              <a:gd name="connsiteY6043" fmla="*/ 1540081 h 6859062"/>
              <a:gd name="connsiteX6044" fmla="*/ 4339661 w 12192185"/>
              <a:gd name="connsiteY6044" fmla="*/ 1539447 h 6859062"/>
              <a:gd name="connsiteX6045" fmla="*/ 4330236 w 12192185"/>
              <a:gd name="connsiteY6045" fmla="*/ 1547579 h 6859062"/>
              <a:gd name="connsiteX6046" fmla="*/ 4329167 w 12192185"/>
              <a:gd name="connsiteY6046" fmla="*/ 1550748 h 6859062"/>
              <a:gd name="connsiteX6047" fmla="*/ 4322977 w 12192185"/>
              <a:gd name="connsiteY6047" fmla="*/ 1558495 h 6859062"/>
              <a:gd name="connsiteX6048" fmla="*/ 4318857 w 12192185"/>
              <a:gd name="connsiteY6048" fmla="*/ 1557392 h 6859062"/>
              <a:gd name="connsiteX6049" fmla="*/ 4316412 w 12192185"/>
              <a:gd name="connsiteY6049" fmla="*/ 1559503 h 6859062"/>
              <a:gd name="connsiteX6050" fmla="*/ 4340040 w 12192185"/>
              <a:gd name="connsiteY6050" fmla="*/ 1566641 h 6859062"/>
              <a:gd name="connsiteX6051" fmla="*/ 4342859 w 12192185"/>
              <a:gd name="connsiteY6051" fmla="*/ 1563823 h 6859062"/>
              <a:gd name="connsiteX6052" fmla="*/ 4333947 w 12192185"/>
              <a:gd name="connsiteY6052" fmla="*/ 1561435 h 6859062"/>
              <a:gd name="connsiteX6053" fmla="*/ 4331750 w 12192185"/>
              <a:gd name="connsiteY6053" fmla="*/ 1560847 h 6859062"/>
              <a:gd name="connsiteX6054" fmla="*/ 4345235 w 12192185"/>
              <a:gd name="connsiteY6054" fmla="*/ 1545646 h 6859062"/>
              <a:gd name="connsiteX6055" fmla="*/ 4354014 w 12192185"/>
              <a:gd name="connsiteY6055" fmla="*/ 1547997 h 6859062"/>
              <a:gd name="connsiteX6056" fmla="*/ 4357717 w 12192185"/>
              <a:gd name="connsiteY6056" fmla="*/ 1548990 h 6859062"/>
              <a:gd name="connsiteX6057" fmla="*/ 4358725 w 12192185"/>
              <a:gd name="connsiteY6057" fmla="*/ 1547984 h 6859062"/>
              <a:gd name="connsiteX6058" fmla="*/ 4359581 w 12192185"/>
              <a:gd name="connsiteY6058" fmla="*/ 1544784 h 6859062"/>
              <a:gd name="connsiteX6059" fmla="*/ 4359742 w 12192185"/>
              <a:gd name="connsiteY6059" fmla="*/ 1544191 h 6859062"/>
              <a:gd name="connsiteX6060" fmla="*/ 307628 w 12192185"/>
              <a:gd name="connsiteY6060" fmla="*/ 1529937 h 6859062"/>
              <a:gd name="connsiteX6061" fmla="*/ 315992 w 12192185"/>
              <a:gd name="connsiteY6061" fmla="*/ 1536208 h 6859062"/>
              <a:gd name="connsiteX6062" fmla="*/ 322544 w 12192185"/>
              <a:gd name="connsiteY6062" fmla="*/ 1536692 h 6859062"/>
              <a:gd name="connsiteX6063" fmla="*/ 326402 w 12192185"/>
              <a:gd name="connsiteY6063" fmla="*/ 1540557 h 6859062"/>
              <a:gd name="connsiteX6064" fmla="*/ 332795 w 12192185"/>
              <a:gd name="connsiteY6064" fmla="*/ 1548376 h 6859062"/>
              <a:gd name="connsiteX6065" fmla="*/ 335625 w 12192185"/>
              <a:gd name="connsiteY6065" fmla="*/ 1550846 h 6859062"/>
              <a:gd name="connsiteX6066" fmla="*/ 342293 w 12192185"/>
              <a:gd name="connsiteY6066" fmla="*/ 1562641 h 6859062"/>
              <a:gd name="connsiteX6067" fmla="*/ 344188 w 12192185"/>
              <a:gd name="connsiteY6067" fmla="*/ 1565041 h 6859062"/>
              <a:gd name="connsiteX6068" fmla="*/ 338074 w 12192185"/>
              <a:gd name="connsiteY6068" fmla="*/ 1599813 h 6859062"/>
              <a:gd name="connsiteX6069" fmla="*/ 325680 w 12192185"/>
              <a:gd name="connsiteY6069" fmla="*/ 1614906 h 6859062"/>
              <a:gd name="connsiteX6070" fmla="*/ 320202 w 12192185"/>
              <a:gd name="connsiteY6070" fmla="*/ 1620339 h 6859062"/>
              <a:gd name="connsiteX6071" fmla="*/ 313765 w 12192185"/>
              <a:gd name="connsiteY6071" fmla="*/ 1623441 h 6859062"/>
              <a:gd name="connsiteX6072" fmla="*/ 308241 w 12192185"/>
              <a:gd name="connsiteY6072" fmla="*/ 1624351 h 6859062"/>
              <a:gd name="connsiteX6073" fmla="*/ 296964 w 12192185"/>
              <a:gd name="connsiteY6073" fmla="*/ 1626718 h 6859062"/>
              <a:gd name="connsiteX6074" fmla="*/ 292924 w 12192185"/>
              <a:gd name="connsiteY6074" fmla="*/ 1627926 h 6859062"/>
              <a:gd name="connsiteX6075" fmla="*/ 283131 w 12192185"/>
              <a:gd name="connsiteY6075" fmla="*/ 1630592 h 6859062"/>
              <a:gd name="connsiteX6076" fmla="*/ 260004 w 12192185"/>
              <a:gd name="connsiteY6076" fmla="*/ 1617390 h 6859062"/>
              <a:gd name="connsiteX6077" fmla="*/ 254502 w 12192185"/>
              <a:gd name="connsiteY6077" fmla="*/ 1605116 h 6859062"/>
              <a:gd name="connsiteX6078" fmla="*/ 249865 w 12192185"/>
              <a:gd name="connsiteY6078" fmla="*/ 1578402 h 6859062"/>
              <a:gd name="connsiteX6079" fmla="*/ 250640 w 12192185"/>
              <a:gd name="connsiteY6079" fmla="*/ 1570360 h 6859062"/>
              <a:gd name="connsiteX6080" fmla="*/ 253812 w 12192185"/>
              <a:gd name="connsiteY6080" fmla="*/ 1560423 h 6859062"/>
              <a:gd name="connsiteX6081" fmla="*/ 258103 w 12192185"/>
              <a:gd name="connsiteY6081" fmla="*/ 1553207 h 6859062"/>
              <a:gd name="connsiteX6082" fmla="*/ 272940 w 12192185"/>
              <a:gd name="connsiteY6082" fmla="*/ 1540742 h 6859062"/>
              <a:gd name="connsiteX6083" fmla="*/ 281818 w 12192185"/>
              <a:gd name="connsiteY6083" fmla="*/ 1532547 h 6859062"/>
              <a:gd name="connsiteX6084" fmla="*/ 286475 w 12192185"/>
              <a:gd name="connsiteY6084" fmla="*/ 1530632 h 6859062"/>
              <a:gd name="connsiteX6085" fmla="*/ 297707 w 12192185"/>
              <a:gd name="connsiteY6085" fmla="*/ 1531464 h 6859062"/>
              <a:gd name="connsiteX6086" fmla="*/ 307628 w 12192185"/>
              <a:gd name="connsiteY6086" fmla="*/ 1529937 h 6859062"/>
              <a:gd name="connsiteX6087" fmla="*/ 11024398 w 12192185"/>
              <a:gd name="connsiteY6087" fmla="*/ 1523075 h 6859062"/>
              <a:gd name="connsiteX6088" fmla="*/ 11017766 w 12192185"/>
              <a:gd name="connsiteY6088" fmla="*/ 1527929 h 6859062"/>
              <a:gd name="connsiteX6089" fmla="*/ 11026339 w 12192185"/>
              <a:gd name="connsiteY6089" fmla="*/ 1552961 h 6859062"/>
              <a:gd name="connsiteX6090" fmla="*/ 11180990 w 12192185"/>
              <a:gd name="connsiteY6090" fmla="*/ 1662422 h 6859062"/>
              <a:gd name="connsiteX6091" fmla="*/ 11399737 w 12192185"/>
              <a:gd name="connsiteY6091" fmla="*/ 1852597 h 6859062"/>
              <a:gd name="connsiteX6092" fmla="*/ 11487076 w 12192185"/>
              <a:gd name="connsiteY6092" fmla="*/ 1945576 h 6859062"/>
              <a:gd name="connsiteX6093" fmla="*/ 11489777 w 12192185"/>
              <a:gd name="connsiteY6093" fmla="*/ 1942255 h 6859062"/>
              <a:gd name="connsiteX6094" fmla="*/ 11496026 w 12192185"/>
              <a:gd name="connsiteY6094" fmla="*/ 1943952 h 6859062"/>
              <a:gd name="connsiteX6095" fmla="*/ 11504977 w 12192185"/>
              <a:gd name="connsiteY6095" fmla="*/ 1941354 h 6859062"/>
              <a:gd name="connsiteX6096" fmla="*/ 11508355 w 12192185"/>
              <a:gd name="connsiteY6096" fmla="*/ 1939693 h 6859062"/>
              <a:gd name="connsiteX6097" fmla="*/ 11515718 w 12192185"/>
              <a:gd name="connsiteY6097" fmla="*/ 1942171 h 6859062"/>
              <a:gd name="connsiteX6098" fmla="*/ 11392466 w 12192185"/>
              <a:gd name="connsiteY6098" fmla="*/ 1811960 h 6859062"/>
              <a:gd name="connsiteX6099" fmla="*/ 11079001 w 12192185"/>
              <a:gd name="connsiteY6099" fmla="*/ 1562658 h 6859062"/>
              <a:gd name="connsiteX6100" fmla="*/ 11040435 w 12192185"/>
              <a:gd name="connsiteY6100" fmla="*/ 1533129 h 6859062"/>
              <a:gd name="connsiteX6101" fmla="*/ 11024398 w 12192185"/>
              <a:gd name="connsiteY6101" fmla="*/ 1523075 h 6859062"/>
              <a:gd name="connsiteX6102" fmla="*/ 4274246 w 12192185"/>
              <a:gd name="connsiteY6102" fmla="*/ 1516710 h 6859062"/>
              <a:gd name="connsiteX6103" fmla="*/ 4273416 w 12192185"/>
              <a:gd name="connsiteY6103" fmla="*/ 1518701 h 6859062"/>
              <a:gd name="connsiteX6104" fmla="*/ 4264924 w 12192185"/>
              <a:gd name="connsiteY6104" fmla="*/ 1527148 h 6859062"/>
              <a:gd name="connsiteX6105" fmla="*/ 4268645 w 12192185"/>
              <a:gd name="connsiteY6105" fmla="*/ 1528653 h 6859062"/>
              <a:gd name="connsiteX6106" fmla="*/ 4290011 w 12192185"/>
              <a:gd name="connsiteY6106" fmla="*/ 1536141 h 6859062"/>
              <a:gd name="connsiteX6107" fmla="*/ 4292841 w 12192185"/>
              <a:gd name="connsiteY6107" fmla="*/ 1535946 h 6859062"/>
              <a:gd name="connsiteX6108" fmla="*/ 4303591 w 12192185"/>
              <a:gd name="connsiteY6108" fmla="*/ 1526398 h 6859062"/>
              <a:gd name="connsiteX6109" fmla="*/ 4280388 w 12192185"/>
              <a:gd name="connsiteY6109" fmla="*/ 1518519 h 6859062"/>
              <a:gd name="connsiteX6110" fmla="*/ 8228763 w 12192185"/>
              <a:gd name="connsiteY6110" fmla="*/ 1511682 h 6859062"/>
              <a:gd name="connsiteX6111" fmla="*/ 8177452 w 12192185"/>
              <a:gd name="connsiteY6111" fmla="*/ 1542015 h 6859062"/>
              <a:gd name="connsiteX6112" fmla="*/ 8201400 w 12192185"/>
              <a:gd name="connsiteY6112" fmla="*/ 1570501 h 6859062"/>
              <a:gd name="connsiteX6113" fmla="*/ 8206316 w 12192185"/>
              <a:gd name="connsiteY6113" fmla="*/ 1567159 h 6859062"/>
              <a:gd name="connsiteX6114" fmla="*/ 8252683 w 12192185"/>
              <a:gd name="connsiteY6114" fmla="*/ 1540819 h 6859062"/>
              <a:gd name="connsiteX6115" fmla="*/ 594462 w 12192185"/>
              <a:gd name="connsiteY6115" fmla="*/ 1499428 h 6859062"/>
              <a:gd name="connsiteX6116" fmla="*/ 603545 w 12192185"/>
              <a:gd name="connsiteY6116" fmla="*/ 1500459 h 6859062"/>
              <a:gd name="connsiteX6117" fmla="*/ 608745 w 12192185"/>
              <a:gd name="connsiteY6117" fmla="*/ 1501189 h 6859062"/>
              <a:gd name="connsiteX6118" fmla="*/ 615106 w 12192185"/>
              <a:gd name="connsiteY6118" fmla="*/ 1503528 h 6859062"/>
              <a:gd name="connsiteX6119" fmla="*/ 619672 w 12192185"/>
              <a:gd name="connsiteY6119" fmla="*/ 1506518 h 6859062"/>
              <a:gd name="connsiteX6120" fmla="*/ 627345 w 12192185"/>
              <a:gd name="connsiteY6120" fmla="*/ 1516503 h 6859062"/>
              <a:gd name="connsiteX6121" fmla="*/ 632417 w 12192185"/>
              <a:gd name="connsiteY6121" fmla="*/ 1522498 h 6859062"/>
              <a:gd name="connsiteX6122" fmla="*/ 633529 w 12192185"/>
              <a:gd name="connsiteY6122" fmla="*/ 1525576 h 6859062"/>
              <a:gd name="connsiteX6123" fmla="*/ 632672 w 12192185"/>
              <a:gd name="connsiteY6123" fmla="*/ 1532844 h 6859062"/>
              <a:gd name="connsiteX6124" fmla="*/ 629077 w 12192185"/>
              <a:gd name="connsiteY6124" fmla="*/ 1544583 h 6859062"/>
              <a:gd name="connsiteX6125" fmla="*/ 628576 w 12192185"/>
              <a:gd name="connsiteY6125" fmla="*/ 1548824 h 6859062"/>
              <a:gd name="connsiteX6126" fmla="*/ 625958 w 12192185"/>
              <a:gd name="connsiteY6126" fmla="*/ 1551220 h 6859062"/>
              <a:gd name="connsiteX6127" fmla="*/ 620701 w 12192185"/>
              <a:gd name="connsiteY6127" fmla="*/ 1555149 h 6859062"/>
              <a:gd name="connsiteX6128" fmla="*/ 619018 w 12192185"/>
              <a:gd name="connsiteY6128" fmla="*/ 1556917 h 6859062"/>
              <a:gd name="connsiteX6129" fmla="*/ 611171 w 12192185"/>
              <a:gd name="connsiteY6129" fmla="*/ 1560913 h 6859062"/>
              <a:gd name="connsiteX6130" fmla="*/ 609560 w 12192185"/>
              <a:gd name="connsiteY6130" fmla="*/ 1562076 h 6859062"/>
              <a:gd name="connsiteX6131" fmla="*/ 587156 w 12192185"/>
              <a:gd name="connsiteY6131" fmla="*/ 1557125 h 6859062"/>
              <a:gd name="connsiteX6132" fmla="*/ 577705 w 12192185"/>
              <a:gd name="connsiteY6132" fmla="*/ 1548653 h 6859062"/>
              <a:gd name="connsiteX6133" fmla="*/ 574333 w 12192185"/>
              <a:gd name="connsiteY6133" fmla="*/ 1544942 h 6859062"/>
              <a:gd name="connsiteX6134" fmla="*/ 572499 w 12192185"/>
              <a:gd name="connsiteY6134" fmla="*/ 1540676 h 6859062"/>
              <a:gd name="connsiteX6135" fmla="*/ 572065 w 12192185"/>
              <a:gd name="connsiteY6135" fmla="*/ 1537064 h 6859062"/>
              <a:gd name="connsiteX6136" fmla="*/ 570846 w 12192185"/>
              <a:gd name="connsiteY6136" fmla="*/ 1529676 h 6859062"/>
              <a:gd name="connsiteX6137" fmla="*/ 570175 w 12192185"/>
              <a:gd name="connsiteY6137" fmla="*/ 1527019 h 6859062"/>
              <a:gd name="connsiteX6138" fmla="*/ 568721 w 12192185"/>
              <a:gd name="connsiteY6138" fmla="*/ 1520585 h 6859062"/>
              <a:gd name="connsiteX6139" fmla="*/ 577945 w 12192185"/>
              <a:gd name="connsiteY6139" fmla="*/ 1505943 h 6859062"/>
              <a:gd name="connsiteX6140" fmla="*/ 586069 w 12192185"/>
              <a:gd name="connsiteY6140" fmla="*/ 1502716 h 6859062"/>
              <a:gd name="connsiteX6141" fmla="*/ 594462 w 12192185"/>
              <a:gd name="connsiteY6141" fmla="*/ 1499428 h 6859062"/>
              <a:gd name="connsiteX6142" fmla="*/ 4206736 w 12192185"/>
              <a:gd name="connsiteY6142" fmla="*/ 1499134 h 6859062"/>
              <a:gd name="connsiteX6143" fmla="*/ 4202886 w 12192185"/>
              <a:gd name="connsiteY6143" fmla="*/ 1502803 h 6859062"/>
              <a:gd name="connsiteX6144" fmla="*/ 4205957 w 12192185"/>
              <a:gd name="connsiteY6144" fmla="*/ 1503628 h 6859062"/>
              <a:gd name="connsiteX6145" fmla="*/ 4208000 w 12192185"/>
              <a:gd name="connsiteY6145" fmla="*/ 1513579 h 6859062"/>
              <a:gd name="connsiteX6146" fmla="*/ 4212389 w 12192185"/>
              <a:gd name="connsiteY6146" fmla="*/ 1514756 h 6859062"/>
              <a:gd name="connsiteX6147" fmla="*/ 4213563 w 12192185"/>
              <a:gd name="connsiteY6147" fmla="*/ 1510369 h 6859062"/>
              <a:gd name="connsiteX6148" fmla="*/ 4223666 w 12192185"/>
              <a:gd name="connsiteY6148" fmla="*/ 1513075 h 6859062"/>
              <a:gd name="connsiteX6149" fmla="*/ 4223111 w 12192185"/>
              <a:gd name="connsiteY6149" fmla="*/ 1508606 h 6859062"/>
              <a:gd name="connsiteX6150" fmla="*/ 4227953 w 12192185"/>
              <a:gd name="connsiteY6150" fmla="*/ 1504201 h 6859062"/>
              <a:gd name="connsiteX6151" fmla="*/ 4211529 w 12192185"/>
              <a:gd name="connsiteY6151" fmla="*/ 1500415 h 6859062"/>
              <a:gd name="connsiteX6152" fmla="*/ 4207139 w 12192185"/>
              <a:gd name="connsiteY6152" fmla="*/ 1499238 h 6859062"/>
              <a:gd name="connsiteX6153" fmla="*/ 1543648 w 12192185"/>
              <a:gd name="connsiteY6153" fmla="*/ 1490496 h 6859062"/>
              <a:gd name="connsiteX6154" fmla="*/ 1542689 w 12192185"/>
              <a:gd name="connsiteY6154" fmla="*/ 1494077 h 6859062"/>
              <a:gd name="connsiteX6155" fmla="*/ 1541729 w 12192185"/>
              <a:gd name="connsiteY6155" fmla="*/ 1497657 h 6859062"/>
              <a:gd name="connsiteX6156" fmla="*/ 1539106 w 12192185"/>
              <a:gd name="connsiteY6156" fmla="*/ 1493118 h 6859062"/>
              <a:gd name="connsiteX6157" fmla="*/ 1543648 w 12192185"/>
              <a:gd name="connsiteY6157" fmla="*/ 1490496 h 6859062"/>
              <a:gd name="connsiteX6158" fmla="*/ 842043 w 12192185"/>
              <a:gd name="connsiteY6158" fmla="*/ 1487867 h 6859062"/>
              <a:gd name="connsiteX6159" fmla="*/ 851125 w 12192185"/>
              <a:gd name="connsiteY6159" fmla="*/ 1488898 h 6859062"/>
              <a:gd name="connsiteX6160" fmla="*/ 856325 w 12192185"/>
              <a:gd name="connsiteY6160" fmla="*/ 1489626 h 6859062"/>
              <a:gd name="connsiteX6161" fmla="*/ 862687 w 12192185"/>
              <a:gd name="connsiteY6161" fmla="*/ 1491967 h 6859062"/>
              <a:gd name="connsiteX6162" fmla="*/ 867252 w 12192185"/>
              <a:gd name="connsiteY6162" fmla="*/ 1494956 h 6859062"/>
              <a:gd name="connsiteX6163" fmla="*/ 874926 w 12192185"/>
              <a:gd name="connsiteY6163" fmla="*/ 1504941 h 6859062"/>
              <a:gd name="connsiteX6164" fmla="*/ 879997 w 12192185"/>
              <a:gd name="connsiteY6164" fmla="*/ 1510937 h 6859062"/>
              <a:gd name="connsiteX6165" fmla="*/ 881110 w 12192185"/>
              <a:gd name="connsiteY6165" fmla="*/ 1514014 h 6859062"/>
              <a:gd name="connsiteX6166" fmla="*/ 880253 w 12192185"/>
              <a:gd name="connsiteY6166" fmla="*/ 1521283 h 6859062"/>
              <a:gd name="connsiteX6167" fmla="*/ 876657 w 12192185"/>
              <a:gd name="connsiteY6167" fmla="*/ 1533021 h 6859062"/>
              <a:gd name="connsiteX6168" fmla="*/ 876158 w 12192185"/>
              <a:gd name="connsiteY6168" fmla="*/ 1537261 h 6859062"/>
              <a:gd name="connsiteX6169" fmla="*/ 873539 w 12192185"/>
              <a:gd name="connsiteY6169" fmla="*/ 1539657 h 6859062"/>
              <a:gd name="connsiteX6170" fmla="*/ 868282 w 12192185"/>
              <a:gd name="connsiteY6170" fmla="*/ 1543587 h 6859062"/>
              <a:gd name="connsiteX6171" fmla="*/ 866598 w 12192185"/>
              <a:gd name="connsiteY6171" fmla="*/ 1545356 h 6859062"/>
              <a:gd name="connsiteX6172" fmla="*/ 858753 w 12192185"/>
              <a:gd name="connsiteY6172" fmla="*/ 1549352 h 6859062"/>
              <a:gd name="connsiteX6173" fmla="*/ 857141 w 12192185"/>
              <a:gd name="connsiteY6173" fmla="*/ 1550516 h 6859062"/>
              <a:gd name="connsiteX6174" fmla="*/ 834737 w 12192185"/>
              <a:gd name="connsiteY6174" fmla="*/ 1545565 h 6859062"/>
              <a:gd name="connsiteX6175" fmla="*/ 825287 w 12192185"/>
              <a:gd name="connsiteY6175" fmla="*/ 1537091 h 6859062"/>
              <a:gd name="connsiteX6176" fmla="*/ 821913 w 12192185"/>
              <a:gd name="connsiteY6176" fmla="*/ 1533381 h 6859062"/>
              <a:gd name="connsiteX6177" fmla="*/ 820081 w 12192185"/>
              <a:gd name="connsiteY6177" fmla="*/ 1529115 h 6859062"/>
              <a:gd name="connsiteX6178" fmla="*/ 819645 w 12192185"/>
              <a:gd name="connsiteY6178" fmla="*/ 1525503 h 6859062"/>
              <a:gd name="connsiteX6179" fmla="*/ 818426 w 12192185"/>
              <a:gd name="connsiteY6179" fmla="*/ 1518114 h 6859062"/>
              <a:gd name="connsiteX6180" fmla="*/ 817756 w 12192185"/>
              <a:gd name="connsiteY6180" fmla="*/ 1515457 h 6859062"/>
              <a:gd name="connsiteX6181" fmla="*/ 816301 w 12192185"/>
              <a:gd name="connsiteY6181" fmla="*/ 1509024 h 6859062"/>
              <a:gd name="connsiteX6182" fmla="*/ 825525 w 12192185"/>
              <a:gd name="connsiteY6182" fmla="*/ 1494381 h 6859062"/>
              <a:gd name="connsiteX6183" fmla="*/ 833650 w 12192185"/>
              <a:gd name="connsiteY6183" fmla="*/ 1491155 h 6859062"/>
              <a:gd name="connsiteX6184" fmla="*/ 842043 w 12192185"/>
              <a:gd name="connsiteY6184" fmla="*/ 1487867 h 6859062"/>
              <a:gd name="connsiteX6185" fmla="*/ 4147559 w 12192185"/>
              <a:gd name="connsiteY6185" fmla="*/ 1484545 h 6859062"/>
              <a:gd name="connsiteX6186" fmla="*/ 4144678 w 12192185"/>
              <a:gd name="connsiteY6186" fmla="*/ 1487191 h 6859062"/>
              <a:gd name="connsiteX6187" fmla="*/ 4157032 w 12192185"/>
              <a:gd name="connsiteY6187" fmla="*/ 1490501 h 6859062"/>
              <a:gd name="connsiteX6188" fmla="*/ 4164524 w 12192185"/>
              <a:gd name="connsiteY6188" fmla="*/ 1492510 h 6859062"/>
              <a:gd name="connsiteX6189" fmla="*/ 4168282 w 12192185"/>
              <a:gd name="connsiteY6189" fmla="*/ 1489160 h 6859062"/>
              <a:gd name="connsiteX6190" fmla="*/ 4160224 w 12192185"/>
              <a:gd name="connsiteY6190" fmla="*/ 1487072 h 6859062"/>
              <a:gd name="connsiteX6191" fmla="*/ 55449 w 12192185"/>
              <a:gd name="connsiteY6191" fmla="*/ 1460759 h 6859062"/>
              <a:gd name="connsiteX6192" fmla="*/ 55834 w 12192185"/>
              <a:gd name="connsiteY6192" fmla="*/ 1460817 h 6859062"/>
              <a:gd name="connsiteX6193" fmla="*/ 55708 w 12192185"/>
              <a:gd name="connsiteY6193" fmla="*/ 1461121 h 6859062"/>
              <a:gd name="connsiteX6194" fmla="*/ 7962086 w 12192185"/>
              <a:gd name="connsiteY6194" fmla="*/ 1437716 h 6859062"/>
              <a:gd name="connsiteX6195" fmla="*/ 7963118 w 12192185"/>
              <a:gd name="connsiteY6195" fmla="*/ 1438147 h 6859062"/>
              <a:gd name="connsiteX6196" fmla="*/ 7964921 w 12192185"/>
              <a:gd name="connsiteY6196" fmla="*/ 1442533 h 6859062"/>
              <a:gd name="connsiteX6197" fmla="*/ 11648643 w 12192185"/>
              <a:gd name="connsiteY6197" fmla="*/ 1406296 h 6859062"/>
              <a:gd name="connsiteX6198" fmla="*/ 11648664 w 12192185"/>
              <a:gd name="connsiteY6198" fmla="*/ 1406793 h 6859062"/>
              <a:gd name="connsiteX6199" fmla="*/ 11648240 w 12192185"/>
              <a:gd name="connsiteY6199" fmla="*/ 1406415 h 6859062"/>
              <a:gd name="connsiteX6200" fmla="*/ 4505374 w 12192185"/>
              <a:gd name="connsiteY6200" fmla="*/ 1403113 h 6859062"/>
              <a:gd name="connsiteX6201" fmla="*/ 4422809 w 12192185"/>
              <a:gd name="connsiteY6201" fmla="*/ 1469278 h 6859062"/>
              <a:gd name="connsiteX6202" fmla="*/ 4451788 w 12192185"/>
              <a:gd name="connsiteY6202" fmla="*/ 1477692 h 6859062"/>
              <a:gd name="connsiteX6203" fmla="*/ 4512832 w 12192185"/>
              <a:gd name="connsiteY6203" fmla="*/ 1429125 h 6859062"/>
              <a:gd name="connsiteX6204" fmla="*/ 4532701 w 12192185"/>
              <a:gd name="connsiteY6204" fmla="*/ 1415605 h 6859062"/>
              <a:gd name="connsiteX6205" fmla="*/ 4521088 w 12192185"/>
              <a:gd name="connsiteY6205" fmla="*/ 1411664 h 6859062"/>
              <a:gd name="connsiteX6206" fmla="*/ 1051478 w 12192185"/>
              <a:gd name="connsiteY6206" fmla="*/ 1397103 h 6859062"/>
              <a:gd name="connsiteX6207" fmla="*/ 1066451 w 12192185"/>
              <a:gd name="connsiteY6207" fmla="*/ 1403466 h 6859062"/>
              <a:gd name="connsiteX6208" fmla="*/ 1070172 w 12192185"/>
              <a:gd name="connsiteY6208" fmla="*/ 1406746 h 6859062"/>
              <a:gd name="connsiteX6209" fmla="*/ 1080498 w 12192185"/>
              <a:gd name="connsiteY6209" fmla="*/ 1413108 h 6859062"/>
              <a:gd name="connsiteX6210" fmla="*/ 1087312 w 12192185"/>
              <a:gd name="connsiteY6210" fmla="*/ 1414431 h 6859062"/>
              <a:gd name="connsiteX6211" fmla="*/ 1097921 w 12192185"/>
              <a:gd name="connsiteY6211" fmla="*/ 1427417 h 6859062"/>
              <a:gd name="connsiteX6212" fmla="*/ 1099130 w 12192185"/>
              <a:gd name="connsiteY6212" fmla="*/ 1441278 h 6859062"/>
              <a:gd name="connsiteX6213" fmla="*/ 1091627 w 12192185"/>
              <a:gd name="connsiteY6213" fmla="*/ 1453244 h 6859062"/>
              <a:gd name="connsiteX6214" fmla="*/ 1091043 w 12192185"/>
              <a:gd name="connsiteY6214" fmla="*/ 1455136 h 6859062"/>
              <a:gd name="connsiteX6215" fmla="*/ 1083570 w 12192185"/>
              <a:gd name="connsiteY6215" fmla="*/ 1457839 h 6859062"/>
              <a:gd name="connsiteX6216" fmla="*/ 1073872 w 12192185"/>
              <a:gd name="connsiteY6216" fmla="*/ 1456719 h 6859062"/>
              <a:gd name="connsiteX6217" fmla="*/ 1065847 w 12192185"/>
              <a:gd name="connsiteY6217" fmla="*/ 1452048 h 6859062"/>
              <a:gd name="connsiteX6218" fmla="*/ 1058107 w 12192185"/>
              <a:gd name="connsiteY6218" fmla="*/ 1443491 h 6859062"/>
              <a:gd name="connsiteX6219" fmla="*/ 1049381 w 12192185"/>
              <a:gd name="connsiteY6219" fmla="*/ 1435711 h 6859062"/>
              <a:gd name="connsiteX6220" fmla="*/ 1038203 w 12192185"/>
              <a:gd name="connsiteY6220" fmla="*/ 1430500 h 6859062"/>
              <a:gd name="connsiteX6221" fmla="*/ 1033363 w 12192185"/>
              <a:gd name="connsiteY6221" fmla="*/ 1417108 h 6859062"/>
              <a:gd name="connsiteX6222" fmla="*/ 1035964 w 12192185"/>
              <a:gd name="connsiteY6222" fmla="*/ 1410281 h 6859062"/>
              <a:gd name="connsiteX6223" fmla="*/ 1042302 w 12192185"/>
              <a:gd name="connsiteY6223" fmla="*/ 1402102 h 6859062"/>
              <a:gd name="connsiteX6224" fmla="*/ 1051478 w 12192185"/>
              <a:gd name="connsiteY6224" fmla="*/ 1397103 h 6859062"/>
              <a:gd name="connsiteX6225" fmla="*/ 2814110 w 12192185"/>
              <a:gd name="connsiteY6225" fmla="*/ 1396697 h 6859062"/>
              <a:gd name="connsiteX6226" fmla="*/ 2813589 w 12192185"/>
              <a:gd name="connsiteY6226" fmla="*/ 1398643 h 6859062"/>
              <a:gd name="connsiteX6227" fmla="*/ 2809201 w 12192185"/>
              <a:gd name="connsiteY6227" fmla="*/ 1397467 h 6859062"/>
              <a:gd name="connsiteX6228" fmla="*/ 11739699 w 12192185"/>
              <a:gd name="connsiteY6228" fmla="*/ 1379269 h 6859062"/>
              <a:gd name="connsiteX6229" fmla="*/ 11737608 w 12192185"/>
              <a:gd name="connsiteY6229" fmla="*/ 1382292 h 6859062"/>
              <a:gd name="connsiteX6230" fmla="*/ 11737150 w 12192185"/>
              <a:gd name="connsiteY6230" fmla="*/ 1386708 h 6859062"/>
              <a:gd name="connsiteX6231" fmla="*/ 11741781 w 12192185"/>
              <a:gd name="connsiteY6231" fmla="*/ 1387282 h 6859062"/>
              <a:gd name="connsiteX6232" fmla="*/ 11744546 w 12192185"/>
              <a:gd name="connsiteY6232" fmla="*/ 1385206 h 6859062"/>
              <a:gd name="connsiteX6233" fmla="*/ 11751501 w 12192185"/>
              <a:gd name="connsiteY6233" fmla="*/ 1387580 h 6859062"/>
              <a:gd name="connsiteX6234" fmla="*/ 11753235 w 12192185"/>
              <a:gd name="connsiteY6234" fmla="*/ 1390984 h 6859062"/>
              <a:gd name="connsiteX6235" fmla="*/ 11756752 w 12192185"/>
              <a:gd name="connsiteY6235" fmla="*/ 1389039 h 6859062"/>
              <a:gd name="connsiteX6236" fmla="*/ 11758766 w 12192185"/>
              <a:gd name="connsiteY6236" fmla="*/ 1386831 h 6859062"/>
              <a:gd name="connsiteX6237" fmla="*/ 11762211 w 12192185"/>
              <a:gd name="connsiteY6237" fmla="*/ 1385019 h 6859062"/>
              <a:gd name="connsiteX6238" fmla="*/ 11764786 w 12192185"/>
              <a:gd name="connsiteY6238" fmla="*/ 1387881 h 6859062"/>
              <a:gd name="connsiteX6239" fmla="*/ 11768484 w 12192185"/>
              <a:gd name="connsiteY6239" fmla="*/ 1397828 h 6859062"/>
              <a:gd name="connsiteX6240" fmla="*/ 11776698 w 12192185"/>
              <a:gd name="connsiteY6240" fmla="*/ 1404996 h 6859062"/>
              <a:gd name="connsiteX6241" fmla="*/ 11781313 w 12192185"/>
              <a:gd name="connsiteY6241" fmla="*/ 1409675 h 6859062"/>
              <a:gd name="connsiteX6242" fmla="*/ 11790967 w 12192185"/>
              <a:gd name="connsiteY6242" fmla="*/ 1422831 h 6859062"/>
              <a:gd name="connsiteX6243" fmla="*/ 11792178 w 12192185"/>
              <a:gd name="connsiteY6243" fmla="*/ 1425678 h 6859062"/>
              <a:gd name="connsiteX6244" fmla="*/ 11788677 w 12192185"/>
              <a:gd name="connsiteY6244" fmla="*/ 1459178 h 6859062"/>
              <a:gd name="connsiteX6245" fmla="*/ 11786141 w 12192185"/>
              <a:gd name="connsiteY6245" fmla="*/ 1464394 h 6859062"/>
              <a:gd name="connsiteX6246" fmla="*/ 11776520 w 12192185"/>
              <a:gd name="connsiteY6246" fmla="*/ 1475121 h 6859062"/>
              <a:gd name="connsiteX6247" fmla="*/ 11769092 w 12192185"/>
              <a:gd name="connsiteY6247" fmla="*/ 1484835 h 6859062"/>
              <a:gd name="connsiteX6248" fmla="*/ 11765558 w 12192185"/>
              <a:gd name="connsiteY6248" fmla="*/ 1487319 h 6859062"/>
              <a:gd name="connsiteX6249" fmla="*/ 11744991 w 12192185"/>
              <a:gd name="connsiteY6249" fmla="*/ 1495441 h 6859062"/>
              <a:gd name="connsiteX6250" fmla="*/ 11742455 w 12192185"/>
              <a:gd name="connsiteY6250" fmla="*/ 1497092 h 6859062"/>
              <a:gd name="connsiteX6251" fmla="*/ 11745090 w 12192185"/>
              <a:gd name="connsiteY6251" fmla="*/ 1513598 h 6859062"/>
              <a:gd name="connsiteX6252" fmla="*/ 11753222 w 12192185"/>
              <a:gd name="connsiteY6252" fmla="*/ 1527030 h 6859062"/>
              <a:gd name="connsiteX6253" fmla="*/ 11757984 w 12192185"/>
              <a:gd name="connsiteY6253" fmla="*/ 1548248 h 6859062"/>
              <a:gd name="connsiteX6254" fmla="*/ 11756053 w 12192185"/>
              <a:gd name="connsiteY6254" fmla="*/ 1551322 h 6859062"/>
              <a:gd name="connsiteX6255" fmla="*/ 11752666 w 12192185"/>
              <a:gd name="connsiteY6255" fmla="*/ 1559647 h 6859062"/>
              <a:gd name="connsiteX6256" fmla="*/ 11748266 w 12192185"/>
              <a:gd name="connsiteY6256" fmla="*/ 1569345 h 6859062"/>
              <a:gd name="connsiteX6257" fmla="*/ 11741950 w 12192185"/>
              <a:gd name="connsiteY6257" fmla="*/ 1574446 h 6859062"/>
              <a:gd name="connsiteX6258" fmla="*/ 11725899 w 12192185"/>
              <a:gd name="connsiteY6258" fmla="*/ 1590487 h 6859062"/>
              <a:gd name="connsiteX6259" fmla="*/ 11710469 w 12192185"/>
              <a:gd name="connsiteY6259" fmla="*/ 1596712 h 6859062"/>
              <a:gd name="connsiteX6260" fmla="*/ 11707540 w 12192185"/>
              <a:gd name="connsiteY6260" fmla="*/ 1597055 h 6859062"/>
              <a:gd name="connsiteX6261" fmla="*/ 11693731 w 12192185"/>
              <a:gd name="connsiteY6261" fmla="*/ 1596198 h 6859062"/>
              <a:gd name="connsiteX6262" fmla="*/ 11688871 w 12192185"/>
              <a:gd name="connsiteY6262" fmla="*/ 1596049 h 6859062"/>
              <a:gd name="connsiteX6263" fmla="*/ 11673279 w 12192185"/>
              <a:gd name="connsiteY6263" fmla="*/ 1586278 h 6859062"/>
              <a:gd name="connsiteX6264" fmla="*/ 11662136 w 12192185"/>
              <a:gd name="connsiteY6264" fmla="*/ 1575886 h 6859062"/>
              <a:gd name="connsiteX6265" fmla="*/ 11657537 w 12192185"/>
              <a:gd name="connsiteY6265" fmla="*/ 1574233 h 6859062"/>
              <a:gd name="connsiteX6266" fmla="*/ 11653921 w 12192185"/>
              <a:gd name="connsiteY6266" fmla="*/ 1575850 h 6859062"/>
              <a:gd name="connsiteX6267" fmla="*/ 11650060 w 12192185"/>
              <a:gd name="connsiteY6267" fmla="*/ 1574868 h 6859062"/>
              <a:gd name="connsiteX6268" fmla="*/ 11651909 w 12192185"/>
              <a:gd name="connsiteY6268" fmla="*/ 1570927 h 6859062"/>
              <a:gd name="connsiteX6269" fmla="*/ 11653888 w 12192185"/>
              <a:gd name="connsiteY6269" fmla="*/ 1569798 h 6859062"/>
              <a:gd name="connsiteX6270" fmla="*/ 11654967 w 12192185"/>
              <a:gd name="connsiteY6270" fmla="*/ 1559134 h 6859062"/>
              <a:gd name="connsiteX6271" fmla="*/ 11652219 w 12192185"/>
              <a:gd name="connsiteY6271" fmla="*/ 1557104 h 6859062"/>
              <a:gd name="connsiteX6272" fmla="*/ 11649862 w 12192185"/>
              <a:gd name="connsiteY6272" fmla="*/ 1552817 h 6859062"/>
              <a:gd name="connsiteX6273" fmla="*/ 11653396 w 12192185"/>
              <a:gd name="connsiteY6273" fmla="*/ 1550333 h 6859062"/>
              <a:gd name="connsiteX6274" fmla="*/ 11655934 w 12192185"/>
              <a:gd name="connsiteY6274" fmla="*/ 1545116 h 6859062"/>
              <a:gd name="connsiteX6275" fmla="*/ 11655556 w 12192185"/>
              <a:gd name="connsiteY6275" fmla="*/ 1532569 h 6859062"/>
              <a:gd name="connsiteX6276" fmla="*/ 11653379 w 12192185"/>
              <a:gd name="connsiteY6276" fmla="*/ 1525911 h 6859062"/>
              <a:gd name="connsiteX6277" fmla="*/ 11651728 w 12192185"/>
              <a:gd name="connsiteY6277" fmla="*/ 1523375 h 6859062"/>
              <a:gd name="connsiteX6278" fmla="*/ 11654264 w 12192185"/>
              <a:gd name="connsiteY6278" fmla="*/ 1521723 h 6859062"/>
              <a:gd name="connsiteX6279" fmla="*/ 11661038 w 12192185"/>
              <a:gd name="connsiteY6279" fmla="*/ 1519338 h 6859062"/>
              <a:gd name="connsiteX6280" fmla="*/ 11667336 w 12192185"/>
              <a:gd name="connsiteY6280" fmla="*/ 1507645 h 6859062"/>
              <a:gd name="connsiteX6281" fmla="*/ 11669184 w 12192185"/>
              <a:gd name="connsiteY6281" fmla="*/ 1493006 h 6859062"/>
              <a:gd name="connsiteX6282" fmla="*/ 11674928 w 12192185"/>
              <a:gd name="connsiteY6282" fmla="*/ 1492534 h 6859062"/>
              <a:gd name="connsiteX6283" fmla="*/ 11677449 w 12192185"/>
              <a:gd name="connsiteY6283" fmla="*/ 1498554 h 6859062"/>
              <a:gd name="connsiteX6284" fmla="*/ 11682504 w 12192185"/>
              <a:gd name="connsiteY6284" fmla="*/ 1502924 h 6859062"/>
              <a:gd name="connsiteX6285" fmla="*/ 11684991 w 12192185"/>
              <a:gd name="connsiteY6285" fmla="*/ 1495760 h 6859062"/>
              <a:gd name="connsiteX6286" fmla="*/ 11683501 w 12192185"/>
              <a:gd name="connsiteY6286" fmla="*/ 1491392 h 6859062"/>
              <a:gd name="connsiteX6287" fmla="*/ 11684925 w 12192185"/>
              <a:gd name="connsiteY6287" fmla="*/ 1487222 h 6859062"/>
              <a:gd name="connsiteX6288" fmla="*/ 11688312 w 12192185"/>
              <a:gd name="connsiteY6288" fmla="*/ 1489595 h 6859062"/>
              <a:gd name="connsiteX6289" fmla="*/ 11690766 w 12192185"/>
              <a:gd name="connsiteY6289" fmla="*/ 1494208 h 6859062"/>
              <a:gd name="connsiteX6290" fmla="*/ 11696641 w 12192185"/>
              <a:gd name="connsiteY6290" fmla="*/ 1496549 h 6859062"/>
              <a:gd name="connsiteX6291" fmla="*/ 11699161 w 12192185"/>
              <a:gd name="connsiteY6291" fmla="*/ 1491873 h 6859062"/>
              <a:gd name="connsiteX6292" fmla="*/ 11681423 w 12192185"/>
              <a:gd name="connsiteY6292" fmla="*/ 1474363 h 6859062"/>
              <a:gd name="connsiteX6293" fmla="*/ 11677349 w 12192185"/>
              <a:gd name="connsiteY6293" fmla="*/ 1469700 h 6859062"/>
              <a:gd name="connsiteX6294" fmla="*/ 11674583 w 12192185"/>
              <a:gd name="connsiteY6294" fmla="*/ 1453946 h 6859062"/>
              <a:gd name="connsiteX6295" fmla="*/ 11673455 w 12192185"/>
              <a:gd name="connsiteY6295" fmla="*/ 1448400 h 6859062"/>
              <a:gd name="connsiteX6296" fmla="*/ 11677397 w 12192185"/>
              <a:gd name="connsiteY6296" fmla="*/ 1432421 h 6859062"/>
              <a:gd name="connsiteX6297" fmla="*/ 11682355 w 12192185"/>
              <a:gd name="connsiteY6297" fmla="*/ 1422199 h 6859062"/>
              <a:gd name="connsiteX6298" fmla="*/ 11682207 w 12192185"/>
              <a:gd name="connsiteY6298" fmla="*/ 1412794 h 6859062"/>
              <a:gd name="connsiteX6299" fmla="*/ 11681569 w 12192185"/>
              <a:gd name="connsiteY6299" fmla="*/ 1412450 h 6859062"/>
              <a:gd name="connsiteX6300" fmla="*/ 11678902 w 12192185"/>
              <a:gd name="connsiteY6300" fmla="*/ 1407721 h 6859062"/>
              <a:gd name="connsiteX6301" fmla="*/ 11683140 w 12192185"/>
              <a:gd name="connsiteY6301" fmla="*/ 1406986 h 6859062"/>
              <a:gd name="connsiteX6302" fmla="*/ 11700254 w 12192185"/>
              <a:gd name="connsiteY6302" fmla="*/ 1395085 h 6859062"/>
              <a:gd name="connsiteX6303" fmla="*/ 11705556 w 12192185"/>
              <a:gd name="connsiteY6303" fmla="*/ 1391358 h 6859062"/>
              <a:gd name="connsiteX6304" fmla="*/ 11710300 w 12192185"/>
              <a:gd name="connsiteY6304" fmla="*/ 1391720 h 6859062"/>
              <a:gd name="connsiteX6305" fmla="*/ 11714391 w 12192185"/>
              <a:gd name="connsiteY6305" fmla="*/ 1388711 h 6859062"/>
              <a:gd name="connsiteX6306" fmla="*/ 11714167 w 12192185"/>
              <a:gd name="connsiteY6306" fmla="*/ 1386848 h 6859062"/>
              <a:gd name="connsiteX6307" fmla="*/ 1348845 w 12192185"/>
              <a:gd name="connsiteY6307" fmla="*/ 1376582 h 6859062"/>
              <a:gd name="connsiteX6308" fmla="*/ 1361922 w 12192185"/>
              <a:gd name="connsiteY6308" fmla="*/ 1378064 h 6859062"/>
              <a:gd name="connsiteX6309" fmla="*/ 1369407 w 12192185"/>
              <a:gd name="connsiteY6309" fmla="*/ 1379116 h 6859062"/>
              <a:gd name="connsiteX6310" fmla="*/ 1378568 w 12192185"/>
              <a:gd name="connsiteY6310" fmla="*/ 1382485 h 6859062"/>
              <a:gd name="connsiteX6311" fmla="*/ 1385139 w 12192185"/>
              <a:gd name="connsiteY6311" fmla="*/ 1386788 h 6859062"/>
              <a:gd name="connsiteX6312" fmla="*/ 1396187 w 12192185"/>
              <a:gd name="connsiteY6312" fmla="*/ 1401163 h 6859062"/>
              <a:gd name="connsiteX6313" fmla="*/ 1403489 w 12192185"/>
              <a:gd name="connsiteY6313" fmla="*/ 1409797 h 6859062"/>
              <a:gd name="connsiteX6314" fmla="*/ 1405090 w 12192185"/>
              <a:gd name="connsiteY6314" fmla="*/ 1414228 h 6859062"/>
              <a:gd name="connsiteX6315" fmla="*/ 1403857 w 12192185"/>
              <a:gd name="connsiteY6315" fmla="*/ 1424693 h 6859062"/>
              <a:gd name="connsiteX6316" fmla="*/ 1398680 w 12192185"/>
              <a:gd name="connsiteY6316" fmla="*/ 1441594 h 6859062"/>
              <a:gd name="connsiteX6317" fmla="*/ 1397960 w 12192185"/>
              <a:gd name="connsiteY6317" fmla="*/ 1447698 h 6859062"/>
              <a:gd name="connsiteX6318" fmla="*/ 1394191 w 12192185"/>
              <a:gd name="connsiteY6318" fmla="*/ 1451148 h 6859062"/>
              <a:gd name="connsiteX6319" fmla="*/ 1386623 w 12192185"/>
              <a:gd name="connsiteY6319" fmla="*/ 1456807 h 6859062"/>
              <a:gd name="connsiteX6320" fmla="*/ 1384199 w 12192185"/>
              <a:gd name="connsiteY6320" fmla="*/ 1459353 h 6859062"/>
              <a:gd name="connsiteX6321" fmla="*/ 1372903 w 12192185"/>
              <a:gd name="connsiteY6321" fmla="*/ 1465107 h 6859062"/>
              <a:gd name="connsiteX6322" fmla="*/ 1370582 w 12192185"/>
              <a:gd name="connsiteY6322" fmla="*/ 1466781 h 6859062"/>
              <a:gd name="connsiteX6323" fmla="*/ 1338327 w 12192185"/>
              <a:gd name="connsiteY6323" fmla="*/ 1459654 h 6859062"/>
              <a:gd name="connsiteX6324" fmla="*/ 1324722 w 12192185"/>
              <a:gd name="connsiteY6324" fmla="*/ 1447453 h 6859062"/>
              <a:gd name="connsiteX6325" fmla="*/ 1319866 w 12192185"/>
              <a:gd name="connsiteY6325" fmla="*/ 1442112 h 6859062"/>
              <a:gd name="connsiteX6326" fmla="*/ 1317226 w 12192185"/>
              <a:gd name="connsiteY6326" fmla="*/ 1435970 h 6859062"/>
              <a:gd name="connsiteX6327" fmla="*/ 1316601 w 12192185"/>
              <a:gd name="connsiteY6327" fmla="*/ 1430770 h 6859062"/>
              <a:gd name="connsiteX6328" fmla="*/ 1314845 w 12192185"/>
              <a:gd name="connsiteY6328" fmla="*/ 1420130 h 6859062"/>
              <a:gd name="connsiteX6329" fmla="*/ 1313880 w 12192185"/>
              <a:gd name="connsiteY6329" fmla="*/ 1416305 h 6859062"/>
              <a:gd name="connsiteX6330" fmla="*/ 1311787 w 12192185"/>
              <a:gd name="connsiteY6330" fmla="*/ 1407043 h 6859062"/>
              <a:gd name="connsiteX6331" fmla="*/ 1325066 w 12192185"/>
              <a:gd name="connsiteY6331" fmla="*/ 1385960 h 6859062"/>
              <a:gd name="connsiteX6332" fmla="*/ 1336762 w 12192185"/>
              <a:gd name="connsiteY6332" fmla="*/ 1381316 h 6859062"/>
              <a:gd name="connsiteX6333" fmla="*/ 1348845 w 12192185"/>
              <a:gd name="connsiteY6333" fmla="*/ 1376582 h 6859062"/>
              <a:gd name="connsiteX6334" fmla="*/ 4458893 w 12192185"/>
              <a:gd name="connsiteY6334" fmla="*/ 1374835 h 6859062"/>
              <a:gd name="connsiteX6335" fmla="*/ 4458153 w 12192185"/>
              <a:gd name="connsiteY6335" fmla="*/ 1375481 h 6859062"/>
              <a:gd name="connsiteX6336" fmla="*/ 4426494 w 12192185"/>
              <a:gd name="connsiteY6336" fmla="*/ 1404517 h 6859062"/>
              <a:gd name="connsiteX6337" fmla="*/ 4413330 w 12192185"/>
              <a:gd name="connsiteY6337" fmla="*/ 1409926 h 6859062"/>
              <a:gd name="connsiteX6338" fmla="*/ 4408157 w 12192185"/>
              <a:gd name="connsiteY6338" fmla="*/ 1422307 h 6859062"/>
              <a:gd name="connsiteX6339" fmla="*/ 4401964 w 12192185"/>
              <a:gd name="connsiteY6339" fmla="*/ 1419721 h 6859062"/>
              <a:gd name="connsiteX6340" fmla="*/ 4368708 w 12192185"/>
              <a:gd name="connsiteY6340" fmla="*/ 1452859 h 6859062"/>
              <a:gd name="connsiteX6341" fmla="*/ 4368187 w 12192185"/>
              <a:gd name="connsiteY6341" fmla="*/ 1453415 h 6859062"/>
              <a:gd name="connsiteX6342" fmla="*/ 4381421 w 12192185"/>
              <a:gd name="connsiteY6342" fmla="*/ 1457258 h 6859062"/>
              <a:gd name="connsiteX6343" fmla="*/ 4386476 w 12192185"/>
              <a:gd name="connsiteY6343" fmla="*/ 1452767 h 6859062"/>
              <a:gd name="connsiteX6344" fmla="*/ 4478478 w 12192185"/>
              <a:gd name="connsiteY6344" fmla="*/ 1388488 h 6859062"/>
              <a:gd name="connsiteX6345" fmla="*/ 4476848 w 12192185"/>
              <a:gd name="connsiteY6345" fmla="*/ 1388051 h 6859062"/>
              <a:gd name="connsiteX6346" fmla="*/ 4471905 w 12192185"/>
              <a:gd name="connsiteY6346" fmla="*/ 1379891 h 6859062"/>
              <a:gd name="connsiteX6347" fmla="*/ 3359121 w 12192185"/>
              <a:gd name="connsiteY6347" fmla="*/ 1367557 h 6859062"/>
              <a:gd name="connsiteX6348" fmla="*/ 3308828 w 12192185"/>
              <a:gd name="connsiteY6348" fmla="*/ 1376114 h 6859062"/>
              <a:gd name="connsiteX6349" fmla="*/ 3279968 w 12192185"/>
              <a:gd name="connsiteY6349" fmla="*/ 1380616 h 6859062"/>
              <a:gd name="connsiteX6350" fmla="*/ 3266638 w 12192185"/>
              <a:gd name="connsiteY6350" fmla="*/ 1403405 h 6859062"/>
              <a:gd name="connsiteX6351" fmla="*/ 3246586 w 12192185"/>
              <a:gd name="connsiteY6351" fmla="*/ 1434478 h 6859062"/>
              <a:gd name="connsiteX6352" fmla="*/ 3244962 w 12192185"/>
              <a:gd name="connsiteY6352" fmla="*/ 1437362 h 6859062"/>
              <a:gd name="connsiteX6353" fmla="*/ 3304083 w 12192185"/>
              <a:gd name="connsiteY6353" fmla="*/ 1424394 h 6859062"/>
              <a:gd name="connsiteX6354" fmla="*/ 3609546 w 12192185"/>
              <a:gd name="connsiteY6354" fmla="*/ 1394424 h 6859062"/>
              <a:gd name="connsiteX6355" fmla="*/ 3708724 w 12192185"/>
              <a:gd name="connsiteY6355" fmla="*/ 1394305 h 6859062"/>
              <a:gd name="connsiteX6356" fmla="*/ 3718262 w 12192185"/>
              <a:gd name="connsiteY6356" fmla="*/ 1383228 h 6859062"/>
              <a:gd name="connsiteX6357" fmla="*/ 3638268 w 12192185"/>
              <a:gd name="connsiteY6357" fmla="*/ 1378233 h 6859062"/>
              <a:gd name="connsiteX6358" fmla="*/ 3359055 w 12192185"/>
              <a:gd name="connsiteY6358" fmla="*/ 1369647 h 6859062"/>
              <a:gd name="connsiteX6359" fmla="*/ 11516879 w 12192185"/>
              <a:gd name="connsiteY6359" fmla="*/ 1358885 h 6859062"/>
              <a:gd name="connsiteX6360" fmla="*/ 11519259 w 12192185"/>
              <a:gd name="connsiteY6360" fmla="*/ 1361203 h 6859062"/>
              <a:gd name="connsiteX6361" fmla="*/ 11531256 w 12192185"/>
              <a:gd name="connsiteY6361" fmla="*/ 1369737 h 6859062"/>
              <a:gd name="connsiteX6362" fmla="*/ 11533606 w 12192185"/>
              <a:gd name="connsiteY6362" fmla="*/ 1373075 h 6859062"/>
              <a:gd name="connsiteX6363" fmla="*/ 11541337 w 12192185"/>
              <a:gd name="connsiteY6363" fmla="*/ 1380865 h 6859062"/>
              <a:gd name="connsiteX6364" fmla="*/ 11545080 w 12192185"/>
              <a:gd name="connsiteY6364" fmla="*/ 1385470 h 6859062"/>
              <a:gd name="connsiteX6365" fmla="*/ 11544865 w 12192185"/>
              <a:gd name="connsiteY6365" fmla="*/ 1392605 h 6859062"/>
              <a:gd name="connsiteX6366" fmla="*/ 11547932 w 12192185"/>
              <a:gd name="connsiteY6366" fmla="*/ 1412902 h 6859062"/>
              <a:gd name="connsiteX6367" fmla="*/ 11547566 w 12192185"/>
              <a:gd name="connsiteY6367" fmla="*/ 1425134 h 6859062"/>
              <a:gd name="connsiteX6368" fmla="*/ 11544971 w 12192185"/>
              <a:gd name="connsiteY6368" fmla="*/ 1429951 h 6859062"/>
              <a:gd name="connsiteX6369" fmla="*/ 11535114 w 12192185"/>
              <a:gd name="connsiteY6369" fmla="*/ 1438624 h 6859062"/>
              <a:gd name="connsiteX6370" fmla="*/ 11519971 w 12192185"/>
              <a:gd name="connsiteY6370" fmla="*/ 1453254 h 6859062"/>
              <a:gd name="connsiteX6371" fmla="*/ 11511688 w 12192185"/>
              <a:gd name="connsiteY6371" fmla="*/ 1457079 h 6859062"/>
              <a:gd name="connsiteX6372" fmla="*/ 11500592 w 12192185"/>
              <a:gd name="connsiteY6372" fmla="*/ 1459388 h 6859062"/>
              <a:gd name="connsiteX6373" fmla="*/ 11491813 w 12192185"/>
              <a:gd name="connsiteY6373" fmla="*/ 1459319 h 6859062"/>
              <a:gd name="connsiteX6374" fmla="*/ 11463466 w 12192185"/>
              <a:gd name="connsiteY6374" fmla="*/ 1451299 h 6859062"/>
              <a:gd name="connsiteX6375" fmla="*/ 11450820 w 12192185"/>
              <a:gd name="connsiteY6375" fmla="*/ 1443969 h 6859062"/>
              <a:gd name="connsiteX6376" fmla="*/ 11439157 w 12192185"/>
              <a:gd name="connsiteY6376" fmla="*/ 1417488 h 6859062"/>
              <a:gd name="connsiteX6377" fmla="*/ 11443142 w 12192185"/>
              <a:gd name="connsiteY6377" fmla="*/ 1407205 h 6859062"/>
              <a:gd name="connsiteX6378" fmla="*/ 11444903 w 12192185"/>
              <a:gd name="connsiteY6378" fmla="*/ 1402974 h 6859062"/>
              <a:gd name="connsiteX6379" fmla="*/ 11448731 w 12192185"/>
              <a:gd name="connsiteY6379" fmla="*/ 1391054 h 6859062"/>
              <a:gd name="connsiteX6380" fmla="*/ 11450337 w 12192185"/>
              <a:gd name="connsiteY6380" fmla="*/ 1385185 h 6859062"/>
              <a:gd name="connsiteX6381" fmla="*/ 11454415 w 12192185"/>
              <a:gd name="connsiteY6381" fmla="*/ 1378578 h 6859062"/>
              <a:gd name="connsiteX6382" fmla="*/ 11460903 w 12192185"/>
              <a:gd name="connsiteY6382" fmla="*/ 1373269 h 6859062"/>
              <a:gd name="connsiteX6383" fmla="*/ 11478611 w 12192185"/>
              <a:gd name="connsiteY6383" fmla="*/ 1361576 h 6859062"/>
              <a:gd name="connsiteX6384" fmla="*/ 11516879 w 12192185"/>
              <a:gd name="connsiteY6384" fmla="*/ 1358885 h 6859062"/>
              <a:gd name="connsiteX6385" fmla="*/ 3740910 w 12192185"/>
              <a:gd name="connsiteY6385" fmla="*/ 1353867 h 6859062"/>
              <a:gd name="connsiteX6386" fmla="*/ 3732447 w 12192185"/>
              <a:gd name="connsiteY6386" fmla="*/ 1354059 h 6859062"/>
              <a:gd name="connsiteX6387" fmla="*/ 3742918 w 12192185"/>
              <a:gd name="connsiteY6387" fmla="*/ 1354601 h 6859062"/>
              <a:gd name="connsiteX6388" fmla="*/ 3743401 w 12192185"/>
              <a:gd name="connsiteY6388" fmla="*/ 1354038 h 6859062"/>
              <a:gd name="connsiteX6389" fmla="*/ 3664153 w 12192185"/>
              <a:gd name="connsiteY6389" fmla="*/ 1349028 h 6859062"/>
              <a:gd name="connsiteX6390" fmla="*/ 3660936 w 12192185"/>
              <a:gd name="connsiteY6390" fmla="*/ 1351299 h 6859062"/>
              <a:gd name="connsiteX6391" fmla="*/ 3667561 w 12192185"/>
              <a:gd name="connsiteY6391" fmla="*/ 1351277 h 6859062"/>
              <a:gd name="connsiteX6392" fmla="*/ 4366837 w 12192185"/>
              <a:gd name="connsiteY6392" fmla="*/ 1348129 h 6859062"/>
              <a:gd name="connsiteX6393" fmla="*/ 4317814 w 12192185"/>
              <a:gd name="connsiteY6393" fmla="*/ 1392768 h 6859062"/>
              <a:gd name="connsiteX6394" fmla="*/ 4279352 w 12192185"/>
              <a:gd name="connsiteY6394" fmla="*/ 1429734 h 6859062"/>
              <a:gd name="connsiteX6395" fmla="*/ 4301544 w 12192185"/>
              <a:gd name="connsiteY6395" fmla="*/ 1434604 h 6859062"/>
              <a:gd name="connsiteX6396" fmla="*/ 4322383 w 12192185"/>
              <a:gd name="connsiteY6396" fmla="*/ 1410122 h 6859062"/>
              <a:gd name="connsiteX6397" fmla="*/ 4347039 w 12192185"/>
              <a:gd name="connsiteY6397" fmla="*/ 1385887 h 6859062"/>
              <a:gd name="connsiteX6398" fmla="*/ 4375469 w 12192185"/>
              <a:gd name="connsiteY6398" fmla="*/ 1353691 h 6859062"/>
              <a:gd name="connsiteX6399" fmla="*/ 4377476 w 12192185"/>
              <a:gd name="connsiteY6399" fmla="*/ 1351949 h 6859062"/>
              <a:gd name="connsiteX6400" fmla="*/ 52386 w 12192185"/>
              <a:gd name="connsiteY6400" fmla="*/ 1347265 h 6859062"/>
              <a:gd name="connsiteX6401" fmla="*/ 54508 w 12192185"/>
              <a:gd name="connsiteY6401" fmla="*/ 1348441 h 6859062"/>
              <a:gd name="connsiteX6402" fmla="*/ 63986 w 12192185"/>
              <a:gd name="connsiteY6402" fmla="*/ 1357042 h 6859062"/>
              <a:gd name="connsiteX6403" fmla="*/ 67262 w 12192185"/>
              <a:gd name="connsiteY6403" fmla="*/ 1361023 h 6859062"/>
              <a:gd name="connsiteX6404" fmla="*/ 72185 w 12192185"/>
              <a:gd name="connsiteY6404" fmla="*/ 1368013 h 6859062"/>
              <a:gd name="connsiteX6405" fmla="*/ 79644 w 12192185"/>
              <a:gd name="connsiteY6405" fmla="*/ 1371707 h 6859062"/>
              <a:gd name="connsiteX6406" fmla="*/ 81668 w 12192185"/>
              <a:gd name="connsiteY6406" fmla="*/ 1373948 h 6859062"/>
              <a:gd name="connsiteX6407" fmla="*/ 79974 w 12192185"/>
              <a:gd name="connsiteY6407" fmla="*/ 1376489 h 6859062"/>
              <a:gd name="connsiteX6408" fmla="*/ 78088 w 12192185"/>
              <a:gd name="connsiteY6408" fmla="*/ 1377880 h 6859062"/>
              <a:gd name="connsiteX6409" fmla="*/ 76285 w 12192185"/>
              <a:gd name="connsiteY6409" fmla="*/ 1380467 h 6859062"/>
              <a:gd name="connsiteX6410" fmla="*/ 78798 w 12192185"/>
              <a:gd name="connsiteY6410" fmla="*/ 1382096 h 6859062"/>
              <a:gd name="connsiteX6411" fmla="*/ 80085 w 12192185"/>
              <a:gd name="connsiteY6411" fmla="*/ 1387715 h 6859062"/>
              <a:gd name="connsiteX6412" fmla="*/ 78241 w 12192185"/>
              <a:gd name="connsiteY6412" fmla="*/ 1389703 h 6859062"/>
              <a:gd name="connsiteX6413" fmla="*/ 78312 w 12192185"/>
              <a:gd name="connsiteY6413" fmla="*/ 1393361 h 6859062"/>
              <a:gd name="connsiteX6414" fmla="*/ 81794 w 12192185"/>
              <a:gd name="connsiteY6414" fmla="*/ 1393364 h 6859062"/>
              <a:gd name="connsiteX6415" fmla="*/ 84323 w 12192185"/>
              <a:gd name="connsiteY6415" fmla="*/ 1391978 h 6859062"/>
              <a:gd name="connsiteX6416" fmla="*/ 76335 w 12192185"/>
              <a:gd name="connsiteY6416" fmla="*/ 1411281 h 6859062"/>
              <a:gd name="connsiteX6417" fmla="*/ 74899 w 12192185"/>
              <a:gd name="connsiteY6417" fmla="*/ 1410955 h 6859062"/>
              <a:gd name="connsiteX6418" fmla="*/ 72220 w 12192185"/>
              <a:gd name="connsiteY6418" fmla="*/ 1413901 h 6859062"/>
              <a:gd name="connsiteX6419" fmla="*/ 72116 w 12192185"/>
              <a:gd name="connsiteY6419" fmla="*/ 1417632 h 6859062"/>
              <a:gd name="connsiteX6420" fmla="*/ 68777 w 12192185"/>
              <a:gd name="connsiteY6420" fmla="*/ 1421464 h 6859062"/>
              <a:gd name="connsiteX6421" fmla="*/ 58101 w 12192185"/>
              <a:gd name="connsiteY6421" fmla="*/ 1433849 h 6859062"/>
              <a:gd name="connsiteX6422" fmla="*/ 57183 w 12192185"/>
              <a:gd name="connsiteY6422" fmla="*/ 1437094 h 6859062"/>
              <a:gd name="connsiteX6423" fmla="*/ 53711 w 12192185"/>
              <a:gd name="connsiteY6423" fmla="*/ 1434629 h 6859062"/>
              <a:gd name="connsiteX6424" fmla="*/ 53495 w 12192185"/>
              <a:gd name="connsiteY6424" fmla="*/ 1434103 h 6859062"/>
              <a:gd name="connsiteX6425" fmla="*/ 46170 w 12192185"/>
              <a:gd name="connsiteY6425" fmla="*/ 1433224 h 6859062"/>
              <a:gd name="connsiteX6426" fmla="*/ 37792 w 12192185"/>
              <a:gd name="connsiteY6426" fmla="*/ 1436261 h 6859062"/>
              <a:gd name="connsiteX6427" fmla="*/ 25005 w 12192185"/>
              <a:gd name="connsiteY6427" fmla="*/ 1438036 h 6859062"/>
              <a:gd name="connsiteX6428" fmla="*/ 20770 w 12192185"/>
              <a:gd name="connsiteY6428" fmla="*/ 1436704 h 6859062"/>
              <a:gd name="connsiteX6429" fmla="*/ 8706 w 12192185"/>
              <a:gd name="connsiteY6429" fmla="*/ 1433266 h 6859062"/>
              <a:gd name="connsiteX6430" fmla="*/ 5399 w 12192185"/>
              <a:gd name="connsiteY6430" fmla="*/ 1429709 h 6859062"/>
              <a:gd name="connsiteX6431" fmla="*/ 2455 w 12192185"/>
              <a:gd name="connsiteY6431" fmla="*/ 1419316 h 6859062"/>
              <a:gd name="connsiteX6432" fmla="*/ 0 w 12192185"/>
              <a:gd name="connsiteY6432" fmla="*/ 1418027 h 6859062"/>
              <a:gd name="connsiteX6433" fmla="*/ 0 w 12192185"/>
              <a:gd name="connsiteY6433" fmla="*/ 1367117 h 6859062"/>
              <a:gd name="connsiteX6434" fmla="*/ 2133 w 12192185"/>
              <a:gd name="connsiteY6434" fmla="*/ 1363019 h 6859062"/>
              <a:gd name="connsiteX6435" fmla="*/ 4359 w 12192185"/>
              <a:gd name="connsiteY6435" fmla="*/ 1360463 h 6859062"/>
              <a:gd name="connsiteX6436" fmla="*/ 12541 w 12192185"/>
              <a:gd name="connsiteY6436" fmla="*/ 1355459 h 6859062"/>
              <a:gd name="connsiteX6437" fmla="*/ 21691 w 12192185"/>
              <a:gd name="connsiteY6437" fmla="*/ 1348826 h 6859062"/>
              <a:gd name="connsiteX6438" fmla="*/ 25968 w 12192185"/>
              <a:gd name="connsiteY6438" fmla="*/ 1347272 h 6859062"/>
              <a:gd name="connsiteX6439" fmla="*/ 52386 w 12192185"/>
              <a:gd name="connsiteY6439" fmla="*/ 1347265 h 6859062"/>
              <a:gd name="connsiteX6440" fmla="*/ 4310174 w 12192185"/>
              <a:gd name="connsiteY6440" fmla="*/ 1327800 h 6859062"/>
              <a:gd name="connsiteX6441" fmla="*/ 4309830 w 12192185"/>
              <a:gd name="connsiteY6441" fmla="*/ 1328105 h 6859062"/>
              <a:gd name="connsiteX6442" fmla="*/ 4256228 w 12192185"/>
              <a:gd name="connsiteY6442" fmla="*/ 1377054 h 6859062"/>
              <a:gd name="connsiteX6443" fmla="*/ 4224739 w 12192185"/>
              <a:gd name="connsiteY6443" fmla="*/ 1400251 h 6859062"/>
              <a:gd name="connsiteX6444" fmla="*/ 4215796 w 12192185"/>
              <a:gd name="connsiteY6444" fmla="*/ 1409695 h 6859062"/>
              <a:gd name="connsiteX6445" fmla="*/ 4212587 w 12192185"/>
              <a:gd name="connsiteY6445" fmla="*/ 1415082 h 6859062"/>
              <a:gd name="connsiteX6446" fmla="*/ 4238157 w 12192185"/>
              <a:gd name="connsiteY6446" fmla="*/ 1420693 h 6859062"/>
              <a:gd name="connsiteX6447" fmla="*/ 4238685 w 12192185"/>
              <a:gd name="connsiteY6447" fmla="*/ 1420158 h 6859062"/>
              <a:gd name="connsiteX6448" fmla="*/ 4293126 w 12192185"/>
              <a:gd name="connsiteY6448" fmla="*/ 1367017 h 6859062"/>
              <a:gd name="connsiteX6449" fmla="*/ 4321014 w 12192185"/>
              <a:gd name="connsiteY6449" fmla="*/ 1335046 h 6859062"/>
              <a:gd name="connsiteX6450" fmla="*/ 4318429 w 12192185"/>
              <a:gd name="connsiteY6450" fmla="*/ 1341236 h 6859062"/>
              <a:gd name="connsiteX6451" fmla="*/ 4326927 w 12192185"/>
              <a:gd name="connsiteY6451" fmla="*/ 1333810 h 6859062"/>
              <a:gd name="connsiteX6452" fmla="*/ 5980953 w 12192185"/>
              <a:gd name="connsiteY6452" fmla="*/ 1318339 h 6859062"/>
              <a:gd name="connsiteX6453" fmla="*/ 5833013 w 12192185"/>
              <a:gd name="connsiteY6453" fmla="*/ 1332381 h 6859062"/>
              <a:gd name="connsiteX6454" fmla="*/ 5675794 w 12192185"/>
              <a:gd name="connsiteY6454" fmla="*/ 1359371 h 6859062"/>
              <a:gd name="connsiteX6455" fmla="*/ 5601825 w 12192185"/>
              <a:gd name="connsiteY6455" fmla="*/ 1390002 h 6859062"/>
              <a:gd name="connsiteX6456" fmla="*/ 5547248 w 12192185"/>
              <a:gd name="connsiteY6456" fmla="*/ 1412639 h 6859062"/>
              <a:gd name="connsiteX6457" fmla="*/ 5392539 w 12192185"/>
              <a:gd name="connsiteY6457" fmla="*/ 1455683 h 6859062"/>
              <a:gd name="connsiteX6458" fmla="*/ 5258281 w 12192185"/>
              <a:gd name="connsiteY6458" fmla="*/ 1503775 h 6859062"/>
              <a:gd name="connsiteX6459" fmla="*/ 5275248 w 12192185"/>
              <a:gd name="connsiteY6459" fmla="*/ 1513094 h 6859062"/>
              <a:gd name="connsiteX6460" fmla="*/ 5278445 w 12192185"/>
              <a:gd name="connsiteY6460" fmla="*/ 1514532 h 6859062"/>
              <a:gd name="connsiteX6461" fmla="*/ 5367633 w 12192185"/>
              <a:gd name="connsiteY6461" fmla="*/ 1482156 h 6859062"/>
              <a:gd name="connsiteX6462" fmla="*/ 5722438 w 12192185"/>
              <a:gd name="connsiteY6462" fmla="*/ 1395984 h 6859062"/>
              <a:gd name="connsiteX6463" fmla="*/ 5740737 w 12192185"/>
              <a:gd name="connsiteY6463" fmla="*/ 1391713 h 6859062"/>
              <a:gd name="connsiteX6464" fmla="*/ 5755866 w 12192185"/>
              <a:gd name="connsiteY6464" fmla="*/ 1403522 h 6859062"/>
              <a:gd name="connsiteX6465" fmla="*/ 5742790 w 12192185"/>
              <a:gd name="connsiteY6465" fmla="*/ 1417459 h 6859062"/>
              <a:gd name="connsiteX6466" fmla="*/ 5647350 w 12192185"/>
              <a:gd name="connsiteY6466" fmla="*/ 1433738 h 6859062"/>
              <a:gd name="connsiteX6467" fmla="*/ 5612514 w 12192185"/>
              <a:gd name="connsiteY6467" fmla="*/ 1442542 h 6859062"/>
              <a:gd name="connsiteX6468" fmla="*/ 5768255 w 12192185"/>
              <a:gd name="connsiteY6468" fmla="*/ 1422828 h 6859062"/>
              <a:gd name="connsiteX6469" fmla="*/ 6514852 w 12192185"/>
              <a:gd name="connsiteY6469" fmla="*/ 1511829 h 6859062"/>
              <a:gd name="connsiteX6470" fmla="*/ 6567531 w 12192185"/>
              <a:gd name="connsiteY6470" fmla="*/ 1530923 h 6859062"/>
              <a:gd name="connsiteX6471" fmla="*/ 6570782 w 12192185"/>
              <a:gd name="connsiteY6471" fmla="*/ 1531741 h 6859062"/>
              <a:gd name="connsiteX6472" fmla="*/ 6603935 w 12192185"/>
              <a:gd name="connsiteY6472" fmla="*/ 1536184 h 6859062"/>
              <a:gd name="connsiteX6473" fmla="*/ 6695034 w 12192185"/>
              <a:gd name="connsiteY6473" fmla="*/ 1572501 h 6859062"/>
              <a:gd name="connsiteX6474" fmla="*/ 6842218 w 12192185"/>
              <a:gd name="connsiteY6474" fmla="*/ 1624650 h 6859062"/>
              <a:gd name="connsiteX6475" fmla="*/ 7288613 w 12192185"/>
              <a:gd name="connsiteY6475" fmla="*/ 1867129 h 6859062"/>
              <a:gd name="connsiteX6476" fmla="*/ 7126826 w 12192185"/>
              <a:gd name="connsiteY6476" fmla="*/ 1751093 h 6859062"/>
              <a:gd name="connsiteX6477" fmla="*/ 6966491 w 12192185"/>
              <a:gd name="connsiteY6477" fmla="*/ 1648745 h 6859062"/>
              <a:gd name="connsiteX6478" fmla="*/ 6778184 w 12192185"/>
              <a:gd name="connsiteY6478" fmla="*/ 1562251 h 6859062"/>
              <a:gd name="connsiteX6479" fmla="*/ 6667626 w 12192185"/>
              <a:gd name="connsiteY6479" fmla="*/ 1515611 h 6859062"/>
              <a:gd name="connsiteX6480" fmla="*/ 6657188 w 12192185"/>
              <a:gd name="connsiteY6480" fmla="*/ 1513217 h 6859062"/>
              <a:gd name="connsiteX6481" fmla="*/ 6655558 w 12192185"/>
              <a:gd name="connsiteY6481" fmla="*/ 1509593 h 6859062"/>
              <a:gd name="connsiteX6482" fmla="*/ 6595576 w 12192185"/>
              <a:gd name="connsiteY6482" fmla="*/ 1488565 h 6859062"/>
              <a:gd name="connsiteX6483" fmla="*/ 6653901 w 12192185"/>
              <a:gd name="connsiteY6483" fmla="*/ 1502532 h 6859062"/>
              <a:gd name="connsiteX6484" fmla="*/ 6658608 w 12192185"/>
              <a:gd name="connsiteY6484" fmla="*/ 1493678 h 6859062"/>
              <a:gd name="connsiteX6485" fmla="*/ 6670094 w 12192185"/>
              <a:gd name="connsiteY6485" fmla="*/ 1490448 h 6859062"/>
              <a:gd name="connsiteX6486" fmla="*/ 6723935 w 12192185"/>
              <a:gd name="connsiteY6486" fmla="*/ 1502908 h 6859062"/>
              <a:gd name="connsiteX6487" fmla="*/ 6869337 w 12192185"/>
              <a:gd name="connsiteY6487" fmla="*/ 1564794 h 6859062"/>
              <a:gd name="connsiteX6488" fmla="*/ 6930405 w 12192185"/>
              <a:gd name="connsiteY6488" fmla="*/ 1594832 h 6859062"/>
              <a:gd name="connsiteX6489" fmla="*/ 6932086 w 12192185"/>
              <a:gd name="connsiteY6489" fmla="*/ 1595507 h 6859062"/>
              <a:gd name="connsiteX6490" fmla="*/ 6935824 w 12192185"/>
              <a:gd name="connsiteY6490" fmla="*/ 1597498 h 6859062"/>
              <a:gd name="connsiteX6491" fmla="*/ 6940845 w 12192185"/>
              <a:gd name="connsiteY6491" fmla="*/ 1599968 h 6859062"/>
              <a:gd name="connsiteX6492" fmla="*/ 6942799 w 12192185"/>
              <a:gd name="connsiteY6492" fmla="*/ 1601214 h 6859062"/>
              <a:gd name="connsiteX6493" fmla="*/ 7008880 w 12192185"/>
              <a:gd name="connsiteY6493" fmla="*/ 1636416 h 6859062"/>
              <a:gd name="connsiteX6494" fmla="*/ 7008973 w 12192185"/>
              <a:gd name="connsiteY6494" fmla="*/ 1632340 h 6859062"/>
              <a:gd name="connsiteX6495" fmla="*/ 7004680 w 12192185"/>
              <a:gd name="connsiteY6495" fmla="*/ 1623324 h 6859062"/>
              <a:gd name="connsiteX6496" fmla="*/ 7002838 w 12192185"/>
              <a:gd name="connsiteY6496" fmla="*/ 1619015 h 6859062"/>
              <a:gd name="connsiteX6497" fmla="*/ 6914912 w 12192185"/>
              <a:gd name="connsiteY6497" fmla="*/ 1564557 h 6859062"/>
              <a:gd name="connsiteX6498" fmla="*/ 6700816 w 12192185"/>
              <a:gd name="connsiteY6498" fmla="*/ 1464655 h 6859062"/>
              <a:gd name="connsiteX6499" fmla="*/ 6675593 w 12192185"/>
              <a:gd name="connsiteY6499" fmla="*/ 1454052 h 6859062"/>
              <a:gd name="connsiteX6500" fmla="*/ 6656009 w 12192185"/>
              <a:gd name="connsiteY6500" fmla="*/ 1446997 h 6859062"/>
              <a:gd name="connsiteX6501" fmla="*/ 6652983 w 12192185"/>
              <a:gd name="connsiteY6501" fmla="*/ 1444258 h 6859062"/>
              <a:gd name="connsiteX6502" fmla="*/ 6401065 w 12192185"/>
              <a:gd name="connsiteY6502" fmla="*/ 1366588 h 6859062"/>
              <a:gd name="connsiteX6503" fmla="*/ 6122108 w 12192185"/>
              <a:gd name="connsiteY6503" fmla="*/ 1321688 h 6859062"/>
              <a:gd name="connsiteX6504" fmla="*/ 4647348 w 12192185"/>
              <a:gd name="connsiteY6504" fmla="*/ 1298577 h 6859062"/>
              <a:gd name="connsiteX6505" fmla="*/ 4599112 w 12192185"/>
              <a:gd name="connsiteY6505" fmla="*/ 1332786 h 6859062"/>
              <a:gd name="connsiteX6506" fmla="*/ 4619461 w 12192185"/>
              <a:gd name="connsiteY6506" fmla="*/ 1341009 h 6859062"/>
              <a:gd name="connsiteX6507" fmla="*/ 4620552 w 12192185"/>
              <a:gd name="connsiteY6507" fmla="*/ 1340153 h 6859062"/>
              <a:gd name="connsiteX6508" fmla="*/ 4660819 w 12192185"/>
              <a:gd name="connsiteY6508" fmla="*/ 1313348 h 6859062"/>
              <a:gd name="connsiteX6509" fmla="*/ 4668900 w 12192185"/>
              <a:gd name="connsiteY6509" fmla="*/ 1308129 h 6859062"/>
              <a:gd name="connsiteX6510" fmla="*/ 4189235 w 12192185"/>
              <a:gd name="connsiteY6510" fmla="*/ 1291973 h 6859062"/>
              <a:gd name="connsiteX6511" fmla="*/ 4098598 w 12192185"/>
              <a:gd name="connsiteY6511" fmla="*/ 1376875 h 6859062"/>
              <a:gd name="connsiteX6512" fmla="*/ 4091755 w 12192185"/>
              <a:gd name="connsiteY6512" fmla="*/ 1384594 h 6859062"/>
              <a:gd name="connsiteX6513" fmla="*/ 4101724 w 12192185"/>
              <a:gd name="connsiteY6513" fmla="*/ 1386740 h 6859062"/>
              <a:gd name="connsiteX6514" fmla="*/ 4152119 w 12192185"/>
              <a:gd name="connsiteY6514" fmla="*/ 1333968 h 6859062"/>
              <a:gd name="connsiteX6515" fmla="*/ 4199163 w 12192185"/>
              <a:gd name="connsiteY6515" fmla="*/ 1294597 h 6859062"/>
              <a:gd name="connsiteX6516" fmla="*/ 10161899 w 12192185"/>
              <a:gd name="connsiteY6516" fmla="*/ 1289161 h 6859062"/>
              <a:gd name="connsiteX6517" fmla="*/ 10176157 w 12192185"/>
              <a:gd name="connsiteY6517" fmla="*/ 1292880 h 6859062"/>
              <a:gd name="connsiteX6518" fmla="*/ 10262490 w 12192185"/>
              <a:gd name="connsiteY6518" fmla="*/ 1323446 h 6859062"/>
              <a:gd name="connsiteX6519" fmla="*/ 10311772 w 12192185"/>
              <a:gd name="connsiteY6519" fmla="*/ 1330216 h 6859062"/>
              <a:gd name="connsiteX6520" fmla="*/ 10190736 w 12192185"/>
              <a:gd name="connsiteY6520" fmla="*/ 1292575 h 6859062"/>
              <a:gd name="connsiteX6521" fmla="*/ 10187386 w 12192185"/>
              <a:gd name="connsiteY6521" fmla="*/ 1292838 h 6859062"/>
              <a:gd name="connsiteX6522" fmla="*/ 3806284 w 12192185"/>
              <a:gd name="connsiteY6522" fmla="*/ 1281036 h 6859062"/>
              <a:gd name="connsiteX6523" fmla="*/ 3749995 w 12192185"/>
              <a:gd name="connsiteY6523" fmla="*/ 1309223 h 6859062"/>
              <a:gd name="connsiteX6524" fmla="*/ 3728766 w 12192185"/>
              <a:gd name="connsiteY6524" fmla="*/ 1324443 h 6859062"/>
              <a:gd name="connsiteX6525" fmla="*/ 3739360 w 12192185"/>
              <a:gd name="connsiteY6525" fmla="*/ 1325082 h 6859062"/>
              <a:gd name="connsiteX6526" fmla="*/ 3765386 w 12192185"/>
              <a:gd name="connsiteY6526" fmla="*/ 1328517 h 6859062"/>
              <a:gd name="connsiteX6527" fmla="*/ 4586770 w 12192185"/>
              <a:gd name="connsiteY6527" fmla="*/ 1271742 h 6859062"/>
              <a:gd name="connsiteX6528" fmla="*/ 4586218 w 12192185"/>
              <a:gd name="connsiteY6528" fmla="*/ 1272215 h 6859062"/>
              <a:gd name="connsiteX6529" fmla="*/ 4537926 w 12192185"/>
              <a:gd name="connsiteY6529" fmla="*/ 1308067 h 6859062"/>
              <a:gd name="connsiteX6530" fmla="*/ 4573199 w 12192185"/>
              <a:gd name="connsiteY6530" fmla="*/ 1322318 h 6859062"/>
              <a:gd name="connsiteX6531" fmla="*/ 4622768 w 12192185"/>
              <a:gd name="connsiteY6531" fmla="*/ 1287687 h 6859062"/>
              <a:gd name="connsiteX6532" fmla="*/ 508724 w 12192185"/>
              <a:gd name="connsiteY6532" fmla="*/ 1252916 h 6859062"/>
              <a:gd name="connsiteX6533" fmla="*/ 508570 w 12192185"/>
              <a:gd name="connsiteY6533" fmla="*/ 1253242 h 6859062"/>
              <a:gd name="connsiteX6534" fmla="*/ 508239 w 12192185"/>
              <a:gd name="connsiteY6534" fmla="*/ 1252971 h 6859062"/>
              <a:gd name="connsiteX6535" fmla="*/ 11169826 w 12192185"/>
              <a:gd name="connsiteY6535" fmla="*/ 1246950 h 6859062"/>
              <a:gd name="connsiteX6536" fmla="*/ 11173927 w 12192185"/>
              <a:gd name="connsiteY6536" fmla="*/ 1247360 h 6859062"/>
              <a:gd name="connsiteX6537" fmla="*/ 11181400 w 12192185"/>
              <a:gd name="connsiteY6537" fmla="*/ 1248867 h 6859062"/>
              <a:gd name="connsiteX6538" fmla="*/ 11184234 w 12192185"/>
              <a:gd name="connsiteY6538" fmla="*/ 1248956 h 6859062"/>
              <a:gd name="connsiteX6539" fmla="*/ 11193768 w 12192185"/>
              <a:gd name="connsiteY6539" fmla="*/ 1252653 h 6859062"/>
              <a:gd name="connsiteX6540" fmla="*/ 11196024 w 12192185"/>
              <a:gd name="connsiteY6540" fmla="*/ 1253149 h 6859062"/>
              <a:gd name="connsiteX6541" fmla="*/ 11209086 w 12192185"/>
              <a:gd name="connsiteY6541" fmla="*/ 1276373 h 6859062"/>
              <a:gd name="connsiteX6542" fmla="*/ 11209086 w 12192185"/>
              <a:gd name="connsiteY6542" fmla="*/ 1276374 h 6859062"/>
              <a:gd name="connsiteX6543" fmla="*/ 11209070 w 12192185"/>
              <a:gd name="connsiteY6543" fmla="*/ 1291114 h 6859062"/>
              <a:gd name="connsiteX6544" fmla="*/ 11208469 w 12192185"/>
              <a:gd name="connsiteY6544" fmla="*/ 1296906 h 6859062"/>
              <a:gd name="connsiteX6545" fmla="*/ 11206195 w 12192185"/>
              <a:gd name="connsiteY6545" fmla="*/ 1301796 h 6859062"/>
              <a:gd name="connsiteX6546" fmla="*/ 11203406 w 12192185"/>
              <a:gd name="connsiteY6546" fmla="*/ 1304970 h 6859062"/>
              <a:gd name="connsiteX6547" fmla="*/ 11197954 w 12192185"/>
              <a:gd name="connsiteY6547" fmla="*/ 1311745 h 6859062"/>
              <a:gd name="connsiteX6548" fmla="*/ 11196173 w 12192185"/>
              <a:gd name="connsiteY6548" fmla="*/ 1314384 h 6859062"/>
              <a:gd name="connsiteX6549" fmla="*/ 11191732 w 12192185"/>
              <a:gd name="connsiteY6549" fmla="*/ 1320624 h 6859062"/>
              <a:gd name="connsiteX6550" fmla="*/ 11171915 w 12192185"/>
              <a:gd name="connsiteY6550" fmla="*/ 1323978 h 6859062"/>
              <a:gd name="connsiteX6551" fmla="*/ 11162831 w 12192185"/>
              <a:gd name="connsiteY6551" fmla="*/ 1319445 h 6859062"/>
              <a:gd name="connsiteX6552" fmla="*/ 11147347 w 12192185"/>
              <a:gd name="connsiteY6552" fmla="*/ 1306067 h 6859062"/>
              <a:gd name="connsiteX6553" fmla="*/ 11143952 w 12192185"/>
              <a:gd name="connsiteY6553" fmla="*/ 1301001 h 6859062"/>
              <a:gd name="connsiteX6554" fmla="*/ 11141050 w 12192185"/>
              <a:gd name="connsiteY6554" fmla="*/ 1293682 h 6859062"/>
              <a:gd name="connsiteX6555" fmla="*/ 11140104 w 12192185"/>
              <a:gd name="connsiteY6555" fmla="*/ 1287416 h 6859062"/>
              <a:gd name="connsiteX6556" fmla="*/ 11140104 w 12192185"/>
              <a:gd name="connsiteY6556" fmla="*/ 1287415 h 6859062"/>
              <a:gd name="connsiteX6557" fmla="*/ 11142804 w 12192185"/>
              <a:gd name="connsiteY6557" fmla="*/ 1273043 h 6859062"/>
              <a:gd name="connsiteX6558" fmla="*/ 11144068 w 12192185"/>
              <a:gd name="connsiteY6558" fmla="*/ 1264011 h 6859062"/>
              <a:gd name="connsiteX6559" fmla="*/ 11145870 w 12192185"/>
              <a:gd name="connsiteY6559" fmla="*/ 1260664 h 6859062"/>
              <a:gd name="connsiteX6560" fmla="*/ 11152825 w 12192185"/>
              <a:gd name="connsiteY6560" fmla="*/ 1255778 h 6859062"/>
              <a:gd name="connsiteX6561" fmla="*/ 11165770 w 12192185"/>
              <a:gd name="connsiteY6561" fmla="*/ 1249800 h 6859062"/>
              <a:gd name="connsiteX6562" fmla="*/ 11169826 w 12192185"/>
              <a:gd name="connsiteY6562" fmla="*/ 1246950 h 6859062"/>
              <a:gd name="connsiteX6563" fmla="*/ 843455 w 12192185"/>
              <a:gd name="connsiteY6563" fmla="*/ 1245204 h 6859062"/>
              <a:gd name="connsiteX6564" fmla="*/ 853558 w 12192185"/>
              <a:gd name="connsiteY6564" fmla="*/ 1247441 h 6859062"/>
              <a:gd name="connsiteX6565" fmla="*/ 859924 w 12192185"/>
              <a:gd name="connsiteY6565" fmla="*/ 1251027 h 6859062"/>
              <a:gd name="connsiteX6566" fmla="*/ 864764 w 12192185"/>
              <a:gd name="connsiteY6566" fmla="*/ 1264418 h 6859062"/>
              <a:gd name="connsiteX6567" fmla="*/ 859502 w 12192185"/>
              <a:gd name="connsiteY6567" fmla="*/ 1275572 h 6859062"/>
              <a:gd name="connsiteX6568" fmla="*/ 857766 w 12192185"/>
              <a:gd name="connsiteY6568" fmla="*/ 1287133 h 6859062"/>
              <a:gd name="connsiteX6569" fmla="*/ 857287 w 12192185"/>
              <a:gd name="connsiteY6569" fmla="*/ 1298662 h 6859062"/>
              <a:gd name="connsiteX6570" fmla="*/ 854103 w 12192185"/>
              <a:gd name="connsiteY6570" fmla="*/ 1307383 h 6859062"/>
              <a:gd name="connsiteX6571" fmla="*/ 847362 w 12192185"/>
              <a:gd name="connsiteY6571" fmla="*/ 1314446 h 6859062"/>
              <a:gd name="connsiteX6572" fmla="*/ 839889 w 12192185"/>
              <a:gd name="connsiteY6572" fmla="*/ 1317146 h 6859062"/>
              <a:gd name="connsiteX6573" fmla="*/ 838231 w 12192185"/>
              <a:gd name="connsiteY6573" fmla="*/ 1316063 h 6859062"/>
              <a:gd name="connsiteX6574" fmla="*/ 824811 w 12192185"/>
              <a:gd name="connsiteY6574" fmla="*/ 1311663 h 6859062"/>
              <a:gd name="connsiteX6575" fmla="*/ 816878 w 12192185"/>
              <a:gd name="connsiteY6575" fmla="*/ 1300231 h 6859062"/>
              <a:gd name="connsiteX6576" fmla="*/ 816730 w 12192185"/>
              <a:gd name="connsiteY6576" fmla="*/ 1283464 h 6859062"/>
              <a:gd name="connsiteX6577" fmla="*/ 821124 w 12192185"/>
              <a:gd name="connsiteY6577" fmla="*/ 1278090 h 6859062"/>
              <a:gd name="connsiteX6578" fmla="*/ 824996 w 12192185"/>
              <a:gd name="connsiteY6578" fmla="*/ 1266597 h 6859062"/>
              <a:gd name="connsiteX6579" fmla="*/ 825760 w 12192185"/>
              <a:gd name="connsiteY6579" fmla="*/ 1261696 h 6859062"/>
              <a:gd name="connsiteX6580" fmla="*/ 833203 w 12192185"/>
              <a:gd name="connsiteY6580" fmla="*/ 1247229 h 6859062"/>
              <a:gd name="connsiteX6581" fmla="*/ 843455 w 12192185"/>
              <a:gd name="connsiteY6581" fmla="*/ 1245204 h 6859062"/>
              <a:gd name="connsiteX6582" fmla="*/ 6379346 w 12192185"/>
              <a:gd name="connsiteY6582" fmla="*/ 1243108 h 6859062"/>
              <a:gd name="connsiteX6583" fmla="*/ 6382424 w 12192185"/>
              <a:gd name="connsiteY6583" fmla="*/ 1245505 h 6859062"/>
              <a:gd name="connsiteX6584" fmla="*/ 6377442 w 12192185"/>
              <a:gd name="connsiteY6584" fmla="*/ 1243384 h 6859062"/>
              <a:gd name="connsiteX6585" fmla="*/ 4491710 w 12192185"/>
              <a:gd name="connsiteY6585" fmla="*/ 1235763 h 6859062"/>
              <a:gd name="connsiteX6586" fmla="*/ 4479069 w 12192185"/>
              <a:gd name="connsiteY6586" fmla="*/ 1247020 h 6859062"/>
              <a:gd name="connsiteX6587" fmla="*/ 4462185 w 12192185"/>
              <a:gd name="connsiteY6587" fmla="*/ 1266776 h 6859062"/>
              <a:gd name="connsiteX6588" fmla="*/ 4453416 w 12192185"/>
              <a:gd name="connsiteY6588" fmla="*/ 1270383 h 6859062"/>
              <a:gd name="connsiteX6589" fmla="*/ 4451026 w 12192185"/>
              <a:gd name="connsiteY6589" fmla="*/ 1276105 h 6859062"/>
              <a:gd name="connsiteX6590" fmla="*/ 4459625 w 12192185"/>
              <a:gd name="connsiteY6590" fmla="*/ 1278788 h 6859062"/>
              <a:gd name="connsiteX6591" fmla="*/ 4461407 w 12192185"/>
              <a:gd name="connsiteY6591" fmla="*/ 1277352 h 6859062"/>
              <a:gd name="connsiteX6592" fmla="*/ 4465791 w 12192185"/>
              <a:gd name="connsiteY6592" fmla="*/ 1275549 h 6859062"/>
              <a:gd name="connsiteX6593" fmla="*/ 4470183 w 12192185"/>
              <a:gd name="connsiteY6593" fmla="*/ 1273746 h 6859062"/>
              <a:gd name="connsiteX6594" fmla="*/ 4474565 w 12192185"/>
              <a:gd name="connsiteY6594" fmla="*/ 1271943 h 6859062"/>
              <a:gd name="connsiteX6595" fmla="*/ 4472767 w 12192185"/>
              <a:gd name="connsiteY6595" fmla="*/ 1267558 h 6859062"/>
              <a:gd name="connsiteX6596" fmla="*/ 4473548 w 12192185"/>
              <a:gd name="connsiteY6596" fmla="*/ 1256980 h 6859062"/>
              <a:gd name="connsiteX6597" fmla="*/ 4486127 w 12192185"/>
              <a:gd name="connsiteY6597" fmla="*/ 1248605 h 6859062"/>
              <a:gd name="connsiteX6598" fmla="*/ 4497918 w 12192185"/>
              <a:gd name="connsiteY6598" fmla="*/ 1238040 h 6859062"/>
              <a:gd name="connsiteX6599" fmla="*/ 3205385 w 12192185"/>
              <a:gd name="connsiteY6599" fmla="*/ 1235506 h 6859062"/>
              <a:gd name="connsiteX6600" fmla="*/ 3209772 w 12192185"/>
              <a:gd name="connsiteY6600" fmla="*/ 1236682 h 6859062"/>
              <a:gd name="connsiteX6601" fmla="*/ 3204457 w 12192185"/>
              <a:gd name="connsiteY6601" fmla="*/ 1236041 h 6859062"/>
              <a:gd name="connsiteX6602" fmla="*/ 3202175 w 12192185"/>
              <a:gd name="connsiteY6602" fmla="*/ 1229941 h 6859062"/>
              <a:gd name="connsiteX6603" fmla="*/ 3201800 w 12192185"/>
              <a:gd name="connsiteY6603" fmla="*/ 1235721 h 6859062"/>
              <a:gd name="connsiteX6604" fmla="*/ 3204457 w 12192185"/>
              <a:gd name="connsiteY6604" fmla="*/ 1236041 h 6859062"/>
              <a:gd name="connsiteX6605" fmla="*/ 3194255 w 12192185"/>
              <a:gd name="connsiteY6605" fmla="*/ 1241931 h 6859062"/>
              <a:gd name="connsiteX6606" fmla="*/ 3207419 w 12192185"/>
              <a:gd name="connsiteY6606" fmla="*/ 1245458 h 6859062"/>
              <a:gd name="connsiteX6607" fmla="*/ 3155306 w 12192185"/>
              <a:gd name="connsiteY6607" fmla="*/ 1264420 h 6859062"/>
              <a:gd name="connsiteX6608" fmla="*/ 3152094 w 12192185"/>
              <a:gd name="connsiteY6608" fmla="*/ 1258856 h 6859062"/>
              <a:gd name="connsiteX6609" fmla="*/ 3085629 w 12192185"/>
              <a:gd name="connsiteY6609" fmla="*/ 1278678 h 6859062"/>
              <a:gd name="connsiteX6610" fmla="*/ 3091193 w 12192185"/>
              <a:gd name="connsiteY6610" fmla="*/ 1275464 h 6859062"/>
              <a:gd name="connsiteX6611" fmla="*/ 3017129 w 12192185"/>
              <a:gd name="connsiteY6611" fmla="*/ 1288546 h 6859062"/>
              <a:gd name="connsiteX6612" fmla="*/ 3011568 w 12192185"/>
              <a:gd name="connsiteY6612" fmla="*/ 1291759 h 6859062"/>
              <a:gd name="connsiteX6613" fmla="*/ 3029120 w 12192185"/>
              <a:gd name="connsiteY6613" fmla="*/ 1296463 h 6859062"/>
              <a:gd name="connsiteX6614" fmla="*/ 2978178 w 12192185"/>
              <a:gd name="connsiteY6614" fmla="*/ 1311036 h 6859062"/>
              <a:gd name="connsiteX6615" fmla="*/ 2970573 w 12192185"/>
              <a:gd name="connsiteY6615" fmla="*/ 1304295 h 6859062"/>
              <a:gd name="connsiteX6616" fmla="*/ 2958270 w 12192185"/>
              <a:gd name="connsiteY6616" fmla="*/ 1315109 h 6859062"/>
              <a:gd name="connsiteX6617" fmla="*/ 2952704 w 12192185"/>
              <a:gd name="connsiteY6617" fmla="*/ 1318323 h 6859062"/>
              <a:gd name="connsiteX6618" fmla="*/ 2941573 w 12192185"/>
              <a:gd name="connsiteY6618" fmla="*/ 1324748 h 6859062"/>
              <a:gd name="connsiteX6619" fmla="*/ 2950352 w 12192185"/>
              <a:gd name="connsiteY6619" fmla="*/ 1327101 h 6859062"/>
              <a:gd name="connsiteX6620" fmla="*/ 2954742 w 12192185"/>
              <a:gd name="connsiteY6620" fmla="*/ 1328276 h 6859062"/>
              <a:gd name="connsiteX6621" fmla="*/ 2840552 w 12192185"/>
              <a:gd name="connsiteY6621" fmla="*/ 1368236 h 6859062"/>
              <a:gd name="connsiteX6622" fmla="*/ 2803088 w 12192185"/>
              <a:gd name="connsiteY6622" fmla="*/ 1367605 h 6859062"/>
              <a:gd name="connsiteX6623" fmla="*/ 2804265 w 12192185"/>
              <a:gd name="connsiteY6623" fmla="*/ 1363217 h 6859062"/>
              <a:gd name="connsiteX6624" fmla="*/ 2799875 w 12192185"/>
              <a:gd name="connsiteY6624" fmla="*/ 1362039 h 6859062"/>
              <a:gd name="connsiteX6625" fmla="*/ 2788746 w 12192185"/>
              <a:gd name="connsiteY6625" fmla="*/ 1368466 h 6859062"/>
              <a:gd name="connsiteX6626" fmla="*/ 2783178 w 12192185"/>
              <a:gd name="connsiteY6626" fmla="*/ 1371679 h 6859062"/>
              <a:gd name="connsiteX6627" fmla="*/ 2775266 w 12192185"/>
              <a:gd name="connsiteY6627" fmla="*/ 1383669 h 6859062"/>
              <a:gd name="connsiteX6628" fmla="*/ 2754182 w 12192185"/>
              <a:gd name="connsiteY6628" fmla="*/ 1392132 h 6859062"/>
              <a:gd name="connsiteX6629" fmla="*/ 2784042 w 12192185"/>
              <a:gd name="connsiteY6629" fmla="*/ 1386021 h 6859062"/>
              <a:gd name="connsiteX6630" fmla="*/ 2786393 w 12192185"/>
              <a:gd name="connsiteY6630" fmla="*/ 1377243 h 6859062"/>
              <a:gd name="connsiteX6631" fmla="*/ 2791959 w 12192185"/>
              <a:gd name="connsiteY6631" fmla="*/ 1374031 h 6859062"/>
              <a:gd name="connsiteX6632" fmla="*/ 2796348 w 12192185"/>
              <a:gd name="connsiteY6632" fmla="*/ 1375208 h 6859062"/>
              <a:gd name="connsiteX6633" fmla="*/ 2803088 w 12192185"/>
              <a:gd name="connsiteY6633" fmla="*/ 1367605 h 6859062"/>
              <a:gd name="connsiteX6634" fmla="*/ 2889144 w 12192185"/>
              <a:gd name="connsiteY6634" fmla="*/ 1362440 h 6859062"/>
              <a:gd name="connsiteX6635" fmla="*/ 2897922 w 12192185"/>
              <a:gd name="connsiteY6635" fmla="*/ 1364792 h 6859062"/>
              <a:gd name="connsiteX6636" fmla="*/ 2896747 w 12192185"/>
              <a:gd name="connsiteY6636" fmla="*/ 1369181 h 6859062"/>
              <a:gd name="connsiteX6637" fmla="*/ 2902310 w 12192185"/>
              <a:gd name="connsiteY6637" fmla="*/ 1365967 h 6859062"/>
              <a:gd name="connsiteX6638" fmla="*/ 2906700 w 12192185"/>
              <a:gd name="connsiteY6638" fmla="*/ 1367144 h 6859062"/>
              <a:gd name="connsiteX6639" fmla="*/ 2863208 w 12192185"/>
              <a:gd name="connsiteY6639" fmla="*/ 1389007 h 6859062"/>
              <a:gd name="connsiteX6640" fmla="*/ 2814110 w 12192185"/>
              <a:gd name="connsiteY6640" fmla="*/ 1396697 h 6859062"/>
              <a:gd name="connsiteX6641" fmla="*/ 2814765 w 12192185"/>
              <a:gd name="connsiteY6641" fmla="*/ 1394253 h 6859062"/>
              <a:gd name="connsiteX6642" fmla="*/ 2809201 w 12192185"/>
              <a:gd name="connsiteY6642" fmla="*/ 1397467 h 6859062"/>
              <a:gd name="connsiteX6643" fmla="*/ 2789292 w 12192185"/>
              <a:gd name="connsiteY6643" fmla="*/ 1401540 h 6859062"/>
              <a:gd name="connsiteX6644" fmla="*/ 2794857 w 12192185"/>
              <a:gd name="connsiteY6644" fmla="*/ 1398327 h 6859062"/>
              <a:gd name="connsiteX6645" fmla="*/ 2790468 w 12192185"/>
              <a:gd name="connsiteY6645" fmla="*/ 1397151 h 6859062"/>
              <a:gd name="connsiteX6646" fmla="*/ 2784901 w 12192185"/>
              <a:gd name="connsiteY6646" fmla="*/ 1400363 h 6859062"/>
              <a:gd name="connsiteX6647" fmla="*/ 2705278 w 12192185"/>
              <a:gd name="connsiteY6647" fmla="*/ 1416658 h 6859062"/>
              <a:gd name="connsiteX6648" fmla="*/ 2697676 w 12192185"/>
              <a:gd name="connsiteY6648" fmla="*/ 1409918 h 6859062"/>
              <a:gd name="connsiteX6649" fmla="*/ 2725497 w 12192185"/>
              <a:gd name="connsiteY6649" fmla="*/ 1393853 h 6859062"/>
              <a:gd name="connsiteX6650" fmla="*/ 2626824 w 12192185"/>
              <a:gd name="connsiteY6650" fmla="*/ 1428564 h 6859062"/>
              <a:gd name="connsiteX6651" fmla="*/ 2618046 w 12192185"/>
              <a:gd name="connsiteY6651" fmla="*/ 1426211 h 6859062"/>
              <a:gd name="connsiteX6652" fmla="*/ 2611306 w 12192185"/>
              <a:gd name="connsiteY6652" fmla="*/ 1433815 h 6859062"/>
              <a:gd name="connsiteX6653" fmla="*/ 2582307 w 12192185"/>
              <a:gd name="connsiteY6653" fmla="*/ 1454266 h 6859062"/>
              <a:gd name="connsiteX6654" fmla="*/ 2580271 w 12192185"/>
              <a:gd name="connsiteY6654" fmla="*/ 1444312 h 6859062"/>
              <a:gd name="connsiteX6655" fmla="*/ 2567967 w 12192185"/>
              <a:gd name="connsiteY6655" fmla="*/ 1455127 h 6859062"/>
              <a:gd name="connsiteX6656" fmla="*/ 2562402 w 12192185"/>
              <a:gd name="connsiteY6656" fmla="*/ 1458341 h 6859062"/>
              <a:gd name="connsiteX6657" fmla="*/ 2558016 w 12192185"/>
              <a:gd name="connsiteY6657" fmla="*/ 1457164 h 6859062"/>
              <a:gd name="connsiteX6658" fmla="*/ 2556838 w 12192185"/>
              <a:gd name="connsiteY6658" fmla="*/ 1461554 h 6859062"/>
              <a:gd name="connsiteX6659" fmla="*/ 2562402 w 12192185"/>
              <a:gd name="connsiteY6659" fmla="*/ 1458341 h 6859062"/>
              <a:gd name="connsiteX6660" fmla="*/ 2566791 w 12192185"/>
              <a:gd name="connsiteY6660" fmla="*/ 1459517 h 6859062"/>
              <a:gd name="connsiteX6661" fmla="*/ 2545708 w 12192185"/>
              <a:gd name="connsiteY6661" fmla="*/ 1467980 h 6859062"/>
              <a:gd name="connsiteX6662" fmla="*/ 2546884 w 12192185"/>
              <a:gd name="connsiteY6662" fmla="*/ 1463592 h 6859062"/>
              <a:gd name="connsiteX6663" fmla="*/ 2407450 w 12192185"/>
              <a:gd name="connsiteY6663" fmla="*/ 1562639 h 6859062"/>
              <a:gd name="connsiteX6664" fmla="*/ 2278831 w 12192185"/>
              <a:gd name="connsiteY6664" fmla="*/ 1673995 h 6859062"/>
              <a:gd name="connsiteX6665" fmla="*/ 2273581 w 12192185"/>
              <a:gd name="connsiteY6665" fmla="*/ 1658480 h 6859062"/>
              <a:gd name="connsiteX6666" fmla="*/ 2195047 w 12192185"/>
              <a:gd name="connsiteY6666" fmla="*/ 1740918 h 6859062"/>
              <a:gd name="connsiteX6667" fmla="*/ 2110944 w 12192185"/>
              <a:gd name="connsiteY6667" fmla="*/ 1826569 h 6859062"/>
              <a:gd name="connsiteX6668" fmla="*/ 2112117 w 12192185"/>
              <a:gd name="connsiteY6668" fmla="*/ 1822182 h 6859062"/>
              <a:gd name="connsiteX6669" fmla="*/ 2102165 w 12192185"/>
              <a:gd name="connsiteY6669" fmla="*/ 1824218 h 6859062"/>
              <a:gd name="connsiteX6670" fmla="*/ 2097778 w 12192185"/>
              <a:gd name="connsiteY6670" fmla="*/ 1823043 h 6859062"/>
              <a:gd name="connsiteX6671" fmla="*/ 2083104 w 12192185"/>
              <a:gd name="connsiteY6671" fmla="*/ 1842634 h 6859062"/>
              <a:gd name="connsiteX6672" fmla="*/ 2071973 w 12192185"/>
              <a:gd name="connsiteY6672" fmla="*/ 1849058 h 6859062"/>
              <a:gd name="connsiteX6673" fmla="*/ 2070798 w 12192185"/>
              <a:gd name="connsiteY6673" fmla="*/ 1853448 h 6859062"/>
              <a:gd name="connsiteX6674" fmla="*/ 2075187 w 12192185"/>
              <a:gd name="connsiteY6674" fmla="*/ 1854624 h 6859062"/>
              <a:gd name="connsiteX6675" fmla="*/ 2024787 w 12192185"/>
              <a:gd name="connsiteY6675" fmla="*/ 1902268 h 6859062"/>
              <a:gd name="connsiteX6676" fmla="*/ 2021260 w 12192185"/>
              <a:gd name="connsiteY6676" fmla="*/ 1915435 h 6859062"/>
              <a:gd name="connsiteX6677" fmla="*/ 2042342 w 12192185"/>
              <a:gd name="connsiteY6677" fmla="*/ 1906972 h 6859062"/>
              <a:gd name="connsiteX6678" fmla="*/ 2040304 w 12192185"/>
              <a:gd name="connsiteY6678" fmla="*/ 1897019 h 6859062"/>
              <a:gd name="connsiteX6679" fmla="*/ 2073696 w 12192185"/>
              <a:gd name="connsiteY6679" fmla="*/ 1877744 h 6859062"/>
              <a:gd name="connsiteX6680" fmla="*/ 2061389 w 12192185"/>
              <a:gd name="connsiteY6680" fmla="*/ 1888556 h 6859062"/>
              <a:gd name="connsiteX6681" fmla="*/ 2144018 w 12192185"/>
              <a:gd name="connsiteY6681" fmla="*/ 1826025 h 6859062"/>
              <a:gd name="connsiteX6682" fmla="*/ 2228980 w 12192185"/>
              <a:gd name="connsiteY6682" fmla="*/ 1754713 h 6859062"/>
              <a:gd name="connsiteX6683" fmla="*/ 2237760 w 12192185"/>
              <a:gd name="connsiteY6683" fmla="*/ 1757066 h 6859062"/>
              <a:gd name="connsiteX6684" fmla="*/ 2322406 w 12192185"/>
              <a:gd name="connsiteY6684" fmla="*/ 1704487 h 6859062"/>
              <a:gd name="connsiteX6685" fmla="*/ 2355794 w 12192185"/>
              <a:gd name="connsiteY6685" fmla="*/ 1685211 h 6859062"/>
              <a:gd name="connsiteX6686" fmla="*/ 2368099 w 12192185"/>
              <a:gd name="connsiteY6686" fmla="*/ 1674396 h 6859062"/>
              <a:gd name="connsiteX6687" fmla="*/ 2394746 w 12192185"/>
              <a:gd name="connsiteY6687" fmla="*/ 1662721 h 6859062"/>
              <a:gd name="connsiteX6688" fmla="*/ 2446004 w 12192185"/>
              <a:gd name="connsiteY6688" fmla="*/ 1629417 h 6859062"/>
              <a:gd name="connsiteX6689" fmla="*/ 2496086 w 12192185"/>
              <a:gd name="connsiteY6689" fmla="*/ 1600499 h 6859062"/>
              <a:gd name="connsiteX6690" fmla="*/ 2642806 w 12192185"/>
              <a:gd name="connsiteY6690" fmla="*/ 1526922 h 6859062"/>
              <a:gd name="connsiteX6691" fmla="*/ 2686146 w 12192185"/>
              <a:gd name="connsiteY6691" fmla="*/ 1505610 h 6859062"/>
              <a:gd name="connsiteX6692" fmla="*/ 2689360 w 12192185"/>
              <a:gd name="connsiteY6692" fmla="*/ 1511175 h 6859062"/>
              <a:gd name="connsiteX6693" fmla="*/ 2840151 w 12192185"/>
              <a:gd name="connsiteY6693" fmla="*/ 1457503 h 6859062"/>
              <a:gd name="connsiteX6694" fmla="*/ 2876751 w 12192185"/>
              <a:gd name="connsiteY6694" fmla="*/ 1443790 h 6859062"/>
              <a:gd name="connsiteX6695" fmla="*/ 2933259 w 12192185"/>
              <a:gd name="connsiteY6695" fmla="*/ 1426004 h 6859062"/>
              <a:gd name="connsiteX6696" fmla="*/ 3133510 w 12192185"/>
              <a:gd name="connsiteY6696" fmla="*/ 1380879 h 6859062"/>
              <a:gd name="connsiteX6697" fmla="*/ 3194405 w 12192185"/>
              <a:gd name="connsiteY6697" fmla="*/ 1364270 h 6859062"/>
              <a:gd name="connsiteX6698" fmla="*/ 3203178 w 12192185"/>
              <a:gd name="connsiteY6698" fmla="*/ 1366621 h 6859062"/>
              <a:gd name="connsiteX6699" fmla="*/ 3213583 w 12192185"/>
              <a:gd name="connsiteY6699" fmla="*/ 1368060 h 6859062"/>
              <a:gd name="connsiteX6700" fmla="*/ 3230130 w 12192185"/>
              <a:gd name="connsiteY6700" fmla="*/ 1339463 h 6859062"/>
              <a:gd name="connsiteX6701" fmla="*/ 3282776 w 12192185"/>
              <a:gd name="connsiteY6701" fmla="*/ 1263496 h 6859062"/>
              <a:gd name="connsiteX6702" fmla="*/ 3277652 w 12192185"/>
              <a:gd name="connsiteY6702" fmla="*/ 1281029 h 6859062"/>
              <a:gd name="connsiteX6703" fmla="*/ 3280943 w 12192185"/>
              <a:gd name="connsiteY6703" fmla="*/ 1276280 h 6859062"/>
              <a:gd name="connsiteX6704" fmla="*/ 3288254 w 12192185"/>
              <a:gd name="connsiteY6704" fmla="*/ 1270805 h 6859062"/>
              <a:gd name="connsiteX6705" fmla="*/ 3284965 w 12192185"/>
              <a:gd name="connsiteY6705" fmla="*/ 1275553 h 6859062"/>
              <a:gd name="connsiteX6706" fmla="*/ 3285692 w 12192185"/>
              <a:gd name="connsiteY6706" fmla="*/ 1279570 h 6859062"/>
              <a:gd name="connsiteX6707" fmla="*/ 3310185 w 12192185"/>
              <a:gd name="connsiteY6707" fmla="*/ 1254375 h 6859062"/>
              <a:gd name="connsiteX6708" fmla="*/ 3289337 w 12192185"/>
              <a:gd name="connsiteY6708" fmla="*/ 1299664 h 6859062"/>
              <a:gd name="connsiteX6709" fmla="*/ 3292629 w 12192185"/>
              <a:gd name="connsiteY6709" fmla="*/ 1294916 h 6859062"/>
              <a:gd name="connsiteX6710" fmla="*/ 3299209 w 12192185"/>
              <a:gd name="connsiteY6710" fmla="*/ 1285421 h 6859062"/>
              <a:gd name="connsiteX6711" fmla="*/ 3299938 w 12192185"/>
              <a:gd name="connsiteY6711" fmla="*/ 1289441 h 6859062"/>
              <a:gd name="connsiteX6712" fmla="*/ 3296649 w 12192185"/>
              <a:gd name="connsiteY6712" fmla="*/ 1294187 h 6859062"/>
              <a:gd name="connsiteX6713" fmla="*/ 3317120 w 12192185"/>
              <a:gd name="connsiteY6713" fmla="*/ 1269719 h 6859062"/>
              <a:gd name="connsiteX6714" fmla="*/ 3342575 w 12192185"/>
              <a:gd name="connsiteY6714" fmla="*/ 1230436 h 6859062"/>
              <a:gd name="connsiteX6715" fmla="*/ 3327111 w 12192185"/>
              <a:gd name="connsiteY6715" fmla="*/ 1231078 h 6859062"/>
              <a:gd name="connsiteX6716" fmla="*/ 3221765 w 12192185"/>
              <a:gd name="connsiteY6716" fmla="*/ 1244598 h 6859062"/>
              <a:gd name="connsiteX6717" fmla="*/ 3222941 w 12192185"/>
              <a:gd name="connsiteY6717" fmla="*/ 1240210 h 6859062"/>
              <a:gd name="connsiteX6718" fmla="*/ 3227330 w 12192185"/>
              <a:gd name="connsiteY6718" fmla="*/ 1241385 h 6859062"/>
              <a:gd name="connsiteX6719" fmla="*/ 3234069 w 12192185"/>
              <a:gd name="connsiteY6719" fmla="*/ 1233785 h 6859062"/>
              <a:gd name="connsiteX6720" fmla="*/ 3224118 w 12192185"/>
              <a:gd name="connsiteY6720" fmla="*/ 1235821 h 6859062"/>
              <a:gd name="connsiteX6721" fmla="*/ 3214165 w 12192185"/>
              <a:gd name="connsiteY6721" fmla="*/ 1237857 h 6859062"/>
              <a:gd name="connsiteX6722" fmla="*/ 3202175 w 12192185"/>
              <a:gd name="connsiteY6722" fmla="*/ 1229941 h 6859062"/>
              <a:gd name="connsiteX6723" fmla="*/ 4443437 w 12192185"/>
              <a:gd name="connsiteY6723" fmla="*/ 1218038 h 6859062"/>
              <a:gd name="connsiteX6724" fmla="*/ 4441569 w 12192185"/>
              <a:gd name="connsiteY6724" fmla="*/ 1219725 h 6859062"/>
              <a:gd name="connsiteX6725" fmla="*/ 4415248 w 12192185"/>
              <a:gd name="connsiteY6725" fmla="*/ 1239914 h 6859062"/>
              <a:gd name="connsiteX6726" fmla="*/ 4406480 w 12192185"/>
              <a:gd name="connsiteY6726" fmla="*/ 1243520 h 6859062"/>
              <a:gd name="connsiteX6727" fmla="*/ 4408280 w 12192185"/>
              <a:gd name="connsiteY6727" fmla="*/ 1247907 h 6859062"/>
              <a:gd name="connsiteX6728" fmla="*/ 4391772 w 12192185"/>
              <a:gd name="connsiteY6728" fmla="*/ 1257619 h 6859062"/>
              <a:gd name="connsiteX6729" fmla="*/ 4414019 w 12192185"/>
              <a:gd name="connsiteY6729" fmla="*/ 1264560 h 6859062"/>
              <a:gd name="connsiteX6730" fmla="*/ 4435464 w 12192185"/>
              <a:gd name="connsiteY6730" fmla="*/ 1246990 h 6859062"/>
              <a:gd name="connsiteX6731" fmla="*/ 4461838 w 12192185"/>
              <a:gd name="connsiteY6731" fmla="*/ 1224795 h 6859062"/>
              <a:gd name="connsiteX6732" fmla="*/ 6232478 w 12192185"/>
              <a:gd name="connsiteY6732" fmla="*/ 1216560 h 6859062"/>
              <a:gd name="connsiteX6733" fmla="*/ 6222229 w 12192185"/>
              <a:gd name="connsiteY6733" fmla="*/ 1218411 h 6859062"/>
              <a:gd name="connsiteX6734" fmla="*/ 6223479 w 12192185"/>
              <a:gd name="connsiteY6734" fmla="*/ 1218722 h 6859062"/>
              <a:gd name="connsiteX6735" fmla="*/ 6221201 w 12192185"/>
              <a:gd name="connsiteY6735" fmla="*/ 1219657 h 6859062"/>
              <a:gd name="connsiteX6736" fmla="*/ 6219429 w 12192185"/>
              <a:gd name="connsiteY6736" fmla="*/ 1218917 h 6859062"/>
              <a:gd name="connsiteX6737" fmla="*/ 6212139 w 12192185"/>
              <a:gd name="connsiteY6737" fmla="*/ 1220233 h 6859062"/>
              <a:gd name="connsiteX6738" fmla="*/ 6229831 w 12192185"/>
              <a:gd name="connsiteY6738" fmla="*/ 1220297 h 6859062"/>
              <a:gd name="connsiteX6739" fmla="*/ 6223479 w 12192185"/>
              <a:gd name="connsiteY6739" fmla="*/ 1218722 h 6859062"/>
              <a:gd name="connsiteX6740" fmla="*/ 6224780 w 12192185"/>
              <a:gd name="connsiteY6740" fmla="*/ 1218186 h 6859062"/>
              <a:gd name="connsiteX6741" fmla="*/ 6233410 w 12192185"/>
              <a:gd name="connsiteY6741" fmla="*/ 1218826 h 6859062"/>
              <a:gd name="connsiteX6742" fmla="*/ 7577843 w 12192185"/>
              <a:gd name="connsiteY6742" fmla="*/ 1211888 h 6859062"/>
              <a:gd name="connsiteX6743" fmla="*/ 7581590 w 12192185"/>
              <a:gd name="connsiteY6743" fmla="*/ 1215476 h 6859062"/>
              <a:gd name="connsiteX6744" fmla="*/ 7579646 w 12192185"/>
              <a:gd name="connsiteY6744" fmla="*/ 1216276 h 6859062"/>
              <a:gd name="connsiteX6745" fmla="*/ 7577843 w 12192185"/>
              <a:gd name="connsiteY6745" fmla="*/ 1211888 h 6859062"/>
              <a:gd name="connsiteX6746" fmla="*/ 3528825 w 12192185"/>
              <a:gd name="connsiteY6746" fmla="*/ 1204578 h 6859062"/>
              <a:gd name="connsiteX6747" fmla="*/ 3526475 w 12192185"/>
              <a:gd name="connsiteY6747" fmla="*/ 1213355 h 6859062"/>
              <a:gd name="connsiteX6748" fmla="*/ 3522087 w 12192185"/>
              <a:gd name="connsiteY6748" fmla="*/ 1212179 h 6859062"/>
              <a:gd name="connsiteX6749" fmla="*/ 3512132 w 12192185"/>
              <a:gd name="connsiteY6749" fmla="*/ 1214217 h 6859062"/>
              <a:gd name="connsiteX6750" fmla="*/ 3519733 w 12192185"/>
              <a:gd name="connsiteY6750" fmla="*/ 1220956 h 6859062"/>
              <a:gd name="connsiteX6751" fmla="*/ 3520911 w 12192185"/>
              <a:gd name="connsiteY6751" fmla="*/ 1216568 h 6859062"/>
              <a:gd name="connsiteX6752" fmla="*/ 3524122 w 12192185"/>
              <a:gd name="connsiteY6752" fmla="*/ 1222133 h 6859062"/>
              <a:gd name="connsiteX6753" fmla="*/ 3405006 w 12192185"/>
              <a:gd name="connsiteY6753" fmla="*/ 1227843 h 6859062"/>
              <a:gd name="connsiteX6754" fmla="*/ 3381961 w 12192185"/>
              <a:gd name="connsiteY6754" fmla="*/ 1228800 h 6859062"/>
              <a:gd name="connsiteX6755" fmla="*/ 3345615 w 12192185"/>
              <a:gd name="connsiteY6755" fmla="*/ 1283748 h 6859062"/>
              <a:gd name="connsiteX6756" fmla="*/ 3297377 w 12192185"/>
              <a:gd name="connsiteY6756" fmla="*/ 1353856 h 6859062"/>
              <a:gd name="connsiteX6757" fmla="*/ 3347270 w 12192185"/>
              <a:gd name="connsiteY6757" fmla="*/ 1351136 h 6859062"/>
              <a:gd name="connsiteX6758" fmla="*/ 3393163 w 12192185"/>
              <a:gd name="connsiteY6758" fmla="*/ 1342264 h 6859062"/>
              <a:gd name="connsiteX6759" fmla="*/ 3456091 w 12192185"/>
              <a:gd name="connsiteY6759" fmla="*/ 1335609 h 6859062"/>
              <a:gd name="connsiteX6760" fmla="*/ 3545350 w 12192185"/>
              <a:gd name="connsiteY6760" fmla="*/ 1336008 h 6859062"/>
              <a:gd name="connsiteX6761" fmla="*/ 3560866 w 12192185"/>
              <a:gd name="connsiteY6761" fmla="*/ 1330759 h 6859062"/>
              <a:gd name="connsiteX6762" fmla="*/ 3598325 w 12192185"/>
              <a:gd name="connsiteY6762" fmla="*/ 1331388 h 6859062"/>
              <a:gd name="connsiteX6763" fmla="*/ 3647776 w 12192185"/>
              <a:gd name="connsiteY6763" fmla="*/ 1339935 h 6859062"/>
              <a:gd name="connsiteX6764" fmla="*/ 3661256 w 12192185"/>
              <a:gd name="connsiteY6764" fmla="*/ 1324732 h 6859062"/>
              <a:gd name="connsiteX6765" fmla="*/ 3685550 w 12192185"/>
              <a:gd name="connsiteY6765" fmla="*/ 1321836 h 6859062"/>
              <a:gd name="connsiteX6766" fmla="*/ 3706844 w 12192185"/>
              <a:gd name="connsiteY6766" fmla="*/ 1323120 h 6859062"/>
              <a:gd name="connsiteX6767" fmla="*/ 3732033 w 12192185"/>
              <a:gd name="connsiteY6767" fmla="*/ 1288591 h 6859062"/>
              <a:gd name="connsiteX6768" fmla="*/ 3773637 w 12192185"/>
              <a:gd name="connsiteY6768" fmla="*/ 1240615 h 6859062"/>
              <a:gd name="connsiteX6769" fmla="*/ 3784607 w 12192185"/>
              <a:gd name="connsiteY6769" fmla="*/ 1229209 h 6859062"/>
              <a:gd name="connsiteX6770" fmla="*/ 3748885 w 12192185"/>
              <a:gd name="connsiteY6770" fmla="*/ 1225912 h 6859062"/>
              <a:gd name="connsiteX6771" fmla="*/ 3652016 w 12192185"/>
              <a:gd name="connsiteY6771" fmla="*/ 1218774 h 6859062"/>
              <a:gd name="connsiteX6772" fmla="*/ 3620122 w 12192185"/>
              <a:gd name="connsiteY6772" fmla="*/ 1214932 h 6859062"/>
              <a:gd name="connsiteX6773" fmla="*/ 3553981 w 12192185"/>
              <a:gd name="connsiteY6773" fmla="*/ 1216022 h 6859062"/>
              <a:gd name="connsiteX6774" fmla="*/ 3555155 w 12192185"/>
              <a:gd name="connsiteY6774" fmla="*/ 1211634 h 6859062"/>
              <a:gd name="connsiteX6775" fmla="*/ 3550768 w 12192185"/>
              <a:gd name="connsiteY6775" fmla="*/ 1210457 h 6859062"/>
              <a:gd name="connsiteX6776" fmla="*/ 3541990 w 12192185"/>
              <a:gd name="connsiteY6776" fmla="*/ 1208105 h 6859062"/>
              <a:gd name="connsiteX6777" fmla="*/ 3536427 w 12192185"/>
              <a:gd name="connsiteY6777" fmla="*/ 1211319 h 6859062"/>
              <a:gd name="connsiteX6778" fmla="*/ 3528825 w 12192185"/>
              <a:gd name="connsiteY6778" fmla="*/ 1204578 h 6859062"/>
              <a:gd name="connsiteX6779" fmla="*/ 6241298 w 12192185"/>
              <a:gd name="connsiteY6779" fmla="*/ 1203868 h 6859062"/>
              <a:gd name="connsiteX6780" fmla="*/ 6249337 w 12192185"/>
              <a:gd name="connsiteY6780" fmla="*/ 1211409 h 6859062"/>
              <a:gd name="connsiteX6781" fmla="*/ 6263513 w 12192185"/>
              <a:gd name="connsiteY6781" fmla="*/ 1210642 h 6859062"/>
              <a:gd name="connsiteX6782" fmla="*/ 6259934 w 12192185"/>
              <a:gd name="connsiteY6782" fmla="*/ 1212113 h 6859062"/>
              <a:gd name="connsiteX6783" fmla="*/ 6268564 w 12192185"/>
              <a:gd name="connsiteY6783" fmla="*/ 1212752 h 6859062"/>
              <a:gd name="connsiteX6784" fmla="*/ 6273613 w 12192185"/>
              <a:gd name="connsiteY6784" fmla="*/ 1214863 h 6859062"/>
              <a:gd name="connsiteX6785" fmla="*/ 6333625 w 12192185"/>
              <a:gd name="connsiteY6785" fmla="*/ 1224740 h 6859062"/>
              <a:gd name="connsiteX6786" fmla="*/ 6377442 w 12192185"/>
              <a:gd name="connsiteY6786" fmla="*/ 1243384 h 6859062"/>
              <a:gd name="connsiteX6787" fmla="*/ 6377372 w 12192185"/>
              <a:gd name="connsiteY6787" fmla="*/ 1243395 h 6859062"/>
              <a:gd name="connsiteX6788" fmla="*/ 6375267 w 12192185"/>
              <a:gd name="connsiteY6788" fmla="*/ 1248446 h 6859062"/>
              <a:gd name="connsiteX6789" fmla="*/ 6378845 w 12192185"/>
              <a:gd name="connsiteY6789" fmla="*/ 1246976 h 6859062"/>
              <a:gd name="connsiteX6790" fmla="*/ 6382424 w 12192185"/>
              <a:gd name="connsiteY6790" fmla="*/ 1245505 h 6859062"/>
              <a:gd name="connsiteX6791" fmla="*/ 6387475 w 12192185"/>
              <a:gd name="connsiteY6791" fmla="*/ 1247616 h 6859062"/>
              <a:gd name="connsiteX6792" fmla="*/ 6412728 w 12192185"/>
              <a:gd name="connsiteY6792" fmla="*/ 1258171 h 6859062"/>
              <a:gd name="connsiteX6793" fmla="*/ 6406206 w 12192185"/>
              <a:gd name="connsiteY6793" fmla="*/ 1252479 h 6859062"/>
              <a:gd name="connsiteX6794" fmla="*/ 6409784 w 12192185"/>
              <a:gd name="connsiteY6794" fmla="*/ 1251007 h 6859062"/>
              <a:gd name="connsiteX6795" fmla="*/ 6413364 w 12192185"/>
              <a:gd name="connsiteY6795" fmla="*/ 1249537 h 6859062"/>
              <a:gd name="connsiteX6796" fmla="*/ 6408312 w 12192185"/>
              <a:gd name="connsiteY6796" fmla="*/ 1247426 h 6859062"/>
              <a:gd name="connsiteX6797" fmla="*/ 6439253 w 12192185"/>
              <a:gd name="connsiteY6797" fmla="*/ 1251457 h 6859062"/>
              <a:gd name="connsiteX6798" fmla="*/ 6435674 w 12192185"/>
              <a:gd name="connsiteY6798" fmla="*/ 1252929 h 6859062"/>
              <a:gd name="connsiteX6799" fmla="*/ 6430623 w 12192185"/>
              <a:gd name="connsiteY6799" fmla="*/ 1250816 h 6859062"/>
              <a:gd name="connsiteX6800" fmla="*/ 6427045 w 12192185"/>
              <a:gd name="connsiteY6800" fmla="*/ 1252288 h 6859062"/>
              <a:gd name="connsiteX6801" fmla="*/ 6437146 w 12192185"/>
              <a:gd name="connsiteY6801" fmla="*/ 1256509 h 6859062"/>
              <a:gd name="connsiteX6802" fmla="*/ 6442196 w 12192185"/>
              <a:gd name="connsiteY6802" fmla="*/ 1258621 h 6859062"/>
              <a:gd name="connsiteX6803" fmla="*/ 6480495 w 12192185"/>
              <a:gd name="connsiteY6803" fmla="*/ 1280560 h 6859062"/>
              <a:gd name="connsiteX6804" fmla="*/ 6509567 w 12192185"/>
              <a:gd name="connsiteY6804" fmla="*/ 1286407 h 6859062"/>
              <a:gd name="connsiteX6805" fmla="*/ 6519680 w 12192185"/>
              <a:gd name="connsiteY6805" fmla="*/ 1287066 h 6859062"/>
              <a:gd name="connsiteX6806" fmla="*/ 6537936 w 12192185"/>
              <a:gd name="connsiteY6806" fmla="*/ 1280075 h 6859062"/>
              <a:gd name="connsiteX6807" fmla="*/ 6568644 w 12192185"/>
              <a:gd name="connsiteY6807" fmla="*/ 1285367 h 6859062"/>
              <a:gd name="connsiteX6808" fmla="*/ 6596597 w 12192185"/>
              <a:gd name="connsiteY6808" fmla="*/ 1297148 h 6859062"/>
              <a:gd name="connsiteX6809" fmla="*/ 6598170 w 12192185"/>
              <a:gd name="connsiteY6809" fmla="*/ 1297686 h 6859062"/>
              <a:gd name="connsiteX6810" fmla="*/ 6608881 w 12192185"/>
              <a:gd name="connsiteY6810" fmla="*/ 1284665 h 6859062"/>
              <a:gd name="connsiteX6811" fmla="*/ 6527020 w 12192185"/>
              <a:gd name="connsiteY6811" fmla="*/ 1261440 h 6859062"/>
              <a:gd name="connsiteX6812" fmla="*/ 6436943 w 12192185"/>
              <a:gd name="connsiteY6812" fmla="*/ 1235659 h 6859062"/>
              <a:gd name="connsiteX6813" fmla="*/ 6347703 w 12192185"/>
              <a:gd name="connsiteY6813" fmla="*/ 1222095 h 6859062"/>
              <a:gd name="connsiteX6814" fmla="*/ 6275721 w 12192185"/>
              <a:gd name="connsiteY6814" fmla="*/ 1209810 h 6859062"/>
              <a:gd name="connsiteX6815" fmla="*/ 6270670 w 12192185"/>
              <a:gd name="connsiteY6815" fmla="*/ 1207702 h 6859062"/>
              <a:gd name="connsiteX6816" fmla="*/ 6262039 w 12192185"/>
              <a:gd name="connsiteY6816" fmla="*/ 1207060 h 6859062"/>
              <a:gd name="connsiteX6817" fmla="*/ 1479789 w 12192185"/>
              <a:gd name="connsiteY6817" fmla="*/ 1201104 h 6859062"/>
              <a:gd name="connsiteX6818" fmla="*/ 1479720 w 12192185"/>
              <a:gd name="connsiteY6818" fmla="*/ 1201462 h 6859062"/>
              <a:gd name="connsiteX6819" fmla="*/ 1479440 w 12192185"/>
              <a:gd name="connsiteY6819" fmla="*/ 1201333 h 6859062"/>
              <a:gd name="connsiteX6820" fmla="*/ 6127443 w 12192185"/>
              <a:gd name="connsiteY6820" fmla="*/ 1190892 h 6859062"/>
              <a:gd name="connsiteX6821" fmla="*/ 6199100 w 12192185"/>
              <a:gd name="connsiteY6821" fmla="*/ 1197375 h 6859062"/>
              <a:gd name="connsiteX6822" fmla="*/ 6172169 w 12192185"/>
              <a:gd name="connsiteY6822" fmla="*/ 1193231 h 6859062"/>
              <a:gd name="connsiteX6823" fmla="*/ 6005273 w 12192185"/>
              <a:gd name="connsiteY6823" fmla="*/ 1182802 h 6859062"/>
              <a:gd name="connsiteX6824" fmla="*/ 6005212 w 12192185"/>
              <a:gd name="connsiteY6824" fmla="*/ 1182828 h 6859062"/>
              <a:gd name="connsiteX6825" fmla="*/ 6005285 w 12192185"/>
              <a:gd name="connsiteY6825" fmla="*/ 1182827 h 6859062"/>
              <a:gd name="connsiteX6826" fmla="*/ 5953261 w 12192185"/>
              <a:gd name="connsiteY6826" fmla="*/ 1182201 h 6859062"/>
              <a:gd name="connsiteX6827" fmla="*/ 5939219 w 12192185"/>
              <a:gd name="connsiteY6827" fmla="*/ 1182867 h 6859062"/>
              <a:gd name="connsiteX6828" fmla="*/ 5937563 w 12192185"/>
              <a:gd name="connsiteY6828" fmla="*/ 1184001 h 6859062"/>
              <a:gd name="connsiteX6829" fmla="*/ 5964268 w 12192185"/>
              <a:gd name="connsiteY6829" fmla="*/ 1183537 h 6859062"/>
              <a:gd name="connsiteX6830" fmla="*/ 5845732 w 12192185"/>
              <a:gd name="connsiteY6830" fmla="*/ 1181386 h 6859062"/>
              <a:gd name="connsiteX6831" fmla="*/ 5763221 w 12192185"/>
              <a:gd name="connsiteY6831" fmla="*/ 1194364 h 6859062"/>
              <a:gd name="connsiteX6832" fmla="*/ 5766793 w 12192185"/>
              <a:gd name="connsiteY6832" fmla="*/ 1194487 h 6859062"/>
              <a:gd name="connsiteX6833" fmla="*/ 5843528 w 12192185"/>
              <a:gd name="connsiteY6833" fmla="*/ 1185629 h 6859062"/>
              <a:gd name="connsiteX6834" fmla="*/ 5894340 w 12192185"/>
              <a:gd name="connsiteY6834" fmla="*/ 1184750 h 6859062"/>
              <a:gd name="connsiteX6835" fmla="*/ 5888593 w 12192185"/>
              <a:gd name="connsiteY6835" fmla="*/ 1182613 h 6859062"/>
              <a:gd name="connsiteX6836" fmla="*/ 5845732 w 12192185"/>
              <a:gd name="connsiteY6836" fmla="*/ 1181386 h 6859062"/>
              <a:gd name="connsiteX6837" fmla="*/ 4851551 w 12192185"/>
              <a:gd name="connsiteY6837" fmla="*/ 1178554 h 6859062"/>
              <a:gd name="connsiteX6838" fmla="*/ 4844587 w 12192185"/>
              <a:gd name="connsiteY6838" fmla="*/ 1186547 h 6859062"/>
              <a:gd name="connsiteX6839" fmla="*/ 4827038 w 12192185"/>
              <a:gd name="connsiteY6839" fmla="*/ 1193758 h 6859062"/>
              <a:gd name="connsiteX6840" fmla="*/ 4838391 w 12192185"/>
              <a:gd name="connsiteY6840" fmla="*/ 1183963 h 6859062"/>
              <a:gd name="connsiteX6841" fmla="*/ 4842782 w 12192185"/>
              <a:gd name="connsiteY6841" fmla="*/ 1182160 h 6859062"/>
              <a:gd name="connsiteX6842" fmla="*/ 4847160 w 12192185"/>
              <a:gd name="connsiteY6842" fmla="*/ 1180357 h 6859062"/>
              <a:gd name="connsiteX6843" fmla="*/ 4316974 w 12192185"/>
              <a:gd name="connsiteY6843" fmla="*/ 1178325 h 6859062"/>
              <a:gd name="connsiteX6844" fmla="*/ 4278530 w 12192185"/>
              <a:gd name="connsiteY6844" fmla="*/ 1208283 h 6859062"/>
              <a:gd name="connsiteX6845" fmla="*/ 4266951 w 12192185"/>
              <a:gd name="connsiteY6845" fmla="*/ 1219130 h 6859062"/>
              <a:gd name="connsiteX6846" fmla="*/ 4272447 w 12192185"/>
              <a:gd name="connsiteY6846" fmla="*/ 1220396 h 6859062"/>
              <a:gd name="connsiteX6847" fmla="*/ 4283732 w 12192185"/>
              <a:gd name="connsiteY6847" fmla="*/ 1223914 h 6859062"/>
              <a:gd name="connsiteX6848" fmla="*/ 4332724 w 12192185"/>
              <a:gd name="connsiteY6848" fmla="*/ 1182960 h 6859062"/>
              <a:gd name="connsiteX6849" fmla="*/ 7192583 w 12192185"/>
              <a:gd name="connsiteY6849" fmla="*/ 1177898 h 6859062"/>
              <a:gd name="connsiteX6850" fmla="*/ 7190537 w 12192185"/>
              <a:gd name="connsiteY6850" fmla="*/ 1180492 h 6859062"/>
              <a:gd name="connsiteX6851" fmla="*/ 7185357 w 12192185"/>
              <a:gd name="connsiteY6851" fmla="*/ 1182435 h 6859062"/>
              <a:gd name="connsiteX6852" fmla="*/ 7163990 w 12192185"/>
              <a:gd name="connsiteY6852" fmla="*/ 1188690 h 6859062"/>
              <a:gd name="connsiteX6853" fmla="*/ 7163990 w 12192185"/>
              <a:gd name="connsiteY6853" fmla="*/ 1191657 h 6859062"/>
              <a:gd name="connsiteX6854" fmla="*/ 7164566 w 12192185"/>
              <a:gd name="connsiteY6854" fmla="*/ 1192000 h 6859062"/>
              <a:gd name="connsiteX6855" fmla="*/ 7163989 w 12192185"/>
              <a:gd name="connsiteY6855" fmla="*/ 1192236 h 6859062"/>
              <a:gd name="connsiteX6856" fmla="*/ 7163990 w 12192185"/>
              <a:gd name="connsiteY6856" fmla="*/ 1193435 h 6859062"/>
              <a:gd name="connsiteX6857" fmla="*/ 7169601 w 12192185"/>
              <a:gd name="connsiteY6857" fmla="*/ 1194083 h 6859062"/>
              <a:gd name="connsiteX6858" fmla="*/ 7171149 w 12192185"/>
              <a:gd name="connsiteY6858" fmla="*/ 1193050 h 6859062"/>
              <a:gd name="connsiteX6859" fmla="*/ 7168952 w 12192185"/>
              <a:gd name="connsiteY6859" fmla="*/ 1190197 h 6859062"/>
              <a:gd name="connsiteX6860" fmla="*/ 7172937 w 12192185"/>
              <a:gd name="connsiteY6860" fmla="*/ 1191860 h 6859062"/>
              <a:gd name="connsiteX6861" fmla="*/ 7173486 w 12192185"/>
              <a:gd name="connsiteY6861" fmla="*/ 1191494 h 6859062"/>
              <a:gd name="connsiteX6862" fmla="*/ 7177155 w 12192185"/>
              <a:gd name="connsiteY6862" fmla="*/ 1191063 h 6859062"/>
              <a:gd name="connsiteX6863" fmla="*/ 7176762 w 12192185"/>
              <a:gd name="connsiteY6863" fmla="*/ 1193420 h 6859062"/>
              <a:gd name="connsiteX6864" fmla="*/ 7195808 w 12192185"/>
              <a:gd name="connsiteY6864" fmla="*/ 1200955 h 6859062"/>
              <a:gd name="connsiteX6865" fmla="*/ 7210479 w 12192185"/>
              <a:gd name="connsiteY6865" fmla="*/ 1203899 h 6859062"/>
              <a:gd name="connsiteX6866" fmla="*/ 7198881 w 12192185"/>
              <a:gd name="connsiteY6866" fmla="*/ 1188154 h 6859062"/>
              <a:gd name="connsiteX6867" fmla="*/ 7219254 w 12192185"/>
              <a:gd name="connsiteY6867" fmla="*/ 1200291 h 6859062"/>
              <a:gd name="connsiteX6868" fmla="*/ 7237823 w 12192185"/>
              <a:gd name="connsiteY6868" fmla="*/ 1208044 h 6859062"/>
              <a:gd name="connsiteX6869" fmla="*/ 7245814 w 12192185"/>
              <a:gd name="connsiteY6869" fmla="*/ 1215016 h 6859062"/>
              <a:gd name="connsiteX6870" fmla="*/ 7237041 w 12192185"/>
              <a:gd name="connsiteY6870" fmla="*/ 1218620 h 6859062"/>
              <a:gd name="connsiteX6871" fmla="*/ 7261800 w 12192185"/>
              <a:gd name="connsiteY6871" fmla="*/ 1228957 h 6859062"/>
              <a:gd name="connsiteX6872" fmla="*/ 7259216 w 12192185"/>
              <a:gd name="connsiteY6872" fmla="*/ 1235146 h 6859062"/>
              <a:gd name="connsiteX6873" fmla="*/ 7253026 w 12192185"/>
              <a:gd name="connsiteY6873" fmla="*/ 1232562 h 6859062"/>
              <a:gd name="connsiteX6874" fmla="*/ 7248639 w 12192185"/>
              <a:gd name="connsiteY6874" fmla="*/ 1234366 h 6859062"/>
              <a:gd name="connsiteX6875" fmla="*/ 7250443 w 12192185"/>
              <a:gd name="connsiteY6875" fmla="*/ 1238753 h 6859062"/>
              <a:gd name="connsiteX6876" fmla="*/ 7256632 w 12192185"/>
              <a:gd name="connsiteY6876" fmla="*/ 1241336 h 6859062"/>
              <a:gd name="connsiteX6877" fmla="*/ 7261019 w 12192185"/>
              <a:gd name="connsiteY6877" fmla="*/ 1239533 h 6859062"/>
              <a:gd name="connsiteX6878" fmla="*/ 7267210 w 12192185"/>
              <a:gd name="connsiteY6878" fmla="*/ 1242117 h 6859062"/>
              <a:gd name="connsiteX6879" fmla="*/ 7273400 w 12192185"/>
              <a:gd name="connsiteY6879" fmla="*/ 1244701 h 6859062"/>
              <a:gd name="connsiteX6880" fmla="*/ 7275204 w 12192185"/>
              <a:gd name="connsiteY6880" fmla="*/ 1249088 h 6859062"/>
              <a:gd name="connsiteX6881" fmla="*/ 7279589 w 12192185"/>
              <a:gd name="connsiteY6881" fmla="*/ 1247286 h 6859062"/>
              <a:gd name="connsiteX6882" fmla="*/ 7281392 w 12192185"/>
              <a:gd name="connsiteY6882" fmla="*/ 1251672 h 6859062"/>
              <a:gd name="connsiteX6883" fmla="*/ 7277006 w 12192185"/>
              <a:gd name="connsiteY6883" fmla="*/ 1253475 h 6859062"/>
              <a:gd name="connsiteX6884" fmla="*/ 7266428 w 12192185"/>
              <a:gd name="connsiteY6884" fmla="*/ 1252694 h 6859062"/>
              <a:gd name="connsiteX6885" fmla="*/ 7254048 w 12192185"/>
              <a:gd name="connsiteY6885" fmla="*/ 1247525 h 6859062"/>
              <a:gd name="connsiteX6886" fmla="*/ 7255851 w 12192185"/>
              <a:gd name="connsiteY6886" fmla="*/ 1251914 h 6859062"/>
              <a:gd name="connsiteX6887" fmla="*/ 7262041 w 12192185"/>
              <a:gd name="connsiteY6887" fmla="*/ 1254497 h 6859062"/>
              <a:gd name="connsiteX6888" fmla="*/ 7280612 w 12192185"/>
              <a:gd name="connsiteY6888" fmla="*/ 1262249 h 6859062"/>
              <a:gd name="connsiteX6889" fmla="*/ 7284998 w 12192185"/>
              <a:gd name="connsiteY6889" fmla="*/ 1260446 h 6859062"/>
              <a:gd name="connsiteX6890" fmla="*/ 7301765 w 12192185"/>
              <a:gd name="connsiteY6890" fmla="*/ 1263812 h 6859062"/>
              <a:gd name="connsiteX6891" fmla="*/ 7369072 w 12192185"/>
              <a:gd name="connsiteY6891" fmla="*/ 1302813 h 6859062"/>
              <a:gd name="connsiteX6892" fmla="*/ 7370875 w 12192185"/>
              <a:gd name="connsiteY6892" fmla="*/ 1307200 h 6859062"/>
              <a:gd name="connsiteX6893" fmla="*/ 7377066 w 12192185"/>
              <a:gd name="connsiteY6893" fmla="*/ 1309784 h 6859062"/>
              <a:gd name="connsiteX6894" fmla="*/ 7391246 w 12192185"/>
              <a:gd name="connsiteY6894" fmla="*/ 1319340 h 6859062"/>
              <a:gd name="connsiteX6895" fmla="*/ 7397438 w 12192185"/>
              <a:gd name="connsiteY6895" fmla="*/ 1321924 h 6859062"/>
              <a:gd name="connsiteX6896" fmla="*/ 7411620 w 12192185"/>
              <a:gd name="connsiteY6896" fmla="*/ 1331479 h 6859062"/>
              <a:gd name="connsiteX6897" fmla="*/ 7425803 w 12192185"/>
              <a:gd name="connsiteY6897" fmla="*/ 1341033 h 6859062"/>
              <a:gd name="connsiteX6898" fmla="*/ 7463963 w 12192185"/>
              <a:gd name="connsiteY6898" fmla="*/ 1371502 h 6859062"/>
              <a:gd name="connsiteX6899" fmla="*/ 7521475 w 12192185"/>
              <a:gd name="connsiteY6899" fmla="*/ 1399146 h 6859062"/>
              <a:gd name="connsiteX6900" fmla="*/ 7535658 w 12192185"/>
              <a:gd name="connsiteY6900" fmla="*/ 1408701 h 6859062"/>
              <a:gd name="connsiteX6901" fmla="*/ 7532923 w 12192185"/>
              <a:gd name="connsiteY6901" fmla="*/ 1398929 h 6859062"/>
              <a:gd name="connsiteX6902" fmla="*/ 7533929 w 12192185"/>
              <a:gd name="connsiteY6902" fmla="*/ 1398921 h 6859062"/>
              <a:gd name="connsiteX6903" fmla="*/ 7507772 w 12192185"/>
              <a:gd name="connsiteY6903" fmla="*/ 1379553 h 6859062"/>
              <a:gd name="connsiteX6904" fmla="*/ 7488977 w 12192185"/>
              <a:gd name="connsiteY6904" fmla="*/ 1364076 h 6859062"/>
              <a:gd name="connsiteX6905" fmla="*/ 7481128 w 12192185"/>
              <a:gd name="connsiteY6905" fmla="*/ 1358680 h 6859062"/>
              <a:gd name="connsiteX6906" fmla="*/ 7453147 w 12192185"/>
              <a:gd name="connsiteY6906" fmla="*/ 1345180 h 6859062"/>
              <a:gd name="connsiteX6907" fmla="*/ 7432773 w 12192185"/>
              <a:gd name="connsiteY6907" fmla="*/ 1333041 h 6859062"/>
              <a:gd name="connsiteX6908" fmla="*/ 7437161 w 12192185"/>
              <a:gd name="connsiteY6908" fmla="*/ 1331238 h 6859062"/>
              <a:gd name="connsiteX6909" fmla="*/ 7438964 w 12192185"/>
              <a:gd name="connsiteY6909" fmla="*/ 1335625 h 6859062"/>
              <a:gd name="connsiteX6910" fmla="*/ 7443350 w 12192185"/>
              <a:gd name="connsiteY6910" fmla="*/ 1333822 h 6859062"/>
              <a:gd name="connsiteX6911" fmla="*/ 7441548 w 12192185"/>
              <a:gd name="connsiteY6911" fmla="*/ 1329435 h 6859062"/>
              <a:gd name="connsiteX6912" fmla="*/ 7435357 w 12192185"/>
              <a:gd name="connsiteY6912" fmla="*/ 1326850 h 6859062"/>
              <a:gd name="connsiteX6913" fmla="*/ 7422197 w 12192185"/>
              <a:gd name="connsiteY6913" fmla="*/ 1332260 h 6859062"/>
              <a:gd name="connsiteX6914" fmla="*/ 7408014 w 12192185"/>
              <a:gd name="connsiteY6914" fmla="*/ 1322705 h 6859062"/>
              <a:gd name="connsiteX6915" fmla="*/ 7404409 w 12192185"/>
              <a:gd name="connsiteY6915" fmla="*/ 1313931 h 6859062"/>
              <a:gd name="connsiteX6916" fmla="*/ 7408795 w 12192185"/>
              <a:gd name="connsiteY6916" fmla="*/ 1312127 h 6859062"/>
              <a:gd name="connsiteX6917" fmla="*/ 7402604 w 12192185"/>
              <a:gd name="connsiteY6917" fmla="*/ 1309544 h 6859062"/>
              <a:gd name="connsiteX6918" fmla="*/ 7398219 w 12192185"/>
              <a:gd name="connsiteY6918" fmla="*/ 1311347 h 6859062"/>
              <a:gd name="connsiteX6919" fmla="*/ 7387641 w 12192185"/>
              <a:gd name="connsiteY6919" fmla="*/ 1310566 h 6859062"/>
              <a:gd name="connsiteX6920" fmla="*/ 7379649 w 12192185"/>
              <a:gd name="connsiteY6920" fmla="*/ 1303595 h 6859062"/>
              <a:gd name="connsiteX6921" fmla="*/ 7377847 w 12192185"/>
              <a:gd name="connsiteY6921" fmla="*/ 1299208 h 6859062"/>
              <a:gd name="connsiteX6922" fmla="*/ 7373458 w 12192185"/>
              <a:gd name="connsiteY6922" fmla="*/ 1301011 h 6859062"/>
              <a:gd name="connsiteX6923" fmla="*/ 7367269 w 12192185"/>
              <a:gd name="connsiteY6923" fmla="*/ 1298427 h 6859062"/>
              <a:gd name="connsiteX6924" fmla="*/ 7304349 w 12192185"/>
              <a:gd name="connsiteY6924" fmla="*/ 1257622 h 6859062"/>
              <a:gd name="connsiteX6925" fmla="*/ 7298158 w 12192185"/>
              <a:gd name="connsiteY6925" fmla="*/ 1255037 h 6859062"/>
              <a:gd name="connsiteX6926" fmla="*/ 7293772 w 12192185"/>
              <a:gd name="connsiteY6926" fmla="*/ 1256840 h 6859062"/>
              <a:gd name="connsiteX6927" fmla="*/ 7291969 w 12192185"/>
              <a:gd name="connsiteY6927" fmla="*/ 1252453 h 6859062"/>
              <a:gd name="connsiteX6928" fmla="*/ 7296356 w 12192185"/>
              <a:gd name="connsiteY6928" fmla="*/ 1250650 h 6859062"/>
              <a:gd name="connsiteX6929" fmla="*/ 7278568 w 12192185"/>
              <a:gd name="connsiteY6929" fmla="*/ 1232322 h 6859062"/>
              <a:gd name="connsiteX6930" fmla="*/ 7274181 w 12192185"/>
              <a:gd name="connsiteY6930" fmla="*/ 1234124 h 6859062"/>
              <a:gd name="connsiteX6931" fmla="*/ 7289144 w 12192185"/>
              <a:gd name="connsiteY6931" fmla="*/ 1233103 h 6859062"/>
              <a:gd name="connsiteX6932" fmla="*/ 7248398 w 12192185"/>
              <a:gd name="connsiteY6932" fmla="*/ 1208825 h 6859062"/>
              <a:gd name="connsiteX6933" fmla="*/ 7221837 w 12192185"/>
              <a:gd name="connsiteY6933" fmla="*/ 1194103 h 6859062"/>
              <a:gd name="connsiteX6934" fmla="*/ 7195274 w 12192185"/>
              <a:gd name="connsiteY6934" fmla="*/ 1179378 h 6859062"/>
              <a:gd name="connsiteX6935" fmla="*/ 9486745 w 12192185"/>
              <a:gd name="connsiteY6935" fmla="*/ 1176999 h 6859062"/>
              <a:gd name="connsiteX6936" fmla="*/ 9454702 w 12192185"/>
              <a:gd name="connsiteY6936" fmla="*/ 1183057 h 6859062"/>
              <a:gd name="connsiteX6937" fmla="*/ 8403626 w 12192185"/>
              <a:gd name="connsiteY6937" fmla="*/ 1419708 h 6859062"/>
              <a:gd name="connsiteX6938" fmla="*/ 8317356 w 12192185"/>
              <a:gd name="connsiteY6938" fmla="*/ 1463619 h 6859062"/>
              <a:gd name="connsiteX6939" fmla="*/ 8338713 w 12192185"/>
              <a:gd name="connsiteY6939" fmla="*/ 1491949 h 6859062"/>
              <a:gd name="connsiteX6940" fmla="*/ 8376282 w 12192185"/>
              <a:gd name="connsiteY6940" fmla="*/ 1470609 h 6859062"/>
              <a:gd name="connsiteX6941" fmla="*/ 8920026 w 12192185"/>
              <a:gd name="connsiteY6941" fmla="*/ 1267287 h 6859062"/>
              <a:gd name="connsiteX6942" fmla="*/ 8912060 w 12192185"/>
              <a:gd name="connsiteY6942" fmla="*/ 1276955 h 6859062"/>
              <a:gd name="connsiteX6943" fmla="*/ 8984112 w 12192185"/>
              <a:gd name="connsiteY6943" fmla="*/ 1255169 h 6859062"/>
              <a:gd name="connsiteX6944" fmla="*/ 8980889 w 12192185"/>
              <a:gd name="connsiteY6944" fmla="*/ 1252515 h 6859062"/>
              <a:gd name="connsiteX6945" fmla="*/ 9071140 w 12192185"/>
              <a:gd name="connsiteY6945" fmla="*/ 1234907 h 6859062"/>
              <a:gd name="connsiteX6946" fmla="*/ 9126695 w 12192185"/>
              <a:gd name="connsiteY6946" fmla="*/ 1226580 h 6859062"/>
              <a:gd name="connsiteX6947" fmla="*/ 9132572 w 12192185"/>
              <a:gd name="connsiteY6947" fmla="*/ 1226011 h 6859062"/>
              <a:gd name="connsiteX6948" fmla="*/ 9135226 w 12192185"/>
              <a:gd name="connsiteY6948" fmla="*/ 1222789 h 6859062"/>
              <a:gd name="connsiteX6949" fmla="*/ 9144326 w 12192185"/>
              <a:gd name="connsiteY6949" fmla="*/ 1224877 h 6859062"/>
              <a:gd name="connsiteX6950" fmla="*/ 9170492 w 12192185"/>
              <a:gd name="connsiteY6950" fmla="*/ 1219386 h 6859062"/>
              <a:gd name="connsiteX6951" fmla="*/ 9249556 w 12192185"/>
              <a:gd name="connsiteY6951" fmla="*/ 1208790 h 6859062"/>
              <a:gd name="connsiteX6952" fmla="*/ 9284820 w 12192185"/>
              <a:gd name="connsiteY6952" fmla="*/ 1205386 h 6859062"/>
              <a:gd name="connsiteX6953" fmla="*/ 9358574 w 12192185"/>
              <a:gd name="connsiteY6953" fmla="*/ 1201235 h 6859062"/>
              <a:gd name="connsiteX6954" fmla="*/ 9355918 w 12192185"/>
              <a:gd name="connsiteY6954" fmla="*/ 1204456 h 6859062"/>
              <a:gd name="connsiteX6955" fmla="*/ 9370328 w 12192185"/>
              <a:gd name="connsiteY6955" fmla="*/ 1200099 h 6859062"/>
              <a:gd name="connsiteX6956" fmla="*/ 9684296 w 12192185"/>
              <a:gd name="connsiteY6956" fmla="*/ 1203166 h 6859062"/>
              <a:gd name="connsiteX6957" fmla="*/ 9708626 w 12192185"/>
              <a:gd name="connsiteY6957" fmla="*/ 1205738 h 6859062"/>
              <a:gd name="connsiteX6958" fmla="*/ 9805007 w 12192185"/>
              <a:gd name="connsiteY6958" fmla="*/ 1209310 h 6859062"/>
              <a:gd name="connsiteX6959" fmla="*/ 9792173 w 12192185"/>
              <a:gd name="connsiteY6959" fmla="*/ 1206845 h 6859062"/>
              <a:gd name="connsiteX6960" fmla="*/ 9821252 w 12192185"/>
              <a:gd name="connsiteY6960" fmla="*/ 1209912 h 6859062"/>
              <a:gd name="connsiteX6961" fmla="*/ 9831506 w 12192185"/>
              <a:gd name="connsiteY6961" fmla="*/ 1210292 h 6859062"/>
              <a:gd name="connsiteX6962" fmla="*/ 9851515 w 12192185"/>
              <a:gd name="connsiteY6962" fmla="*/ 1207049 h 6859062"/>
              <a:gd name="connsiteX6963" fmla="*/ 9781938 w 12192185"/>
              <a:gd name="connsiteY6963" fmla="*/ 1193001 h 6859062"/>
              <a:gd name="connsiteX6964" fmla="*/ 9729041 w 12192185"/>
              <a:gd name="connsiteY6964" fmla="*/ 1198108 h 6859062"/>
              <a:gd name="connsiteX6965" fmla="*/ 9786295 w 12192185"/>
              <a:gd name="connsiteY6965" fmla="*/ 1207411 h 6859062"/>
              <a:gd name="connsiteX6966" fmla="*/ 9633299 w 12192185"/>
              <a:gd name="connsiteY6966" fmla="*/ 1189551 h 6859062"/>
              <a:gd name="connsiteX6967" fmla="*/ 9546655 w 12192185"/>
              <a:gd name="connsiteY6967" fmla="*/ 1183082 h 6859062"/>
              <a:gd name="connsiteX6968" fmla="*/ 9486745 w 12192185"/>
              <a:gd name="connsiteY6968" fmla="*/ 1176999 h 6859062"/>
              <a:gd name="connsiteX6969" fmla="*/ 2034745 w 12192185"/>
              <a:gd name="connsiteY6969" fmla="*/ 1176954 h 6859062"/>
              <a:gd name="connsiteX6970" fmla="*/ 1867633 w 12192185"/>
              <a:gd name="connsiteY6970" fmla="*/ 1270320 h 6859062"/>
              <a:gd name="connsiteX6971" fmla="*/ 1851126 w 12192185"/>
              <a:gd name="connsiteY6971" fmla="*/ 1288920 h 6859062"/>
              <a:gd name="connsiteX6972" fmla="*/ 1803078 w 12192185"/>
              <a:gd name="connsiteY6972" fmla="*/ 1310582 h 6859062"/>
              <a:gd name="connsiteX6973" fmla="*/ 1771986 w 12192185"/>
              <a:gd name="connsiteY6973" fmla="*/ 1340624 h 6859062"/>
              <a:gd name="connsiteX6974" fmla="*/ 1720354 w 12192185"/>
              <a:gd name="connsiteY6974" fmla="*/ 1361325 h 6859062"/>
              <a:gd name="connsiteX6975" fmla="*/ 1715106 w 12192185"/>
              <a:gd name="connsiteY6975" fmla="*/ 1352243 h 6859062"/>
              <a:gd name="connsiteX6976" fmla="*/ 1682350 w 12192185"/>
              <a:gd name="connsiteY6976" fmla="*/ 1374166 h 6859062"/>
              <a:gd name="connsiteX6977" fmla="*/ 1685932 w 12192185"/>
              <a:gd name="connsiteY6977" fmla="*/ 1375125 h 6859062"/>
              <a:gd name="connsiteX6978" fmla="*/ 1690475 w 12192185"/>
              <a:gd name="connsiteY6978" fmla="*/ 1372504 h 6859062"/>
              <a:gd name="connsiteX6979" fmla="*/ 1689516 w 12192185"/>
              <a:gd name="connsiteY6979" fmla="*/ 1376086 h 6859062"/>
              <a:gd name="connsiteX6980" fmla="*/ 1701224 w 12192185"/>
              <a:gd name="connsiteY6980" fmla="*/ 1375385 h 6859062"/>
              <a:gd name="connsiteX6981" fmla="*/ 1677553 w 12192185"/>
              <a:gd name="connsiteY6981" fmla="*/ 1392067 h 6859062"/>
              <a:gd name="connsiteX6982" fmla="*/ 1676594 w 12192185"/>
              <a:gd name="connsiteY6982" fmla="*/ 1395648 h 6859062"/>
              <a:gd name="connsiteX6983" fmla="*/ 1673011 w 12192185"/>
              <a:gd name="connsiteY6983" fmla="*/ 1394689 h 6859062"/>
              <a:gd name="connsiteX6984" fmla="*/ 1667508 w 12192185"/>
              <a:gd name="connsiteY6984" fmla="*/ 1400888 h 6859062"/>
              <a:gd name="connsiteX6985" fmla="*/ 1663926 w 12192185"/>
              <a:gd name="connsiteY6985" fmla="*/ 1399927 h 6859062"/>
              <a:gd name="connsiteX6986" fmla="*/ 1627332 w 12192185"/>
              <a:gd name="connsiteY6986" fmla="*/ 1436172 h 6859062"/>
              <a:gd name="connsiteX6987" fmla="*/ 1588367 w 12192185"/>
              <a:gd name="connsiteY6987" fmla="*/ 1452593 h 6859062"/>
              <a:gd name="connsiteX6988" fmla="*/ 1583825 w 12192185"/>
              <a:gd name="connsiteY6988" fmla="*/ 1455214 h 6859062"/>
              <a:gd name="connsiteX6989" fmla="*/ 1574740 w 12192185"/>
              <a:gd name="connsiteY6989" fmla="*/ 1460454 h 6859062"/>
              <a:gd name="connsiteX6990" fmla="*/ 1575699 w 12192185"/>
              <a:gd name="connsiteY6990" fmla="*/ 1456874 h 6859062"/>
              <a:gd name="connsiteX6991" fmla="*/ 1580242 w 12192185"/>
              <a:gd name="connsiteY6991" fmla="*/ 1454253 h 6859062"/>
              <a:gd name="connsiteX6992" fmla="*/ 1581201 w 12192185"/>
              <a:gd name="connsiteY6992" fmla="*/ 1450673 h 6859062"/>
              <a:gd name="connsiteX6993" fmla="*/ 1560153 w 12192185"/>
              <a:gd name="connsiteY6993" fmla="*/ 1471897 h 6859062"/>
              <a:gd name="connsiteX6994" fmla="*/ 1564695 w 12192185"/>
              <a:gd name="connsiteY6994" fmla="*/ 1469277 h 6859062"/>
              <a:gd name="connsiteX6995" fmla="*/ 1563737 w 12192185"/>
              <a:gd name="connsiteY6995" fmla="*/ 1472858 h 6859062"/>
              <a:gd name="connsiteX6996" fmla="*/ 1562777 w 12192185"/>
              <a:gd name="connsiteY6996" fmla="*/ 1476437 h 6859062"/>
              <a:gd name="connsiteX6997" fmla="*/ 1570903 w 12192185"/>
              <a:gd name="connsiteY6997" fmla="*/ 1474776 h 6859062"/>
              <a:gd name="connsiteX6998" fmla="*/ 1548191 w 12192185"/>
              <a:gd name="connsiteY6998" fmla="*/ 1487877 h 6859062"/>
              <a:gd name="connsiteX6999" fmla="*/ 1543648 w 12192185"/>
              <a:gd name="connsiteY6999" fmla="*/ 1490496 h 6859062"/>
              <a:gd name="connsiteX7000" fmla="*/ 1457086 w 12192185"/>
              <a:gd name="connsiteY7000" fmla="*/ 1555558 h 6859062"/>
              <a:gd name="connsiteX7001" fmla="*/ 1452544 w 12192185"/>
              <a:gd name="connsiteY7001" fmla="*/ 1558179 h 6859062"/>
              <a:gd name="connsiteX7002" fmla="*/ 1447043 w 12192185"/>
              <a:gd name="connsiteY7002" fmla="*/ 1564381 h 6859062"/>
              <a:gd name="connsiteX7003" fmla="*/ 1448002 w 12192185"/>
              <a:gd name="connsiteY7003" fmla="*/ 1560801 h 6859062"/>
              <a:gd name="connsiteX7004" fmla="*/ 1427659 w 12192185"/>
              <a:gd name="connsiteY7004" fmla="*/ 1593721 h 6859062"/>
              <a:gd name="connsiteX7005" fmla="*/ 1433161 w 12192185"/>
              <a:gd name="connsiteY7005" fmla="*/ 1587521 h 6859062"/>
              <a:gd name="connsiteX7006" fmla="*/ 1436743 w 12192185"/>
              <a:gd name="connsiteY7006" fmla="*/ 1588480 h 6859062"/>
              <a:gd name="connsiteX7007" fmla="*/ 1431243 w 12192185"/>
              <a:gd name="connsiteY7007" fmla="*/ 1594679 h 6859062"/>
              <a:gd name="connsiteX7008" fmla="*/ 1430893 w 12192185"/>
              <a:gd name="connsiteY7008" fmla="*/ 1595984 h 6859062"/>
              <a:gd name="connsiteX7009" fmla="*/ 1429059 w 12192185"/>
              <a:gd name="connsiteY7009" fmla="*/ 1597453 h 6859062"/>
              <a:gd name="connsiteX7010" fmla="*/ 1425740 w 12192185"/>
              <a:gd name="connsiteY7010" fmla="*/ 1600882 h 6859062"/>
              <a:gd name="connsiteX7011" fmla="*/ 1430283 w 12192185"/>
              <a:gd name="connsiteY7011" fmla="*/ 1598261 h 6859062"/>
              <a:gd name="connsiteX7012" fmla="*/ 1430893 w 12192185"/>
              <a:gd name="connsiteY7012" fmla="*/ 1595984 h 6859062"/>
              <a:gd name="connsiteX7013" fmla="*/ 1435783 w 12192185"/>
              <a:gd name="connsiteY7013" fmla="*/ 1592061 h 6859062"/>
              <a:gd name="connsiteX7014" fmla="*/ 1325748 w 12192185"/>
              <a:gd name="connsiteY7014" fmla="*/ 1716073 h 6859062"/>
              <a:gd name="connsiteX7015" fmla="*/ 1306619 w 12192185"/>
              <a:gd name="connsiteY7015" fmla="*/ 1730135 h 6859062"/>
              <a:gd name="connsiteX7016" fmla="*/ 1308282 w 12192185"/>
              <a:gd name="connsiteY7016" fmla="*/ 1738254 h 6859062"/>
              <a:gd name="connsiteX7017" fmla="*/ 1303740 w 12192185"/>
              <a:gd name="connsiteY7017" fmla="*/ 1740876 h 6859062"/>
              <a:gd name="connsiteX7018" fmla="*/ 1298240 w 12192185"/>
              <a:gd name="connsiteY7018" fmla="*/ 1747075 h 6859062"/>
              <a:gd name="connsiteX7019" fmla="*/ 1246099 w 12192185"/>
              <a:gd name="connsiteY7019" fmla="*/ 1798338 h 6859062"/>
              <a:gd name="connsiteX7020" fmla="*/ 1250642 w 12192185"/>
              <a:gd name="connsiteY7020" fmla="*/ 1795716 h 6859062"/>
              <a:gd name="connsiteX7021" fmla="*/ 1253265 w 12192185"/>
              <a:gd name="connsiteY7021" fmla="*/ 1800259 h 6859062"/>
              <a:gd name="connsiteX7022" fmla="*/ 1248724 w 12192185"/>
              <a:gd name="connsiteY7022" fmla="*/ 1802877 h 6859062"/>
              <a:gd name="connsiteX7023" fmla="*/ 1247763 w 12192185"/>
              <a:gd name="connsiteY7023" fmla="*/ 1806458 h 6859062"/>
              <a:gd name="connsiteX7024" fmla="*/ 1200166 w 12192185"/>
              <a:gd name="connsiteY7024" fmla="*/ 1855102 h 6859062"/>
              <a:gd name="connsiteX7025" fmla="*/ 1144894 w 12192185"/>
              <a:gd name="connsiteY7025" fmla="*/ 1932387 h 6859062"/>
              <a:gd name="connsiteX7026" fmla="*/ 1182955 w 12192185"/>
              <a:gd name="connsiteY7026" fmla="*/ 1862003 h 6859062"/>
              <a:gd name="connsiteX7027" fmla="*/ 1229593 w 12192185"/>
              <a:gd name="connsiteY7027" fmla="*/ 1816940 h 6859062"/>
              <a:gd name="connsiteX7028" fmla="*/ 1226969 w 12192185"/>
              <a:gd name="connsiteY7028" fmla="*/ 1812400 h 6859062"/>
              <a:gd name="connsiteX7029" fmla="*/ 1237014 w 12192185"/>
              <a:gd name="connsiteY7029" fmla="*/ 1803578 h 6859062"/>
              <a:gd name="connsiteX7030" fmla="*/ 1241556 w 12192185"/>
              <a:gd name="connsiteY7030" fmla="*/ 1800957 h 6859062"/>
              <a:gd name="connsiteX7031" fmla="*/ 1237975 w 12192185"/>
              <a:gd name="connsiteY7031" fmla="*/ 1799997 h 6859062"/>
              <a:gd name="connsiteX7032" fmla="*/ 1273863 w 12192185"/>
              <a:gd name="connsiteY7032" fmla="*/ 1752056 h 6859062"/>
              <a:gd name="connsiteX7033" fmla="*/ 1274821 w 12192185"/>
              <a:gd name="connsiteY7033" fmla="*/ 1748474 h 6859062"/>
              <a:gd name="connsiteX7034" fmla="*/ 1275781 w 12192185"/>
              <a:gd name="connsiteY7034" fmla="*/ 1744894 h 6859062"/>
              <a:gd name="connsiteX7035" fmla="*/ 1276740 w 12192185"/>
              <a:gd name="connsiteY7035" fmla="*/ 1741315 h 6859062"/>
              <a:gd name="connsiteX7036" fmla="*/ 1280323 w 12192185"/>
              <a:gd name="connsiteY7036" fmla="*/ 1742274 h 6859062"/>
              <a:gd name="connsiteX7037" fmla="*/ 1277700 w 12192185"/>
              <a:gd name="connsiteY7037" fmla="*/ 1737733 h 6859062"/>
              <a:gd name="connsiteX7038" fmla="*/ 1292541 w 12192185"/>
              <a:gd name="connsiteY7038" fmla="*/ 1711012 h 6859062"/>
              <a:gd name="connsiteX7039" fmla="*/ 1271747 w 12192185"/>
              <a:gd name="connsiteY7039" fmla="*/ 1716953 h 6859062"/>
              <a:gd name="connsiteX7040" fmla="*/ 1275457 w 12192185"/>
              <a:gd name="connsiteY7040" fmla="*/ 1710272 h 6859062"/>
              <a:gd name="connsiteX7041" fmla="*/ 1277312 w 12192185"/>
              <a:gd name="connsiteY7041" fmla="*/ 1706933 h 6859062"/>
              <a:gd name="connsiteX7042" fmla="*/ 1278208 w 12192185"/>
              <a:gd name="connsiteY7042" fmla="*/ 1707173 h 6859062"/>
              <a:gd name="connsiteX7043" fmla="*/ 1279166 w 12192185"/>
              <a:gd name="connsiteY7043" fmla="*/ 1703593 h 6859062"/>
              <a:gd name="connsiteX7044" fmla="*/ 1277312 w 12192185"/>
              <a:gd name="connsiteY7044" fmla="*/ 1706933 h 6859062"/>
              <a:gd name="connsiteX7045" fmla="*/ 1274624 w 12192185"/>
              <a:gd name="connsiteY7045" fmla="*/ 1706213 h 6859062"/>
              <a:gd name="connsiteX7046" fmla="*/ 1275584 w 12192185"/>
              <a:gd name="connsiteY7046" fmla="*/ 1702632 h 6859062"/>
              <a:gd name="connsiteX7047" fmla="*/ 1276543 w 12192185"/>
              <a:gd name="connsiteY7047" fmla="*/ 1699051 h 6859062"/>
              <a:gd name="connsiteX7048" fmla="*/ 1292090 w 12192185"/>
              <a:gd name="connsiteY7048" fmla="*/ 1684031 h 6859062"/>
              <a:gd name="connsiteX7049" fmla="*/ 1296632 w 12192185"/>
              <a:gd name="connsiteY7049" fmla="*/ 1681412 h 6859062"/>
              <a:gd name="connsiteX7050" fmla="*/ 1302134 w 12192185"/>
              <a:gd name="connsiteY7050" fmla="*/ 1675210 h 6859062"/>
              <a:gd name="connsiteX7051" fmla="*/ 1306676 w 12192185"/>
              <a:gd name="connsiteY7051" fmla="*/ 1672590 h 6859062"/>
              <a:gd name="connsiteX7052" fmla="*/ 1301175 w 12192185"/>
              <a:gd name="connsiteY7052" fmla="*/ 1678791 h 6859062"/>
              <a:gd name="connsiteX7053" fmla="*/ 1295672 w 12192185"/>
              <a:gd name="connsiteY7053" fmla="*/ 1684992 h 6859062"/>
              <a:gd name="connsiteX7054" fmla="*/ 1318385 w 12192185"/>
              <a:gd name="connsiteY7054" fmla="*/ 1671890 h 6859062"/>
              <a:gd name="connsiteX7055" fmla="*/ 1326257 w 12192185"/>
              <a:gd name="connsiteY7055" fmla="*/ 1685511 h 6859062"/>
              <a:gd name="connsiteX7056" fmla="*/ 1444418 w 12192185"/>
              <a:gd name="connsiteY7056" fmla="*/ 1559840 h 6859062"/>
              <a:gd name="connsiteX7057" fmla="*/ 1449921 w 12192185"/>
              <a:gd name="connsiteY7057" fmla="*/ 1553638 h 6859062"/>
              <a:gd name="connsiteX7058" fmla="*/ 1454463 w 12192185"/>
              <a:gd name="connsiteY7058" fmla="*/ 1551020 h 6859062"/>
              <a:gd name="connsiteX7059" fmla="*/ 1505642 w 12192185"/>
              <a:gd name="connsiteY7059" fmla="*/ 1503338 h 6859062"/>
              <a:gd name="connsiteX7060" fmla="*/ 1567827 w 12192185"/>
              <a:gd name="connsiteY7060" fmla="*/ 1443251 h 6859062"/>
              <a:gd name="connsiteX7061" fmla="*/ 1639803 w 12192185"/>
              <a:gd name="connsiteY7061" fmla="*/ 1389628 h 6859062"/>
              <a:gd name="connsiteX7062" fmla="*/ 1745494 w 12192185"/>
              <a:gd name="connsiteY7062" fmla="*/ 1310501 h 6859062"/>
              <a:gd name="connsiteX7063" fmla="*/ 1838008 w 12192185"/>
              <a:gd name="connsiteY7063" fmla="*/ 1266217 h 6859062"/>
              <a:gd name="connsiteX7064" fmla="*/ 1824381 w 12192185"/>
              <a:gd name="connsiteY7064" fmla="*/ 1274080 h 6859062"/>
              <a:gd name="connsiteX7065" fmla="*/ 1832505 w 12192185"/>
              <a:gd name="connsiteY7065" fmla="*/ 1272418 h 6859062"/>
              <a:gd name="connsiteX7066" fmla="*/ 1837048 w 12192185"/>
              <a:gd name="connsiteY7066" fmla="*/ 1269798 h 6859062"/>
              <a:gd name="connsiteX7067" fmla="*/ 1831546 w 12192185"/>
              <a:gd name="connsiteY7067" fmla="*/ 1275999 h 6859062"/>
              <a:gd name="connsiteX7068" fmla="*/ 1830586 w 12192185"/>
              <a:gd name="connsiteY7068" fmla="*/ 1279579 h 6859062"/>
              <a:gd name="connsiteX7069" fmla="*/ 1927897 w 12192185"/>
              <a:gd name="connsiteY7069" fmla="*/ 1217396 h 6859062"/>
              <a:gd name="connsiteX7070" fmla="*/ 2034745 w 12192185"/>
              <a:gd name="connsiteY7070" fmla="*/ 1176954 h 6859062"/>
              <a:gd name="connsiteX7071" fmla="*/ 7329058 w 12192185"/>
              <a:gd name="connsiteY7071" fmla="*/ 1166349 h 6859062"/>
              <a:gd name="connsiteX7072" fmla="*/ 7331857 w 12192185"/>
              <a:gd name="connsiteY7072" fmla="*/ 1171524 h 6859062"/>
              <a:gd name="connsiteX7073" fmla="*/ 7342922 w 12192185"/>
              <a:gd name="connsiteY7073" fmla="*/ 1182539 h 6859062"/>
              <a:gd name="connsiteX7074" fmla="*/ 7342923 w 12192185"/>
              <a:gd name="connsiteY7074" fmla="*/ 1188010 h 6859062"/>
              <a:gd name="connsiteX7075" fmla="*/ 7363918 w 12192185"/>
              <a:gd name="connsiteY7075" fmla="*/ 1199811 h 6859062"/>
              <a:gd name="connsiteX7076" fmla="*/ 7439023 w 12192185"/>
              <a:gd name="connsiteY7076" fmla="*/ 1248427 h 6859062"/>
              <a:gd name="connsiteX7077" fmla="*/ 7450622 w 12192185"/>
              <a:gd name="connsiteY7077" fmla="*/ 1264172 h 6859062"/>
              <a:gd name="connsiteX7078" fmla="*/ 7533914 w 12192185"/>
              <a:gd name="connsiteY7078" fmla="*/ 1317114 h 6859062"/>
              <a:gd name="connsiteX7079" fmla="*/ 7537521 w 12192185"/>
              <a:gd name="connsiteY7079" fmla="*/ 1325889 h 6859062"/>
              <a:gd name="connsiteX7080" fmla="*/ 7546293 w 12192185"/>
              <a:gd name="connsiteY7080" fmla="*/ 1322282 h 6859062"/>
              <a:gd name="connsiteX7081" fmla="*/ 7640404 w 12192185"/>
              <a:gd name="connsiteY7081" fmla="*/ 1401550 h 6859062"/>
              <a:gd name="connsiteX7082" fmla="*/ 7626222 w 12192185"/>
              <a:gd name="connsiteY7082" fmla="*/ 1391994 h 6859062"/>
              <a:gd name="connsiteX7083" fmla="*/ 7585477 w 12192185"/>
              <a:gd name="connsiteY7083" fmla="*/ 1367716 h 6859062"/>
              <a:gd name="connsiteX7084" fmla="*/ 7510177 w 12192185"/>
              <a:gd name="connsiteY7084" fmla="*/ 1321743 h 6859062"/>
              <a:gd name="connsiteX7085" fmla="*/ 7502184 w 12192185"/>
              <a:gd name="connsiteY7085" fmla="*/ 1314771 h 6859062"/>
              <a:gd name="connsiteX7086" fmla="*/ 7498579 w 12192185"/>
              <a:gd name="connsiteY7086" fmla="*/ 1305998 h 6859062"/>
              <a:gd name="connsiteX7087" fmla="*/ 7467628 w 12192185"/>
              <a:gd name="connsiteY7087" fmla="*/ 1293077 h 6859062"/>
              <a:gd name="connsiteX7088" fmla="*/ 7433074 w 12192185"/>
              <a:gd name="connsiteY7088" fmla="*/ 1271381 h 6859062"/>
              <a:gd name="connsiteX7089" fmla="*/ 7378927 w 12192185"/>
              <a:gd name="connsiteY7089" fmla="*/ 1226974 h 6859062"/>
              <a:gd name="connsiteX7090" fmla="*/ 7374540 w 12192185"/>
              <a:gd name="connsiteY7090" fmla="*/ 1228776 h 6859062"/>
              <a:gd name="connsiteX7091" fmla="*/ 7354167 w 12192185"/>
              <a:gd name="connsiteY7091" fmla="*/ 1216639 h 6859062"/>
              <a:gd name="connsiteX7092" fmla="*/ 7347977 w 12192185"/>
              <a:gd name="connsiteY7092" fmla="*/ 1214053 h 6859062"/>
              <a:gd name="connsiteX7093" fmla="*/ 7336962 w 12192185"/>
              <a:gd name="connsiteY7093" fmla="*/ 1207488 h 6859062"/>
              <a:gd name="connsiteX7094" fmla="*/ 7336887 w 12192185"/>
              <a:gd name="connsiteY7094" fmla="*/ 1207574 h 6859062"/>
              <a:gd name="connsiteX7095" fmla="*/ 7325821 w 12192185"/>
              <a:gd name="connsiteY7095" fmla="*/ 1214585 h 6859062"/>
              <a:gd name="connsiteX7096" fmla="*/ 7319603 w 12192185"/>
              <a:gd name="connsiteY7096" fmla="*/ 1215538 h 6859062"/>
              <a:gd name="connsiteX7097" fmla="*/ 7324240 w 12192185"/>
              <a:gd name="connsiteY7097" fmla="*/ 1218680 h 6859062"/>
              <a:gd name="connsiteX7098" fmla="*/ 7458074 w 12192185"/>
              <a:gd name="connsiteY7098" fmla="*/ 1307259 h 6859062"/>
              <a:gd name="connsiteX7099" fmla="*/ 7486440 w 12192185"/>
              <a:gd name="connsiteY7099" fmla="*/ 1326370 h 6859062"/>
              <a:gd name="connsiteX7100" fmla="*/ 7488242 w 12192185"/>
              <a:gd name="connsiteY7100" fmla="*/ 1330757 h 6859062"/>
              <a:gd name="connsiteX7101" fmla="*/ 7498037 w 12192185"/>
              <a:gd name="connsiteY7101" fmla="*/ 1342115 h 6859062"/>
              <a:gd name="connsiteX7102" fmla="*/ 7504228 w 12192185"/>
              <a:gd name="connsiteY7102" fmla="*/ 1344700 h 6859062"/>
              <a:gd name="connsiteX7103" fmla="*/ 7502425 w 12192185"/>
              <a:gd name="connsiteY7103" fmla="*/ 1340313 h 6859062"/>
              <a:gd name="connsiteX7104" fmla="*/ 7568951 w 12192185"/>
              <a:gd name="connsiteY7104" fmla="*/ 1389892 h 6859062"/>
              <a:gd name="connsiteX7105" fmla="*/ 7621294 w 12192185"/>
              <a:gd name="connsiteY7105" fmla="*/ 1429916 h 6859062"/>
              <a:gd name="connsiteX7106" fmla="*/ 7623842 w 12192185"/>
              <a:gd name="connsiteY7106" fmla="*/ 1432139 h 6859062"/>
              <a:gd name="connsiteX7107" fmla="*/ 7625017 w 12192185"/>
              <a:gd name="connsiteY7107" fmla="*/ 1432966 h 6859062"/>
              <a:gd name="connsiteX7108" fmla="*/ 7714956 w 12192185"/>
              <a:gd name="connsiteY7108" fmla="*/ 1509206 h 6859062"/>
              <a:gd name="connsiteX7109" fmla="*/ 7715406 w 12192185"/>
              <a:gd name="connsiteY7109" fmla="*/ 1509182 h 6859062"/>
              <a:gd name="connsiteX7110" fmla="*/ 7726375 w 12192185"/>
              <a:gd name="connsiteY7110" fmla="*/ 1518885 h 6859062"/>
              <a:gd name="connsiteX7111" fmla="*/ 7852902 w 12192185"/>
              <a:gd name="connsiteY7111" fmla="*/ 1626143 h 6859062"/>
              <a:gd name="connsiteX7112" fmla="*/ 7890997 w 12192185"/>
              <a:gd name="connsiteY7112" fmla="*/ 1592967 h 6859062"/>
              <a:gd name="connsiteX7113" fmla="*/ 7859034 w 12192185"/>
              <a:gd name="connsiteY7113" fmla="*/ 1562328 h 6859062"/>
              <a:gd name="connsiteX7114" fmla="*/ 7816787 w 12192185"/>
              <a:gd name="connsiteY7114" fmla="*/ 1518797 h 6859062"/>
              <a:gd name="connsiteX7115" fmla="*/ 7804407 w 12192185"/>
              <a:gd name="connsiteY7115" fmla="*/ 1513629 h 6859062"/>
              <a:gd name="connsiteX7116" fmla="*/ 7808793 w 12192185"/>
              <a:gd name="connsiteY7116" fmla="*/ 1511827 h 6859062"/>
              <a:gd name="connsiteX7117" fmla="*/ 7756450 w 12192185"/>
              <a:gd name="connsiteY7117" fmla="*/ 1471804 h 6859062"/>
              <a:gd name="connsiteX7118" fmla="*/ 7735056 w 12192185"/>
              <a:gd name="connsiteY7118" fmla="*/ 1444698 h 6859062"/>
              <a:gd name="connsiteX7119" fmla="*/ 7728084 w 12192185"/>
              <a:gd name="connsiteY7119" fmla="*/ 1452692 h 6859062"/>
              <a:gd name="connsiteX7120" fmla="*/ 7705909 w 12192185"/>
              <a:gd name="connsiteY7120" fmla="*/ 1436166 h 6859062"/>
              <a:gd name="connsiteX7121" fmla="*/ 7704888 w 12192185"/>
              <a:gd name="connsiteY7121" fmla="*/ 1421202 h 6859062"/>
              <a:gd name="connsiteX7122" fmla="*/ 7597616 w 12192185"/>
              <a:gd name="connsiteY7122" fmla="*/ 1347342 h 6859062"/>
              <a:gd name="connsiteX7123" fmla="*/ 7589624 w 12192185"/>
              <a:gd name="connsiteY7123" fmla="*/ 1340372 h 6859062"/>
              <a:gd name="connsiteX7124" fmla="*/ 7583432 w 12192185"/>
              <a:gd name="connsiteY7124" fmla="*/ 1337788 h 6859062"/>
              <a:gd name="connsiteX7125" fmla="*/ 7585237 w 12192185"/>
              <a:gd name="connsiteY7125" fmla="*/ 1342175 h 6859062"/>
              <a:gd name="connsiteX7126" fmla="*/ 7587039 w 12192185"/>
              <a:gd name="connsiteY7126" fmla="*/ 1346562 h 6859062"/>
              <a:gd name="connsiteX7127" fmla="*/ 7471775 w 12192185"/>
              <a:gd name="connsiteY7127" fmla="*/ 1265735 h 6859062"/>
              <a:gd name="connsiteX7128" fmla="*/ 7470753 w 12192185"/>
              <a:gd name="connsiteY7128" fmla="*/ 1250769 h 6859062"/>
              <a:gd name="connsiteX7129" fmla="*/ 7377626 w 12192185"/>
              <a:gd name="connsiteY7129" fmla="*/ 1194177 h 6859062"/>
              <a:gd name="connsiteX7130" fmla="*/ 6038116 w 12192185"/>
              <a:gd name="connsiteY7130" fmla="*/ 1160930 h 6859062"/>
              <a:gd name="connsiteX7131" fmla="*/ 6034539 w 12192185"/>
              <a:gd name="connsiteY7131" fmla="*/ 1162402 h 6859062"/>
              <a:gd name="connsiteX7132" fmla="*/ 6034171 w 12192185"/>
              <a:gd name="connsiteY7132" fmla="*/ 1161507 h 6859062"/>
              <a:gd name="connsiteX7133" fmla="*/ 399572 w 12192185"/>
              <a:gd name="connsiteY7133" fmla="*/ 1157374 h 6859062"/>
              <a:gd name="connsiteX7134" fmla="*/ 401040 w 12192185"/>
              <a:gd name="connsiteY7134" fmla="*/ 1160824 h 6859062"/>
              <a:gd name="connsiteX7135" fmla="*/ 400628 w 12192185"/>
              <a:gd name="connsiteY7135" fmla="*/ 1162742 h 6859062"/>
              <a:gd name="connsiteX7136" fmla="*/ 406852 w 12192185"/>
              <a:gd name="connsiteY7136" fmla="*/ 1169558 h 6859062"/>
              <a:gd name="connsiteX7137" fmla="*/ 409733 w 12192185"/>
              <a:gd name="connsiteY7137" fmla="*/ 1168959 h 6859062"/>
              <a:gd name="connsiteX7138" fmla="*/ 413836 w 12192185"/>
              <a:gd name="connsiteY7138" fmla="*/ 1169907 h 6859062"/>
              <a:gd name="connsiteX7139" fmla="*/ 413402 w 12192185"/>
              <a:gd name="connsiteY7139" fmla="*/ 1173603 h 6859062"/>
              <a:gd name="connsiteX7140" fmla="*/ 415294 w 12192185"/>
              <a:gd name="connsiteY7140" fmla="*/ 1178224 h 6859062"/>
              <a:gd name="connsiteX7141" fmla="*/ 423563 w 12192185"/>
              <a:gd name="connsiteY7141" fmla="*/ 1185186 h 6859062"/>
              <a:gd name="connsiteX7142" fmla="*/ 429085 w 12192185"/>
              <a:gd name="connsiteY7142" fmla="*/ 1187612 h 6859062"/>
              <a:gd name="connsiteX7143" fmla="*/ 431662 w 12192185"/>
              <a:gd name="connsiteY7143" fmla="*/ 1188007 h 6859062"/>
              <a:gd name="connsiteX7144" fmla="*/ 431266 w 12192185"/>
              <a:gd name="connsiteY7144" fmla="*/ 1190583 h 6859062"/>
              <a:gd name="connsiteX7145" fmla="*/ 428907 w 12192185"/>
              <a:gd name="connsiteY7145" fmla="*/ 1196299 h 6859062"/>
              <a:gd name="connsiteX7146" fmla="*/ 432795 w 12192185"/>
              <a:gd name="connsiteY7146" fmla="*/ 1207055 h 6859062"/>
              <a:gd name="connsiteX7147" fmla="*/ 441129 w 12192185"/>
              <a:gd name="connsiteY7147" fmla="*/ 1216647 h 6859062"/>
              <a:gd name="connsiteX7148" fmla="*/ 438135 w 12192185"/>
              <a:gd name="connsiteY7148" fmla="*/ 1220603 h 6859062"/>
              <a:gd name="connsiteX7149" fmla="*/ 432825 w 12192185"/>
              <a:gd name="connsiteY7149" fmla="*/ 1218764 h 6859062"/>
              <a:gd name="connsiteX7150" fmla="*/ 427117 w 12192185"/>
              <a:gd name="connsiteY7150" fmla="*/ 1219501 h 6859062"/>
              <a:gd name="connsiteX7151" fmla="*/ 430287 w 12192185"/>
              <a:gd name="connsiteY7151" fmla="*/ 1225208 h 6859062"/>
              <a:gd name="connsiteX7152" fmla="*/ 433945 w 12192185"/>
              <a:gd name="connsiteY7152" fmla="*/ 1226760 h 6859062"/>
              <a:gd name="connsiteX7153" fmla="*/ 435805 w 12192185"/>
              <a:gd name="connsiteY7153" fmla="*/ 1230069 h 6859062"/>
              <a:gd name="connsiteX7154" fmla="*/ 432337 w 12192185"/>
              <a:gd name="connsiteY7154" fmla="*/ 1230879 h 6859062"/>
              <a:gd name="connsiteX7155" fmla="*/ 427967 w 12192185"/>
              <a:gd name="connsiteY7155" fmla="*/ 1229807 h 6859062"/>
              <a:gd name="connsiteX7156" fmla="*/ 423092 w 12192185"/>
              <a:gd name="connsiteY7156" fmla="*/ 1232232 h 6859062"/>
              <a:gd name="connsiteX7157" fmla="*/ 424647 w 12192185"/>
              <a:gd name="connsiteY7157" fmla="*/ 1236534 h 6859062"/>
              <a:gd name="connsiteX7158" fmla="*/ 446067 w 12192185"/>
              <a:gd name="connsiteY7158" fmla="*/ 1235203 h 6859062"/>
              <a:gd name="connsiteX7159" fmla="*/ 451399 w 12192185"/>
              <a:gd name="connsiteY7159" fmla="*/ 1235266 h 6859062"/>
              <a:gd name="connsiteX7160" fmla="*/ 463097 w 12192185"/>
              <a:gd name="connsiteY7160" fmla="*/ 1242534 h 6859062"/>
              <a:gd name="connsiteX7161" fmla="*/ 467304 w 12192185"/>
              <a:gd name="connsiteY7161" fmla="*/ 1244994 h 6859062"/>
              <a:gd name="connsiteX7162" fmla="*/ 475296 w 12192185"/>
              <a:gd name="connsiteY7162" fmla="*/ 1256698 h 6859062"/>
              <a:gd name="connsiteX7163" fmla="*/ 479010 w 12192185"/>
              <a:gd name="connsiteY7163" fmla="*/ 1265748 h 6859062"/>
              <a:gd name="connsiteX7164" fmla="*/ 485131 w 12192185"/>
              <a:gd name="connsiteY7164" fmla="*/ 1271052 h 6859062"/>
              <a:gd name="connsiteX7165" fmla="*/ 485718 w 12192185"/>
              <a:gd name="connsiteY7165" fmla="*/ 1270841 h 6859062"/>
              <a:gd name="connsiteX7166" fmla="*/ 490283 w 12192185"/>
              <a:gd name="connsiteY7166" fmla="*/ 1271844 h 6859062"/>
              <a:gd name="connsiteX7167" fmla="*/ 488322 w 12192185"/>
              <a:gd name="connsiteY7167" fmla="*/ 1274986 h 6859062"/>
              <a:gd name="connsiteX7168" fmla="*/ 486135 w 12192185"/>
              <a:gd name="connsiteY7168" fmla="*/ 1292801 h 6859062"/>
              <a:gd name="connsiteX7169" fmla="*/ 485483 w 12192185"/>
              <a:gd name="connsiteY7169" fmla="*/ 1298344 h 6859062"/>
              <a:gd name="connsiteX7170" fmla="*/ 482527 w 12192185"/>
              <a:gd name="connsiteY7170" fmla="*/ 1301181 h 6859062"/>
              <a:gd name="connsiteX7171" fmla="*/ 482109 w 12192185"/>
              <a:gd name="connsiteY7171" fmla="*/ 1305533 h 6859062"/>
              <a:gd name="connsiteX7172" fmla="*/ 483434 w 12192185"/>
              <a:gd name="connsiteY7172" fmla="*/ 1306459 h 6859062"/>
              <a:gd name="connsiteX7173" fmla="*/ 473639 w 12192185"/>
              <a:gd name="connsiteY7173" fmla="*/ 1327197 h 6859062"/>
              <a:gd name="connsiteX7174" fmla="*/ 472900 w 12192185"/>
              <a:gd name="connsiteY7174" fmla="*/ 1324120 h 6859062"/>
              <a:gd name="connsiteX7175" fmla="*/ 470329 w 12192185"/>
              <a:gd name="connsiteY7175" fmla="*/ 1321290 h 6859062"/>
              <a:gd name="connsiteX7176" fmla="*/ 467301 w 12192185"/>
              <a:gd name="connsiteY7176" fmla="*/ 1323932 h 6859062"/>
              <a:gd name="connsiteX7177" fmla="*/ 467046 w 12192185"/>
              <a:gd name="connsiteY7177" fmla="*/ 1326899 h 6859062"/>
              <a:gd name="connsiteX7178" fmla="*/ 461529 w 12192185"/>
              <a:gd name="connsiteY7178" fmla="*/ 1329998 h 6859062"/>
              <a:gd name="connsiteX7179" fmla="*/ 458350 w 12192185"/>
              <a:gd name="connsiteY7179" fmla="*/ 1329158 h 6859062"/>
              <a:gd name="connsiteX7180" fmla="*/ 457579 w 12192185"/>
              <a:gd name="connsiteY7180" fmla="*/ 1332532 h 6859062"/>
              <a:gd name="connsiteX7181" fmla="*/ 457841 w 12192185"/>
              <a:gd name="connsiteY7181" fmla="*/ 1335091 h 6859062"/>
              <a:gd name="connsiteX7182" fmla="*/ 457025 w 12192185"/>
              <a:gd name="connsiteY7182" fmla="*/ 1338343 h 6859062"/>
              <a:gd name="connsiteX7183" fmla="*/ 453710 w 12192185"/>
              <a:gd name="connsiteY7183" fmla="*/ 1338353 h 6859062"/>
              <a:gd name="connsiteX7184" fmla="*/ 445202 w 12192185"/>
              <a:gd name="connsiteY7184" fmla="*/ 1335016 h 6859062"/>
              <a:gd name="connsiteX7185" fmla="*/ 435887 w 12192185"/>
              <a:gd name="connsiteY7185" fmla="*/ 1336172 h 6859062"/>
              <a:gd name="connsiteX7186" fmla="*/ 430234 w 12192185"/>
              <a:gd name="connsiteY7186" fmla="*/ 1336446 h 6859062"/>
              <a:gd name="connsiteX7187" fmla="*/ 416250 w 12192185"/>
              <a:gd name="connsiteY7187" fmla="*/ 1335090 h 6859062"/>
              <a:gd name="connsiteX7188" fmla="*/ 413728 w 12192185"/>
              <a:gd name="connsiteY7188" fmla="*/ 1334233 h 6859062"/>
              <a:gd name="connsiteX7189" fmla="*/ 394238 w 12192185"/>
              <a:gd name="connsiteY7189" fmla="*/ 1312753 h 6859062"/>
              <a:gd name="connsiteX7190" fmla="*/ 392346 w 12192185"/>
              <a:gd name="connsiteY7190" fmla="*/ 1308131 h 6859062"/>
              <a:gd name="connsiteX7191" fmla="*/ 390986 w 12192185"/>
              <a:gd name="connsiteY7191" fmla="*/ 1295798 h 6859062"/>
              <a:gd name="connsiteX7192" fmla="*/ 389016 w 12192185"/>
              <a:gd name="connsiteY7192" fmla="*/ 1285455 h 6859062"/>
              <a:gd name="connsiteX7193" fmla="*/ 389451 w 12192185"/>
              <a:gd name="connsiteY7193" fmla="*/ 1281760 h 6859062"/>
              <a:gd name="connsiteX7194" fmla="*/ 396046 w 12192185"/>
              <a:gd name="connsiteY7194" fmla="*/ 1263898 h 6859062"/>
              <a:gd name="connsiteX7195" fmla="*/ 396442 w 12192185"/>
              <a:gd name="connsiteY7195" fmla="*/ 1261322 h 6859062"/>
              <a:gd name="connsiteX7196" fmla="*/ 384337 w 12192185"/>
              <a:gd name="connsiteY7196" fmla="*/ 1253537 h 6859062"/>
              <a:gd name="connsiteX7197" fmla="*/ 371046 w 12192185"/>
              <a:gd name="connsiteY7197" fmla="*/ 1251043 h 6859062"/>
              <a:gd name="connsiteX7198" fmla="*/ 354696 w 12192185"/>
              <a:gd name="connsiteY7198" fmla="*/ 1241919 h 6859062"/>
              <a:gd name="connsiteX7199" fmla="*/ 353832 w 12192185"/>
              <a:gd name="connsiteY7199" fmla="*/ 1238916 h 6859062"/>
              <a:gd name="connsiteX7200" fmla="*/ 350433 w 12192185"/>
              <a:gd name="connsiteY7200" fmla="*/ 1231962 h 6859062"/>
              <a:gd name="connsiteX7201" fmla="*/ 346735 w 12192185"/>
              <a:gd name="connsiteY7201" fmla="*/ 1223571 h 6859062"/>
              <a:gd name="connsiteX7202" fmla="*/ 347088 w 12192185"/>
              <a:gd name="connsiteY7202" fmla="*/ 1216589 h 6859062"/>
              <a:gd name="connsiteX7203" fmla="*/ 346008 w 12192185"/>
              <a:gd name="connsiteY7203" fmla="*/ 1197080 h 6859062"/>
              <a:gd name="connsiteX7204" fmla="*/ 350871 w 12192185"/>
              <a:gd name="connsiteY7204" fmla="*/ 1183602 h 6859062"/>
              <a:gd name="connsiteX7205" fmla="*/ 352333 w 12192185"/>
              <a:gd name="connsiteY7205" fmla="*/ 1181526 h 6859062"/>
              <a:gd name="connsiteX7206" fmla="*/ 360811 w 12192185"/>
              <a:gd name="connsiteY7206" fmla="*/ 1173155 h 6859062"/>
              <a:gd name="connsiteX7207" fmla="*/ 363696 w 12192185"/>
              <a:gd name="connsiteY7207" fmla="*/ 1170122 h 6859062"/>
              <a:gd name="connsiteX7208" fmla="*/ 378919 w 12192185"/>
              <a:gd name="connsiteY7208" fmla="*/ 1165725 h 6859062"/>
              <a:gd name="connsiteX7209" fmla="*/ 391985 w 12192185"/>
              <a:gd name="connsiteY7209" fmla="*/ 1164539 h 6859062"/>
              <a:gd name="connsiteX7210" fmla="*/ 395687 w 12192185"/>
              <a:gd name="connsiteY7210" fmla="*/ 1162538 h 6859062"/>
              <a:gd name="connsiteX7211" fmla="*/ 396724 w 12192185"/>
              <a:gd name="connsiteY7211" fmla="*/ 1159289 h 6859062"/>
              <a:gd name="connsiteX7212" fmla="*/ 399572 w 12192185"/>
              <a:gd name="connsiteY7212" fmla="*/ 1157374 h 6859062"/>
              <a:gd name="connsiteX7213" fmla="*/ 6040222 w 12192185"/>
              <a:gd name="connsiteY7213" fmla="*/ 1155880 h 6859062"/>
              <a:gd name="connsiteX7214" fmla="*/ 6036645 w 12192185"/>
              <a:gd name="connsiteY7214" fmla="*/ 1157350 h 6859062"/>
              <a:gd name="connsiteX7215" fmla="*/ 6033067 w 12192185"/>
              <a:gd name="connsiteY7215" fmla="*/ 1158820 h 6859062"/>
              <a:gd name="connsiteX7216" fmla="*/ 6034171 w 12192185"/>
              <a:gd name="connsiteY7216" fmla="*/ 1161507 h 6859062"/>
              <a:gd name="connsiteX7217" fmla="*/ 6030223 w 12192185"/>
              <a:gd name="connsiteY7217" fmla="*/ 1162083 h 6859062"/>
              <a:gd name="connsiteX7218" fmla="*/ 6022327 w 12192185"/>
              <a:gd name="connsiteY7218" fmla="*/ 1163233 h 6859062"/>
              <a:gd name="connsiteX7219" fmla="*/ 6040425 w 12192185"/>
              <a:gd name="connsiteY7219" fmla="*/ 1176729 h 6859062"/>
              <a:gd name="connsiteX7220" fmla="*/ 6008854 w 12192185"/>
              <a:gd name="connsiteY7220" fmla="*/ 1181333 h 6859062"/>
              <a:gd name="connsiteX7221" fmla="*/ 6008251 w 12192185"/>
              <a:gd name="connsiteY7221" fmla="*/ 1182776 h 6859062"/>
              <a:gd name="connsiteX7222" fmla="*/ 6033002 w 12192185"/>
              <a:gd name="connsiteY7222" fmla="*/ 1182347 h 6859062"/>
              <a:gd name="connsiteX7223" fmla="*/ 6082822 w 12192185"/>
              <a:gd name="connsiteY7223" fmla="*/ 1186854 h 6859062"/>
              <a:gd name="connsiteX7224" fmla="*/ 6082310 w 12192185"/>
              <a:gd name="connsiteY7224" fmla="*/ 1179403 h 6859062"/>
              <a:gd name="connsiteX7225" fmla="*/ 6089254 w 12192185"/>
              <a:gd name="connsiteY7225" fmla="*/ 1173407 h 6859062"/>
              <a:gd name="connsiteX7226" fmla="*/ 6064001 w 12192185"/>
              <a:gd name="connsiteY7226" fmla="*/ 1162852 h 6859062"/>
              <a:gd name="connsiteX7227" fmla="*/ 6072632 w 12192185"/>
              <a:gd name="connsiteY7227" fmla="*/ 1163493 h 6859062"/>
              <a:gd name="connsiteX7228" fmla="*/ 6081262 w 12192185"/>
              <a:gd name="connsiteY7228" fmla="*/ 1164133 h 6859062"/>
              <a:gd name="connsiteX7229" fmla="*/ 6076211 w 12192185"/>
              <a:gd name="connsiteY7229" fmla="*/ 1162021 h 6859062"/>
              <a:gd name="connsiteX7230" fmla="*/ 6067583 w 12192185"/>
              <a:gd name="connsiteY7230" fmla="*/ 1161382 h 6859062"/>
              <a:gd name="connsiteX7231" fmla="*/ 6062532 w 12192185"/>
              <a:gd name="connsiteY7231" fmla="*/ 1159270 h 6859062"/>
              <a:gd name="connsiteX7232" fmla="*/ 6040222 w 12192185"/>
              <a:gd name="connsiteY7232" fmla="*/ 1155880 h 6859062"/>
              <a:gd name="connsiteX7233" fmla="*/ 4553348 w 12192185"/>
              <a:gd name="connsiteY7233" fmla="*/ 1137654 h 6859062"/>
              <a:gd name="connsiteX7234" fmla="*/ 4550276 w 12192185"/>
              <a:gd name="connsiteY7234" fmla="*/ 1138535 h 6859062"/>
              <a:gd name="connsiteX7235" fmla="*/ 4552446 w 12192185"/>
              <a:gd name="connsiteY7235" fmla="*/ 1139234 h 6859062"/>
              <a:gd name="connsiteX7236" fmla="*/ 1006422 w 12192185"/>
              <a:gd name="connsiteY7236" fmla="*/ 1134067 h 6859062"/>
              <a:gd name="connsiteX7237" fmla="*/ 1016183 w 12192185"/>
              <a:gd name="connsiteY7237" fmla="*/ 1135175 h 6859062"/>
              <a:gd name="connsiteX7238" fmla="*/ 1021771 w 12192185"/>
              <a:gd name="connsiteY7238" fmla="*/ 1135960 h 6859062"/>
              <a:gd name="connsiteX7239" fmla="*/ 1028608 w 12192185"/>
              <a:gd name="connsiteY7239" fmla="*/ 1138474 h 6859062"/>
              <a:gd name="connsiteX7240" fmla="*/ 1033513 w 12192185"/>
              <a:gd name="connsiteY7240" fmla="*/ 1141687 h 6859062"/>
              <a:gd name="connsiteX7241" fmla="*/ 1041759 w 12192185"/>
              <a:gd name="connsiteY7241" fmla="*/ 1152416 h 6859062"/>
              <a:gd name="connsiteX7242" fmla="*/ 1047209 w 12192185"/>
              <a:gd name="connsiteY7242" fmla="*/ 1158861 h 6859062"/>
              <a:gd name="connsiteX7243" fmla="*/ 1048404 w 12192185"/>
              <a:gd name="connsiteY7243" fmla="*/ 1162168 h 6859062"/>
              <a:gd name="connsiteX7244" fmla="*/ 1047483 w 12192185"/>
              <a:gd name="connsiteY7244" fmla="*/ 1169980 h 6859062"/>
              <a:gd name="connsiteX7245" fmla="*/ 1043620 w 12192185"/>
              <a:gd name="connsiteY7245" fmla="*/ 1182594 h 6859062"/>
              <a:gd name="connsiteX7246" fmla="*/ 1043083 w 12192185"/>
              <a:gd name="connsiteY7246" fmla="*/ 1187151 h 6859062"/>
              <a:gd name="connsiteX7247" fmla="*/ 1040270 w 12192185"/>
              <a:gd name="connsiteY7247" fmla="*/ 1189724 h 6859062"/>
              <a:gd name="connsiteX7248" fmla="*/ 1034621 w 12192185"/>
              <a:gd name="connsiteY7248" fmla="*/ 1193949 h 6859062"/>
              <a:gd name="connsiteX7249" fmla="*/ 1032811 w 12192185"/>
              <a:gd name="connsiteY7249" fmla="*/ 1195849 h 6859062"/>
              <a:gd name="connsiteX7250" fmla="*/ 1024379 w 12192185"/>
              <a:gd name="connsiteY7250" fmla="*/ 1200144 h 6859062"/>
              <a:gd name="connsiteX7251" fmla="*/ 1022647 w 12192185"/>
              <a:gd name="connsiteY7251" fmla="*/ 1201393 h 6859062"/>
              <a:gd name="connsiteX7252" fmla="*/ 998572 w 12192185"/>
              <a:gd name="connsiteY7252" fmla="*/ 1196074 h 6859062"/>
              <a:gd name="connsiteX7253" fmla="*/ 988417 w 12192185"/>
              <a:gd name="connsiteY7253" fmla="*/ 1186970 h 6859062"/>
              <a:gd name="connsiteX7254" fmla="*/ 984791 w 12192185"/>
              <a:gd name="connsiteY7254" fmla="*/ 1182981 h 6859062"/>
              <a:gd name="connsiteX7255" fmla="*/ 982822 w 12192185"/>
              <a:gd name="connsiteY7255" fmla="*/ 1178395 h 6859062"/>
              <a:gd name="connsiteX7256" fmla="*/ 982355 w 12192185"/>
              <a:gd name="connsiteY7256" fmla="*/ 1174515 h 6859062"/>
              <a:gd name="connsiteX7257" fmla="*/ 981044 w 12192185"/>
              <a:gd name="connsiteY7257" fmla="*/ 1166574 h 6859062"/>
              <a:gd name="connsiteX7258" fmla="*/ 980324 w 12192185"/>
              <a:gd name="connsiteY7258" fmla="*/ 1163718 h 6859062"/>
              <a:gd name="connsiteX7259" fmla="*/ 978761 w 12192185"/>
              <a:gd name="connsiteY7259" fmla="*/ 1156805 h 6859062"/>
              <a:gd name="connsiteX7260" fmla="*/ 988674 w 12192185"/>
              <a:gd name="connsiteY7260" fmla="*/ 1141069 h 6859062"/>
              <a:gd name="connsiteX7261" fmla="*/ 997403 w 12192185"/>
              <a:gd name="connsiteY7261" fmla="*/ 1137601 h 6859062"/>
              <a:gd name="connsiteX7262" fmla="*/ 1006422 w 12192185"/>
              <a:gd name="connsiteY7262" fmla="*/ 1134067 h 6859062"/>
              <a:gd name="connsiteX7263" fmla="*/ 7211787 w 12192185"/>
              <a:gd name="connsiteY7263" fmla="*/ 1133483 h 6859062"/>
              <a:gd name="connsiteX7264" fmla="*/ 7211471 w 12192185"/>
              <a:gd name="connsiteY7264" fmla="*/ 1133681 h 6859062"/>
              <a:gd name="connsiteX7265" fmla="*/ 7210824 w 12192185"/>
              <a:gd name="connsiteY7265" fmla="*/ 1133682 h 6859062"/>
              <a:gd name="connsiteX7266" fmla="*/ 7206723 w 12192185"/>
              <a:gd name="connsiteY7266" fmla="*/ 1141017 h 6859062"/>
              <a:gd name="connsiteX7267" fmla="*/ 7206391 w 12192185"/>
              <a:gd name="connsiteY7267" fmla="*/ 1148834 h 6859062"/>
              <a:gd name="connsiteX7268" fmla="*/ 7222377 w 12192185"/>
              <a:gd name="connsiteY7268" fmla="*/ 1157984 h 6859062"/>
              <a:gd name="connsiteX7269" fmla="*/ 7226763 w 12192185"/>
              <a:gd name="connsiteY7269" fmla="*/ 1156183 h 6859062"/>
              <a:gd name="connsiteX7270" fmla="*/ 7277147 w 12192185"/>
              <a:gd name="connsiteY7270" fmla="*/ 1186757 h 6859062"/>
              <a:gd name="connsiteX7271" fmla="*/ 7295990 w 12192185"/>
              <a:gd name="connsiteY7271" fmla="*/ 1199530 h 6859062"/>
              <a:gd name="connsiteX7272" fmla="*/ 7294636 w 12192185"/>
              <a:gd name="connsiteY7272" fmla="*/ 1197060 h 6859062"/>
              <a:gd name="connsiteX7273" fmla="*/ 7285080 w 12192185"/>
              <a:gd name="connsiteY7273" fmla="*/ 1185044 h 6859062"/>
              <a:gd name="connsiteX7274" fmla="*/ 7277535 w 12192185"/>
              <a:gd name="connsiteY7274" fmla="*/ 1180536 h 6859062"/>
              <a:gd name="connsiteX7275" fmla="*/ 7273774 w 12192185"/>
              <a:gd name="connsiteY7275" fmla="*/ 1169839 h 6859062"/>
              <a:gd name="connsiteX7276" fmla="*/ 7225743 w 12192185"/>
              <a:gd name="connsiteY7276" fmla="*/ 1141218 h 6859062"/>
              <a:gd name="connsiteX7277" fmla="*/ 4567066 w 12192185"/>
              <a:gd name="connsiteY7277" fmla="*/ 1130093 h 6859062"/>
              <a:gd name="connsiteX7278" fmla="*/ 4561347 w 12192185"/>
              <a:gd name="connsiteY7278" fmla="*/ 1133726 h 6859062"/>
              <a:gd name="connsiteX7279" fmla="*/ 4556343 w 12192185"/>
              <a:gd name="connsiteY7279" fmla="*/ 1140268 h 6859062"/>
              <a:gd name="connsiteX7280" fmla="*/ 4556078 w 12192185"/>
              <a:gd name="connsiteY7280" fmla="*/ 1140406 h 6859062"/>
              <a:gd name="connsiteX7281" fmla="*/ 4563736 w 12192185"/>
              <a:gd name="connsiteY7281" fmla="*/ 1142876 h 6859062"/>
              <a:gd name="connsiteX7282" fmla="*/ 4564950 w 12192185"/>
              <a:gd name="connsiteY7282" fmla="*/ 1142500 h 6859062"/>
              <a:gd name="connsiteX7283" fmla="*/ 4567066 w 12192185"/>
              <a:gd name="connsiteY7283" fmla="*/ 1130093 h 6859062"/>
              <a:gd name="connsiteX7284" fmla="*/ 1254004 w 12192185"/>
              <a:gd name="connsiteY7284" fmla="*/ 1122504 h 6859062"/>
              <a:gd name="connsiteX7285" fmla="*/ 1263764 w 12192185"/>
              <a:gd name="connsiteY7285" fmla="*/ 1123613 h 6859062"/>
              <a:gd name="connsiteX7286" fmla="*/ 1269352 w 12192185"/>
              <a:gd name="connsiteY7286" fmla="*/ 1124397 h 6859062"/>
              <a:gd name="connsiteX7287" fmla="*/ 1276188 w 12192185"/>
              <a:gd name="connsiteY7287" fmla="*/ 1126911 h 6859062"/>
              <a:gd name="connsiteX7288" fmla="*/ 1281094 w 12192185"/>
              <a:gd name="connsiteY7288" fmla="*/ 1130124 h 6859062"/>
              <a:gd name="connsiteX7289" fmla="*/ 1289340 w 12192185"/>
              <a:gd name="connsiteY7289" fmla="*/ 1140853 h 6859062"/>
              <a:gd name="connsiteX7290" fmla="*/ 1294789 w 12192185"/>
              <a:gd name="connsiteY7290" fmla="*/ 1147297 h 6859062"/>
              <a:gd name="connsiteX7291" fmla="*/ 1295985 w 12192185"/>
              <a:gd name="connsiteY7291" fmla="*/ 1150604 h 6859062"/>
              <a:gd name="connsiteX7292" fmla="*/ 1295064 w 12192185"/>
              <a:gd name="connsiteY7292" fmla="*/ 1158417 h 6859062"/>
              <a:gd name="connsiteX7293" fmla="*/ 1291201 w 12192185"/>
              <a:gd name="connsiteY7293" fmla="*/ 1171032 h 6859062"/>
              <a:gd name="connsiteX7294" fmla="*/ 1290664 w 12192185"/>
              <a:gd name="connsiteY7294" fmla="*/ 1175588 h 6859062"/>
              <a:gd name="connsiteX7295" fmla="*/ 1287850 w 12192185"/>
              <a:gd name="connsiteY7295" fmla="*/ 1178163 h 6859062"/>
              <a:gd name="connsiteX7296" fmla="*/ 1282201 w 12192185"/>
              <a:gd name="connsiteY7296" fmla="*/ 1182386 h 6859062"/>
              <a:gd name="connsiteX7297" fmla="*/ 1280392 w 12192185"/>
              <a:gd name="connsiteY7297" fmla="*/ 1184286 h 6859062"/>
              <a:gd name="connsiteX7298" fmla="*/ 1271960 w 12192185"/>
              <a:gd name="connsiteY7298" fmla="*/ 1188580 h 6859062"/>
              <a:gd name="connsiteX7299" fmla="*/ 1270228 w 12192185"/>
              <a:gd name="connsiteY7299" fmla="*/ 1189830 h 6859062"/>
              <a:gd name="connsiteX7300" fmla="*/ 1246153 w 12192185"/>
              <a:gd name="connsiteY7300" fmla="*/ 1184510 h 6859062"/>
              <a:gd name="connsiteX7301" fmla="*/ 1235997 w 12192185"/>
              <a:gd name="connsiteY7301" fmla="*/ 1175406 h 6859062"/>
              <a:gd name="connsiteX7302" fmla="*/ 1232372 w 12192185"/>
              <a:gd name="connsiteY7302" fmla="*/ 1171418 h 6859062"/>
              <a:gd name="connsiteX7303" fmla="*/ 1230403 w 12192185"/>
              <a:gd name="connsiteY7303" fmla="*/ 1166833 h 6859062"/>
              <a:gd name="connsiteX7304" fmla="*/ 1229936 w 12192185"/>
              <a:gd name="connsiteY7304" fmla="*/ 1162951 h 6859062"/>
              <a:gd name="connsiteX7305" fmla="*/ 1228625 w 12192185"/>
              <a:gd name="connsiteY7305" fmla="*/ 1155012 h 6859062"/>
              <a:gd name="connsiteX7306" fmla="*/ 1227906 w 12192185"/>
              <a:gd name="connsiteY7306" fmla="*/ 1152155 h 6859062"/>
              <a:gd name="connsiteX7307" fmla="*/ 1226343 w 12192185"/>
              <a:gd name="connsiteY7307" fmla="*/ 1145241 h 6859062"/>
              <a:gd name="connsiteX7308" fmla="*/ 1236254 w 12192185"/>
              <a:gd name="connsiteY7308" fmla="*/ 1129505 h 6859062"/>
              <a:gd name="connsiteX7309" fmla="*/ 1244984 w 12192185"/>
              <a:gd name="connsiteY7309" fmla="*/ 1126038 h 6859062"/>
              <a:gd name="connsiteX7310" fmla="*/ 1254004 w 12192185"/>
              <a:gd name="connsiteY7310" fmla="*/ 1122504 h 6859062"/>
              <a:gd name="connsiteX7311" fmla="*/ 8537522 w 12192185"/>
              <a:gd name="connsiteY7311" fmla="*/ 1105800 h 6859062"/>
              <a:gd name="connsiteX7312" fmla="*/ 8544666 w 12192185"/>
              <a:gd name="connsiteY7312" fmla="*/ 1105801 h 6859062"/>
              <a:gd name="connsiteX7313" fmla="*/ 8545737 w 12192185"/>
              <a:gd name="connsiteY7313" fmla="*/ 1107222 h 6859062"/>
              <a:gd name="connsiteX7314" fmla="*/ 8555739 w 12192185"/>
              <a:gd name="connsiteY7314" fmla="*/ 1115046 h 6859062"/>
              <a:gd name="connsiteX7315" fmla="*/ 8558954 w 12192185"/>
              <a:gd name="connsiteY7315" fmla="*/ 1127136 h 6859062"/>
              <a:gd name="connsiteX7316" fmla="*/ 8553952 w 12192185"/>
              <a:gd name="connsiteY7316" fmla="*/ 1141360 h 6859062"/>
              <a:gd name="connsiteX7317" fmla="*/ 8548595 w 12192185"/>
              <a:gd name="connsiteY7317" fmla="*/ 1144559 h 6859062"/>
              <a:gd name="connsiteX7318" fmla="*/ 8541808 w 12192185"/>
              <a:gd name="connsiteY7318" fmla="*/ 1153093 h 6859062"/>
              <a:gd name="connsiteX7319" fmla="*/ 8539666 w 12192185"/>
              <a:gd name="connsiteY7319" fmla="*/ 1157005 h 6859062"/>
              <a:gd name="connsiteX7320" fmla="*/ 8528950 w 12192185"/>
              <a:gd name="connsiteY7320" fmla="*/ 1166961 h 6859062"/>
              <a:gd name="connsiteX7321" fmla="*/ 8519664 w 12192185"/>
              <a:gd name="connsiteY7321" fmla="*/ 1165538 h 6859062"/>
              <a:gd name="connsiteX7322" fmla="*/ 8511807 w 12192185"/>
              <a:gd name="connsiteY7322" fmla="*/ 1160559 h 6859062"/>
              <a:gd name="connsiteX7323" fmla="*/ 8507520 w 12192185"/>
              <a:gd name="connsiteY7323" fmla="*/ 1155582 h 6859062"/>
              <a:gd name="connsiteX7324" fmla="*/ 8507521 w 12192185"/>
              <a:gd name="connsiteY7324" fmla="*/ 1142781 h 6859062"/>
              <a:gd name="connsiteX7325" fmla="*/ 8515379 w 12192185"/>
              <a:gd name="connsiteY7325" fmla="*/ 1134958 h 6859062"/>
              <a:gd name="connsiteX7326" fmla="*/ 8520378 w 12192185"/>
              <a:gd name="connsiteY7326" fmla="*/ 1125713 h 6859062"/>
              <a:gd name="connsiteX7327" fmla="*/ 8524307 w 12192185"/>
              <a:gd name="connsiteY7327" fmla="*/ 1116113 h 6859062"/>
              <a:gd name="connsiteX7328" fmla="*/ 8529665 w 12192185"/>
              <a:gd name="connsiteY7328" fmla="*/ 1109713 h 6859062"/>
              <a:gd name="connsiteX7329" fmla="*/ 8537522 w 12192185"/>
              <a:gd name="connsiteY7329" fmla="*/ 1105800 h 6859062"/>
              <a:gd name="connsiteX7330" fmla="*/ 597961 w 12192185"/>
              <a:gd name="connsiteY7330" fmla="*/ 1104654 h 6859062"/>
              <a:gd name="connsiteX7331" fmla="*/ 621651 w 12192185"/>
              <a:gd name="connsiteY7331" fmla="*/ 1112373 h 6859062"/>
              <a:gd name="connsiteX7332" fmla="*/ 625963 w 12192185"/>
              <a:gd name="connsiteY7332" fmla="*/ 1120833 h 6859062"/>
              <a:gd name="connsiteX7333" fmla="*/ 627667 w 12192185"/>
              <a:gd name="connsiteY7333" fmla="*/ 1124392 h 6859062"/>
              <a:gd name="connsiteX7334" fmla="*/ 633119 w 12192185"/>
              <a:gd name="connsiteY7334" fmla="*/ 1133694 h 6859062"/>
              <a:gd name="connsiteX7335" fmla="*/ 635963 w 12192185"/>
              <a:gd name="connsiteY7335" fmla="*/ 1138092 h 6859062"/>
              <a:gd name="connsiteX7336" fmla="*/ 637863 w 12192185"/>
              <a:gd name="connsiteY7336" fmla="*/ 1144504 h 6859062"/>
              <a:gd name="connsiteX7337" fmla="*/ 637543 w 12192185"/>
              <a:gd name="connsiteY7337" fmla="*/ 1151716 h 6859062"/>
              <a:gd name="connsiteX7338" fmla="*/ 634883 w 12192185"/>
              <a:gd name="connsiteY7338" fmla="*/ 1169795 h 6859062"/>
              <a:gd name="connsiteX7339" fmla="*/ 614641 w 12192185"/>
              <a:gd name="connsiteY7339" fmla="*/ 1195898 h 6859062"/>
              <a:gd name="connsiteX7340" fmla="*/ 611786 w 12192185"/>
              <a:gd name="connsiteY7340" fmla="*/ 1196095 h 6859062"/>
              <a:gd name="connsiteX7341" fmla="*/ 599422 w 12192185"/>
              <a:gd name="connsiteY7341" fmla="*/ 1198895 h 6859062"/>
              <a:gd name="connsiteX7342" fmla="*/ 595931 w 12192185"/>
              <a:gd name="connsiteY7342" fmla="*/ 1198487 h 6859062"/>
              <a:gd name="connsiteX7343" fmla="*/ 586493 w 12192185"/>
              <a:gd name="connsiteY7343" fmla="*/ 1198976 h 6859062"/>
              <a:gd name="connsiteX7344" fmla="*/ 581389 w 12192185"/>
              <a:gd name="connsiteY7344" fmla="*/ 1198734 h 6859062"/>
              <a:gd name="connsiteX7345" fmla="*/ 576932 w 12192185"/>
              <a:gd name="connsiteY7345" fmla="*/ 1194499 h 6859062"/>
              <a:gd name="connsiteX7346" fmla="*/ 562147 w 12192185"/>
              <a:gd name="connsiteY7346" fmla="*/ 1184816 h 6859062"/>
              <a:gd name="connsiteX7347" fmla="*/ 554507 w 12192185"/>
              <a:gd name="connsiteY7347" fmla="*/ 1177558 h 6859062"/>
              <a:gd name="connsiteX7348" fmla="*/ 552905 w 12192185"/>
              <a:gd name="connsiteY7348" fmla="*/ 1173128 h 6859062"/>
              <a:gd name="connsiteX7349" fmla="*/ 552999 w 12192185"/>
              <a:gd name="connsiteY7349" fmla="*/ 1161822 h 6859062"/>
              <a:gd name="connsiteX7350" fmla="*/ 552302 w 12192185"/>
              <a:gd name="connsiteY7350" fmla="*/ 1143705 h 6859062"/>
              <a:gd name="connsiteX7351" fmla="*/ 554602 w 12192185"/>
              <a:gd name="connsiteY7351" fmla="*/ 1136193 h 6859062"/>
              <a:gd name="connsiteX7352" fmla="*/ 559491 w 12192185"/>
              <a:gd name="connsiteY7352" fmla="*/ 1127746 h 6859062"/>
              <a:gd name="connsiteX7353" fmla="*/ 564575 w 12192185"/>
              <a:gd name="connsiteY7353" fmla="*/ 1122151 h 6859062"/>
              <a:gd name="connsiteX7354" fmla="*/ 585997 w 12192185"/>
              <a:gd name="connsiteY7354" fmla="*/ 1108563 h 6859062"/>
              <a:gd name="connsiteX7355" fmla="*/ 597961 w 12192185"/>
              <a:gd name="connsiteY7355" fmla="*/ 1104654 h 6859062"/>
              <a:gd name="connsiteX7356" fmla="*/ 7013964 w 12192185"/>
              <a:gd name="connsiteY7356" fmla="*/ 1100052 h 6859062"/>
              <a:gd name="connsiteX7357" fmla="*/ 7020155 w 12192185"/>
              <a:gd name="connsiteY7357" fmla="*/ 1102634 h 6859062"/>
              <a:gd name="connsiteX7358" fmla="*/ 7013833 w 12192185"/>
              <a:gd name="connsiteY7358" fmla="*/ 1100105 h 6859062"/>
              <a:gd name="connsiteX7359" fmla="*/ 7183887 w 12192185"/>
              <a:gd name="connsiteY7359" fmla="*/ 1087008 h 6859062"/>
              <a:gd name="connsiteX7360" fmla="*/ 7196682 w 12192185"/>
              <a:gd name="connsiteY7360" fmla="*/ 1099734 h 6859062"/>
              <a:gd name="connsiteX7361" fmla="*/ 7195716 w 12192185"/>
              <a:gd name="connsiteY7361" fmla="*/ 1101106 h 6859062"/>
              <a:gd name="connsiteX7362" fmla="*/ 7197615 w 12192185"/>
              <a:gd name="connsiteY7362" fmla="*/ 1105110 h 6859062"/>
              <a:gd name="connsiteX7363" fmla="*/ 7198660 w 12192185"/>
              <a:gd name="connsiteY7363" fmla="*/ 1105650 h 6859062"/>
              <a:gd name="connsiteX7364" fmla="*/ 7201544 w 12192185"/>
              <a:gd name="connsiteY7364" fmla="*/ 1106931 h 6859062"/>
              <a:gd name="connsiteX7365" fmla="*/ 7201681 w 12192185"/>
              <a:gd name="connsiteY7365" fmla="*/ 1107206 h 6859062"/>
              <a:gd name="connsiteX7366" fmla="*/ 7214474 w 12192185"/>
              <a:gd name="connsiteY7366" fmla="*/ 1113799 h 6859062"/>
              <a:gd name="connsiteX7367" fmla="*/ 7273609 w 12192185"/>
              <a:gd name="connsiteY7367" fmla="*/ 1148793 h 6859062"/>
              <a:gd name="connsiteX7368" fmla="*/ 7275020 w 12192185"/>
              <a:gd name="connsiteY7368" fmla="*/ 1143484 h 6859062"/>
              <a:gd name="connsiteX7369" fmla="*/ 7278871 w 12192185"/>
              <a:gd name="connsiteY7369" fmla="*/ 1137687 h 6859062"/>
              <a:gd name="connsiteX7370" fmla="*/ 11811558 w 12192185"/>
              <a:gd name="connsiteY7370" fmla="*/ 1073556 h 6859062"/>
              <a:gd name="connsiteX7371" fmla="*/ 11815660 w 12192185"/>
              <a:gd name="connsiteY7371" fmla="*/ 1073967 h 6859062"/>
              <a:gd name="connsiteX7372" fmla="*/ 11823133 w 12192185"/>
              <a:gd name="connsiteY7372" fmla="*/ 1075474 h 6859062"/>
              <a:gd name="connsiteX7373" fmla="*/ 11825966 w 12192185"/>
              <a:gd name="connsiteY7373" fmla="*/ 1075563 h 6859062"/>
              <a:gd name="connsiteX7374" fmla="*/ 11835500 w 12192185"/>
              <a:gd name="connsiteY7374" fmla="*/ 1079259 h 6859062"/>
              <a:gd name="connsiteX7375" fmla="*/ 11837755 w 12192185"/>
              <a:gd name="connsiteY7375" fmla="*/ 1079754 h 6859062"/>
              <a:gd name="connsiteX7376" fmla="*/ 11850817 w 12192185"/>
              <a:gd name="connsiteY7376" fmla="*/ 1102979 h 6859062"/>
              <a:gd name="connsiteX7377" fmla="*/ 11850801 w 12192185"/>
              <a:gd name="connsiteY7377" fmla="*/ 1117720 h 6859062"/>
              <a:gd name="connsiteX7378" fmla="*/ 11850201 w 12192185"/>
              <a:gd name="connsiteY7378" fmla="*/ 1123512 h 6859062"/>
              <a:gd name="connsiteX7379" fmla="*/ 11847927 w 12192185"/>
              <a:gd name="connsiteY7379" fmla="*/ 1128402 h 6859062"/>
              <a:gd name="connsiteX7380" fmla="*/ 11845137 w 12192185"/>
              <a:gd name="connsiteY7380" fmla="*/ 1131575 h 6859062"/>
              <a:gd name="connsiteX7381" fmla="*/ 11839686 w 12192185"/>
              <a:gd name="connsiteY7381" fmla="*/ 1138351 h 6859062"/>
              <a:gd name="connsiteX7382" fmla="*/ 11837905 w 12192185"/>
              <a:gd name="connsiteY7382" fmla="*/ 1140989 h 6859062"/>
              <a:gd name="connsiteX7383" fmla="*/ 11833463 w 12192185"/>
              <a:gd name="connsiteY7383" fmla="*/ 1147230 h 6859062"/>
              <a:gd name="connsiteX7384" fmla="*/ 11813646 w 12192185"/>
              <a:gd name="connsiteY7384" fmla="*/ 1150584 h 6859062"/>
              <a:gd name="connsiteX7385" fmla="*/ 11804563 w 12192185"/>
              <a:gd name="connsiteY7385" fmla="*/ 1146050 h 6859062"/>
              <a:gd name="connsiteX7386" fmla="*/ 11789078 w 12192185"/>
              <a:gd name="connsiteY7386" fmla="*/ 1132672 h 6859062"/>
              <a:gd name="connsiteX7387" fmla="*/ 11785685 w 12192185"/>
              <a:gd name="connsiteY7387" fmla="*/ 1127607 h 6859062"/>
              <a:gd name="connsiteX7388" fmla="*/ 11782783 w 12192185"/>
              <a:gd name="connsiteY7388" fmla="*/ 1120288 h 6859062"/>
              <a:gd name="connsiteX7389" fmla="*/ 11781836 w 12192185"/>
              <a:gd name="connsiteY7389" fmla="*/ 1114023 h 6859062"/>
              <a:gd name="connsiteX7390" fmla="*/ 11784536 w 12192185"/>
              <a:gd name="connsiteY7390" fmla="*/ 1099649 h 6859062"/>
              <a:gd name="connsiteX7391" fmla="*/ 11785800 w 12192185"/>
              <a:gd name="connsiteY7391" fmla="*/ 1090616 h 6859062"/>
              <a:gd name="connsiteX7392" fmla="*/ 11787602 w 12192185"/>
              <a:gd name="connsiteY7392" fmla="*/ 1087270 h 6859062"/>
              <a:gd name="connsiteX7393" fmla="*/ 11794558 w 12192185"/>
              <a:gd name="connsiteY7393" fmla="*/ 1082383 h 6859062"/>
              <a:gd name="connsiteX7394" fmla="*/ 11807502 w 12192185"/>
              <a:gd name="connsiteY7394" fmla="*/ 1076407 h 6859062"/>
              <a:gd name="connsiteX7395" fmla="*/ 11811558 w 12192185"/>
              <a:gd name="connsiteY7395" fmla="*/ 1073556 h 6859062"/>
              <a:gd name="connsiteX7396" fmla="*/ 3461799 w 12192185"/>
              <a:gd name="connsiteY7396" fmla="*/ 1070611 h 6859062"/>
              <a:gd name="connsiteX7397" fmla="*/ 3458820 w 12192185"/>
              <a:gd name="connsiteY7397" fmla="*/ 1070638 h 6859062"/>
              <a:gd name="connsiteX7398" fmla="*/ 2776378 w 12192185"/>
              <a:gd name="connsiteY7398" fmla="*/ 1186408 h 6859062"/>
              <a:gd name="connsiteX7399" fmla="*/ 1048197 w 12192185"/>
              <a:gd name="connsiteY7399" fmla="*/ 2825953 h 6859062"/>
              <a:gd name="connsiteX7400" fmla="*/ 994734 w 12192185"/>
              <a:gd name="connsiteY7400" fmla="*/ 2990368 h 6859062"/>
              <a:gd name="connsiteX7401" fmla="*/ 989169 w 12192185"/>
              <a:gd name="connsiteY7401" fmla="*/ 2993579 h 6859062"/>
              <a:gd name="connsiteX7402" fmla="*/ 985640 w 12192185"/>
              <a:gd name="connsiteY7402" fmla="*/ 3006747 h 6859062"/>
              <a:gd name="connsiteX7403" fmla="*/ 988854 w 12192185"/>
              <a:gd name="connsiteY7403" fmla="*/ 3012311 h 6859062"/>
              <a:gd name="connsiteX7404" fmla="*/ 955927 w 12192185"/>
              <a:gd name="connsiteY7404" fmla="*/ 3135204 h 6859062"/>
              <a:gd name="connsiteX7405" fmla="*/ 905823 w 12192185"/>
              <a:gd name="connsiteY7405" fmla="*/ 3427500 h 6859062"/>
              <a:gd name="connsiteX7406" fmla="*/ 958252 w 12192185"/>
              <a:gd name="connsiteY7406" fmla="*/ 4372873 h 6859062"/>
              <a:gd name="connsiteX7407" fmla="*/ 1119498 w 12192185"/>
              <a:gd name="connsiteY7407" fmla="*/ 4877053 h 6859062"/>
              <a:gd name="connsiteX7408" fmla="*/ 1111898 w 12192185"/>
              <a:gd name="connsiteY7408" fmla="*/ 4870312 h 6859062"/>
              <a:gd name="connsiteX7409" fmla="*/ 1143710 w 12192185"/>
              <a:gd name="connsiteY7409" fmla="*/ 4944689 h 6859062"/>
              <a:gd name="connsiteX7410" fmla="*/ 1166200 w 12192185"/>
              <a:gd name="connsiteY7410" fmla="*/ 4983643 h 6859062"/>
              <a:gd name="connsiteX7411" fmla="*/ 1232490 w 12192185"/>
              <a:gd name="connsiteY7411" fmla="*/ 5104889 h 6859062"/>
              <a:gd name="connsiteX7412" fmla="*/ 1258195 w 12192185"/>
              <a:gd name="connsiteY7412" fmla="*/ 5149406 h 6859062"/>
              <a:gd name="connsiteX7413" fmla="*/ 1519689 w 12192185"/>
              <a:gd name="connsiteY7413" fmla="*/ 5525221 h 6859062"/>
              <a:gd name="connsiteX7414" fmla="*/ 1426433 w 12192185"/>
              <a:gd name="connsiteY7414" fmla="*/ 5434382 h 6859062"/>
              <a:gd name="connsiteX7415" fmla="*/ 1414759 w 12192185"/>
              <a:gd name="connsiteY7415" fmla="*/ 5407733 h 6859062"/>
              <a:gd name="connsiteX7416" fmla="*/ 1323856 w 12192185"/>
              <a:gd name="connsiteY7416" fmla="*/ 5308115 h 6859062"/>
              <a:gd name="connsiteX7417" fmla="*/ 1339605 w 12192185"/>
              <a:gd name="connsiteY7417" fmla="*/ 5354669 h 6859062"/>
              <a:gd name="connsiteX7418" fmla="*/ 1415304 w 12192185"/>
              <a:gd name="connsiteY7418" fmla="*/ 5440806 h 6859062"/>
              <a:gd name="connsiteX7419" fmla="*/ 1426979 w 12192185"/>
              <a:gd name="connsiteY7419" fmla="*/ 5467453 h 6859062"/>
              <a:gd name="connsiteX7420" fmla="*/ 1491003 w 12192185"/>
              <a:gd name="connsiteY7420" fmla="*/ 5526944 h 6859062"/>
              <a:gd name="connsiteX7421" fmla="*/ 1547112 w 12192185"/>
              <a:gd name="connsiteY7421" fmla="*/ 5598424 h 6859062"/>
              <a:gd name="connsiteX7422" fmla="*/ 1567879 w 12192185"/>
              <a:gd name="connsiteY7422" fmla="*/ 5608694 h 6859062"/>
              <a:gd name="connsiteX7423" fmla="*/ 1591545 w 12192185"/>
              <a:gd name="connsiteY7423" fmla="*/ 5643256 h 6859062"/>
              <a:gd name="connsiteX7424" fmla="*/ 1623988 w 12192185"/>
              <a:gd name="connsiteY7424" fmla="*/ 5680173 h 6859062"/>
              <a:gd name="connsiteX7425" fmla="*/ 1674301 w 12192185"/>
              <a:gd name="connsiteY7425" fmla="*/ 5703061 h 6859062"/>
              <a:gd name="connsiteX7426" fmla="*/ 1664663 w 12192185"/>
              <a:gd name="connsiteY7426" fmla="*/ 5686367 h 6859062"/>
              <a:gd name="connsiteX7427" fmla="*/ 2884881 w 12192185"/>
              <a:gd name="connsiteY7427" fmla="*/ 6399030 h 6859062"/>
              <a:gd name="connsiteX7428" fmla="*/ 2885870 w 12192185"/>
              <a:gd name="connsiteY7428" fmla="*/ 6399247 h 6859062"/>
              <a:gd name="connsiteX7429" fmla="*/ 2757097 w 12192185"/>
              <a:gd name="connsiteY7429" fmla="*/ 6354345 h 6859062"/>
              <a:gd name="connsiteX7430" fmla="*/ 2503954 w 12192185"/>
              <a:gd name="connsiteY7430" fmla="*/ 6224184 h 6859062"/>
              <a:gd name="connsiteX7431" fmla="*/ 2420336 w 12192185"/>
              <a:gd name="connsiteY7431" fmla="*/ 6174340 h 6859062"/>
              <a:gd name="connsiteX7432" fmla="*/ 2407395 w 12192185"/>
              <a:gd name="connsiteY7432" fmla="*/ 6168781 h 6859062"/>
              <a:gd name="connsiteX7433" fmla="*/ 1715291 w 12192185"/>
              <a:gd name="connsiteY7433" fmla="*/ 5690526 h 6859062"/>
              <a:gd name="connsiteX7434" fmla="*/ 1728457 w 12192185"/>
              <a:gd name="connsiteY7434" fmla="*/ 5694053 h 6859062"/>
              <a:gd name="connsiteX7435" fmla="*/ 1667644 w 12192185"/>
              <a:gd name="connsiteY7435" fmla="*/ 5640128 h 6859062"/>
              <a:gd name="connsiteX7436" fmla="*/ 1597193 w 12192185"/>
              <a:gd name="connsiteY7436" fmla="*/ 5569508 h 6859062"/>
              <a:gd name="connsiteX7437" fmla="*/ 1557151 w 12192185"/>
              <a:gd name="connsiteY7437" fmla="*/ 5525852 h 6859062"/>
              <a:gd name="connsiteX7438" fmla="*/ 1558327 w 12192185"/>
              <a:gd name="connsiteY7438" fmla="*/ 5521463 h 6859062"/>
              <a:gd name="connsiteX7439" fmla="*/ 1553938 w 12192185"/>
              <a:gd name="connsiteY7439" fmla="*/ 5520289 h 6859062"/>
              <a:gd name="connsiteX7440" fmla="*/ 1550725 w 12192185"/>
              <a:gd name="connsiteY7440" fmla="*/ 5514723 h 6859062"/>
              <a:gd name="connsiteX7441" fmla="*/ 1543124 w 12192185"/>
              <a:gd name="connsiteY7441" fmla="*/ 5507982 h 6859062"/>
              <a:gd name="connsiteX7442" fmla="*/ 1524708 w 12192185"/>
              <a:gd name="connsiteY7442" fmla="*/ 5488937 h 6859062"/>
              <a:gd name="connsiteX7443" fmla="*/ 1467423 w 12192185"/>
              <a:gd name="connsiteY7443" fmla="*/ 5421844 h 6859062"/>
              <a:gd name="connsiteX7444" fmla="*/ 1446970 w 12192185"/>
              <a:gd name="connsiteY7444" fmla="*/ 5392846 h 6859062"/>
              <a:gd name="connsiteX7445" fmla="*/ 1398464 w 12192185"/>
              <a:gd name="connsiteY7445" fmla="*/ 5328106 h 6859062"/>
              <a:gd name="connsiteX7446" fmla="*/ 1402853 w 12192185"/>
              <a:gd name="connsiteY7446" fmla="*/ 5329282 h 6859062"/>
              <a:gd name="connsiteX7447" fmla="*/ 1392039 w 12192185"/>
              <a:gd name="connsiteY7447" fmla="*/ 5316977 h 6859062"/>
              <a:gd name="connsiteX7448" fmla="*/ 958252 w 12192185"/>
              <a:gd name="connsiteY7448" fmla="*/ 4372873 h 6859062"/>
              <a:gd name="connsiteX7449" fmla="*/ 976380 w 12192185"/>
              <a:gd name="connsiteY7449" fmla="*/ 3164204 h 6859062"/>
              <a:gd name="connsiteX7450" fmla="*/ 985158 w 12192185"/>
              <a:gd name="connsiteY7450" fmla="*/ 3166556 h 6859062"/>
              <a:gd name="connsiteX7451" fmla="*/ 999331 w 12192185"/>
              <a:gd name="connsiteY7451" fmla="*/ 3306771 h 6859062"/>
              <a:gd name="connsiteX7452" fmla="*/ 1008424 w 12192185"/>
              <a:gd name="connsiteY7452" fmla="*/ 3290393 h 6859062"/>
              <a:gd name="connsiteX7453" fmla="*/ 996035 w 12192185"/>
              <a:gd name="connsiteY7453" fmla="*/ 3371709 h 6859062"/>
              <a:gd name="connsiteX7454" fmla="*/ 1002691 w 12192185"/>
              <a:gd name="connsiteY7454" fmla="*/ 3434641 h 6859062"/>
              <a:gd name="connsiteX7455" fmla="*/ 1023227 w 12192185"/>
              <a:gd name="connsiteY7455" fmla="*/ 3393108 h 6859062"/>
              <a:gd name="connsiteX7456" fmla="*/ 1026441 w 12192185"/>
              <a:gd name="connsiteY7456" fmla="*/ 3398673 h 6859062"/>
              <a:gd name="connsiteX7457" fmla="*/ 1025264 w 12192185"/>
              <a:gd name="connsiteY7457" fmla="*/ 3403067 h 6859062"/>
              <a:gd name="connsiteX7458" fmla="*/ 1024089 w 12192185"/>
              <a:gd name="connsiteY7458" fmla="*/ 3407448 h 6859062"/>
              <a:gd name="connsiteX7459" fmla="*/ 1021737 w 12192185"/>
              <a:gd name="connsiteY7459" fmla="*/ 3416226 h 6859062"/>
              <a:gd name="connsiteX7460" fmla="*/ 1027300 w 12192185"/>
              <a:gd name="connsiteY7460" fmla="*/ 3413014 h 6859062"/>
              <a:gd name="connsiteX7461" fmla="*/ 1028477 w 12192185"/>
              <a:gd name="connsiteY7461" fmla="*/ 3408636 h 6859062"/>
              <a:gd name="connsiteX7462" fmla="*/ 1029653 w 12192185"/>
              <a:gd name="connsiteY7462" fmla="*/ 3404237 h 6859062"/>
              <a:gd name="connsiteX7463" fmla="*/ 1037569 w 12192185"/>
              <a:gd name="connsiteY7463" fmla="*/ 3392250 h 6859062"/>
              <a:gd name="connsiteX7464" fmla="*/ 1034356 w 12192185"/>
              <a:gd name="connsiteY7464" fmla="*/ 3386690 h 6859062"/>
              <a:gd name="connsiteX7465" fmla="*/ 1033180 w 12192185"/>
              <a:gd name="connsiteY7465" fmla="*/ 3391085 h 6859062"/>
              <a:gd name="connsiteX7466" fmla="*/ 1027616 w 12192185"/>
              <a:gd name="connsiteY7466" fmla="*/ 3394299 h 6859062"/>
              <a:gd name="connsiteX7467" fmla="*/ 1031143 w 12192185"/>
              <a:gd name="connsiteY7467" fmla="*/ 3381121 h 6859062"/>
              <a:gd name="connsiteX7468" fmla="*/ 1032320 w 12192185"/>
              <a:gd name="connsiteY7468" fmla="*/ 3376735 h 6859062"/>
              <a:gd name="connsiteX7469" fmla="*/ 1063671 w 12192185"/>
              <a:gd name="connsiteY7469" fmla="*/ 3347514 h 6859062"/>
              <a:gd name="connsiteX7470" fmla="*/ 1053948 w 12192185"/>
              <a:gd name="connsiteY7470" fmla="*/ 3401338 h 6859062"/>
              <a:gd name="connsiteX7471" fmla="*/ 1076207 w 12192185"/>
              <a:gd name="connsiteY7471" fmla="*/ 3388493 h 6859062"/>
              <a:gd name="connsiteX7472" fmla="*/ 1091872 w 12192185"/>
              <a:gd name="connsiteY7472" fmla="*/ 3505565 h 6859062"/>
              <a:gd name="connsiteX7473" fmla="*/ 1090695 w 12192185"/>
              <a:gd name="connsiteY7473" fmla="*/ 3509957 h 6859062"/>
              <a:gd name="connsiteX7474" fmla="*/ 1088344 w 12192185"/>
              <a:gd name="connsiteY7474" fmla="*/ 3518731 h 6859062"/>
              <a:gd name="connsiteX7475" fmla="*/ 1091555 w 12192185"/>
              <a:gd name="connsiteY7475" fmla="*/ 3524296 h 6859062"/>
              <a:gd name="connsiteX7476" fmla="*/ 1091787 w 12192185"/>
              <a:gd name="connsiteY7476" fmla="*/ 3576082 h 6859062"/>
              <a:gd name="connsiteX7477" fmla="*/ 1091471 w 12192185"/>
              <a:gd name="connsiteY7477" fmla="*/ 3594812 h 6859062"/>
              <a:gd name="connsiteX7478" fmla="*/ 1094684 w 12192185"/>
              <a:gd name="connsiteY7478" fmla="*/ 3600379 h 6859062"/>
              <a:gd name="connsiteX7479" fmla="*/ 1093508 w 12192185"/>
              <a:gd name="connsiteY7479" fmla="*/ 3604767 h 6859062"/>
              <a:gd name="connsiteX7480" fmla="*/ 1097897 w 12192185"/>
              <a:gd name="connsiteY7480" fmla="*/ 3605941 h 6859062"/>
              <a:gd name="connsiteX7481" fmla="*/ 1096721 w 12192185"/>
              <a:gd name="connsiteY7481" fmla="*/ 3610330 h 6859062"/>
              <a:gd name="connsiteX7482" fmla="*/ 1100795 w 12192185"/>
              <a:gd name="connsiteY7482" fmla="*/ 3630235 h 6859062"/>
              <a:gd name="connsiteX7483" fmla="*/ 1108711 w 12192185"/>
              <a:gd name="connsiteY7483" fmla="*/ 3618247 h 6859062"/>
              <a:gd name="connsiteX7484" fmla="*/ 1115137 w 12192185"/>
              <a:gd name="connsiteY7484" fmla="*/ 3629376 h 6859062"/>
              <a:gd name="connsiteX7485" fmla="*/ 1108943 w 12192185"/>
              <a:gd name="connsiteY7485" fmla="*/ 3670048 h 6859062"/>
              <a:gd name="connsiteX7486" fmla="*/ 1115830 w 12192185"/>
              <a:gd name="connsiteY7486" fmla="*/ 3784784 h 6859062"/>
              <a:gd name="connsiteX7487" fmla="*/ 1117551 w 12192185"/>
              <a:gd name="connsiteY7487" fmla="*/ 3813469 h 6859062"/>
              <a:gd name="connsiteX7488" fmla="*/ 1124752 w 12192185"/>
              <a:gd name="connsiteY7488" fmla="*/ 3909475 h 6859062"/>
              <a:gd name="connsiteX7489" fmla="*/ 1121225 w 12192185"/>
              <a:gd name="connsiteY7489" fmla="*/ 3922641 h 6859062"/>
              <a:gd name="connsiteX7490" fmla="*/ 1127650 w 12192185"/>
              <a:gd name="connsiteY7490" fmla="*/ 3933770 h 6859062"/>
              <a:gd name="connsiteX7491" fmla="*/ 1122085 w 12192185"/>
              <a:gd name="connsiteY7491" fmla="*/ 3936983 h 6859062"/>
              <a:gd name="connsiteX7492" fmla="*/ 1131953 w 12192185"/>
              <a:gd name="connsiteY7492" fmla="*/ 4005480 h 6859062"/>
              <a:gd name="connsiteX7493" fmla="*/ 1123178 w 12192185"/>
              <a:gd name="connsiteY7493" fmla="*/ 4003129 h 6859062"/>
              <a:gd name="connsiteX7494" fmla="*/ 1132816 w 12192185"/>
              <a:gd name="connsiteY7494" fmla="*/ 4019823 h 6859062"/>
              <a:gd name="connsiteX7495" fmla="*/ 1137750 w 12192185"/>
              <a:gd name="connsiteY7495" fmla="*/ 4054073 h 6859062"/>
              <a:gd name="connsiteX7496" fmla="*/ 1136575 w 12192185"/>
              <a:gd name="connsiteY7496" fmla="*/ 4058460 h 6859062"/>
              <a:gd name="connsiteX7497" fmla="*/ 1132186 w 12192185"/>
              <a:gd name="connsiteY7497" fmla="*/ 4057284 h 6859062"/>
              <a:gd name="connsiteX7498" fmla="*/ 1127797 w 12192185"/>
              <a:gd name="connsiteY7498" fmla="*/ 4056109 h 6859062"/>
              <a:gd name="connsiteX7499" fmla="*/ 1126621 w 12192185"/>
              <a:gd name="connsiteY7499" fmla="*/ 4060497 h 6859062"/>
              <a:gd name="connsiteX7500" fmla="*/ 1125131 w 12192185"/>
              <a:gd name="connsiteY7500" fmla="*/ 4083618 h 6859062"/>
              <a:gd name="connsiteX7501" fmla="*/ 1120741 w 12192185"/>
              <a:gd name="connsiteY7501" fmla="*/ 4082442 h 6859062"/>
              <a:gd name="connsiteX7502" fmla="*/ 1119566 w 12192185"/>
              <a:gd name="connsiteY7502" fmla="*/ 4086829 h 6859062"/>
              <a:gd name="connsiteX7503" fmla="*/ 1122778 w 12192185"/>
              <a:gd name="connsiteY7503" fmla="*/ 4092394 h 6859062"/>
              <a:gd name="connsiteX7504" fmla="*/ 1135543 w 12192185"/>
              <a:gd name="connsiteY7504" fmla="*/ 4185188 h 6859062"/>
              <a:gd name="connsiteX7505" fmla="*/ 1161478 w 12192185"/>
              <a:gd name="connsiteY7505" fmla="*/ 4281508 h 6859062"/>
              <a:gd name="connsiteX7506" fmla="*/ 1167618 w 12192185"/>
              <a:gd name="connsiteY7506" fmla="*/ 4317844 h 6859062"/>
              <a:gd name="connsiteX7507" fmla="*/ 1171554 w 12192185"/>
              <a:gd name="connsiteY7507" fmla="*/ 4332234 h 6859062"/>
              <a:gd name="connsiteX7508" fmla="*/ 1160505 w 12192185"/>
              <a:gd name="connsiteY7508" fmla="*/ 4265501 h 6859062"/>
              <a:gd name="connsiteX7509" fmla="*/ 1150929 w 12192185"/>
              <a:gd name="connsiteY7509" fmla="*/ 3665582 h 6859062"/>
              <a:gd name="connsiteX7510" fmla="*/ 1178732 w 12192185"/>
              <a:gd name="connsiteY7510" fmla="*/ 3438240 h 6859062"/>
              <a:gd name="connsiteX7511" fmla="*/ 1189121 w 12192185"/>
              <a:gd name="connsiteY7511" fmla="*/ 3419631 h 6859062"/>
              <a:gd name="connsiteX7512" fmla="*/ 1195965 w 12192185"/>
              <a:gd name="connsiteY7512" fmla="*/ 3430300 h 6859062"/>
              <a:gd name="connsiteX7513" fmla="*/ 1183716 w 12192185"/>
              <a:gd name="connsiteY7513" fmla="*/ 4164602 h 6859062"/>
              <a:gd name="connsiteX7514" fmla="*/ 1253661 w 12192185"/>
              <a:gd name="connsiteY7514" fmla="*/ 4542677 h 6859062"/>
              <a:gd name="connsiteX7515" fmla="*/ 1262984 w 12192185"/>
              <a:gd name="connsiteY7515" fmla="*/ 4588363 h 6859062"/>
              <a:gd name="connsiteX7516" fmla="*/ 1276127 w 12192185"/>
              <a:gd name="connsiteY7516" fmla="*/ 4606414 h 6859062"/>
              <a:gd name="connsiteX7517" fmla="*/ 1285691 w 12192185"/>
              <a:gd name="connsiteY7517" fmla="*/ 4582880 h 6859062"/>
              <a:gd name="connsiteX7518" fmla="*/ 1242654 w 12192185"/>
              <a:gd name="connsiteY7518" fmla="*/ 4406159 h 6859062"/>
              <a:gd name="connsiteX7519" fmla="*/ 1213893 w 12192185"/>
              <a:gd name="connsiteY7519" fmla="*/ 4222124 h 6859062"/>
              <a:gd name="connsiteX7520" fmla="*/ 1201399 w 12192185"/>
              <a:gd name="connsiteY7520" fmla="*/ 4084102 h 6859062"/>
              <a:gd name="connsiteX7521" fmla="*/ 1200053 w 12192185"/>
              <a:gd name="connsiteY7521" fmla="*/ 4084878 h 6859062"/>
              <a:gd name="connsiteX7522" fmla="*/ 1192221 w 12192185"/>
              <a:gd name="connsiteY7522" fmla="*/ 4026335 h 6859062"/>
              <a:gd name="connsiteX7523" fmla="*/ 1196609 w 12192185"/>
              <a:gd name="connsiteY7523" fmla="*/ 4027511 h 6859062"/>
              <a:gd name="connsiteX7524" fmla="*/ 1196295 w 12192185"/>
              <a:gd name="connsiteY7524" fmla="*/ 4046239 h 6859062"/>
              <a:gd name="connsiteX7525" fmla="*/ 1199302 w 12192185"/>
              <a:gd name="connsiteY7525" fmla="*/ 4060941 h 6859062"/>
              <a:gd name="connsiteX7526" fmla="*/ 1197352 w 12192185"/>
              <a:gd name="connsiteY7526" fmla="*/ 4039386 h 6859062"/>
              <a:gd name="connsiteX7527" fmla="*/ 1196501 w 12192185"/>
              <a:gd name="connsiteY7527" fmla="*/ 3997671 h 6859062"/>
              <a:gd name="connsiteX7528" fmla="*/ 1192077 w 12192185"/>
              <a:gd name="connsiteY7528" fmla="*/ 3993956 h 6859062"/>
              <a:gd name="connsiteX7529" fmla="*/ 1187286 w 12192185"/>
              <a:gd name="connsiteY7529" fmla="*/ 3992084 h 6859062"/>
              <a:gd name="connsiteX7530" fmla="*/ 1189638 w 12192185"/>
              <a:gd name="connsiteY7530" fmla="*/ 3983306 h 6859062"/>
              <a:gd name="connsiteX7531" fmla="*/ 1194026 w 12192185"/>
              <a:gd name="connsiteY7531" fmla="*/ 3984482 h 6859062"/>
              <a:gd name="connsiteX7532" fmla="*/ 1195201 w 12192185"/>
              <a:gd name="connsiteY7532" fmla="*/ 3980095 h 6859062"/>
              <a:gd name="connsiteX7533" fmla="*/ 1196078 w 12192185"/>
              <a:gd name="connsiteY7533" fmla="*/ 3976830 h 6859062"/>
              <a:gd name="connsiteX7534" fmla="*/ 1193656 w 12192185"/>
              <a:gd name="connsiteY7534" fmla="*/ 3858023 h 6859062"/>
              <a:gd name="connsiteX7535" fmla="*/ 1195387 w 12192185"/>
              <a:gd name="connsiteY7535" fmla="*/ 3826168 h 6859062"/>
              <a:gd name="connsiteX7536" fmla="*/ 1189261 w 12192185"/>
              <a:gd name="connsiteY7536" fmla="*/ 3809165 h 6859062"/>
              <a:gd name="connsiteX7537" fmla="*/ 1186364 w 12192185"/>
              <a:gd name="connsiteY7537" fmla="*/ 3784870 h 6859062"/>
              <a:gd name="connsiteX7538" fmla="*/ 1189031 w 12192185"/>
              <a:gd name="connsiteY7538" fmla="*/ 3757361 h 6859062"/>
              <a:gd name="connsiteX7539" fmla="*/ 1188486 w 12192185"/>
              <a:gd name="connsiteY7539" fmla="*/ 3724289 h 6859062"/>
              <a:gd name="connsiteX7540" fmla="*/ 1191467 w 12192185"/>
              <a:gd name="connsiteY7540" fmla="*/ 3678050 h 6859062"/>
              <a:gd name="connsiteX7541" fmla="*/ 1189745 w 12192185"/>
              <a:gd name="connsiteY7541" fmla="*/ 3649366 h 6859062"/>
              <a:gd name="connsiteX7542" fmla="*/ 1190921 w 12192185"/>
              <a:gd name="connsiteY7542" fmla="*/ 3644976 h 6859062"/>
              <a:gd name="connsiteX7543" fmla="*/ 1191551 w 12192185"/>
              <a:gd name="connsiteY7543" fmla="*/ 3607517 h 6859062"/>
              <a:gd name="connsiteX7544" fmla="*/ 1191005 w 12192185"/>
              <a:gd name="connsiteY7544" fmla="*/ 3574448 h 6859062"/>
              <a:gd name="connsiteX7545" fmla="*/ 1190145 w 12192185"/>
              <a:gd name="connsiteY7545" fmla="*/ 3560123 h 6859062"/>
              <a:gd name="connsiteX7546" fmla="*/ 1191320 w 12192185"/>
              <a:gd name="connsiteY7546" fmla="*/ 3555733 h 6859062"/>
              <a:gd name="connsiteX7547" fmla="*/ 1199237 w 12192185"/>
              <a:gd name="connsiteY7547" fmla="*/ 3543742 h 6859062"/>
              <a:gd name="connsiteX7548" fmla="*/ 1200413 w 12192185"/>
              <a:gd name="connsiteY7548" fmla="*/ 3539355 h 6859062"/>
              <a:gd name="connsiteX7549" fmla="*/ 1198376 w 12192185"/>
              <a:gd name="connsiteY7549" fmla="*/ 3529400 h 6859062"/>
              <a:gd name="connsiteX7550" fmla="*/ 1193987 w 12192185"/>
              <a:gd name="connsiteY7550" fmla="*/ 3528224 h 6859062"/>
              <a:gd name="connsiteX7551" fmla="*/ 1199867 w 12192185"/>
              <a:gd name="connsiteY7551" fmla="*/ 3506280 h 6859062"/>
              <a:gd name="connsiteX7552" fmla="*/ 1196655 w 12192185"/>
              <a:gd name="connsiteY7552" fmla="*/ 3500715 h 6859062"/>
              <a:gd name="connsiteX7553" fmla="*/ 1195479 w 12192185"/>
              <a:gd name="connsiteY7553" fmla="*/ 3505105 h 6859062"/>
              <a:gd name="connsiteX7554" fmla="*/ 1193987 w 12192185"/>
              <a:gd name="connsiteY7554" fmla="*/ 3528224 h 6859062"/>
              <a:gd name="connsiteX7555" fmla="*/ 1189599 w 12192185"/>
              <a:gd name="connsiteY7555" fmla="*/ 3527046 h 6859062"/>
              <a:gd name="connsiteX7556" fmla="*/ 1191951 w 12192185"/>
              <a:gd name="connsiteY7556" fmla="*/ 3518270 h 6859062"/>
              <a:gd name="connsiteX7557" fmla="*/ 1193127 w 12192185"/>
              <a:gd name="connsiteY7557" fmla="*/ 3513881 h 6859062"/>
              <a:gd name="connsiteX7558" fmla="*/ 1192266 w 12192185"/>
              <a:gd name="connsiteY7558" fmla="*/ 3499539 h 6859062"/>
              <a:gd name="connsiteX7559" fmla="*/ 1196970 w 12192185"/>
              <a:gd name="connsiteY7559" fmla="*/ 3481986 h 6859062"/>
              <a:gd name="connsiteX7560" fmla="*/ 1200183 w 12192185"/>
              <a:gd name="connsiteY7560" fmla="*/ 3487553 h 6859062"/>
              <a:gd name="connsiteX7561" fmla="*/ 1202534 w 12192185"/>
              <a:gd name="connsiteY7561" fmla="*/ 3478773 h 6859062"/>
              <a:gd name="connsiteX7562" fmla="*/ 1204886 w 12192185"/>
              <a:gd name="connsiteY7562" fmla="*/ 3469994 h 6859062"/>
              <a:gd name="connsiteX7563" fmla="*/ 1204026 w 12192185"/>
              <a:gd name="connsiteY7563" fmla="*/ 3455658 h 6859062"/>
              <a:gd name="connsiteX7564" fmla="*/ 1206377 w 12192185"/>
              <a:gd name="connsiteY7564" fmla="*/ 3446890 h 6859062"/>
              <a:gd name="connsiteX7565" fmla="*/ 1203164 w 12192185"/>
              <a:gd name="connsiteY7565" fmla="*/ 3441325 h 6859062"/>
              <a:gd name="connsiteX7566" fmla="*/ 1202303 w 12192185"/>
              <a:gd name="connsiteY7566" fmla="*/ 3426982 h 6859062"/>
              <a:gd name="connsiteX7567" fmla="*/ 1204655 w 12192185"/>
              <a:gd name="connsiteY7567" fmla="*/ 3418201 h 6859062"/>
              <a:gd name="connsiteX7568" fmla="*/ 1210220 w 12192185"/>
              <a:gd name="connsiteY7568" fmla="*/ 3414990 h 6859062"/>
              <a:gd name="connsiteX7569" fmla="*/ 1207006 w 12192185"/>
              <a:gd name="connsiteY7569" fmla="*/ 3409422 h 6859062"/>
              <a:gd name="connsiteX7570" fmla="*/ 1213747 w 12192185"/>
              <a:gd name="connsiteY7570" fmla="*/ 3401828 h 6859062"/>
              <a:gd name="connsiteX7571" fmla="*/ 1211710 w 12192185"/>
              <a:gd name="connsiteY7571" fmla="*/ 3391869 h 6859062"/>
              <a:gd name="connsiteX7572" fmla="*/ 1206147 w 12192185"/>
              <a:gd name="connsiteY7572" fmla="*/ 3395082 h 6859062"/>
              <a:gd name="connsiteX7573" fmla="*/ 1209675 w 12192185"/>
              <a:gd name="connsiteY7573" fmla="*/ 3381925 h 6859062"/>
              <a:gd name="connsiteX7574" fmla="*/ 1210852 w 12192185"/>
              <a:gd name="connsiteY7574" fmla="*/ 3377530 h 6859062"/>
              <a:gd name="connsiteX7575" fmla="*/ 1211164 w 12192185"/>
              <a:gd name="connsiteY7575" fmla="*/ 3358810 h 6859062"/>
              <a:gd name="connsiteX7576" fmla="*/ 1215869 w 12192185"/>
              <a:gd name="connsiteY7576" fmla="*/ 3341259 h 6859062"/>
              <a:gd name="connsiteX7577" fmla="*/ 1219396 w 12192185"/>
              <a:gd name="connsiteY7577" fmla="*/ 3328096 h 6859062"/>
              <a:gd name="connsiteX7578" fmla="*/ 1226452 w 12192185"/>
              <a:gd name="connsiteY7578" fmla="*/ 3301773 h 6859062"/>
              <a:gd name="connsiteX7579" fmla="*/ 1234369 w 12192185"/>
              <a:gd name="connsiteY7579" fmla="*/ 3289786 h 6859062"/>
              <a:gd name="connsiteX7580" fmla="*/ 1237581 w 12192185"/>
              <a:gd name="connsiteY7580" fmla="*/ 3295346 h 6859062"/>
              <a:gd name="connsiteX7581" fmla="*/ 1240795 w 12192185"/>
              <a:gd name="connsiteY7581" fmla="*/ 3300916 h 6859062"/>
              <a:gd name="connsiteX7582" fmla="*/ 1241970 w 12192185"/>
              <a:gd name="connsiteY7582" fmla="*/ 3296528 h 6859062"/>
              <a:gd name="connsiteX7583" fmla="*/ 1243146 w 12192185"/>
              <a:gd name="connsiteY7583" fmla="*/ 3292135 h 6859062"/>
              <a:gd name="connsiteX7584" fmla="*/ 1239934 w 12192185"/>
              <a:gd name="connsiteY7584" fmla="*/ 3286572 h 6859062"/>
              <a:gd name="connsiteX7585" fmla="*/ 1236721 w 12192185"/>
              <a:gd name="connsiteY7585" fmla="*/ 3281008 h 6859062"/>
              <a:gd name="connsiteX7586" fmla="*/ 1232332 w 12192185"/>
              <a:gd name="connsiteY7586" fmla="*/ 3279831 h 6859062"/>
              <a:gd name="connsiteX7587" fmla="*/ 1222064 w 12192185"/>
              <a:gd name="connsiteY7587" fmla="*/ 3300599 h 6859062"/>
              <a:gd name="connsiteX7588" fmla="*/ 1220889 w 12192185"/>
              <a:gd name="connsiteY7588" fmla="*/ 3304985 h 6859062"/>
              <a:gd name="connsiteX7589" fmla="*/ 1216184 w 12192185"/>
              <a:gd name="connsiteY7589" fmla="*/ 3322536 h 6859062"/>
              <a:gd name="connsiteX7590" fmla="*/ 1213832 w 12192185"/>
              <a:gd name="connsiteY7590" fmla="*/ 3331310 h 6859062"/>
              <a:gd name="connsiteX7591" fmla="*/ 1215323 w 12192185"/>
              <a:gd name="connsiteY7591" fmla="*/ 3308198 h 6859062"/>
              <a:gd name="connsiteX7592" fmla="*/ 1217989 w 12192185"/>
              <a:gd name="connsiteY7592" fmla="*/ 3280691 h 6859062"/>
              <a:gd name="connsiteX7593" fmla="*/ 1224731 w 12192185"/>
              <a:gd name="connsiteY7593" fmla="*/ 3273086 h 6859062"/>
              <a:gd name="connsiteX7594" fmla="*/ 1227083 w 12192185"/>
              <a:gd name="connsiteY7594" fmla="*/ 3264315 h 6859062"/>
              <a:gd name="connsiteX7595" fmla="*/ 1232963 w 12192185"/>
              <a:gd name="connsiteY7595" fmla="*/ 3242369 h 6859062"/>
              <a:gd name="connsiteX7596" fmla="*/ 1236175 w 12192185"/>
              <a:gd name="connsiteY7596" fmla="*/ 3247936 h 6859062"/>
              <a:gd name="connsiteX7597" fmla="*/ 1240563 w 12192185"/>
              <a:gd name="connsiteY7597" fmla="*/ 3249108 h 6859062"/>
              <a:gd name="connsiteX7598" fmla="*/ 1241739 w 12192185"/>
              <a:gd name="connsiteY7598" fmla="*/ 3244723 h 6859062"/>
              <a:gd name="connsiteX7599" fmla="*/ 1242916 w 12192185"/>
              <a:gd name="connsiteY7599" fmla="*/ 3240333 h 6859062"/>
              <a:gd name="connsiteX7600" fmla="*/ 1239703 w 12192185"/>
              <a:gd name="connsiteY7600" fmla="*/ 3234769 h 6859062"/>
              <a:gd name="connsiteX7601" fmla="*/ 1240878 w 12192185"/>
              <a:gd name="connsiteY7601" fmla="*/ 3230376 h 6859062"/>
              <a:gd name="connsiteX7602" fmla="*/ 1242054 w 12192185"/>
              <a:gd name="connsiteY7602" fmla="*/ 3225989 h 6859062"/>
              <a:gd name="connsiteX7603" fmla="*/ 1242370 w 12192185"/>
              <a:gd name="connsiteY7603" fmla="*/ 3207259 h 6859062"/>
              <a:gd name="connsiteX7604" fmla="*/ 1248251 w 12192185"/>
              <a:gd name="connsiteY7604" fmla="*/ 3185312 h 6859062"/>
              <a:gd name="connsiteX7605" fmla="*/ 1253814 w 12192185"/>
              <a:gd name="connsiteY7605" fmla="*/ 3182099 h 6859062"/>
              <a:gd name="connsiteX7606" fmla="*/ 1257029 w 12192185"/>
              <a:gd name="connsiteY7606" fmla="*/ 3187663 h 6859062"/>
              <a:gd name="connsiteX7607" fmla="*/ 1247304 w 12192185"/>
              <a:gd name="connsiteY7607" fmla="*/ 3241511 h 6859062"/>
              <a:gd name="connsiteX7608" fmla="*/ 1246128 w 12192185"/>
              <a:gd name="connsiteY7608" fmla="*/ 3245898 h 6859062"/>
              <a:gd name="connsiteX7609" fmla="*/ 1251693 w 12192185"/>
              <a:gd name="connsiteY7609" fmla="*/ 3242685 h 6859062"/>
              <a:gd name="connsiteX7610" fmla="*/ 1261416 w 12192185"/>
              <a:gd name="connsiteY7610" fmla="*/ 3188839 h 6859062"/>
              <a:gd name="connsiteX7611" fmla="*/ 1276934 w 12192185"/>
              <a:gd name="connsiteY7611" fmla="*/ 3183592 h 6859062"/>
              <a:gd name="connsiteX7612" fmla="*/ 1298646 w 12192185"/>
              <a:gd name="connsiteY7612" fmla="*/ 3137662 h 6859062"/>
              <a:gd name="connsiteX7613" fmla="*/ 1303878 w 12192185"/>
              <a:gd name="connsiteY7613" fmla="*/ 3128544 h 6859062"/>
              <a:gd name="connsiteX7614" fmla="*/ 1303323 w 12192185"/>
              <a:gd name="connsiteY7614" fmla="*/ 3125969 h 6859062"/>
              <a:gd name="connsiteX7615" fmla="*/ 1302413 w 12192185"/>
              <a:gd name="connsiteY7615" fmla="*/ 3117734 h 6859062"/>
              <a:gd name="connsiteX7616" fmla="*/ 1296610 w 12192185"/>
              <a:gd name="connsiteY7616" fmla="*/ 3127709 h 6859062"/>
              <a:gd name="connsiteX7617" fmla="*/ 1297786 w 12192185"/>
              <a:gd name="connsiteY7617" fmla="*/ 3123321 h 6859062"/>
              <a:gd name="connsiteX7618" fmla="*/ 1286656 w 12192185"/>
              <a:gd name="connsiteY7618" fmla="*/ 3129749 h 6859062"/>
              <a:gd name="connsiteX7619" fmla="*/ 1290183 w 12192185"/>
              <a:gd name="connsiteY7619" fmla="*/ 3116583 h 6859062"/>
              <a:gd name="connsiteX7620" fmla="*/ 1294573 w 12192185"/>
              <a:gd name="connsiteY7620" fmla="*/ 3117757 h 6859062"/>
              <a:gd name="connsiteX7621" fmla="*/ 1295749 w 12192185"/>
              <a:gd name="connsiteY7621" fmla="*/ 3113366 h 6859062"/>
              <a:gd name="connsiteX7622" fmla="*/ 1296924 w 12192185"/>
              <a:gd name="connsiteY7622" fmla="*/ 3108979 h 6859062"/>
              <a:gd name="connsiteX7623" fmla="*/ 1292536 w 12192185"/>
              <a:gd name="connsiteY7623" fmla="*/ 3107802 h 6859062"/>
              <a:gd name="connsiteX7624" fmla="*/ 1302804 w 12192185"/>
              <a:gd name="connsiteY7624" fmla="*/ 3087032 h 6859062"/>
              <a:gd name="connsiteX7625" fmla="*/ 1305156 w 12192185"/>
              <a:gd name="connsiteY7625" fmla="*/ 3078252 h 6859062"/>
              <a:gd name="connsiteX7626" fmla="*/ 1308685 w 12192185"/>
              <a:gd name="connsiteY7626" fmla="*/ 3065092 h 6859062"/>
              <a:gd name="connsiteX7627" fmla="*/ 1309860 w 12192185"/>
              <a:gd name="connsiteY7627" fmla="*/ 3060704 h 6859062"/>
              <a:gd name="connsiteX7628" fmla="*/ 1315426 w 12192185"/>
              <a:gd name="connsiteY7628" fmla="*/ 3057491 h 6859062"/>
              <a:gd name="connsiteX7629" fmla="*/ 1317777 w 12192185"/>
              <a:gd name="connsiteY7629" fmla="*/ 3048712 h 6859062"/>
              <a:gd name="connsiteX7630" fmla="*/ 1314564 w 12192185"/>
              <a:gd name="connsiteY7630" fmla="*/ 3043147 h 6859062"/>
              <a:gd name="connsiteX7631" fmla="*/ 1342787 w 12192185"/>
              <a:gd name="connsiteY7631" fmla="*/ 2937813 h 6859062"/>
              <a:gd name="connsiteX7632" fmla="*/ 1364499 w 12192185"/>
              <a:gd name="connsiteY7632" fmla="*/ 2891895 h 6859062"/>
              <a:gd name="connsiteX7633" fmla="*/ 1358935 w 12192185"/>
              <a:gd name="connsiteY7633" fmla="*/ 2895102 h 6859062"/>
              <a:gd name="connsiteX7634" fmla="*/ 1391231 w 12192185"/>
              <a:gd name="connsiteY7634" fmla="*/ 2809681 h 6859062"/>
              <a:gd name="connsiteX7635" fmla="*/ 1388018 w 12192185"/>
              <a:gd name="connsiteY7635" fmla="*/ 2804112 h 6859062"/>
              <a:gd name="connsiteX7636" fmla="*/ 1398286 w 12192185"/>
              <a:gd name="connsiteY7636" fmla="*/ 2783346 h 6859062"/>
              <a:gd name="connsiteX7637" fmla="*/ 1403851 w 12192185"/>
              <a:gd name="connsiteY7637" fmla="*/ 2780138 h 6859062"/>
              <a:gd name="connsiteX7638" fmla="*/ 1401815 w 12192185"/>
              <a:gd name="connsiteY7638" fmla="*/ 2770183 h 6859062"/>
              <a:gd name="connsiteX7639" fmla="*/ 1413259 w 12192185"/>
              <a:gd name="connsiteY7639" fmla="*/ 2745029 h 6859062"/>
              <a:gd name="connsiteX7640" fmla="*/ 1414436 w 12192185"/>
              <a:gd name="connsiteY7640" fmla="*/ 2740640 h 6859062"/>
              <a:gd name="connsiteX7641" fmla="*/ 1422351 w 12192185"/>
              <a:gd name="connsiteY7641" fmla="*/ 2728649 h 6859062"/>
              <a:gd name="connsiteX7642" fmla="*/ 1423527 w 12192185"/>
              <a:gd name="connsiteY7642" fmla="*/ 2724261 h 6859062"/>
              <a:gd name="connsiteX7643" fmla="*/ 1424703 w 12192185"/>
              <a:gd name="connsiteY7643" fmla="*/ 2719874 h 6859062"/>
              <a:gd name="connsiteX7644" fmla="*/ 1462248 w 12192185"/>
              <a:gd name="connsiteY7644" fmla="*/ 2649963 h 6859062"/>
              <a:gd name="connsiteX7645" fmla="*/ 1465777 w 12192185"/>
              <a:gd name="connsiteY7645" fmla="*/ 2636797 h 6859062"/>
              <a:gd name="connsiteX7646" fmla="*/ 1466952 w 12192185"/>
              <a:gd name="connsiteY7646" fmla="*/ 2632407 h 6859062"/>
              <a:gd name="connsiteX7647" fmla="*/ 1471655 w 12192185"/>
              <a:gd name="connsiteY7647" fmla="*/ 2614853 h 6859062"/>
              <a:gd name="connsiteX7648" fmla="*/ 1502147 w 12192185"/>
              <a:gd name="connsiteY7648" fmla="*/ 2571278 h 6859062"/>
              <a:gd name="connsiteX7649" fmla="*/ 1608591 w 12192185"/>
              <a:gd name="connsiteY7649" fmla="*/ 2402239 h 6859062"/>
              <a:gd name="connsiteX7650" fmla="*/ 1609767 w 12192185"/>
              <a:gd name="connsiteY7650" fmla="*/ 2397846 h 6859062"/>
              <a:gd name="connsiteX7651" fmla="*/ 1615330 w 12192185"/>
              <a:gd name="connsiteY7651" fmla="*/ 2394634 h 6859062"/>
              <a:gd name="connsiteX7652" fmla="*/ 1663827 w 12192185"/>
              <a:gd name="connsiteY7652" fmla="*/ 2345305 h 6859062"/>
              <a:gd name="connsiteX7653" fmla="*/ 1708684 w 12192185"/>
              <a:gd name="connsiteY7653" fmla="*/ 2295402 h 6859062"/>
              <a:gd name="connsiteX7654" fmla="*/ 1707836 w 12192185"/>
              <a:gd name="connsiteY7654" fmla="*/ 2296534 h 6859062"/>
              <a:gd name="connsiteX7655" fmla="*/ 1699430 w 12192185"/>
              <a:gd name="connsiteY7655" fmla="*/ 2308981 h 6859062"/>
              <a:gd name="connsiteX7656" fmla="*/ 1692690 w 12192185"/>
              <a:gd name="connsiteY7656" fmla="*/ 2316585 h 6859062"/>
              <a:gd name="connsiteX7657" fmla="*/ 1671292 w 12192185"/>
              <a:gd name="connsiteY7657" fmla="*/ 2343775 h 6859062"/>
              <a:gd name="connsiteX7658" fmla="*/ 1635237 w 12192185"/>
              <a:gd name="connsiteY7658" fmla="*/ 2390564 h 6859062"/>
              <a:gd name="connsiteX7659" fmla="*/ 1628497 w 12192185"/>
              <a:gd name="connsiteY7659" fmla="*/ 2398157 h 6859062"/>
              <a:gd name="connsiteX7660" fmla="*/ 1621756 w 12192185"/>
              <a:gd name="connsiteY7660" fmla="*/ 2405764 h 6859062"/>
              <a:gd name="connsiteX7661" fmla="*/ 1624969 w 12192185"/>
              <a:gd name="connsiteY7661" fmla="*/ 2411329 h 6859062"/>
              <a:gd name="connsiteX7662" fmla="*/ 1642839 w 12192185"/>
              <a:gd name="connsiteY7662" fmla="*/ 2397304 h 6859062"/>
              <a:gd name="connsiteX7663" fmla="*/ 1644015 w 12192185"/>
              <a:gd name="connsiteY7663" fmla="*/ 2392913 h 6859062"/>
              <a:gd name="connsiteX7664" fmla="*/ 1700292 w 12192185"/>
              <a:gd name="connsiteY7664" fmla="*/ 2323327 h 6859062"/>
              <a:gd name="connsiteX7665" fmla="*/ 1701467 w 12192185"/>
              <a:gd name="connsiteY7665" fmla="*/ 2318935 h 6859062"/>
              <a:gd name="connsiteX7666" fmla="*/ 1724901 w 12192185"/>
              <a:gd name="connsiteY7666" fmla="*/ 2301696 h 6859062"/>
              <a:gd name="connsiteX7667" fmla="*/ 1745124 w 12192185"/>
              <a:gd name="connsiteY7667" fmla="*/ 2278887 h 6859062"/>
              <a:gd name="connsiteX7668" fmla="*/ 1782824 w 12192185"/>
              <a:gd name="connsiteY7668" fmla="*/ 2232551 h 6859062"/>
              <a:gd name="connsiteX7669" fmla="*/ 1822696 w 12192185"/>
              <a:gd name="connsiteY7669" fmla="*/ 2195935 h 6859062"/>
              <a:gd name="connsiteX7670" fmla="*/ 1822484 w 12192185"/>
              <a:gd name="connsiteY7670" fmla="*/ 2200849 h 6859062"/>
              <a:gd name="connsiteX7671" fmla="*/ 1999462 w 12192185"/>
              <a:gd name="connsiteY7671" fmla="*/ 2031893 h 6859062"/>
              <a:gd name="connsiteX7672" fmla="*/ 2003849 w 12192185"/>
              <a:gd name="connsiteY7672" fmla="*/ 2033068 h 6859062"/>
              <a:gd name="connsiteX7673" fmla="*/ 2005028 w 12192185"/>
              <a:gd name="connsiteY7673" fmla="*/ 2028679 h 6859062"/>
              <a:gd name="connsiteX7674" fmla="*/ 2006202 w 12192185"/>
              <a:gd name="connsiteY7674" fmla="*/ 2024291 h 6859062"/>
              <a:gd name="connsiteX7675" fmla="*/ 2027284 w 12192185"/>
              <a:gd name="connsiteY7675" fmla="*/ 2015829 h 6859062"/>
              <a:gd name="connsiteX7676" fmla="*/ 2078861 w 12192185"/>
              <a:gd name="connsiteY7676" fmla="*/ 1963796 h 6859062"/>
              <a:gd name="connsiteX7677" fmla="*/ 2075332 w 12192185"/>
              <a:gd name="connsiteY7677" fmla="*/ 1976962 h 6859062"/>
              <a:gd name="connsiteX7678" fmla="*/ 2096730 w 12192185"/>
              <a:gd name="connsiteY7678" fmla="*/ 1949770 h 6859062"/>
              <a:gd name="connsiteX7679" fmla="*/ 2099959 w 12192185"/>
              <a:gd name="connsiteY7679" fmla="*/ 1955334 h 6859062"/>
              <a:gd name="connsiteX7680" fmla="*/ 2172619 w 12192185"/>
              <a:gd name="connsiteY7680" fmla="*/ 1894836 h 6859062"/>
              <a:gd name="connsiteX7681" fmla="*/ 2177007 w 12192185"/>
              <a:gd name="connsiteY7681" fmla="*/ 1896012 h 6859062"/>
              <a:gd name="connsiteX7682" fmla="*/ 2239395 w 12192185"/>
              <a:gd name="connsiteY7682" fmla="*/ 1856284 h 6859062"/>
              <a:gd name="connsiteX7683" fmla="*/ 2314087 w 12192185"/>
              <a:gd name="connsiteY7683" fmla="*/ 1805741 h 6859062"/>
              <a:gd name="connsiteX7684" fmla="*/ 2355050 w 12192185"/>
              <a:gd name="connsiteY7684" fmla="*/ 1786728 h 6859062"/>
              <a:gd name="connsiteX7685" fmla="*/ 2396347 w 12192185"/>
              <a:gd name="connsiteY7685" fmla="*/ 1762071 h 6859062"/>
              <a:gd name="connsiteX7686" fmla="*/ 2395206 w 12192185"/>
              <a:gd name="connsiteY7686" fmla="*/ 1766326 h 6859062"/>
              <a:gd name="connsiteX7687" fmla="*/ 2400772 w 12192185"/>
              <a:gd name="connsiteY7687" fmla="*/ 1763115 h 6859062"/>
              <a:gd name="connsiteX7688" fmla="*/ 2407512 w 12192185"/>
              <a:gd name="connsiteY7688" fmla="*/ 1755513 h 6859062"/>
              <a:gd name="connsiteX7689" fmla="*/ 2406336 w 12192185"/>
              <a:gd name="connsiteY7689" fmla="*/ 1759904 h 6859062"/>
              <a:gd name="connsiteX7690" fmla="*/ 2439724 w 12192185"/>
              <a:gd name="connsiteY7690" fmla="*/ 1740626 h 6859062"/>
              <a:gd name="connsiteX7691" fmla="*/ 2440900 w 12192185"/>
              <a:gd name="connsiteY7691" fmla="*/ 1736237 h 6859062"/>
              <a:gd name="connsiteX7692" fmla="*/ 2447641 w 12192185"/>
              <a:gd name="connsiteY7692" fmla="*/ 1728636 h 6859062"/>
              <a:gd name="connsiteX7693" fmla="*/ 2445289 w 12192185"/>
              <a:gd name="connsiteY7693" fmla="*/ 1737413 h 6859062"/>
              <a:gd name="connsiteX7694" fmla="*/ 2461984 w 12192185"/>
              <a:gd name="connsiteY7694" fmla="*/ 1727775 h 6859062"/>
              <a:gd name="connsiteX7695" fmla="*/ 2460807 w 12192185"/>
              <a:gd name="connsiteY7695" fmla="*/ 1732164 h 6859062"/>
              <a:gd name="connsiteX7696" fmla="*/ 2459631 w 12192185"/>
              <a:gd name="connsiteY7696" fmla="*/ 1736551 h 6859062"/>
              <a:gd name="connsiteX7697" fmla="*/ 2464021 w 12192185"/>
              <a:gd name="connsiteY7697" fmla="*/ 1737728 h 6859062"/>
              <a:gd name="connsiteX7698" fmla="*/ 2466372 w 12192185"/>
              <a:gd name="connsiteY7698" fmla="*/ 1728950 h 6859062"/>
              <a:gd name="connsiteX7699" fmla="*/ 2467548 w 12192185"/>
              <a:gd name="connsiteY7699" fmla="*/ 1724561 h 6859062"/>
              <a:gd name="connsiteX7700" fmla="*/ 2473113 w 12192185"/>
              <a:gd name="connsiteY7700" fmla="*/ 1721349 h 6859062"/>
              <a:gd name="connsiteX7701" fmla="*/ 2477501 w 12192185"/>
              <a:gd name="connsiteY7701" fmla="*/ 1722524 h 6859062"/>
              <a:gd name="connsiteX7702" fmla="*/ 2481891 w 12192185"/>
              <a:gd name="connsiteY7702" fmla="*/ 1723700 h 6859062"/>
              <a:gd name="connsiteX7703" fmla="*/ 2483066 w 12192185"/>
              <a:gd name="connsiteY7703" fmla="*/ 1719312 h 6859062"/>
              <a:gd name="connsiteX7704" fmla="*/ 2484241 w 12192185"/>
              <a:gd name="connsiteY7704" fmla="*/ 1714923 h 6859062"/>
              <a:gd name="connsiteX7705" fmla="*/ 2499760 w 12192185"/>
              <a:gd name="connsiteY7705" fmla="*/ 1709675 h 6859062"/>
              <a:gd name="connsiteX7706" fmla="*/ 2498584 w 12192185"/>
              <a:gd name="connsiteY7706" fmla="*/ 1714063 h 6859062"/>
              <a:gd name="connsiteX7707" fmla="*/ 2504150 w 12192185"/>
              <a:gd name="connsiteY7707" fmla="*/ 1710851 h 6859062"/>
              <a:gd name="connsiteX7708" fmla="*/ 2509714 w 12192185"/>
              <a:gd name="connsiteY7708" fmla="*/ 1707638 h 6859062"/>
              <a:gd name="connsiteX7709" fmla="*/ 2516453 w 12192185"/>
              <a:gd name="connsiteY7709" fmla="*/ 1700037 h 6859062"/>
              <a:gd name="connsiteX7710" fmla="*/ 2515278 w 12192185"/>
              <a:gd name="connsiteY7710" fmla="*/ 1704424 h 6859062"/>
              <a:gd name="connsiteX7711" fmla="*/ 2535183 w 12192185"/>
              <a:gd name="connsiteY7711" fmla="*/ 1700351 h 6859062"/>
              <a:gd name="connsiteX7712" fmla="*/ 2532833 w 12192185"/>
              <a:gd name="connsiteY7712" fmla="*/ 1709129 h 6859062"/>
              <a:gd name="connsiteX7713" fmla="*/ 2553917 w 12192185"/>
              <a:gd name="connsiteY7713" fmla="*/ 1700667 h 6859062"/>
              <a:gd name="connsiteX7714" fmla="*/ 2552740 w 12192185"/>
              <a:gd name="connsiteY7714" fmla="*/ 1705055 h 6859062"/>
              <a:gd name="connsiteX7715" fmla="*/ 2547174 w 12192185"/>
              <a:gd name="connsiteY7715" fmla="*/ 1708269 h 6859062"/>
              <a:gd name="connsiteX7716" fmla="*/ 2545999 w 12192185"/>
              <a:gd name="connsiteY7716" fmla="*/ 1712656 h 6859062"/>
              <a:gd name="connsiteX7717" fmla="*/ 2551565 w 12192185"/>
              <a:gd name="connsiteY7717" fmla="*/ 1709444 h 6859062"/>
              <a:gd name="connsiteX7718" fmla="*/ 2557127 w 12192185"/>
              <a:gd name="connsiteY7718" fmla="*/ 1706231 h 6859062"/>
              <a:gd name="connsiteX7719" fmla="*/ 2563873 w 12192185"/>
              <a:gd name="connsiteY7719" fmla="*/ 1698631 h 6859062"/>
              <a:gd name="connsiteX7720" fmla="*/ 2555092 w 12192185"/>
              <a:gd name="connsiteY7720" fmla="*/ 1696279 h 6859062"/>
              <a:gd name="connsiteX7721" fmla="*/ 2560654 w 12192185"/>
              <a:gd name="connsiteY7721" fmla="*/ 1693066 h 6859062"/>
              <a:gd name="connsiteX7722" fmla="*/ 2589658 w 12192185"/>
              <a:gd name="connsiteY7722" fmla="*/ 1672614 h 6859062"/>
              <a:gd name="connsiteX7723" fmla="*/ 2570929 w 12192185"/>
              <a:gd name="connsiteY7723" fmla="*/ 1672297 h 6859062"/>
              <a:gd name="connsiteX7724" fmla="*/ 2592009 w 12192185"/>
              <a:gd name="connsiteY7724" fmla="*/ 1663836 h 6859062"/>
              <a:gd name="connsiteX7725" fmla="*/ 2608703 w 12192185"/>
              <a:gd name="connsiteY7725" fmla="*/ 1654198 h 6859062"/>
              <a:gd name="connsiteX7726" fmla="*/ 2618656 w 12192185"/>
              <a:gd name="connsiteY7726" fmla="*/ 1652161 h 6859062"/>
              <a:gd name="connsiteX7727" fmla="*/ 2616301 w 12192185"/>
              <a:gd name="connsiteY7727" fmla="*/ 1660938 h 6859062"/>
              <a:gd name="connsiteX7728" fmla="*/ 2638562 w 12192185"/>
              <a:gd name="connsiteY7728" fmla="*/ 1648089 h 6859062"/>
              <a:gd name="connsiteX7729" fmla="*/ 2641775 w 12192185"/>
              <a:gd name="connsiteY7729" fmla="*/ 1653652 h 6859062"/>
              <a:gd name="connsiteX7730" fmla="*/ 2636209 w 12192185"/>
              <a:gd name="connsiteY7730" fmla="*/ 1656866 h 6859062"/>
              <a:gd name="connsiteX7731" fmla="*/ 2635034 w 12192185"/>
              <a:gd name="connsiteY7731" fmla="*/ 1661255 h 6859062"/>
              <a:gd name="connsiteX7732" fmla="*/ 2639422 w 12192185"/>
              <a:gd name="connsiteY7732" fmla="*/ 1662430 h 6859062"/>
              <a:gd name="connsiteX7733" fmla="*/ 2644988 w 12192185"/>
              <a:gd name="connsiteY7733" fmla="*/ 1659216 h 6859062"/>
              <a:gd name="connsiteX7734" fmla="*/ 2646164 w 12192185"/>
              <a:gd name="connsiteY7734" fmla="*/ 1654827 h 6859062"/>
              <a:gd name="connsiteX7735" fmla="*/ 2651728 w 12192185"/>
              <a:gd name="connsiteY7735" fmla="*/ 1651615 h 6859062"/>
              <a:gd name="connsiteX7736" fmla="*/ 2657295 w 12192185"/>
              <a:gd name="connsiteY7736" fmla="*/ 1648402 h 6859062"/>
              <a:gd name="connsiteX7737" fmla="*/ 2661683 w 12192185"/>
              <a:gd name="connsiteY7737" fmla="*/ 1649578 h 6859062"/>
              <a:gd name="connsiteX7738" fmla="*/ 2662859 w 12192185"/>
              <a:gd name="connsiteY7738" fmla="*/ 1645189 h 6859062"/>
              <a:gd name="connsiteX7739" fmla="*/ 2667247 w 12192185"/>
              <a:gd name="connsiteY7739" fmla="*/ 1646365 h 6859062"/>
              <a:gd name="connsiteX7740" fmla="*/ 2666072 w 12192185"/>
              <a:gd name="connsiteY7740" fmla="*/ 1650754 h 6859062"/>
              <a:gd name="connsiteX7741" fmla="*/ 2659333 w 12192185"/>
              <a:gd name="connsiteY7741" fmla="*/ 1658356 h 6859062"/>
              <a:gd name="connsiteX7742" fmla="*/ 2648201 w 12192185"/>
              <a:gd name="connsiteY7742" fmla="*/ 1664781 h 6859062"/>
              <a:gd name="connsiteX7743" fmla="*/ 2652590 w 12192185"/>
              <a:gd name="connsiteY7743" fmla="*/ 1665958 h 6859062"/>
              <a:gd name="connsiteX7744" fmla="*/ 2658155 w 12192185"/>
              <a:gd name="connsiteY7744" fmla="*/ 1662744 h 6859062"/>
              <a:gd name="connsiteX7745" fmla="*/ 2674849 w 12192185"/>
              <a:gd name="connsiteY7745" fmla="*/ 1653107 h 6859062"/>
              <a:gd name="connsiteX7746" fmla="*/ 2676025 w 12192185"/>
              <a:gd name="connsiteY7746" fmla="*/ 1648718 h 6859062"/>
              <a:gd name="connsiteX7747" fmla="*/ 2688331 w 12192185"/>
              <a:gd name="connsiteY7747" fmla="*/ 1637903 h 6859062"/>
              <a:gd name="connsiteX7748" fmla="*/ 2757141 w 12192185"/>
              <a:gd name="connsiteY7748" fmla="*/ 1609301 h 6859062"/>
              <a:gd name="connsiteX7749" fmla="*/ 2761529 w 12192185"/>
              <a:gd name="connsiteY7749" fmla="*/ 1610476 h 6859062"/>
              <a:gd name="connsiteX7750" fmla="*/ 2767095 w 12192185"/>
              <a:gd name="connsiteY7750" fmla="*/ 1607263 h 6859062"/>
              <a:gd name="connsiteX7751" fmla="*/ 2782612 w 12192185"/>
              <a:gd name="connsiteY7751" fmla="*/ 1602015 h 6859062"/>
              <a:gd name="connsiteX7752" fmla="*/ 2788178 w 12192185"/>
              <a:gd name="connsiteY7752" fmla="*/ 1598800 h 6859062"/>
              <a:gd name="connsiteX7753" fmla="*/ 2803695 w 12192185"/>
              <a:gd name="connsiteY7753" fmla="*/ 1593550 h 6859062"/>
              <a:gd name="connsiteX7754" fmla="*/ 2819213 w 12192185"/>
              <a:gd name="connsiteY7754" fmla="*/ 1588300 h 6859062"/>
              <a:gd name="connsiteX7755" fmla="*/ 2864594 w 12192185"/>
              <a:gd name="connsiteY7755" fmla="*/ 1576943 h 6859062"/>
              <a:gd name="connsiteX7756" fmla="*/ 2919067 w 12192185"/>
              <a:gd name="connsiteY7756" fmla="*/ 1549205 h 6859062"/>
              <a:gd name="connsiteX7757" fmla="*/ 2934582 w 12192185"/>
              <a:gd name="connsiteY7757" fmla="*/ 1543954 h 6859062"/>
              <a:gd name="connsiteX7758" fmla="*/ 2925554 w 12192185"/>
              <a:gd name="connsiteY7758" fmla="*/ 1540358 h 6859062"/>
              <a:gd name="connsiteX7759" fmla="*/ 2926131 w 12192185"/>
              <a:gd name="connsiteY7759" fmla="*/ 1539588 h 6859062"/>
              <a:gd name="connsiteX7760" fmla="*/ 2896181 w 12192185"/>
              <a:gd name="connsiteY7760" fmla="*/ 1548255 h 6859062"/>
              <a:gd name="connsiteX7761" fmla="*/ 2873472 w 12192185"/>
              <a:gd name="connsiteY7761" fmla="*/ 1553580 h 6859062"/>
              <a:gd name="connsiteX7762" fmla="*/ 2864801 w 12192185"/>
              <a:gd name="connsiteY7762" fmla="*/ 1556418 h 6859062"/>
              <a:gd name="connsiteX7763" fmla="*/ 2838261 w 12192185"/>
              <a:gd name="connsiteY7763" fmla="*/ 1569888 h 6859062"/>
              <a:gd name="connsiteX7764" fmla="*/ 2817177 w 12192185"/>
              <a:gd name="connsiteY7764" fmla="*/ 1578349 h 6859062"/>
              <a:gd name="connsiteX7765" fmla="*/ 2818353 w 12192185"/>
              <a:gd name="connsiteY7765" fmla="*/ 1573960 h 6859062"/>
              <a:gd name="connsiteX7766" fmla="*/ 2822743 w 12192185"/>
              <a:gd name="connsiteY7766" fmla="*/ 1575134 h 6859062"/>
              <a:gd name="connsiteX7767" fmla="*/ 2823919 w 12192185"/>
              <a:gd name="connsiteY7767" fmla="*/ 1570746 h 6859062"/>
              <a:gd name="connsiteX7768" fmla="*/ 2819530 w 12192185"/>
              <a:gd name="connsiteY7768" fmla="*/ 1569571 h 6859062"/>
              <a:gd name="connsiteX7769" fmla="*/ 2813965 w 12192185"/>
              <a:gd name="connsiteY7769" fmla="*/ 1572784 h 6859062"/>
              <a:gd name="connsiteX7770" fmla="*/ 2810439 w 12192185"/>
              <a:gd name="connsiteY7770" fmla="*/ 1585948 h 6859062"/>
              <a:gd name="connsiteX7771" fmla="*/ 2794920 w 12192185"/>
              <a:gd name="connsiteY7771" fmla="*/ 1591198 h 6859062"/>
              <a:gd name="connsiteX7772" fmla="*/ 2786141 w 12192185"/>
              <a:gd name="connsiteY7772" fmla="*/ 1588846 h 6859062"/>
              <a:gd name="connsiteX7773" fmla="*/ 2787317 w 12192185"/>
              <a:gd name="connsiteY7773" fmla="*/ 1584457 h 6859062"/>
              <a:gd name="connsiteX7774" fmla="*/ 2781755 w 12192185"/>
              <a:gd name="connsiteY7774" fmla="*/ 1587670 h 6859062"/>
              <a:gd name="connsiteX7775" fmla="*/ 2780580 w 12192185"/>
              <a:gd name="connsiteY7775" fmla="*/ 1592059 h 6859062"/>
              <a:gd name="connsiteX7776" fmla="*/ 2773837 w 12192185"/>
              <a:gd name="connsiteY7776" fmla="*/ 1599661 h 6859062"/>
              <a:gd name="connsiteX7777" fmla="*/ 2763883 w 12192185"/>
              <a:gd name="connsiteY7777" fmla="*/ 1601698 h 6859062"/>
              <a:gd name="connsiteX7778" fmla="*/ 2759493 w 12192185"/>
              <a:gd name="connsiteY7778" fmla="*/ 1600521 h 6859062"/>
              <a:gd name="connsiteX7779" fmla="*/ 2758317 w 12192185"/>
              <a:gd name="connsiteY7779" fmla="*/ 1604911 h 6859062"/>
              <a:gd name="connsiteX7780" fmla="*/ 2752753 w 12192185"/>
              <a:gd name="connsiteY7780" fmla="*/ 1608124 h 6859062"/>
              <a:gd name="connsiteX7781" fmla="*/ 2685119 w 12192185"/>
              <a:gd name="connsiteY7781" fmla="*/ 1632337 h 6859062"/>
              <a:gd name="connsiteX7782" fmla="*/ 2679549 w 12192185"/>
              <a:gd name="connsiteY7782" fmla="*/ 1635550 h 6859062"/>
              <a:gd name="connsiteX7783" fmla="*/ 2678376 w 12192185"/>
              <a:gd name="connsiteY7783" fmla="*/ 1639939 h 6859062"/>
              <a:gd name="connsiteX7784" fmla="*/ 2673989 w 12192185"/>
              <a:gd name="connsiteY7784" fmla="*/ 1638763 h 6859062"/>
              <a:gd name="connsiteX7785" fmla="*/ 2675162 w 12192185"/>
              <a:gd name="connsiteY7785" fmla="*/ 1634373 h 6859062"/>
              <a:gd name="connsiteX7786" fmla="*/ 2650869 w 12192185"/>
              <a:gd name="connsiteY7786" fmla="*/ 1637272 h 6859062"/>
              <a:gd name="connsiteX7787" fmla="*/ 2649692 w 12192185"/>
              <a:gd name="connsiteY7787" fmla="*/ 1641661 h 6859062"/>
              <a:gd name="connsiteX7788" fmla="*/ 2657609 w 12192185"/>
              <a:gd name="connsiteY7788" fmla="*/ 1629671 h 6859062"/>
              <a:gd name="connsiteX7789" fmla="*/ 2615441 w 12192185"/>
              <a:gd name="connsiteY7789" fmla="*/ 1646597 h 6859062"/>
              <a:gd name="connsiteX7790" fmla="*/ 2588799 w 12192185"/>
              <a:gd name="connsiteY7790" fmla="*/ 1658272 h 6859062"/>
              <a:gd name="connsiteX7791" fmla="*/ 2562149 w 12192185"/>
              <a:gd name="connsiteY7791" fmla="*/ 1669945 h 6859062"/>
              <a:gd name="connsiteX7792" fmla="*/ 2513243 w 12192185"/>
              <a:gd name="connsiteY7792" fmla="*/ 1694471 h 6859062"/>
              <a:gd name="connsiteX7793" fmla="*/ 2497725 w 12192185"/>
              <a:gd name="connsiteY7793" fmla="*/ 1699722 h 6859062"/>
              <a:gd name="connsiteX7794" fmla="*/ 2486593 w 12192185"/>
              <a:gd name="connsiteY7794" fmla="*/ 1706147 h 6859062"/>
              <a:gd name="connsiteX7795" fmla="*/ 2476641 w 12192185"/>
              <a:gd name="connsiteY7795" fmla="*/ 1708184 h 6859062"/>
              <a:gd name="connsiteX7796" fmla="*/ 2459945 w 12192185"/>
              <a:gd name="connsiteY7796" fmla="*/ 1717821 h 6859062"/>
              <a:gd name="connsiteX7797" fmla="*/ 2444428 w 12192185"/>
              <a:gd name="connsiteY7797" fmla="*/ 1723070 h 6859062"/>
              <a:gd name="connsiteX7798" fmla="*/ 2432123 w 12192185"/>
              <a:gd name="connsiteY7798" fmla="*/ 1733884 h 6859062"/>
              <a:gd name="connsiteX7799" fmla="*/ 2427734 w 12192185"/>
              <a:gd name="connsiteY7799" fmla="*/ 1732709 h 6859062"/>
              <a:gd name="connsiteX7800" fmla="*/ 2265492 w 12192185"/>
              <a:gd name="connsiteY7800" fmla="*/ 1811535 h 6859062"/>
              <a:gd name="connsiteX7801" fmla="*/ 2261108 w 12192185"/>
              <a:gd name="connsiteY7801" fmla="*/ 1810360 h 6859062"/>
              <a:gd name="connsiteX7802" fmla="*/ 2256718 w 12192185"/>
              <a:gd name="connsiteY7802" fmla="*/ 1809184 h 6859062"/>
              <a:gd name="connsiteX7803" fmla="*/ 2267847 w 12192185"/>
              <a:gd name="connsiteY7803" fmla="*/ 1802759 h 6859062"/>
              <a:gd name="connsiteX7804" fmla="*/ 2278977 w 12192185"/>
              <a:gd name="connsiteY7804" fmla="*/ 1796331 h 6859062"/>
              <a:gd name="connsiteX7805" fmla="*/ 2290107 w 12192185"/>
              <a:gd name="connsiteY7805" fmla="*/ 1789909 h 6859062"/>
              <a:gd name="connsiteX7806" fmla="*/ 2291284 w 12192185"/>
              <a:gd name="connsiteY7806" fmla="*/ 1785517 h 6859062"/>
              <a:gd name="connsiteX7807" fmla="*/ 2319109 w 12192185"/>
              <a:gd name="connsiteY7807" fmla="*/ 1769456 h 6859062"/>
              <a:gd name="connsiteX7808" fmla="*/ 2320284 w 12192185"/>
              <a:gd name="connsiteY7808" fmla="*/ 1765070 h 6859062"/>
              <a:gd name="connsiteX7809" fmla="*/ 2315894 w 12192185"/>
              <a:gd name="connsiteY7809" fmla="*/ 1763891 h 6859062"/>
              <a:gd name="connsiteX7810" fmla="*/ 2310330 w 12192185"/>
              <a:gd name="connsiteY7810" fmla="*/ 1767104 h 6859062"/>
              <a:gd name="connsiteX7811" fmla="*/ 2309877 w 12192185"/>
              <a:gd name="connsiteY7811" fmla="*/ 1767096 h 6859062"/>
              <a:gd name="connsiteX7812" fmla="*/ 2321368 w 12192185"/>
              <a:gd name="connsiteY7812" fmla="*/ 1760700 h 6859062"/>
              <a:gd name="connsiteX7813" fmla="*/ 2321459 w 12192185"/>
              <a:gd name="connsiteY7813" fmla="*/ 1760679 h 6859062"/>
              <a:gd name="connsiteX7814" fmla="*/ 2321486 w 12192185"/>
              <a:gd name="connsiteY7814" fmla="*/ 1760638 h 6859062"/>
              <a:gd name="connsiteX7815" fmla="*/ 2322851 w 12192185"/>
              <a:gd name="connsiteY7815" fmla="*/ 1759876 h 6859062"/>
              <a:gd name="connsiteX7816" fmla="*/ 2329060 w 12192185"/>
              <a:gd name="connsiteY7816" fmla="*/ 1767419 h 6859062"/>
              <a:gd name="connsiteX7817" fmla="*/ 2385884 w 12192185"/>
              <a:gd name="connsiteY7817" fmla="*/ 1730903 h 6859062"/>
              <a:gd name="connsiteX7818" fmla="*/ 2381494 w 12192185"/>
              <a:gd name="connsiteY7818" fmla="*/ 1729727 h 6859062"/>
              <a:gd name="connsiteX7819" fmla="*/ 2398190 w 12192185"/>
              <a:gd name="connsiteY7819" fmla="*/ 1720088 h 6859062"/>
              <a:gd name="connsiteX7820" fmla="*/ 2402579 w 12192185"/>
              <a:gd name="connsiteY7820" fmla="*/ 1721264 h 6859062"/>
              <a:gd name="connsiteX7821" fmla="*/ 2403755 w 12192185"/>
              <a:gd name="connsiteY7821" fmla="*/ 1716876 h 6859062"/>
              <a:gd name="connsiteX7822" fmla="*/ 2408140 w 12192185"/>
              <a:gd name="connsiteY7822" fmla="*/ 1718053 h 6859062"/>
              <a:gd name="connsiteX7823" fmla="*/ 2419271 w 12192185"/>
              <a:gd name="connsiteY7823" fmla="*/ 1711626 h 6859062"/>
              <a:gd name="connsiteX7824" fmla="*/ 2426012 w 12192185"/>
              <a:gd name="connsiteY7824" fmla="*/ 1704026 h 6859062"/>
              <a:gd name="connsiteX7825" fmla="*/ 2431577 w 12192185"/>
              <a:gd name="connsiteY7825" fmla="*/ 1700812 h 6859062"/>
              <a:gd name="connsiteX7826" fmla="*/ 2448272 w 12192185"/>
              <a:gd name="connsiteY7826" fmla="*/ 1691174 h 6859062"/>
              <a:gd name="connsiteX7827" fmla="*/ 2449446 w 12192185"/>
              <a:gd name="connsiteY7827" fmla="*/ 1686786 h 6859062"/>
              <a:gd name="connsiteX7828" fmla="*/ 2455012 w 12192185"/>
              <a:gd name="connsiteY7828" fmla="*/ 1683574 h 6859062"/>
              <a:gd name="connsiteX7829" fmla="*/ 2503917 w 12192185"/>
              <a:gd name="connsiteY7829" fmla="*/ 1659049 h 6859062"/>
              <a:gd name="connsiteX7830" fmla="*/ 2507131 w 12192185"/>
              <a:gd name="connsiteY7830" fmla="*/ 1664611 h 6859062"/>
              <a:gd name="connsiteX7831" fmla="*/ 2501567 w 12192185"/>
              <a:gd name="connsiteY7831" fmla="*/ 1667825 h 6859062"/>
              <a:gd name="connsiteX7832" fmla="*/ 2496002 w 12192185"/>
              <a:gd name="connsiteY7832" fmla="*/ 1671037 h 6859062"/>
              <a:gd name="connsiteX7833" fmla="*/ 2500392 w 12192185"/>
              <a:gd name="connsiteY7833" fmla="*/ 1672213 h 6859062"/>
              <a:gd name="connsiteX7834" fmla="*/ 2505955 w 12192185"/>
              <a:gd name="connsiteY7834" fmla="*/ 1669000 h 6859062"/>
              <a:gd name="connsiteX7835" fmla="*/ 2511520 w 12192185"/>
              <a:gd name="connsiteY7835" fmla="*/ 1665788 h 6859062"/>
              <a:gd name="connsiteX7836" fmla="*/ 2512696 w 12192185"/>
              <a:gd name="connsiteY7836" fmla="*/ 1661400 h 6859062"/>
              <a:gd name="connsiteX7837" fmla="*/ 2513872 w 12192185"/>
              <a:gd name="connsiteY7837" fmla="*/ 1657010 h 6859062"/>
              <a:gd name="connsiteX7838" fmla="*/ 2561602 w 12192185"/>
              <a:gd name="connsiteY7838" fmla="*/ 1636873 h 6859062"/>
              <a:gd name="connsiteX7839" fmla="*/ 2562779 w 12192185"/>
              <a:gd name="connsiteY7839" fmla="*/ 1632484 h 6859062"/>
              <a:gd name="connsiteX7840" fmla="*/ 2667018 w 12192185"/>
              <a:gd name="connsiteY7840" fmla="*/ 1594558 h 6859062"/>
              <a:gd name="connsiteX7841" fmla="*/ 2812243 w 12192185"/>
              <a:gd name="connsiteY7841" fmla="*/ 1544100 h 6859062"/>
              <a:gd name="connsiteX7842" fmla="*/ 2843282 w 12192185"/>
              <a:gd name="connsiteY7842" fmla="*/ 1533600 h 6859062"/>
              <a:gd name="connsiteX7843" fmla="*/ 2847669 w 12192185"/>
              <a:gd name="connsiteY7843" fmla="*/ 1534777 h 6859062"/>
              <a:gd name="connsiteX7844" fmla="*/ 2862010 w 12192185"/>
              <a:gd name="connsiteY7844" fmla="*/ 1533917 h 6859062"/>
              <a:gd name="connsiteX7845" fmla="*/ 2867576 w 12192185"/>
              <a:gd name="connsiteY7845" fmla="*/ 1530703 h 6859062"/>
              <a:gd name="connsiteX7846" fmla="*/ 2863186 w 12192185"/>
              <a:gd name="connsiteY7846" fmla="*/ 1529528 h 6859062"/>
              <a:gd name="connsiteX7847" fmla="*/ 2939600 w 12192185"/>
              <a:gd name="connsiteY7847" fmla="*/ 1507670 h 6859062"/>
              <a:gd name="connsiteX7848" fmla="*/ 3000498 w 12192185"/>
              <a:gd name="connsiteY7848" fmla="*/ 1491062 h 6859062"/>
              <a:gd name="connsiteX7849" fmla="*/ 3003670 w 12192185"/>
              <a:gd name="connsiteY7849" fmla="*/ 1490412 h 6859062"/>
              <a:gd name="connsiteX7850" fmla="*/ 3004982 w 12192185"/>
              <a:gd name="connsiteY7850" fmla="*/ 1489998 h 6859062"/>
              <a:gd name="connsiteX7851" fmla="*/ 3115310 w 12192185"/>
              <a:gd name="connsiteY7851" fmla="*/ 1465800 h 6859062"/>
              <a:gd name="connsiteX7852" fmla="*/ 3115554 w 12192185"/>
              <a:gd name="connsiteY7852" fmla="*/ 1465444 h 6859062"/>
              <a:gd name="connsiteX7853" fmla="*/ 3129316 w 12192185"/>
              <a:gd name="connsiteY7853" fmla="*/ 1462727 h 6859062"/>
              <a:gd name="connsiteX7854" fmla="*/ 3210333 w 12192185"/>
              <a:gd name="connsiteY7854" fmla="*/ 1444957 h 6859062"/>
              <a:gd name="connsiteX7855" fmla="*/ 3214742 w 12192185"/>
              <a:gd name="connsiteY7855" fmla="*/ 1437725 h 6859062"/>
              <a:gd name="connsiteX7856" fmla="*/ 3203786 w 12192185"/>
              <a:gd name="connsiteY7856" fmla="*/ 1423109 h 6859062"/>
              <a:gd name="connsiteX7857" fmla="*/ 3211471 w 12192185"/>
              <a:gd name="connsiteY7857" fmla="*/ 1396809 h 6859062"/>
              <a:gd name="connsiteX7858" fmla="*/ 3208176 w 12192185"/>
              <a:gd name="connsiteY7858" fmla="*/ 1401557 h 6859062"/>
              <a:gd name="connsiteX7859" fmla="*/ 3204160 w 12192185"/>
              <a:gd name="connsiteY7859" fmla="*/ 1402287 h 6859062"/>
              <a:gd name="connsiteX7860" fmla="*/ 3210738 w 12192185"/>
              <a:gd name="connsiteY7860" fmla="*/ 1392791 h 6859062"/>
              <a:gd name="connsiteX7861" fmla="*/ 3212576 w 12192185"/>
              <a:gd name="connsiteY7861" fmla="*/ 1390141 h 6859062"/>
              <a:gd name="connsiteX7862" fmla="*/ 3181782 w 12192185"/>
              <a:gd name="connsiteY7862" fmla="*/ 1393815 h 6859062"/>
              <a:gd name="connsiteX7863" fmla="*/ 3170657 w 12192185"/>
              <a:gd name="connsiteY7863" fmla="*/ 1400241 h 6859062"/>
              <a:gd name="connsiteX7864" fmla="*/ 3171830 w 12192185"/>
              <a:gd name="connsiteY7864" fmla="*/ 1395852 h 6859062"/>
              <a:gd name="connsiteX7865" fmla="*/ 3110932 w 12192185"/>
              <a:gd name="connsiteY7865" fmla="*/ 1412461 h 6859062"/>
              <a:gd name="connsiteX7866" fmla="*/ 3077859 w 12192185"/>
              <a:gd name="connsiteY7866" fmla="*/ 1413008 h 6859062"/>
              <a:gd name="connsiteX7867" fmla="*/ 3079894 w 12192185"/>
              <a:gd name="connsiteY7867" fmla="*/ 1422961 h 6859062"/>
              <a:gd name="connsiteX7868" fmla="*/ 3054422 w 12192185"/>
              <a:gd name="connsiteY7868" fmla="*/ 1430249 h 6859062"/>
              <a:gd name="connsiteX7869" fmla="*/ 3042433 w 12192185"/>
              <a:gd name="connsiteY7869" fmla="*/ 1422330 h 6859062"/>
              <a:gd name="connsiteX7870" fmla="*/ 2923854 w 12192185"/>
              <a:gd name="connsiteY7870" fmla="*/ 1461116 h 6859062"/>
              <a:gd name="connsiteX7871" fmla="*/ 2913904 w 12192185"/>
              <a:gd name="connsiteY7871" fmla="*/ 1463154 h 6859062"/>
              <a:gd name="connsiteX7872" fmla="*/ 2908337 w 12192185"/>
              <a:gd name="connsiteY7872" fmla="*/ 1466367 h 6859062"/>
              <a:gd name="connsiteX7873" fmla="*/ 2912728 w 12192185"/>
              <a:gd name="connsiteY7873" fmla="*/ 1467543 h 6859062"/>
              <a:gd name="connsiteX7874" fmla="*/ 2917116 w 12192185"/>
              <a:gd name="connsiteY7874" fmla="*/ 1468719 h 6859062"/>
              <a:gd name="connsiteX7875" fmla="*/ 2788579 w 12192185"/>
              <a:gd name="connsiteY7875" fmla="*/ 1509539 h 6859062"/>
              <a:gd name="connsiteX7876" fmla="*/ 2776589 w 12192185"/>
              <a:gd name="connsiteY7876" fmla="*/ 1501621 h 6859062"/>
              <a:gd name="connsiteX7877" fmla="*/ 2581277 w 12192185"/>
              <a:gd name="connsiteY7877" fmla="*/ 1580992 h 6859062"/>
              <a:gd name="connsiteX7878" fmla="*/ 2386829 w 12192185"/>
              <a:gd name="connsiteY7878" fmla="*/ 1674711 h 6859062"/>
              <a:gd name="connsiteX7879" fmla="*/ 2445688 w 12192185"/>
              <a:gd name="connsiteY7879" fmla="*/ 1648148 h 6859062"/>
              <a:gd name="connsiteX7880" fmla="*/ 2460031 w 12192185"/>
              <a:gd name="connsiteY7880" fmla="*/ 1647288 h 6859062"/>
              <a:gd name="connsiteX7881" fmla="*/ 2593268 w 12192185"/>
              <a:gd name="connsiteY7881" fmla="*/ 1588907 h 6859062"/>
              <a:gd name="connsiteX7882" fmla="*/ 2756365 w 12192185"/>
              <a:gd name="connsiteY7882" fmla="*/ 1524424 h 6859062"/>
              <a:gd name="connsiteX7883" fmla="*/ 2775098 w 12192185"/>
              <a:gd name="connsiteY7883" fmla="*/ 1524741 h 6859062"/>
              <a:gd name="connsiteX7884" fmla="*/ 2863815 w 12192185"/>
              <a:gd name="connsiteY7884" fmla="*/ 1492067 h 6859062"/>
              <a:gd name="connsiteX7885" fmla="*/ 2872596 w 12192185"/>
              <a:gd name="connsiteY7885" fmla="*/ 1494420 h 6859062"/>
              <a:gd name="connsiteX7886" fmla="*/ 2874945 w 12192185"/>
              <a:gd name="connsiteY7886" fmla="*/ 1485642 h 6859062"/>
              <a:gd name="connsiteX7887" fmla="*/ 2989998 w 12192185"/>
              <a:gd name="connsiteY7887" fmla="*/ 1460024 h 6859062"/>
              <a:gd name="connsiteX7888" fmla="*/ 2974481 w 12192185"/>
              <a:gd name="connsiteY7888" fmla="*/ 1465274 h 6859062"/>
              <a:gd name="connsiteX7889" fmla="*/ 2932314 w 12192185"/>
              <a:gd name="connsiteY7889" fmla="*/ 1482198 h 6859062"/>
              <a:gd name="connsiteX7890" fmla="*/ 2853551 w 12192185"/>
              <a:gd name="connsiteY7890" fmla="*/ 1512836 h 6859062"/>
              <a:gd name="connsiteX7891" fmla="*/ 2843595 w 12192185"/>
              <a:gd name="connsiteY7891" fmla="*/ 1514871 h 6859062"/>
              <a:gd name="connsiteX7892" fmla="*/ 2834817 w 12192185"/>
              <a:gd name="connsiteY7892" fmla="*/ 1512520 h 6859062"/>
              <a:gd name="connsiteX7893" fmla="*/ 2806992 w 12192185"/>
              <a:gd name="connsiteY7893" fmla="*/ 1528583 h 6859062"/>
              <a:gd name="connsiteX7894" fmla="*/ 2770392 w 12192185"/>
              <a:gd name="connsiteY7894" fmla="*/ 1542293 h 6859062"/>
              <a:gd name="connsiteX7895" fmla="*/ 2705109 w 12192185"/>
              <a:gd name="connsiteY7895" fmla="*/ 1557728 h 6859062"/>
              <a:gd name="connsiteX7896" fmla="*/ 2703933 w 12192185"/>
              <a:gd name="connsiteY7896" fmla="*/ 1562118 h 6859062"/>
              <a:gd name="connsiteX7897" fmla="*/ 2682853 w 12192185"/>
              <a:gd name="connsiteY7897" fmla="*/ 1570578 h 6859062"/>
              <a:gd name="connsiteX7898" fmla="*/ 2677283 w 12192185"/>
              <a:gd name="connsiteY7898" fmla="*/ 1573790 h 6859062"/>
              <a:gd name="connsiteX7899" fmla="*/ 2635119 w 12192185"/>
              <a:gd name="connsiteY7899" fmla="*/ 1590714 h 6859062"/>
              <a:gd name="connsiteX7900" fmla="*/ 2614036 w 12192185"/>
              <a:gd name="connsiteY7900" fmla="*/ 1599178 h 6859062"/>
              <a:gd name="connsiteX7901" fmla="*/ 2550789 w 12192185"/>
              <a:gd name="connsiteY7901" fmla="*/ 1624566 h 6859062"/>
              <a:gd name="connsiteX7902" fmla="*/ 2524140 w 12192185"/>
              <a:gd name="connsiteY7902" fmla="*/ 1636243 h 6859062"/>
              <a:gd name="connsiteX7903" fmla="*/ 2519752 w 12192185"/>
              <a:gd name="connsiteY7903" fmla="*/ 1635067 h 6859062"/>
              <a:gd name="connsiteX7904" fmla="*/ 2514186 w 12192185"/>
              <a:gd name="connsiteY7904" fmla="*/ 1638279 h 6859062"/>
              <a:gd name="connsiteX7905" fmla="*/ 2513011 w 12192185"/>
              <a:gd name="connsiteY7905" fmla="*/ 1642667 h 6859062"/>
              <a:gd name="connsiteX7906" fmla="*/ 2508623 w 12192185"/>
              <a:gd name="connsiteY7906" fmla="*/ 1641491 h 6859062"/>
              <a:gd name="connsiteX7907" fmla="*/ 2405246 w 12192185"/>
              <a:gd name="connsiteY7907" fmla="*/ 1693756 h 6859062"/>
              <a:gd name="connsiteX7908" fmla="*/ 2395293 w 12192185"/>
              <a:gd name="connsiteY7908" fmla="*/ 1695795 h 6859062"/>
              <a:gd name="connsiteX7909" fmla="*/ 2390903 w 12192185"/>
              <a:gd name="connsiteY7909" fmla="*/ 1694618 h 6859062"/>
              <a:gd name="connsiteX7910" fmla="*/ 2385337 w 12192185"/>
              <a:gd name="connsiteY7910" fmla="*/ 1697830 h 6859062"/>
              <a:gd name="connsiteX7911" fmla="*/ 2384162 w 12192185"/>
              <a:gd name="connsiteY7911" fmla="*/ 1702219 h 6859062"/>
              <a:gd name="connsiteX7912" fmla="*/ 2344032 w 12192185"/>
              <a:gd name="connsiteY7912" fmla="*/ 1729096 h 6859062"/>
              <a:gd name="connsiteX7913" fmla="*/ 2338469 w 12192185"/>
              <a:gd name="connsiteY7913" fmla="*/ 1732309 h 6859062"/>
              <a:gd name="connsiteX7914" fmla="*/ 2331728 w 12192185"/>
              <a:gd name="connsiteY7914" fmla="*/ 1739910 h 6859062"/>
              <a:gd name="connsiteX7915" fmla="*/ 2340322 w 12192185"/>
              <a:gd name="connsiteY7915" fmla="*/ 1742214 h 6859062"/>
              <a:gd name="connsiteX7916" fmla="*/ 2328827 w 12192185"/>
              <a:gd name="connsiteY7916" fmla="*/ 1748540 h 6859062"/>
              <a:gd name="connsiteX7917" fmla="*/ 2321486 w 12192185"/>
              <a:gd name="connsiteY7917" fmla="*/ 1760638 h 6859062"/>
              <a:gd name="connsiteX7918" fmla="*/ 2321368 w 12192185"/>
              <a:gd name="connsiteY7918" fmla="*/ 1760700 h 6859062"/>
              <a:gd name="connsiteX7919" fmla="*/ 2303894 w 12192185"/>
              <a:gd name="connsiteY7919" fmla="*/ 1764793 h 6859062"/>
              <a:gd name="connsiteX7920" fmla="*/ 2283680 w 12192185"/>
              <a:gd name="connsiteY7920" fmla="*/ 1778776 h 6859062"/>
              <a:gd name="connsiteX7921" fmla="*/ 2279292 w 12192185"/>
              <a:gd name="connsiteY7921" fmla="*/ 1777601 h 6859062"/>
              <a:gd name="connsiteX7922" fmla="*/ 2278116 w 12192185"/>
              <a:gd name="connsiteY7922" fmla="*/ 1781987 h 6859062"/>
              <a:gd name="connsiteX7923" fmla="*/ 2276941 w 12192185"/>
              <a:gd name="connsiteY7923" fmla="*/ 1786379 h 6859062"/>
              <a:gd name="connsiteX7924" fmla="*/ 2262596 w 12192185"/>
              <a:gd name="connsiteY7924" fmla="*/ 1787239 h 6859062"/>
              <a:gd name="connsiteX7925" fmla="*/ 2268165 w 12192185"/>
              <a:gd name="connsiteY7925" fmla="*/ 1784027 h 6859062"/>
              <a:gd name="connsiteX7926" fmla="*/ 2274904 w 12192185"/>
              <a:gd name="connsiteY7926" fmla="*/ 1776425 h 6859062"/>
              <a:gd name="connsiteX7927" fmla="*/ 2264951 w 12192185"/>
              <a:gd name="connsiteY7927" fmla="*/ 1778461 h 6859062"/>
              <a:gd name="connsiteX7928" fmla="*/ 2260563 w 12192185"/>
              <a:gd name="connsiteY7928" fmla="*/ 1777284 h 6859062"/>
              <a:gd name="connsiteX7929" fmla="*/ 2283996 w 12192185"/>
              <a:gd name="connsiteY7929" fmla="*/ 1760049 h 6859062"/>
              <a:gd name="connsiteX7930" fmla="*/ 2110312 w 12192185"/>
              <a:gd name="connsiteY7930" fmla="*/ 1864033 h 6859062"/>
              <a:gd name="connsiteX7931" fmla="*/ 2092424 w 12192185"/>
              <a:gd name="connsiteY7931" fmla="*/ 1878058 h 6859062"/>
              <a:gd name="connsiteX7932" fmla="*/ 2086862 w 12192185"/>
              <a:gd name="connsiteY7932" fmla="*/ 1881270 h 6859062"/>
              <a:gd name="connsiteX7933" fmla="*/ 1937160 w 12192185"/>
              <a:gd name="connsiteY7933" fmla="*/ 2001089 h 6859062"/>
              <a:gd name="connsiteX7934" fmla="*/ 1930371 w 12192185"/>
              <a:gd name="connsiteY7934" fmla="*/ 2003698 h 6859062"/>
              <a:gd name="connsiteX7935" fmla="*/ 1938336 w 12192185"/>
              <a:gd name="connsiteY7935" fmla="*/ 1996700 h 6859062"/>
              <a:gd name="connsiteX7936" fmla="*/ 1940688 w 12192185"/>
              <a:gd name="connsiteY7936" fmla="*/ 1987921 h 6859062"/>
              <a:gd name="connsiteX7937" fmla="*/ 1954168 w 12192185"/>
              <a:gd name="connsiteY7937" fmla="*/ 1972720 h 6859062"/>
              <a:gd name="connsiteX7938" fmla="*/ 1959734 w 12192185"/>
              <a:gd name="connsiteY7938" fmla="*/ 1969507 h 6859062"/>
              <a:gd name="connsiteX7939" fmla="*/ 1960909 w 12192185"/>
              <a:gd name="connsiteY7939" fmla="*/ 1965118 h 6859062"/>
              <a:gd name="connsiteX7940" fmla="*/ 1989045 w 12192185"/>
              <a:gd name="connsiteY7940" fmla="*/ 1930324 h 6859062"/>
              <a:gd name="connsiteX7941" fmla="*/ 1982306 w 12192185"/>
              <a:gd name="connsiteY7941" fmla="*/ 1937926 h 6859062"/>
              <a:gd name="connsiteX7942" fmla="*/ 1984659 w 12192185"/>
              <a:gd name="connsiteY7942" fmla="*/ 1929146 h 6859062"/>
              <a:gd name="connsiteX7943" fmla="*/ 1974705 w 12192185"/>
              <a:gd name="connsiteY7943" fmla="*/ 1931184 h 6859062"/>
              <a:gd name="connsiteX7944" fmla="*/ 1975880 w 12192185"/>
              <a:gd name="connsiteY7944" fmla="*/ 1926795 h 6859062"/>
              <a:gd name="connsiteX7945" fmla="*/ 1981445 w 12192185"/>
              <a:gd name="connsiteY7945" fmla="*/ 1923582 h 6859062"/>
              <a:gd name="connsiteX7946" fmla="*/ 1982620 w 12192185"/>
              <a:gd name="connsiteY7946" fmla="*/ 1919193 h 6859062"/>
              <a:gd name="connsiteX7947" fmla="*/ 2002843 w 12192185"/>
              <a:gd name="connsiteY7947" fmla="*/ 1896389 h 6859062"/>
              <a:gd name="connsiteX7948" fmla="*/ 2004019 w 12192185"/>
              <a:gd name="connsiteY7948" fmla="*/ 1892000 h 6859062"/>
              <a:gd name="connsiteX7949" fmla="*/ 1998454 w 12192185"/>
              <a:gd name="connsiteY7949" fmla="*/ 1895211 h 6859062"/>
              <a:gd name="connsiteX7950" fmla="*/ 1994066 w 12192185"/>
              <a:gd name="connsiteY7950" fmla="*/ 1894036 h 6859062"/>
              <a:gd name="connsiteX7951" fmla="*/ 2059121 w 12192185"/>
              <a:gd name="connsiteY7951" fmla="*/ 1826799 h 6859062"/>
              <a:gd name="connsiteX7952" fmla="*/ 2127407 w 12192185"/>
              <a:gd name="connsiteY7952" fmla="*/ 1765129 h 6859062"/>
              <a:gd name="connsiteX7953" fmla="*/ 2128582 w 12192185"/>
              <a:gd name="connsiteY7953" fmla="*/ 1760743 h 6859062"/>
              <a:gd name="connsiteX7954" fmla="*/ 2132973 w 12192185"/>
              <a:gd name="connsiteY7954" fmla="*/ 1761916 h 6859062"/>
              <a:gd name="connsiteX7955" fmla="*/ 2134148 w 12192185"/>
              <a:gd name="connsiteY7955" fmla="*/ 1757527 h 6859062"/>
              <a:gd name="connsiteX7956" fmla="*/ 2139715 w 12192185"/>
              <a:gd name="connsiteY7956" fmla="*/ 1754314 h 6859062"/>
              <a:gd name="connsiteX7957" fmla="*/ 2152020 w 12192185"/>
              <a:gd name="connsiteY7957" fmla="*/ 1743500 h 6859062"/>
              <a:gd name="connsiteX7958" fmla="*/ 2154371 w 12192185"/>
              <a:gd name="connsiteY7958" fmla="*/ 1734723 h 6859062"/>
              <a:gd name="connsiteX7959" fmla="*/ 2140889 w 12192185"/>
              <a:gd name="connsiteY7959" fmla="*/ 1749926 h 6859062"/>
              <a:gd name="connsiteX7960" fmla="*/ 2136500 w 12192185"/>
              <a:gd name="connsiteY7960" fmla="*/ 1748750 h 6859062"/>
              <a:gd name="connsiteX7961" fmla="*/ 2137675 w 12192185"/>
              <a:gd name="connsiteY7961" fmla="*/ 1744361 h 6859062"/>
              <a:gd name="connsiteX7962" fmla="*/ 2132110 w 12192185"/>
              <a:gd name="connsiteY7962" fmla="*/ 1747575 h 6859062"/>
              <a:gd name="connsiteX7963" fmla="*/ 2130935 w 12192185"/>
              <a:gd name="connsiteY7963" fmla="*/ 1751963 h 6859062"/>
              <a:gd name="connsiteX7964" fmla="*/ 2125369 w 12192185"/>
              <a:gd name="connsiteY7964" fmla="*/ 1755176 h 6859062"/>
              <a:gd name="connsiteX7965" fmla="*/ 2113065 w 12192185"/>
              <a:gd name="connsiteY7965" fmla="*/ 1765989 h 6859062"/>
              <a:gd name="connsiteX7966" fmla="*/ 2110712 w 12192185"/>
              <a:gd name="connsiteY7966" fmla="*/ 1774765 h 6859062"/>
              <a:gd name="connsiteX7967" fmla="*/ 2101933 w 12192185"/>
              <a:gd name="connsiteY7967" fmla="*/ 1772415 h 6859062"/>
              <a:gd name="connsiteX7968" fmla="*/ 2080520 w 12192185"/>
              <a:gd name="connsiteY7968" fmla="*/ 1799606 h 6859062"/>
              <a:gd name="connsiteX7969" fmla="*/ 2031295 w 12192185"/>
              <a:gd name="connsiteY7969" fmla="*/ 1842864 h 6859062"/>
              <a:gd name="connsiteX7970" fmla="*/ 2035684 w 12192185"/>
              <a:gd name="connsiteY7970" fmla="*/ 1844040 h 6859062"/>
              <a:gd name="connsiteX7971" fmla="*/ 2024556 w 12192185"/>
              <a:gd name="connsiteY7971" fmla="*/ 1850465 h 6859062"/>
              <a:gd name="connsiteX7972" fmla="*/ 2022203 w 12192185"/>
              <a:gd name="connsiteY7972" fmla="*/ 1859243 h 6859062"/>
              <a:gd name="connsiteX7973" fmla="*/ 2017815 w 12192185"/>
              <a:gd name="connsiteY7973" fmla="*/ 1858067 h 6859062"/>
              <a:gd name="connsiteX7974" fmla="*/ 2006687 w 12192185"/>
              <a:gd name="connsiteY7974" fmla="*/ 1864492 h 6859062"/>
              <a:gd name="connsiteX7975" fmla="*/ 1972143 w 12192185"/>
              <a:gd name="connsiteY7975" fmla="*/ 1909476 h 6859062"/>
              <a:gd name="connsiteX7976" fmla="*/ 1963250 w 12192185"/>
              <a:gd name="connsiteY7976" fmla="*/ 1915263 h 6859062"/>
              <a:gd name="connsiteX7977" fmla="*/ 1963127 w 12192185"/>
              <a:gd name="connsiteY7977" fmla="*/ 1915145 h 6859062"/>
              <a:gd name="connsiteX7978" fmla="*/ 1959503 w 12192185"/>
              <a:gd name="connsiteY7978" fmla="*/ 1917702 h 6859062"/>
              <a:gd name="connsiteX7979" fmla="*/ 1963250 w 12192185"/>
              <a:gd name="connsiteY7979" fmla="*/ 1915263 h 6859062"/>
              <a:gd name="connsiteX7980" fmla="*/ 1968279 w 12192185"/>
              <a:gd name="connsiteY7980" fmla="*/ 1920055 h 6859062"/>
              <a:gd name="connsiteX7981" fmla="*/ 1889743 w 12192185"/>
              <a:gd name="connsiteY7981" fmla="*/ 2002493 h 6859062"/>
              <a:gd name="connsiteX7982" fmla="*/ 1829077 w 12192185"/>
              <a:gd name="connsiteY7982" fmla="*/ 2070907 h 6859062"/>
              <a:gd name="connsiteX7983" fmla="*/ 1824688 w 12192185"/>
              <a:gd name="connsiteY7983" fmla="*/ 2069729 h 6859062"/>
              <a:gd name="connsiteX7984" fmla="*/ 1784245 w 12192185"/>
              <a:gd name="connsiteY7984" fmla="*/ 2115340 h 6859062"/>
              <a:gd name="connsiteX7985" fmla="*/ 1787773 w 12192185"/>
              <a:gd name="connsiteY7985" fmla="*/ 2102173 h 6859062"/>
              <a:gd name="connsiteX7986" fmla="*/ 1787458 w 12192185"/>
              <a:gd name="connsiteY7986" fmla="*/ 2120900 h 6859062"/>
              <a:gd name="connsiteX7987" fmla="*/ 1737061 w 12192185"/>
              <a:gd name="connsiteY7987" fmla="*/ 2168550 h 6859062"/>
              <a:gd name="connsiteX7988" fmla="*/ 1731496 w 12192185"/>
              <a:gd name="connsiteY7988" fmla="*/ 2171762 h 6859062"/>
              <a:gd name="connsiteX7989" fmla="*/ 1730321 w 12192185"/>
              <a:gd name="connsiteY7989" fmla="*/ 2176153 h 6859062"/>
              <a:gd name="connsiteX7990" fmla="*/ 1734708 w 12192185"/>
              <a:gd name="connsiteY7990" fmla="*/ 2177325 h 6859062"/>
              <a:gd name="connsiteX7991" fmla="*/ 1727968 w 12192185"/>
              <a:gd name="connsiteY7991" fmla="*/ 2184927 h 6859062"/>
              <a:gd name="connsiteX7992" fmla="*/ 1729143 w 12192185"/>
              <a:gd name="connsiteY7992" fmla="*/ 2180539 h 6859062"/>
              <a:gd name="connsiteX7993" fmla="*/ 1724755 w 12192185"/>
              <a:gd name="connsiteY7993" fmla="*/ 2179365 h 6859062"/>
              <a:gd name="connsiteX7994" fmla="*/ 1722403 w 12192185"/>
              <a:gd name="connsiteY7994" fmla="*/ 2188140 h 6859062"/>
              <a:gd name="connsiteX7995" fmla="*/ 1716838 w 12192185"/>
              <a:gd name="connsiteY7995" fmla="*/ 2191359 h 6859062"/>
              <a:gd name="connsiteX7996" fmla="*/ 1713311 w 12192185"/>
              <a:gd name="connsiteY7996" fmla="*/ 2204523 h 6859062"/>
              <a:gd name="connsiteX7997" fmla="*/ 1706571 w 12192185"/>
              <a:gd name="connsiteY7997" fmla="*/ 2212124 h 6859062"/>
              <a:gd name="connsiteX7998" fmla="*/ 1712135 w 12192185"/>
              <a:gd name="connsiteY7998" fmla="*/ 2208911 h 6859062"/>
              <a:gd name="connsiteX7999" fmla="*/ 1717700 w 12192185"/>
              <a:gd name="connsiteY7999" fmla="*/ 2205701 h 6859062"/>
              <a:gd name="connsiteX8000" fmla="*/ 1715348 w 12192185"/>
              <a:gd name="connsiteY8000" fmla="*/ 2214474 h 6859062"/>
              <a:gd name="connsiteX8001" fmla="*/ 1695127 w 12192185"/>
              <a:gd name="connsiteY8001" fmla="*/ 2237275 h 6859062"/>
              <a:gd name="connsiteX8002" fmla="*/ 1660247 w 12192185"/>
              <a:gd name="connsiteY8002" fmla="*/ 2279661 h 6859062"/>
              <a:gd name="connsiteX8003" fmla="*/ 1654684 w 12192185"/>
              <a:gd name="connsiteY8003" fmla="*/ 2282877 h 6859062"/>
              <a:gd name="connsiteX8004" fmla="*/ 1653507 w 12192185"/>
              <a:gd name="connsiteY8004" fmla="*/ 2287266 h 6859062"/>
              <a:gd name="connsiteX8005" fmla="*/ 1638849 w 12192185"/>
              <a:gd name="connsiteY8005" fmla="*/ 2306859 h 6859062"/>
              <a:gd name="connsiteX8006" fmla="*/ 1629757 w 12192185"/>
              <a:gd name="connsiteY8006" fmla="*/ 2323240 h 6859062"/>
              <a:gd name="connsiteX8007" fmla="*/ 1603970 w 12192185"/>
              <a:gd name="connsiteY8007" fmla="*/ 2349258 h 6859062"/>
              <a:gd name="connsiteX8008" fmla="*/ 1599581 w 12192185"/>
              <a:gd name="connsiteY8008" fmla="*/ 2348080 h 6859062"/>
              <a:gd name="connsiteX8009" fmla="*/ 1597229 w 12192185"/>
              <a:gd name="connsiteY8009" fmla="*/ 2356858 h 6859062"/>
              <a:gd name="connsiteX8010" fmla="*/ 1596055 w 12192185"/>
              <a:gd name="connsiteY8010" fmla="*/ 2361251 h 6859062"/>
              <a:gd name="connsiteX8011" fmla="*/ 1601618 w 12192185"/>
              <a:gd name="connsiteY8011" fmla="*/ 2358035 h 6859062"/>
              <a:gd name="connsiteX8012" fmla="*/ 1580221 w 12192185"/>
              <a:gd name="connsiteY8012" fmla="*/ 2385231 h 6859062"/>
              <a:gd name="connsiteX8013" fmla="*/ 1574655 w 12192185"/>
              <a:gd name="connsiteY8013" fmla="*/ 2388437 h 6859062"/>
              <a:gd name="connsiteX8014" fmla="*/ 1573479 w 12192185"/>
              <a:gd name="connsiteY8014" fmla="*/ 2392829 h 6859062"/>
              <a:gd name="connsiteX8015" fmla="*/ 1556470 w 12192185"/>
              <a:gd name="connsiteY8015" fmla="*/ 2421201 h 6859062"/>
              <a:gd name="connsiteX8016" fmla="*/ 1557647 w 12192185"/>
              <a:gd name="connsiteY8016" fmla="*/ 2416809 h 6859062"/>
              <a:gd name="connsiteX8017" fmla="*/ 1561173 w 12192185"/>
              <a:gd name="connsiteY8017" fmla="*/ 2403644 h 6859062"/>
              <a:gd name="connsiteX8018" fmla="*/ 1554435 w 12192185"/>
              <a:gd name="connsiteY8018" fmla="*/ 2411246 h 6859062"/>
              <a:gd name="connsiteX8019" fmla="*/ 1548870 w 12192185"/>
              <a:gd name="connsiteY8019" fmla="*/ 2414457 h 6859062"/>
              <a:gd name="connsiteX8020" fmla="*/ 1557962 w 12192185"/>
              <a:gd name="connsiteY8020" fmla="*/ 2398072 h 6859062"/>
              <a:gd name="connsiteX8021" fmla="*/ 1550361 w 12192185"/>
              <a:gd name="connsiteY8021" fmla="*/ 2391334 h 6859062"/>
              <a:gd name="connsiteX8022" fmla="*/ 1528963 w 12192185"/>
              <a:gd name="connsiteY8022" fmla="*/ 2418533 h 6859062"/>
              <a:gd name="connsiteX8023" fmla="*/ 1523398 w 12192185"/>
              <a:gd name="connsiteY8023" fmla="*/ 2421746 h 6859062"/>
              <a:gd name="connsiteX8024" fmla="*/ 1522222 w 12192185"/>
              <a:gd name="connsiteY8024" fmla="*/ 2426134 h 6859062"/>
              <a:gd name="connsiteX8025" fmla="*/ 1521046 w 12192185"/>
              <a:gd name="connsiteY8025" fmla="*/ 2430521 h 6859062"/>
              <a:gd name="connsiteX8026" fmla="*/ 1526611 w 12192185"/>
              <a:gd name="connsiteY8026" fmla="*/ 2427311 h 6859062"/>
              <a:gd name="connsiteX8027" fmla="*/ 1523083 w 12192185"/>
              <a:gd name="connsiteY8027" fmla="*/ 2440473 h 6859062"/>
              <a:gd name="connsiteX8028" fmla="*/ 1526296 w 12192185"/>
              <a:gd name="connsiteY8028" fmla="*/ 2446043 h 6859062"/>
              <a:gd name="connsiteX8029" fmla="*/ 1540953 w 12192185"/>
              <a:gd name="connsiteY8029" fmla="*/ 2426449 h 6859062"/>
              <a:gd name="connsiteX8030" fmla="*/ 1539777 w 12192185"/>
              <a:gd name="connsiteY8030" fmla="*/ 2430837 h 6859062"/>
              <a:gd name="connsiteX8031" fmla="*/ 1541815 w 12192185"/>
              <a:gd name="connsiteY8031" fmla="*/ 2440790 h 6859062"/>
              <a:gd name="connsiteX8032" fmla="*/ 1547624 w 12192185"/>
              <a:gd name="connsiteY8032" fmla="*/ 2434236 h 6859062"/>
              <a:gd name="connsiteX8033" fmla="*/ 1544958 w 12192185"/>
              <a:gd name="connsiteY8033" fmla="*/ 2442221 h 6859062"/>
              <a:gd name="connsiteX8034" fmla="*/ 1531545 w 12192185"/>
              <a:gd name="connsiteY8034" fmla="*/ 2461558 h 6859062"/>
              <a:gd name="connsiteX8035" fmla="*/ 1541183 w 12192185"/>
              <a:gd name="connsiteY8035" fmla="*/ 2478255 h 6859062"/>
              <a:gd name="connsiteX8036" fmla="*/ 1537970 w 12192185"/>
              <a:gd name="connsiteY8036" fmla="*/ 2472689 h 6859062"/>
              <a:gd name="connsiteX8037" fmla="*/ 1533583 w 12192185"/>
              <a:gd name="connsiteY8037" fmla="*/ 2471511 h 6859062"/>
              <a:gd name="connsiteX8038" fmla="*/ 1529194 w 12192185"/>
              <a:gd name="connsiteY8038" fmla="*/ 2470336 h 6859062"/>
              <a:gd name="connsiteX8039" fmla="*/ 1526840 w 12192185"/>
              <a:gd name="connsiteY8039" fmla="*/ 2479113 h 6859062"/>
              <a:gd name="connsiteX8040" fmla="*/ 1525665 w 12192185"/>
              <a:gd name="connsiteY8040" fmla="*/ 2483505 h 6859062"/>
              <a:gd name="connsiteX8041" fmla="*/ 1514537 w 12192185"/>
              <a:gd name="connsiteY8041" fmla="*/ 2489929 h 6859062"/>
              <a:gd name="connsiteX8042" fmla="*/ 1516888 w 12192185"/>
              <a:gd name="connsiteY8042" fmla="*/ 2481153 h 6859062"/>
              <a:gd name="connsiteX8043" fmla="*/ 1512498 w 12192185"/>
              <a:gd name="connsiteY8043" fmla="*/ 2479973 h 6859062"/>
              <a:gd name="connsiteX8044" fmla="*/ 1505759 w 12192185"/>
              <a:gd name="connsiteY8044" fmla="*/ 2487577 h 6859062"/>
              <a:gd name="connsiteX8045" fmla="*/ 1503406 w 12192185"/>
              <a:gd name="connsiteY8045" fmla="*/ 2496355 h 6859062"/>
              <a:gd name="connsiteX8046" fmla="*/ 1509832 w 12192185"/>
              <a:gd name="connsiteY8046" fmla="*/ 2507482 h 6859062"/>
              <a:gd name="connsiteX8047" fmla="*/ 1513046 w 12192185"/>
              <a:gd name="connsiteY8047" fmla="*/ 2513048 h 6859062"/>
              <a:gd name="connsiteX8048" fmla="*/ 1518610 w 12192185"/>
              <a:gd name="connsiteY8048" fmla="*/ 2509835 h 6859062"/>
              <a:gd name="connsiteX8049" fmla="*/ 1508343 w 12192185"/>
              <a:gd name="connsiteY8049" fmla="*/ 2530604 h 6859062"/>
              <a:gd name="connsiteX8050" fmla="*/ 1511870 w 12192185"/>
              <a:gd name="connsiteY8050" fmla="*/ 2517438 h 6859062"/>
              <a:gd name="connsiteX8051" fmla="*/ 1498388 w 12192185"/>
              <a:gd name="connsiteY8051" fmla="*/ 2532642 h 6859062"/>
              <a:gd name="connsiteX8052" fmla="*/ 1493998 w 12192185"/>
              <a:gd name="connsiteY8052" fmla="*/ 2531466 h 6859062"/>
              <a:gd name="connsiteX8053" fmla="*/ 1492823 w 12192185"/>
              <a:gd name="connsiteY8053" fmla="*/ 2535852 h 6859062"/>
              <a:gd name="connsiteX8054" fmla="*/ 1491647 w 12192185"/>
              <a:gd name="connsiteY8054" fmla="*/ 2540241 h 6859062"/>
              <a:gd name="connsiteX8055" fmla="*/ 1496037 w 12192185"/>
              <a:gd name="connsiteY8055" fmla="*/ 2541420 h 6859062"/>
              <a:gd name="connsiteX8056" fmla="*/ 1484908 w 12192185"/>
              <a:gd name="connsiteY8056" fmla="*/ 2547842 h 6859062"/>
              <a:gd name="connsiteX8057" fmla="*/ 1480204 w 12192185"/>
              <a:gd name="connsiteY8057" fmla="*/ 2565400 h 6859062"/>
              <a:gd name="connsiteX8058" fmla="*/ 1473492 w 12192185"/>
              <a:gd name="connsiteY8058" fmla="*/ 2579476 h 6859062"/>
              <a:gd name="connsiteX8059" fmla="*/ 1464370 w 12192185"/>
              <a:gd name="connsiteY8059" fmla="*/ 2589380 h 6859062"/>
              <a:gd name="connsiteX8060" fmla="*/ 1461158 w 12192185"/>
              <a:gd name="connsiteY8060" fmla="*/ 2583815 h 6859062"/>
              <a:gd name="connsiteX8061" fmla="*/ 1459981 w 12192185"/>
              <a:gd name="connsiteY8061" fmla="*/ 2588205 h 6859062"/>
              <a:gd name="connsiteX8062" fmla="*/ 1455593 w 12192185"/>
              <a:gd name="connsiteY8062" fmla="*/ 2587026 h 6859062"/>
              <a:gd name="connsiteX8063" fmla="*/ 1452380 w 12192185"/>
              <a:gd name="connsiteY8063" fmla="*/ 2581463 h 6859062"/>
              <a:gd name="connsiteX8064" fmla="*/ 1471740 w 12192185"/>
              <a:gd name="connsiteY8064" fmla="*/ 2544315 h 6859062"/>
              <a:gd name="connsiteX8065" fmla="*/ 1476130 w 12192185"/>
              <a:gd name="connsiteY8065" fmla="*/ 2545491 h 6859062"/>
              <a:gd name="connsiteX8066" fmla="*/ 1485222 w 12192185"/>
              <a:gd name="connsiteY8066" fmla="*/ 2529113 h 6859062"/>
              <a:gd name="connsiteX8067" fmla="*/ 1472916 w 12192185"/>
              <a:gd name="connsiteY8067" fmla="*/ 2539926 h 6859062"/>
              <a:gd name="connsiteX8068" fmla="*/ 1483185 w 12192185"/>
              <a:gd name="connsiteY8068" fmla="*/ 2519158 h 6859062"/>
              <a:gd name="connsiteX8069" fmla="*/ 1488750 w 12192185"/>
              <a:gd name="connsiteY8069" fmla="*/ 2515946 h 6859062"/>
              <a:gd name="connsiteX8070" fmla="*/ 1489926 w 12192185"/>
              <a:gd name="connsiteY8070" fmla="*/ 2511558 h 6859062"/>
              <a:gd name="connsiteX8071" fmla="*/ 1486712 w 12192185"/>
              <a:gd name="connsiteY8071" fmla="*/ 2505993 h 6859062"/>
              <a:gd name="connsiteX8072" fmla="*/ 1481148 w 12192185"/>
              <a:gd name="connsiteY8072" fmla="*/ 2509205 h 6859062"/>
              <a:gd name="connsiteX8073" fmla="*/ 1474408 w 12192185"/>
              <a:gd name="connsiteY8073" fmla="*/ 2516807 h 6859062"/>
              <a:gd name="connsiteX8074" fmla="*/ 1473233 w 12192185"/>
              <a:gd name="connsiteY8074" fmla="*/ 2521196 h 6859062"/>
              <a:gd name="connsiteX8075" fmla="*/ 1477620 w 12192185"/>
              <a:gd name="connsiteY8075" fmla="*/ 2522370 h 6859062"/>
              <a:gd name="connsiteX8076" fmla="*/ 1447990 w 12192185"/>
              <a:gd name="connsiteY8076" fmla="*/ 2580287 h 6859062"/>
              <a:gd name="connsiteX8077" fmla="*/ 1442427 w 12192185"/>
              <a:gd name="connsiteY8077" fmla="*/ 2583502 h 6859062"/>
              <a:gd name="connsiteX8078" fmla="*/ 1441252 w 12192185"/>
              <a:gd name="connsiteY8078" fmla="*/ 2587888 h 6859062"/>
              <a:gd name="connsiteX8079" fmla="*/ 1440076 w 12192185"/>
              <a:gd name="connsiteY8079" fmla="*/ 2592277 h 6859062"/>
              <a:gd name="connsiteX8080" fmla="*/ 1424241 w 12192185"/>
              <a:gd name="connsiteY8080" fmla="*/ 2616259 h 6859062"/>
              <a:gd name="connsiteX8081" fmla="*/ 1428631 w 12192185"/>
              <a:gd name="connsiteY8081" fmla="*/ 2617435 h 6859062"/>
              <a:gd name="connsiteX8082" fmla="*/ 1423065 w 12192185"/>
              <a:gd name="connsiteY8082" fmla="*/ 2620646 h 6859062"/>
              <a:gd name="connsiteX8083" fmla="*/ 1416325 w 12192185"/>
              <a:gd name="connsiteY8083" fmla="*/ 2628250 h 6859062"/>
              <a:gd name="connsiteX8084" fmla="*/ 1419537 w 12192185"/>
              <a:gd name="connsiteY8084" fmla="*/ 2633816 h 6859062"/>
              <a:gd name="connsiteX8085" fmla="*/ 1380501 w 12192185"/>
              <a:gd name="connsiteY8085" fmla="*/ 2726844 h 6859062"/>
              <a:gd name="connsiteX8086" fmla="*/ 1373761 w 12192185"/>
              <a:gd name="connsiteY8086" fmla="*/ 2734444 h 6859062"/>
              <a:gd name="connsiteX8087" fmla="*/ 1372584 w 12192185"/>
              <a:gd name="connsiteY8087" fmla="*/ 2738834 h 6859062"/>
              <a:gd name="connsiteX8088" fmla="*/ 1376973 w 12192185"/>
              <a:gd name="connsiteY8088" fmla="*/ 2740010 h 6859062"/>
              <a:gd name="connsiteX8089" fmla="*/ 1361141 w 12192185"/>
              <a:gd name="connsiteY8089" fmla="*/ 2763987 h 6859062"/>
              <a:gd name="connsiteX8090" fmla="*/ 1359964 w 12192185"/>
              <a:gd name="connsiteY8090" fmla="*/ 2768378 h 6859062"/>
              <a:gd name="connsiteX8091" fmla="*/ 1357613 w 12192185"/>
              <a:gd name="connsiteY8091" fmla="*/ 2777156 h 6859062"/>
              <a:gd name="connsiteX8092" fmla="*/ 1356436 w 12192185"/>
              <a:gd name="connsiteY8092" fmla="*/ 2781545 h 6859062"/>
              <a:gd name="connsiteX8093" fmla="*/ 1350871 w 12192185"/>
              <a:gd name="connsiteY8093" fmla="*/ 2784756 h 6859062"/>
              <a:gd name="connsiteX8094" fmla="*/ 1349697 w 12192185"/>
              <a:gd name="connsiteY8094" fmla="*/ 2789146 h 6859062"/>
              <a:gd name="connsiteX8095" fmla="*/ 1342640 w 12192185"/>
              <a:gd name="connsiteY8095" fmla="*/ 2815473 h 6859062"/>
              <a:gd name="connsiteX8096" fmla="*/ 1341464 w 12192185"/>
              <a:gd name="connsiteY8096" fmla="*/ 2819866 h 6859062"/>
              <a:gd name="connsiteX8097" fmla="*/ 1339112 w 12192185"/>
              <a:gd name="connsiteY8097" fmla="*/ 2828643 h 6859062"/>
              <a:gd name="connsiteX8098" fmla="*/ 1337936 w 12192185"/>
              <a:gd name="connsiteY8098" fmla="*/ 2833031 h 6859062"/>
              <a:gd name="connsiteX8099" fmla="*/ 1329704 w 12192185"/>
              <a:gd name="connsiteY8099" fmla="*/ 2863758 h 6859062"/>
              <a:gd name="connsiteX8100" fmla="*/ 1316225 w 12192185"/>
              <a:gd name="connsiteY8100" fmla="*/ 2878956 h 6859062"/>
              <a:gd name="connsiteX8101" fmla="*/ 1310660 w 12192185"/>
              <a:gd name="connsiteY8101" fmla="*/ 2882167 h 6859062"/>
              <a:gd name="connsiteX8102" fmla="*/ 1309483 w 12192185"/>
              <a:gd name="connsiteY8102" fmla="*/ 2886559 h 6859062"/>
              <a:gd name="connsiteX8103" fmla="*/ 1313871 w 12192185"/>
              <a:gd name="connsiteY8103" fmla="*/ 2887732 h 6859062"/>
              <a:gd name="connsiteX8104" fmla="*/ 1315047 w 12192185"/>
              <a:gd name="connsiteY8104" fmla="*/ 2883346 h 6859062"/>
              <a:gd name="connsiteX8105" fmla="*/ 1314733 w 12192185"/>
              <a:gd name="connsiteY8105" fmla="*/ 2902077 h 6859062"/>
              <a:gd name="connsiteX8106" fmla="*/ 1305956 w 12192185"/>
              <a:gd name="connsiteY8106" fmla="*/ 2899725 h 6859062"/>
              <a:gd name="connsiteX8107" fmla="*/ 1302937 w 12192185"/>
              <a:gd name="connsiteY8107" fmla="*/ 2894496 h 6859062"/>
              <a:gd name="connsiteX8108" fmla="*/ 1311080 w 12192185"/>
              <a:gd name="connsiteY8108" fmla="*/ 2870452 h 6859062"/>
              <a:gd name="connsiteX8109" fmla="*/ 1326262 w 12192185"/>
              <a:gd name="connsiteY8109" fmla="*/ 2806382 h 6859062"/>
              <a:gd name="connsiteX8110" fmla="*/ 1331827 w 12192185"/>
              <a:gd name="connsiteY8110" fmla="*/ 2803167 h 6859062"/>
              <a:gd name="connsiteX8111" fmla="*/ 1333003 w 12192185"/>
              <a:gd name="connsiteY8111" fmla="*/ 2798780 h 6859062"/>
              <a:gd name="connsiteX8112" fmla="*/ 1334493 w 12192185"/>
              <a:gd name="connsiteY8112" fmla="*/ 2775664 h 6859062"/>
              <a:gd name="connsiteX8113" fmla="*/ 1329789 w 12192185"/>
              <a:gd name="connsiteY8113" fmla="*/ 2793217 h 6859062"/>
              <a:gd name="connsiteX8114" fmla="*/ 1326577 w 12192185"/>
              <a:gd name="connsiteY8114" fmla="*/ 2787655 h 6859062"/>
              <a:gd name="connsiteX8115" fmla="*/ 1325401 w 12192185"/>
              <a:gd name="connsiteY8115" fmla="*/ 2792044 h 6859062"/>
              <a:gd name="connsiteX8116" fmla="*/ 1324224 w 12192185"/>
              <a:gd name="connsiteY8116" fmla="*/ 2796428 h 6859062"/>
              <a:gd name="connsiteX8117" fmla="*/ 1323048 w 12192185"/>
              <a:gd name="connsiteY8117" fmla="*/ 2800817 h 6859062"/>
              <a:gd name="connsiteX8118" fmla="*/ 1289346 w 12192185"/>
              <a:gd name="connsiteY8118" fmla="*/ 2838830 h 6859062"/>
              <a:gd name="connsiteX8119" fmla="*/ 1223976 w 12192185"/>
              <a:gd name="connsiteY8119" fmla="*/ 2924793 h 6859062"/>
              <a:gd name="connsiteX8120" fmla="*/ 1218412 w 12192185"/>
              <a:gd name="connsiteY8120" fmla="*/ 2928006 h 6859062"/>
              <a:gd name="connsiteX8121" fmla="*/ 1212847 w 12192185"/>
              <a:gd name="connsiteY8121" fmla="*/ 2931216 h 6859062"/>
              <a:gd name="connsiteX8122" fmla="*/ 1209634 w 12192185"/>
              <a:gd name="connsiteY8122" fmla="*/ 2925654 h 6859062"/>
              <a:gd name="connsiteX8123" fmla="*/ 1206106 w 12192185"/>
              <a:gd name="connsiteY8123" fmla="*/ 2938819 h 6859062"/>
              <a:gd name="connsiteX8124" fmla="*/ 1166209 w 12192185"/>
              <a:gd name="connsiteY8124" fmla="*/ 3017499 h 6859062"/>
              <a:gd name="connsiteX8125" fmla="*/ 1164172 w 12192185"/>
              <a:gd name="connsiteY8125" fmla="*/ 3007543 h 6859062"/>
              <a:gd name="connsiteX8126" fmla="*/ 1123728 w 12192185"/>
              <a:gd name="connsiteY8126" fmla="*/ 3053158 h 6859062"/>
              <a:gd name="connsiteX8127" fmla="*/ 1126080 w 12192185"/>
              <a:gd name="connsiteY8127" fmla="*/ 3044382 h 6859062"/>
              <a:gd name="connsiteX8128" fmla="*/ 1127255 w 12192185"/>
              <a:gd name="connsiteY8128" fmla="*/ 3039995 h 6859062"/>
              <a:gd name="connsiteX8129" fmla="*/ 1121693 w 12192185"/>
              <a:gd name="connsiteY8129" fmla="*/ 3043205 h 6859062"/>
              <a:gd name="connsiteX8130" fmla="*/ 1119340 w 12192185"/>
              <a:gd name="connsiteY8130" fmla="*/ 3051983 h 6859062"/>
              <a:gd name="connsiteX8131" fmla="*/ 1138155 w 12192185"/>
              <a:gd name="connsiteY8131" fmla="*/ 2981758 h 6859062"/>
              <a:gd name="connsiteX8132" fmla="*/ 1063693 w 12192185"/>
              <a:gd name="connsiteY8132" fmla="*/ 3084111 h 6859062"/>
              <a:gd name="connsiteX8133" fmla="*/ 1042611 w 12192185"/>
              <a:gd name="connsiteY8133" fmla="*/ 3092573 h 6859062"/>
              <a:gd name="connsiteX8134" fmla="*/ 1041750 w 12192185"/>
              <a:gd name="connsiteY8134" fmla="*/ 3078232 h 6859062"/>
              <a:gd name="connsiteX8135" fmla="*/ 1074361 w 12192185"/>
              <a:gd name="connsiteY8135" fmla="*/ 2974074 h 6859062"/>
              <a:gd name="connsiteX8136" fmla="*/ 1074446 w 12192185"/>
              <a:gd name="connsiteY8136" fmla="*/ 2973268 h 6859062"/>
              <a:gd name="connsiteX8137" fmla="*/ 1071348 w 12192185"/>
              <a:gd name="connsiteY8137" fmla="*/ 2972375 h 6859062"/>
              <a:gd name="connsiteX8138" fmla="*/ 1063059 w 12192185"/>
              <a:gd name="connsiteY8138" fmla="*/ 2964763 h 6859062"/>
              <a:gd name="connsiteX8139" fmla="*/ 1058735 w 12192185"/>
              <a:gd name="connsiteY8139" fmla="*/ 2954974 h 6859062"/>
              <a:gd name="connsiteX8140" fmla="*/ 1057310 w 12192185"/>
              <a:gd name="connsiteY8140" fmla="*/ 2941752 h 6859062"/>
              <a:gd name="connsiteX8141" fmla="*/ 1054437 w 12192185"/>
              <a:gd name="connsiteY8141" fmla="*/ 2928586 h 6859062"/>
              <a:gd name="connsiteX8142" fmla="*/ 1047539 w 12192185"/>
              <a:gd name="connsiteY8142" fmla="*/ 2916158 h 6859062"/>
              <a:gd name="connsiteX8143" fmla="*/ 1052090 w 12192185"/>
              <a:gd name="connsiteY8143" fmla="*/ 2900391 h 6859062"/>
              <a:gd name="connsiteX8144" fmla="*/ 1057812 w 12192185"/>
              <a:gd name="connsiteY8144" fmla="*/ 2896650 h 6859062"/>
              <a:gd name="connsiteX8145" fmla="*/ 1147585 w 12192185"/>
              <a:gd name="connsiteY8145" fmla="*/ 2683246 h 6859062"/>
              <a:gd name="connsiteX8146" fmla="*/ 1157853 w 12192185"/>
              <a:gd name="connsiteY8146" fmla="*/ 2662480 h 6859062"/>
              <a:gd name="connsiteX8147" fmla="*/ 1165412 w 12192185"/>
              <a:gd name="connsiteY8147" fmla="*/ 2648623 h 6859062"/>
              <a:gd name="connsiteX8148" fmla="*/ 1166569 w 12192185"/>
              <a:gd name="connsiteY8148" fmla="*/ 2643502 h 6859062"/>
              <a:gd name="connsiteX8149" fmla="*/ 1168762 w 12192185"/>
              <a:gd name="connsiteY8149" fmla="*/ 2639565 h 6859062"/>
              <a:gd name="connsiteX8150" fmla="*/ 1172915 w 12192185"/>
              <a:gd name="connsiteY8150" fmla="*/ 2631271 h 6859062"/>
              <a:gd name="connsiteX8151" fmla="*/ 1174177 w 12192185"/>
              <a:gd name="connsiteY8151" fmla="*/ 2628119 h 6859062"/>
              <a:gd name="connsiteX8152" fmla="*/ 1177400 w 12192185"/>
              <a:gd name="connsiteY8152" fmla="*/ 2620612 h 6859062"/>
              <a:gd name="connsiteX8153" fmla="*/ 1182007 w 12192185"/>
              <a:gd name="connsiteY8153" fmla="*/ 2618204 h 6859062"/>
              <a:gd name="connsiteX8154" fmla="*/ 1313244 w 12192185"/>
              <a:gd name="connsiteY8154" fmla="*/ 2377642 h 6859062"/>
              <a:gd name="connsiteX8155" fmla="*/ 3093635 w 12192185"/>
              <a:gd name="connsiteY8155" fmla="*/ 1173129 h 6859062"/>
              <a:gd name="connsiteX8156" fmla="*/ 3190643 w 12192185"/>
              <a:gd name="connsiteY8156" fmla="*/ 1158181 h 6859062"/>
              <a:gd name="connsiteX8157" fmla="*/ 3190542 w 12192185"/>
              <a:gd name="connsiteY8157" fmla="*/ 1157164 h 6859062"/>
              <a:gd name="connsiteX8158" fmla="*/ 3188774 w 12192185"/>
              <a:gd name="connsiteY8158" fmla="*/ 1147633 h 6859062"/>
              <a:gd name="connsiteX8159" fmla="*/ 3187714 w 12192185"/>
              <a:gd name="connsiteY8159" fmla="*/ 1143045 h 6859062"/>
              <a:gd name="connsiteX8160" fmla="*/ 3188068 w 12192185"/>
              <a:gd name="connsiteY8160" fmla="*/ 1137043 h 6859062"/>
              <a:gd name="connsiteX8161" fmla="*/ 3190542 w 12192185"/>
              <a:gd name="connsiteY8161" fmla="*/ 1131043 h 6859062"/>
              <a:gd name="connsiteX8162" fmla="*/ 3198317 w 12192185"/>
              <a:gd name="connsiteY8162" fmla="*/ 1116571 h 6859062"/>
              <a:gd name="connsiteX8163" fmla="*/ 3223409 w 12192185"/>
              <a:gd name="connsiteY8163" fmla="*/ 1100686 h 6859062"/>
              <a:gd name="connsiteX8164" fmla="*/ 3225883 w 12192185"/>
              <a:gd name="connsiteY8164" fmla="*/ 1101391 h 6859062"/>
              <a:gd name="connsiteX8165" fmla="*/ 3237191 w 12192185"/>
              <a:gd name="connsiteY8165" fmla="*/ 1102803 h 6859062"/>
              <a:gd name="connsiteX8166" fmla="*/ 3240018 w 12192185"/>
              <a:gd name="connsiteY8166" fmla="*/ 1104215 h 6859062"/>
              <a:gd name="connsiteX8167" fmla="*/ 3248148 w 12192185"/>
              <a:gd name="connsiteY8167" fmla="*/ 1106687 h 6859062"/>
              <a:gd name="connsiteX8168" fmla="*/ 3252389 w 12192185"/>
              <a:gd name="connsiteY8168" fmla="*/ 1108451 h 6859062"/>
              <a:gd name="connsiteX8169" fmla="*/ 3254862 w 12192185"/>
              <a:gd name="connsiteY8169" fmla="*/ 1113394 h 6859062"/>
              <a:gd name="connsiteX8170" fmla="*/ 3264406 w 12192185"/>
              <a:gd name="connsiteY8170" fmla="*/ 1126101 h 6859062"/>
              <a:gd name="connsiteX8171" fmla="*/ 3268646 w 12192185"/>
              <a:gd name="connsiteY8171" fmla="*/ 1134572 h 6859062"/>
              <a:gd name="connsiteX8172" fmla="*/ 3268646 w 12192185"/>
              <a:gd name="connsiteY8172" fmla="*/ 1138809 h 6859062"/>
              <a:gd name="connsiteX8173" fmla="*/ 3265216 w 12192185"/>
              <a:gd name="connsiteY8173" fmla="*/ 1148055 h 6859062"/>
              <a:gd name="connsiteX8174" fmla="*/ 3266366 w 12192185"/>
              <a:gd name="connsiteY8174" fmla="*/ 1148363 h 6859062"/>
              <a:gd name="connsiteX8175" fmla="*/ 3270754 w 12192185"/>
              <a:gd name="connsiteY8175" fmla="*/ 1149540 h 6859062"/>
              <a:gd name="connsiteX8176" fmla="*/ 3273969 w 12192185"/>
              <a:gd name="connsiteY8176" fmla="*/ 1155104 h 6859062"/>
              <a:gd name="connsiteX8177" fmla="*/ 3264014 w 12192185"/>
              <a:gd name="connsiteY8177" fmla="*/ 1157139 h 6859062"/>
              <a:gd name="connsiteX8178" fmla="*/ 3261738 w 12192185"/>
              <a:gd name="connsiteY8178" fmla="*/ 1158925 h 6859062"/>
              <a:gd name="connsiteX8179" fmla="*/ 3260463 w 12192185"/>
              <a:gd name="connsiteY8179" fmla="*/ 1162931 h 6859062"/>
              <a:gd name="connsiteX8180" fmla="*/ 3261662 w 12192185"/>
              <a:gd name="connsiteY8180" fmla="*/ 1165918 h 6859062"/>
              <a:gd name="connsiteX8181" fmla="*/ 3271616 w 12192185"/>
              <a:gd name="connsiteY8181" fmla="*/ 1163880 h 6859062"/>
              <a:gd name="connsiteX8182" fmla="*/ 3277180 w 12192185"/>
              <a:gd name="connsiteY8182" fmla="*/ 1160668 h 6859062"/>
              <a:gd name="connsiteX8183" fmla="*/ 3281571 w 12192185"/>
              <a:gd name="connsiteY8183" fmla="*/ 1161845 h 6859062"/>
              <a:gd name="connsiteX8184" fmla="*/ 3293562 w 12192185"/>
              <a:gd name="connsiteY8184" fmla="*/ 1169761 h 6859062"/>
              <a:gd name="connsiteX8185" fmla="*/ 3301479 w 12192185"/>
              <a:gd name="connsiteY8185" fmla="*/ 1157772 h 6859062"/>
              <a:gd name="connsiteX8186" fmla="*/ 3291523 w 12192185"/>
              <a:gd name="connsiteY8186" fmla="*/ 1159807 h 6859062"/>
              <a:gd name="connsiteX8187" fmla="*/ 3298266 w 12192185"/>
              <a:gd name="connsiteY8187" fmla="*/ 1152207 h 6859062"/>
              <a:gd name="connsiteX8188" fmla="*/ 3283922 w 12192185"/>
              <a:gd name="connsiteY8188" fmla="*/ 1153068 h 6859062"/>
              <a:gd name="connsiteX8189" fmla="*/ 3278358 w 12192185"/>
              <a:gd name="connsiteY8189" fmla="*/ 1156280 h 6859062"/>
              <a:gd name="connsiteX8190" fmla="*/ 3285098 w 12192185"/>
              <a:gd name="connsiteY8190" fmla="*/ 1148678 h 6859062"/>
              <a:gd name="connsiteX8191" fmla="*/ 3289486 w 12192185"/>
              <a:gd name="connsiteY8191" fmla="*/ 1149854 h 6859062"/>
              <a:gd name="connsiteX8192" fmla="*/ 3295052 w 12192185"/>
              <a:gd name="connsiteY8192" fmla="*/ 1146639 h 6859062"/>
              <a:gd name="connsiteX8193" fmla="*/ 3296228 w 12192185"/>
              <a:gd name="connsiteY8193" fmla="*/ 1142253 h 6859062"/>
              <a:gd name="connsiteX8194" fmla="*/ 3407570 w 12192185"/>
              <a:gd name="connsiteY8194" fmla="*/ 1132691 h 6859062"/>
              <a:gd name="connsiteX8195" fmla="*/ 3408629 w 12192185"/>
              <a:gd name="connsiteY8195" fmla="*/ 1132641 h 6859062"/>
              <a:gd name="connsiteX8196" fmla="*/ 3422555 w 12192185"/>
              <a:gd name="connsiteY8196" fmla="*/ 1115689 h 6859062"/>
              <a:gd name="connsiteX8197" fmla="*/ 3439596 w 12192185"/>
              <a:gd name="connsiteY8197" fmla="*/ 1098067 h 6859062"/>
              <a:gd name="connsiteX8198" fmla="*/ 3600857 w 12192185"/>
              <a:gd name="connsiteY8198" fmla="*/ 1069314 h 6859062"/>
              <a:gd name="connsiteX8199" fmla="*/ 3486834 w 12192185"/>
              <a:gd name="connsiteY8199" fmla="*/ 1070377 h 6859062"/>
              <a:gd name="connsiteX8200" fmla="*/ 3482853 w 12192185"/>
              <a:gd name="connsiteY8200" fmla="*/ 1076212 h 6859062"/>
              <a:gd name="connsiteX8201" fmla="*/ 3470292 w 12192185"/>
              <a:gd name="connsiteY8201" fmla="*/ 1084198 h 6859062"/>
              <a:gd name="connsiteX8202" fmla="*/ 3467732 w 12192185"/>
              <a:gd name="connsiteY8202" fmla="*/ 1092964 h 6859062"/>
              <a:gd name="connsiteX8203" fmla="*/ 3463714 w 12192185"/>
              <a:gd name="connsiteY8203" fmla="*/ 1093692 h 6859062"/>
              <a:gd name="connsiteX8204" fmla="*/ 3459691 w 12192185"/>
              <a:gd name="connsiteY8204" fmla="*/ 1094422 h 6859062"/>
              <a:gd name="connsiteX8205" fmla="*/ 3462981 w 12192185"/>
              <a:gd name="connsiteY8205" fmla="*/ 1089674 h 6859062"/>
              <a:gd name="connsiteX8206" fmla="*/ 3465169 w 12192185"/>
              <a:gd name="connsiteY8206" fmla="*/ 1101729 h 6859062"/>
              <a:gd name="connsiteX8207" fmla="*/ 3463337 w 12192185"/>
              <a:gd name="connsiteY8207" fmla="*/ 1114518 h 6859062"/>
              <a:gd name="connsiteX8208" fmla="*/ 3482703 w 12192185"/>
              <a:gd name="connsiteY8208" fmla="*/ 1106851 h 6859062"/>
              <a:gd name="connsiteX8209" fmla="*/ 3470763 w 12192185"/>
              <a:gd name="connsiteY8209" fmla="*/ 1129698 h 6859062"/>
              <a:gd name="connsiteX8210" fmla="*/ 3521310 w 12192185"/>
              <a:gd name="connsiteY8210" fmla="*/ 1127302 h 6859062"/>
              <a:gd name="connsiteX8211" fmla="*/ 3533298 w 12192185"/>
              <a:gd name="connsiteY8211" fmla="*/ 1135219 h 6859062"/>
              <a:gd name="connsiteX8212" fmla="*/ 3534473 w 12192185"/>
              <a:gd name="connsiteY8212" fmla="*/ 1130831 h 6859062"/>
              <a:gd name="connsiteX8213" fmla="*/ 3717086 w 12192185"/>
              <a:gd name="connsiteY8213" fmla="*/ 1133094 h 6859062"/>
              <a:gd name="connsiteX8214" fmla="*/ 3868378 w 12192185"/>
              <a:gd name="connsiteY8214" fmla="*/ 1145890 h 6859062"/>
              <a:gd name="connsiteX8215" fmla="*/ 3877327 w 12192185"/>
              <a:gd name="connsiteY8215" fmla="*/ 1137338 h 6859062"/>
              <a:gd name="connsiteX8216" fmla="*/ 3925635 w 12192185"/>
              <a:gd name="connsiteY8216" fmla="*/ 1095084 h 6859062"/>
              <a:gd name="connsiteX8217" fmla="*/ 3888953 w 12192185"/>
              <a:gd name="connsiteY8217" fmla="*/ 1089400 h 6859062"/>
              <a:gd name="connsiteX8218" fmla="*/ 3600857 w 12192185"/>
              <a:gd name="connsiteY8218" fmla="*/ 1069314 h 6859062"/>
              <a:gd name="connsiteX8219" fmla="*/ 1529358 w 12192185"/>
              <a:gd name="connsiteY8219" fmla="*/ 1068042 h 6859062"/>
              <a:gd name="connsiteX8220" fmla="*/ 1532900 w 12192185"/>
              <a:gd name="connsiteY8220" fmla="*/ 1068456 h 6859062"/>
              <a:gd name="connsiteX8221" fmla="*/ 1543017 w 12192185"/>
              <a:gd name="connsiteY8221" fmla="*/ 1069322 h 6859062"/>
              <a:gd name="connsiteX8222" fmla="*/ 1545108 w 12192185"/>
              <a:gd name="connsiteY8222" fmla="*/ 1069886 h 6859062"/>
              <a:gd name="connsiteX8223" fmla="*/ 1555638 w 12192185"/>
              <a:gd name="connsiteY8223" fmla="*/ 1076068 h 6859062"/>
              <a:gd name="connsiteX8224" fmla="*/ 1565563 w 12192185"/>
              <a:gd name="connsiteY8224" fmla="*/ 1089439 h 6859062"/>
              <a:gd name="connsiteX8225" fmla="*/ 1569598 w 12192185"/>
              <a:gd name="connsiteY8225" fmla="*/ 1093822 h 6859062"/>
              <a:gd name="connsiteX8226" fmla="*/ 1571749 w 12192185"/>
              <a:gd name="connsiteY8226" fmla="*/ 1101337 h 6859062"/>
              <a:gd name="connsiteX8227" fmla="*/ 1573311 w 12192185"/>
              <a:gd name="connsiteY8227" fmla="*/ 1107747 h 6859062"/>
              <a:gd name="connsiteX8228" fmla="*/ 1574381 w 12192185"/>
              <a:gd name="connsiteY8228" fmla="*/ 1110186 h 6859062"/>
              <a:gd name="connsiteX8229" fmla="*/ 1568640 w 12192185"/>
              <a:gd name="connsiteY8229" fmla="*/ 1125078 h 6859062"/>
              <a:gd name="connsiteX8230" fmla="*/ 1561289 w 12192185"/>
              <a:gd name="connsiteY8230" fmla="*/ 1133953 h 6859062"/>
              <a:gd name="connsiteX8231" fmla="*/ 1557599 w 12192185"/>
              <a:gd name="connsiteY8231" fmla="*/ 1145653 h 6859062"/>
              <a:gd name="connsiteX8232" fmla="*/ 1559263 w 12192185"/>
              <a:gd name="connsiteY8232" fmla="*/ 1147125 h 6859062"/>
              <a:gd name="connsiteX8233" fmla="*/ 1573320 w 12192185"/>
              <a:gd name="connsiteY8233" fmla="*/ 1155235 h 6859062"/>
              <a:gd name="connsiteX8234" fmla="*/ 1575617 w 12192185"/>
              <a:gd name="connsiteY8234" fmla="*/ 1157419 h 6859062"/>
              <a:gd name="connsiteX8235" fmla="*/ 1579962 w 12192185"/>
              <a:gd name="connsiteY8235" fmla="*/ 1165271 h 6859062"/>
              <a:gd name="connsiteX8236" fmla="*/ 1585792 w 12192185"/>
              <a:gd name="connsiteY8236" fmla="*/ 1174094 h 6859062"/>
              <a:gd name="connsiteX8237" fmla="*/ 1587072 w 12192185"/>
              <a:gd name="connsiteY8237" fmla="*/ 1178155 h 6859062"/>
              <a:gd name="connsiteX8238" fmla="*/ 1586005 w 12192185"/>
              <a:gd name="connsiteY8238" fmla="*/ 1202850 h 6859062"/>
              <a:gd name="connsiteX8239" fmla="*/ 1584819 w 12192185"/>
              <a:gd name="connsiteY8239" fmla="*/ 1204785 h 6859062"/>
              <a:gd name="connsiteX8240" fmla="*/ 1576395 w 12192185"/>
              <a:gd name="connsiteY8240" fmla="*/ 1213296 h 6859062"/>
              <a:gd name="connsiteX8241" fmla="*/ 1572541 w 12192185"/>
              <a:gd name="connsiteY8241" fmla="*/ 1216197 h 6859062"/>
              <a:gd name="connsiteX8242" fmla="*/ 1565807 w 12192185"/>
              <a:gd name="connsiteY8242" fmla="*/ 1220516 h 6859062"/>
              <a:gd name="connsiteX8243" fmla="*/ 1562050 w 12192185"/>
              <a:gd name="connsiteY8243" fmla="*/ 1227337 h 6859062"/>
              <a:gd name="connsiteX8244" fmla="*/ 1559873 w 12192185"/>
              <a:gd name="connsiteY8244" fmla="*/ 1229137 h 6859062"/>
              <a:gd name="connsiteX8245" fmla="*/ 1557567 w 12192185"/>
              <a:gd name="connsiteY8245" fmla="*/ 1227452 h 6859062"/>
              <a:gd name="connsiteX8246" fmla="*/ 1556343 w 12192185"/>
              <a:gd name="connsiteY8246" fmla="*/ 1225631 h 6859062"/>
              <a:gd name="connsiteX8247" fmla="*/ 1553999 w 12192185"/>
              <a:gd name="connsiteY8247" fmla="*/ 1223842 h 6859062"/>
              <a:gd name="connsiteX8248" fmla="*/ 1552373 w 12192185"/>
              <a:gd name="connsiteY8248" fmla="*/ 1226123 h 6859062"/>
              <a:gd name="connsiteX8249" fmla="*/ 1547068 w 12192185"/>
              <a:gd name="connsiteY8249" fmla="*/ 1227100 h 6859062"/>
              <a:gd name="connsiteX8250" fmla="*/ 1545285 w 12192185"/>
              <a:gd name="connsiteY8250" fmla="*/ 1225295 h 6859062"/>
              <a:gd name="connsiteX8251" fmla="*/ 1541862 w 12192185"/>
              <a:gd name="connsiteY8251" fmla="*/ 1225213 h 6859062"/>
              <a:gd name="connsiteX8252" fmla="*/ 1541719 w 12192185"/>
              <a:gd name="connsiteY8252" fmla="*/ 1228469 h 6859062"/>
              <a:gd name="connsiteX8253" fmla="*/ 1542911 w 12192185"/>
              <a:gd name="connsiteY8253" fmla="*/ 1230888 h 6859062"/>
              <a:gd name="connsiteX8254" fmla="*/ 1525192 w 12192185"/>
              <a:gd name="connsiteY8254" fmla="*/ 1222637 h 6859062"/>
              <a:gd name="connsiteX8255" fmla="*/ 1525555 w 12192185"/>
              <a:gd name="connsiteY8255" fmla="*/ 1221308 h 6859062"/>
              <a:gd name="connsiteX8256" fmla="*/ 1522910 w 12192185"/>
              <a:gd name="connsiteY8256" fmla="*/ 1218685 h 6859062"/>
              <a:gd name="connsiteX8257" fmla="*/ 1519426 w 12192185"/>
              <a:gd name="connsiteY8257" fmla="*/ 1218436 h 6859062"/>
              <a:gd name="connsiteX8258" fmla="*/ 1515979 w 12192185"/>
              <a:gd name="connsiteY8258" fmla="*/ 1215159 h 6859062"/>
              <a:gd name="connsiteX8259" fmla="*/ 1504836 w 12192185"/>
              <a:gd name="connsiteY8259" fmla="*/ 1204676 h 6859062"/>
              <a:gd name="connsiteX8260" fmla="*/ 1501839 w 12192185"/>
              <a:gd name="connsiteY8260" fmla="*/ 1203687 h 6859062"/>
              <a:gd name="connsiteX8261" fmla="*/ 1504285 w 12192185"/>
              <a:gd name="connsiteY8261" fmla="*/ 1200542 h 6859062"/>
              <a:gd name="connsiteX8262" fmla="*/ 1504785 w 12192185"/>
              <a:gd name="connsiteY8262" fmla="*/ 1200361 h 6859062"/>
              <a:gd name="connsiteX8263" fmla="*/ 1505906 w 12192185"/>
              <a:gd name="connsiteY8263" fmla="*/ 1193548 h 6859062"/>
              <a:gd name="connsiteX8264" fmla="*/ 1503407 w 12192185"/>
              <a:gd name="connsiteY8264" fmla="*/ 1185595 h 6859062"/>
              <a:gd name="connsiteX8265" fmla="*/ 1502266 w 12192185"/>
              <a:gd name="connsiteY8265" fmla="*/ 1173570 h 6859062"/>
              <a:gd name="connsiteX8266" fmla="*/ 1503682 w 12192185"/>
              <a:gd name="connsiteY8266" fmla="*/ 1169666 h 6859062"/>
              <a:gd name="connsiteX8267" fmla="*/ 1507386 w 12192185"/>
              <a:gd name="connsiteY8267" fmla="*/ 1158528 h 6859062"/>
              <a:gd name="connsiteX8268" fmla="*/ 1510846 w 12192185"/>
              <a:gd name="connsiteY8268" fmla="*/ 1155580 h 6859062"/>
              <a:gd name="connsiteX8269" fmla="*/ 1525608 w 12192185"/>
              <a:gd name="connsiteY8269" fmla="*/ 1144779 h 6859062"/>
              <a:gd name="connsiteX8270" fmla="*/ 1524283 w 12192185"/>
              <a:gd name="connsiteY8270" fmla="*/ 1141112 h 6859062"/>
              <a:gd name="connsiteX8271" fmla="*/ 1519767 w 12192185"/>
              <a:gd name="connsiteY8271" fmla="*/ 1142180 h 6859062"/>
              <a:gd name="connsiteX8272" fmla="*/ 1517488 w 12192185"/>
              <a:gd name="connsiteY8272" fmla="*/ 1145264 h 6859062"/>
              <a:gd name="connsiteX8273" fmla="*/ 1514773 w 12192185"/>
              <a:gd name="connsiteY8273" fmla="*/ 1146622 h 6859062"/>
              <a:gd name="connsiteX8274" fmla="*/ 1514189 w 12192185"/>
              <a:gd name="connsiteY8274" fmla="*/ 1143442 h 6859062"/>
              <a:gd name="connsiteX8275" fmla="*/ 1515740 w 12192185"/>
              <a:gd name="connsiteY8275" fmla="*/ 1140431 h 6859062"/>
              <a:gd name="connsiteX8276" fmla="*/ 1514706 w 12192185"/>
              <a:gd name="connsiteY8276" fmla="*/ 1134962 h 6859062"/>
              <a:gd name="connsiteX8277" fmla="*/ 1510565 w 12192185"/>
              <a:gd name="connsiteY8277" fmla="*/ 1137590 h 6859062"/>
              <a:gd name="connsiteX8278" fmla="*/ 1508088 w 12192185"/>
              <a:gd name="connsiteY8278" fmla="*/ 1141689 h 6859062"/>
              <a:gd name="connsiteX8279" fmla="*/ 1503970 w 12192185"/>
              <a:gd name="connsiteY8279" fmla="*/ 1140729 h 6859062"/>
              <a:gd name="connsiteX8280" fmla="*/ 1504203 w 12192185"/>
              <a:gd name="connsiteY8280" fmla="*/ 1129901 h 6859062"/>
              <a:gd name="connsiteX8281" fmla="*/ 1500890 w 12192185"/>
              <a:gd name="connsiteY8281" fmla="*/ 1120734 h 6859062"/>
              <a:gd name="connsiteX8282" fmla="*/ 1496230 w 12192185"/>
              <a:gd name="connsiteY8282" fmla="*/ 1118274 h 6859062"/>
              <a:gd name="connsiteX8283" fmla="*/ 1494566 w 12192185"/>
              <a:gd name="connsiteY8283" fmla="*/ 1116801 h 6859062"/>
              <a:gd name="connsiteX8284" fmla="*/ 1496040 w 12192185"/>
              <a:gd name="connsiteY8284" fmla="*/ 1115139 h 6859062"/>
              <a:gd name="connsiteX8285" fmla="*/ 1498336 w 12192185"/>
              <a:gd name="connsiteY8285" fmla="*/ 1110539 h 6859062"/>
              <a:gd name="connsiteX8286" fmla="*/ 1499961 w 12192185"/>
              <a:gd name="connsiteY8286" fmla="*/ 1101470 h 6859062"/>
              <a:gd name="connsiteX8287" fmla="*/ 1498682 w 12192185"/>
              <a:gd name="connsiteY8287" fmla="*/ 1097407 h 6859062"/>
              <a:gd name="connsiteX8288" fmla="*/ 1496383 w 12192185"/>
              <a:gd name="connsiteY8288" fmla="*/ 1095224 h 6859062"/>
              <a:gd name="connsiteX8289" fmla="*/ 1498556 w 12192185"/>
              <a:gd name="connsiteY8289" fmla="*/ 1092365 h 6859062"/>
              <a:gd name="connsiteX8290" fmla="*/ 1500770 w 12192185"/>
              <a:gd name="connsiteY8290" fmla="*/ 1091189 h 6859062"/>
              <a:gd name="connsiteX8291" fmla="*/ 1501135 w 12192185"/>
              <a:gd name="connsiteY8291" fmla="*/ 1083330 h 6859062"/>
              <a:gd name="connsiteX8292" fmla="*/ 1499819 w 12192185"/>
              <a:gd name="connsiteY8292" fmla="*/ 1082299 h 6859062"/>
              <a:gd name="connsiteX8293" fmla="*/ 1498901 w 12192185"/>
              <a:gd name="connsiteY8293" fmla="*/ 1079239 h 6859062"/>
              <a:gd name="connsiteX8294" fmla="*/ 1501810 w 12192185"/>
              <a:gd name="connsiteY8294" fmla="*/ 1078941 h 6859062"/>
              <a:gd name="connsiteX8295" fmla="*/ 1504260 w 12192185"/>
              <a:gd name="connsiteY8295" fmla="*/ 1080505 h 6859062"/>
              <a:gd name="connsiteX8296" fmla="*/ 1507777 w 12192185"/>
              <a:gd name="connsiteY8296" fmla="*/ 1079800 h 6859062"/>
              <a:gd name="connsiteX8297" fmla="*/ 1516984 w 12192185"/>
              <a:gd name="connsiteY8297" fmla="*/ 1073456 h 6859062"/>
              <a:gd name="connsiteX8298" fmla="*/ 1529358 w 12192185"/>
              <a:gd name="connsiteY8298" fmla="*/ 1068042 h 6859062"/>
              <a:gd name="connsiteX8299" fmla="*/ 11427963 w 12192185"/>
              <a:gd name="connsiteY8299" fmla="*/ 1065298 h 6859062"/>
              <a:gd name="connsiteX8300" fmla="*/ 11439295 w 12192185"/>
              <a:gd name="connsiteY8300" fmla="*/ 1065664 h 6859062"/>
              <a:gd name="connsiteX8301" fmla="*/ 11447420 w 12192185"/>
              <a:gd name="connsiteY8301" fmla="*/ 1070040 h 6859062"/>
              <a:gd name="connsiteX8302" fmla="*/ 11447767 w 12192185"/>
              <a:gd name="connsiteY8302" fmla="*/ 1072314 h 6859062"/>
              <a:gd name="connsiteX8303" fmla="*/ 11454347 w 12192185"/>
              <a:gd name="connsiteY8303" fmla="*/ 1087336 h 6859062"/>
              <a:gd name="connsiteX8304" fmla="*/ 11450597 w 12192185"/>
              <a:gd name="connsiteY8304" fmla="*/ 1103054 h 6859062"/>
              <a:gd name="connsiteX8305" fmla="*/ 11436197 w 12192185"/>
              <a:gd name="connsiteY8305" fmla="*/ 1116167 h 6859062"/>
              <a:gd name="connsiteX8306" fmla="*/ 11428143 w 12192185"/>
              <a:gd name="connsiteY8306" fmla="*/ 1116524 h 6859062"/>
              <a:gd name="connsiteX8307" fmla="*/ 11415199 w 12192185"/>
              <a:gd name="connsiteY8307" fmla="*/ 1122071 h 6859062"/>
              <a:gd name="connsiteX8308" fmla="*/ 11410364 w 12192185"/>
              <a:gd name="connsiteY8308" fmla="*/ 1125206 h 6859062"/>
              <a:gd name="connsiteX8309" fmla="*/ 11392079 w 12192185"/>
              <a:gd name="connsiteY8309" fmla="*/ 1129964 h 6859062"/>
              <a:gd name="connsiteX8310" fmla="*/ 11382391 w 12192185"/>
              <a:gd name="connsiteY8310" fmla="*/ 1122657 h 6859062"/>
              <a:gd name="connsiteX8311" fmla="*/ 11376503 w 12192185"/>
              <a:gd name="connsiteY8311" fmla="*/ 1112183 h 6859062"/>
              <a:gd name="connsiteX8312" fmla="*/ 11374680 w 12192185"/>
              <a:gd name="connsiteY8312" fmla="*/ 1103895 h 6859062"/>
              <a:gd name="connsiteX8313" fmla="*/ 11382521 w 12192185"/>
              <a:gd name="connsiteY8313" fmla="*/ 1089337 h 6859062"/>
              <a:gd name="connsiteX8314" fmla="*/ 11396250 w 12192185"/>
              <a:gd name="connsiteY8314" fmla="*/ 1085255 h 6859062"/>
              <a:gd name="connsiteX8315" fmla="*/ 11407600 w 12192185"/>
              <a:gd name="connsiteY8315" fmla="*/ 1077805 h 6859062"/>
              <a:gd name="connsiteX8316" fmla="*/ 11417950 w 12192185"/>
              <a:gd name="connsiteY8316" fmla="*/ 1069294 h 6859062"/>
              <a:gd name="connsiteX8317" fmla="*/ 11427963 w 12192185"/>
              <a:gd name="connsiteY8317" fmla="*/ 1065298 h 6859062"/>
              <a:gd name="connsiteX8318" fmla="*/ 6994838 w 12192185"/>
              <a:gd name="connsiteY8318" fmla="*/ 1041027 h 6859062"/>
              <a:gd name="connsiteX8319" fmla="*/ 6995169 w 12192185"/>
              <a:gd name="connsiteY8319" fmla="*/ 1041173 h 6859062"/>
              <a:gd name="connsiteX8320" fmla="*/ 6994914 w 12192185"/>
              <a:gd name="connsiteY8320" fmla="*/ 1041210 h 6859062"/>
              <a:gd name="connsiteX8321" fmla="*/ 6997333 w 12192185"/>
              <a:gd name="connsiteY8321" fmla="*/ 1040857 h 6859062"/>
              <a:gd name="connsiteX8322" fmla="*/ 7001105 w 12192185"/>
              <a:gd name="connsiteY8322" fmla="*/ 1043795 h 6859062"/>
              <a:gd name="connsiteX8323" fmla="*/ 6995169 w 12192185"/>
              <a:gd name="connsiteY8323" fmla="*/ 1041173 h 6859062"/>
              <a:gd name="connsiteX8324" fmla="*/ 7080310 w 12192185"/>
              <a:gd name="connsiteY8324" fmla="*/ 1036883 h 6859062"/>
              <a:gd name="connsiteX8325" fmla="*/ 7139624 w 12192185"/>
              <a:gd name="connsiteY8325" fmla="*/ 1068921 h 6859062"/>
              <a:gd name="connsiteX8326" fmla="*/ 7149421 w 12192185"/>
              <a:gd name="connsiteY8326" fmla="*/ 1080280 h 6859062"/>
              <a:gd name="connsiteX8327" fmla="*/ 7152998 w 12192185"/>
              <a:gd name="connsiteY8327" fmla="*/ 1082122 h 6859062"/>
              <a:gd name="connsiteX8328" fmla="*/ 7156436 w 12192185"/>
              <a:gd name="connsiteY8328" fmla="*/ 1079103 h 6859062"/>
              <a:gd name="connsiteX8329" fmla="*/ 7159673 w 12192185"/>
              <a:gd name="connsiteY8329" fmla="*/ 1077943 h 6859062"/>
              <a:gd name="connsiteX8330" fmla="*/ 7161615 w 12192185"/>
              <a:gd name="connsiteY8330" fmla="*/ 1080829 h 6859062"/>
              <a:gd name="connsiteX8331" fmla="*/ 7162263 w 12192185"/>
              <a:gd name="connsiteY8331" fmla="*/ 1083417 h 6859062"/>
              <a:gd name="connsiteX8332" fmla="*/ 7164206 w 12192185"/>
              <a:gd name="connsiteY8332" fmla="*/ 1086436 h 6859062"/>
              <a:gd name="connsiteX8333" fmla="*/ 7167011 w 12192185"/>
              <a:gd name="connsiteY8333" fmla="*/ 1084496 h 6859062"/>
              <a:gd name="connsiteX8334" fmla="*/ 7173486 w 12192185"/>
              <a:gd name="connsiteY8334" fmla="*/ 1085574 h 6859062"/>
              <a:gd name="connsiteX8335" fmla="*/ 7174781 w 12192185"/>
              <a:gd name="connsiteY8335" fmla="*/ 1088377 h 6859062"/>
              <a:gd name="connsiteX8336" fmla="*/ 7178666 w 12192185"/>
              <a:gd name="connsiteY8336" fmla="*/ 1089889 h 6859062"/>
              <a:gd name="connsiteX8337" fmla="*/ 7180176 w 12192185"/>
              <a:gd name="connsiteY8337" fmla="*/ 1086221 h 6859062"/>
              <a:gd name="connsiteX8338" fmla="*/ 7180036 w 12192185"/>
              <a:gd name="connsiteY8338" fmla="*/ 1084955 h 6859062"/>
              <a:gd name="connsiteX8339" fmla="*/ 7179408 w 12192185"/>
              <a:gd name="connsiteY8339" fmla="*/ 1084620 h 6859062"/>
              <a:gd name="connsiteX8340" fmla="*/ 7080310 w 12192185"/>
              <a:gd name="connsiteY8340" fmla="*/ 1036883 h 6859062"/>
              <a:gd name="connsiteX8341" fmla="*/ 6950148 w 12192185"/>
              <a:gd name="connsiteY8341" fmla="*/ 1029461 h 6859062"/>
              <a:gd name="connsiteX8342" fmla="*/ 6953741 w 12192185"/>
              <a:gd name="connsiteY8342" fmla="*/ 1029928 h 6859062"/>
              <a:gd name="connsiteX8343" fmla="*/ 6954911 w 12192185"/>
              <a:gd name="connsiteY8343" fmla="*/ 1031515 h 6859062"/>
              <a:gd name="connsiteX8344" fmla="*/ 6950766 w 12192185"/>
              <a:gd name="connsiteY8344" fmla="*/ 1029708 h 6859062"/>
              <a:gd name="connsiteX8345" fmla="*/ 6930432 w 12192185"/>
              <a:gd name="connsiteY8345" fmla="*/ 1021560 h 6859062"/>
              <a:gd name="connsiteX8346" fmla="*/ 6950148 w 12192185"/>
              <a:gd name="connsiteY8346" fmla="*/ 1029461 h 6859062"/>
              <a:gd name="connsiteX8347" fmla="*/ 6949002 w 12192185"/>
              <a:gd name="connsiteY8347" fmla="*/ 1029312 h 6859062"/>
              <a:gd name="connsiteX8348" fmla="*/ 6942811 w 12192185"/>
              <a:gd name="connsiteY8348" fmla="*/ 1026727 h 6859062"/>
              <a:gd name="connsiteX8349" fmla="*/ 6930432 w 12192185"/>
              <a:gd name="connsiteY8349" fmla="*/ 1021560 h 6859062"/>
              <a:gd name="connsiteX8350" fmla="*/ 10397309 w 12192185"/>
              <a:gd name="connsiteY8350" fmla="*/ 1010275 h 6859062"/>
              <a:gd name="connsiteX8351" fmla="*/ 10401715 w 12192185"/>
              <a:gd name="connsiteY8351" fmla="*/ 1010716 h 6859062"/>
              <a:gd name="connsiteX8352" fmla="*/ 10409746 w 12192185"/>
              <a:gd name="connsiteY8352" fmla="*/ 1012336 h 6859062"/>
              <a:gd name="connsiteX8353" fmla="*/ 10412791 w 12192185"/>
              <a:gd name="connsiteY8353" fmla="*/ 1012431 h 6859062"/>
              <a:gd name="connsiteX8354" fmla="*/ 10423036 w 12192185"/>
              <a:gd name="connsiteY8354" fmla="*/ 1016404 h 6859062"/>
              <a:gd name="connsiteX8355" fmla="*/ 10425459 w 12192185"/>
              <a:gd name="connsiteY8355" fmla="*/ 1016935 h 6859062"/>
              <a:gd name="connsiteX8356" fmla="*/ 10439496 w 12192185"/>
              <a:gd name="connsiteY8356" fmla="*/ 1041892 h 6859062"/>
              <a:gd name="connsiteX8357" fmla="*/ 10439479 w 12192185"/>
              <a:gd name="connsiteY8357" fmla="*/ 1057734 h 6859062"/>
              <a:gd name="connsiteX8358" fmla="*/ 10438835 w 12192185"/>
              <a:gd name="connsiteY8358" fmla="*/ 1063958 h 6859062"/>
              <a:gd name="connsiteX8359" fmla="*/ 10436391 w 12192185"/>
              <a:gd name="connsiteY8359" fmla="*/ 1069214 h 6859062"/>
              <a:gd name="connsiteX8360" fmla="*/ 10433392 w 12192185"/>
              <a:gd name="connsiteY8360" fmla="*/ 1072623 h 6859062"/>
              <a:gd name="connsiteX8361" fmla="*/ 10427534 w 12192185"/>
              <a:gd name="connsiteY8361" fmla="*/ 1079905 h 6859062"/>
              <a:gd name="connsiteX8362" fmla="*/ 10425621 w 12192185"/>
              <a:gd name="connsiteY8362" fmla="*/ 1082738 h 6859062"/>
              <a:gd name="connsiteX8363" fmla="*/ 10420846 w 12192185"/>
              <a:gd name="connsiteY8363" fmla="*/ 1089445 h 6859062"/>
              <a:gd name="connsiteX8364" fmla="*/ 10399552 w 12192185"/>
              <a:gd name="connsiteY8364" fmla="*/ 1093050 h 6859062"/>
              <a:gd name="connsiteX8365" fmla="*/ 10389790 w 12192185"/>
              <a:gd name="connsiteY8365" fmla="*/ 1088178 h 6859062"/>
              <a:gd name="connsiteX8366" fmla="*/ 10373150 w 12192185"/>
              <a:gd name="connsiteY8366" fmla="*/ 1073802 h 6859062"/>
              <a:gd name="connsiteX8367" fmla="*/ 10369504 w 12192185"/>
              <a:gd name="connsiteY8367" fmla="*/ 1068359 h 6859062"/>
              <a:gd name="connsiteX8368" fmla="*/ 10366386 w 12192185"/>
              <a:gd name="connsiteY8368" fmla="*/ 1060494 h 6859062"/>
              <a:gd name="connsiteX8369" fmla="*/ 10365368 w 12192185"/>
              <a:gd name="connsiteY8369" fmla="*/ 1053761 h 6859062"/>
              <a:gd name="connsiteX8370" fmla="*/ 10368271 w 12192185"/>
              <a:gd name="connsiteY8370" fmla="*/ 1038314 h 6859062"/>
              <a:gd name="connsiteX8371" fmla="*/ 10369628 w 12192185"/>
              <a:gd name="connsiteY8371" fmla="*/ 1028608 h 6859062"/>
              <a:gd name="connsiteX8372" fmla="*/ 10371566 w 12192185"/>
              <a:gd name="connsiteY8372" fmla="*/ 1025013 h 6859062"/>
              <a:gd name="connsiteX8373" fmla="*/ 10379038 w 12192185"/>
              <a:gd name="connsiteY8373" fmla="*/ 1019761 h 6859062"/>
              <a:gd name="connsiteX8374" fmla="*/ 10392949 w 12192185"/>
              <a:gd name="connsiteY8374" fmla="*/ 1013338 h 6859062"/>
              <a:gd name="connsiteX8375" fmla="*/ 10397309 w 12192185"/>
              <a:gd name="connsiteY8375" fmla="*/ 1010275 h 6859062"/>
              <a:gd name="connsiteX8376" fmla="*/ 5174944 w 12192185"/>
              <a:gd name="connsiteY8376" fmla="*/ 1004625 h 6859062"/>
              <a:gd name="connsiteX8377" fmla="*/ 5176755 w 12192185"/>
              <a:gd name="connsiteY8377" fmla="*/ 1009012 h 6859062"/>
              <a:gd name="connsiteX8378" fmla="*/ 5172355 w 12192185"/>
              <a:gd name="connsiteY8378" fmla="*/ 1010815 h 6859062"/>
              <a:gd name="connsiteX8379" fmla="*/ 5174944 w 12192185"/>
              <a:gd name="connsiteY8379" fmla="*/ 1004625 h 6859062"/>
              <a:gd name="connsiteX8380" fmla="*/ 11177571 w 12192185"/>
              <a:gd name="connsiteY8380" fmla="*/ 994819 h 6859062"/>
              <a:gd name="connsiteX8381" fmla="*/ 11181977 w 12192185"/>
              <a:gd name="connsiteY8381" fmla="*/ 995260 h 6859062"/>
              <a:gd name="connsiteX8382" fmla="*/ 11190007 w 12192185"/>
              <a:gd name="connsiteY8382" fmla="*/ 996880 h 6859062"/>
              <a:gd name="connsiteX8383" fmla="*/ 11193053 w 12192185"/>
              <a:gd name="connsiteY8383" fmla="*/ 996974 h 6859062"/>
              <a:gd name="connsiteX8384" fmla="*/ 11203298 w 12192185"/>
              <a:gd name="connsiteY8384" fmla="*/ 1000947 h 6859062"/>
              <a:gd name="connsiteX8385" fmla="*/ 11205721 w 12192185"/>
              <a:gd name="connsiteY8385" fmla="*/ 1001480 h 6859062"/>
              <a:gd name="connsiteX8386" fmla="*/ 11219757 w 12192185"/>
              <a:gd name="connsiteY8386" fmla="*/ 1026436 h 6859062"/>
              <a:gd name="connsiteX8387" fmla="*/ 11219740 w 12192185"/>
              <a:gd name="connsiteY8387" fmla="*/ 1042275 h 6859062"/>
              <a:gd name="connsiteX8388" fmla="*/ 11219096 w 12192185"/>
              <a:gd name="connsiteY8388" fmla="*/ 1048500 h 6859062"/>
              <a:gd name="connsiteX8389" fmla="*/ 11216653 w 12192185"/>
              <a:gd name="connsiteY8389" fmla="*/ 1053757 h 6859062"/>
              <a:gd name="connsiteX8390" fmla="*/ 11213654 w 12192185"/>
              <a:gd name="connsiteY8390" fmla="*/ 1057168 h 6859062"/>
              <a:gd name="connsiteX8391" fmla="*/ 11207797 w 12192185"/>
              <a:gd name="connsiteY8391" fmla="*/ 1064448 h 6859062"/>
              <a:gd name="connsiteX8392" fmla="*/ 11205883 w 12192185"/>
              <a:gd name="connsiteY8392" fmla="*/ 1067284 h 6859062"/>
              <a:gd name="connsiteX8393" fmla="*/ 11201108 w 12192185"/>
              <a:gd name="connsiteY8393" fmla="*/ 1073989 h 6859062"/>
              <a:gd name="connsiteX8394" fmla="*/ 11179813 w 12192185"/>
              <a:gd name="connsiteY8394" fmla="*/ 1077594 h 6859062"/>
              <a:gd name="connsiteX8395" fmla="*/ 11170052 w 12192185"/>
              <a:gd name="connsiteY8395" fmla="*/ 1072722 h 6859062"/>
              <a:gd name="connsiteX8396" fmla="*/ 11153412 w 12192185"/>
              <a:gd name="connsiteY8396" fmla="*/ 1058346 h 6859062"/>
              <a:gd name="connsiteX8397" fmla="*/ 11149765 w 12192185"/>
              <a:gd name="connsiteY8397" fmla="*/ 1052903 h 6859062"/>
              <a:gd name="connsiteX8398" fmla="*/ 11146647 w 12192185"/>
              <a:gd name="connsiteY8398" fmla="*/ 1045036 h 6859062"/>
              <a:gd name="connsiteX8399" fmla="*/ 11145631 w 12192185"/>
              <a:gd name="connsiteY8399" fmla="*/ 1038304 h 6859062"/>
              <a:gd name="connsiteX8400" fmla="*/ 11148533 w 12192185"/>
              <a:gd name="connsiteY8400" fmla="*/ 1022858 h 6859062"/>
              <a:gd name="connsiteX8401" fmla="*/ 11149890 w 12192185"/>
              <a:gd name="connsiteY8401" fmla="*/ 1013152 h 6859062"/>
              <a:gd name="connsiteX8402" fmla="*/ 11151828 w 12192185"/>
              <a:gd name="connsiteY8402" fmla="*/ 1009556 h 6859062"/>
              <a:gd name="connsiteX8403" fmla="*/ 11159300 w 12192185"/>
              <a:gd name="connsiteY8403" fmla="*/ 1004305 h 6859062"/>
              <a:gd name="connsiteX8404" fmla="*/ 11173211 w 12192185"/>
              <a:gd name="connsiteY8404" fmla="*/ 997882 h 6859062"/>
              <a:gd name="connsiteX8405" fmla="*/ 11177571 w 12192185"/>
              <a:gd name="connsiteY8405" fmla="*/ 994819 h 6859062"/>
              <a:gd name="connsiteX8406" fmla="*/ 452680 w 12192185"/>
              <a:gd name="connsiteY8406" fmla="*/ 989550 h 6859062"/>
              <a:gd name="connsiteX8407" fmla="*/ 462782 w 12192185"/>
              <a:gd name="connsiteY8407" fmla="*/ 991786 h 6859062"/>
              <a:gd name="connsiteX8408" fmla="*/ 469148 w 12192185"/>
              <a:gd name="connsiteY8408" fmla="*/ 995373 h 6859062"/>
              <a:gd name="connsiteX8409" fmla="*/ 473988 w 12192185"/>
              <a:gd name="connsiteY8409" fmla="*/ 1008763 h 6859062"/>
              <a:gd name="connsiteX8410" fmla="*/ 468726 w 12192185"/>
              <a:gd name="connsiteY8410" fmla="*/ 1019917 h 6859062"/>
              <a:gd name="connsiteX8411" fmla="*/ 466991 w 12192185"/>
              <a:gd name="connsiteY8411" fmla="*/ 1031478 h 6859062"/>
              <a:gd name="connsiteX8412" fmla="*/ 466512 w 12192185"/>
              <a:gd name="connsiteY8412" fmla="*/ 1043006 h 6859062"/>
              <a:gd name="connsiteX8413" fmla="*/ 463327 w 12192185"/>
              <a:gd name="connsiteY8413" fmla="*/ 1051736 h 6859062"/>
              <a:gd name="connsiteX8414" fmla="*/ 456587 w 12192185"/>
              <a:gd name="connsiteY8414" fmla="*/ 1058798 h 6859062"/>
              <a:gd name="connsiteX8415" fmla="*/ 449114 w 12192185"/>
              <a:gd name="connsiteY8415" fmla="*/ 1061499 h 6859062"/>
              <a:gd name="connsiteX8416" fmla="*/ 447455 w 12192185"/>
              <a:gd name="connsiteY8416" fmla="*/ 1060417 h 6859062"/>
              <a:gd name="connsiteX8417" fmla="*/ 434036 w 12192185"/>
              <a:gd name="connsiteY8417" fmla="*/ 1056015 h 6859062"/>
              <a:gd name="connsiteX8418" fmla="*/ 426102 w 12192185"/>
              <a:gd name="connsiteY8418" fmla="*/ 1044577 h 6859062"/>
              <a:gd name="connsiteX8419" fmla="*/ 425954 w 12192185"/>
              <a:gd name="connsiteY8419" fmla="*/ 1027808 h 6859062"/>
              <a:gd name="connsiteX8420" fmla="*/ 430349 w 12192185"/>
              <a:gd name="connsiteY8420" fmla="*/ 1022435 h 6859062"/>
              <a:gd name="connsiteX8421" fmla="*/ 434221 w 12192185"/>
              <a:gd name="connsiteY8421" fmla="*/ 1010942 h 6859062"/>
              <a:gd name="connsiteX8422" fmla="*/ 434984 w 12192185"/>
              <a:gd name="connsiteY8422" fmla="*/ 1006040 h 6859062"/>
              <a:gd name="connsiteX8423" fmla="*/ 442428 w 12192185"/>
              <a:gd name="connsiteY8423" fmla="*/ 991574 h 6859062"/>
              <a:gd name="connsiteX8424" fmla="*/ 452680 w 12192185"/>
              <a:gd name="connsiteY8424" fmla="*/ 989550 h 6859062"/>
              <a:gd name="connsiteX8425" fmla="*/ 851606 w 12192185"/>
              <a:gd name="connsiteY8425" fmla="*/ 988026 h 6859062"/>
              <a:gd name="connsiteX8426" fmla="*/ 860689 w 12192185"/>
              <a:gd name="connsiteY8426" fmla="*/ 989056 h 6859062"/>
              <a:gd name="connsiteX8427" fmla="*/ 865888 w 12192185"/>
              <a:gd name="connsiteY8427" fmla="*/ 989787 h 6859062"/>
              <a:gd name="connsiteX8428" fmla="*/ 872251 w 12192185"/>
              <a:gd name="connsiteY8428" fmla="*/ 992126 h 6859062"/>
              <a:gd name="connsiteX8429" fmla="*/ 872252 w 12192185"/>
              <a:gd name="connsiteY8429" fmla="*/ 992127 h 6859062"/>
              <a:gd name="connsiteX8430" fmla="*/ 876817 w 12192185"/>
              <a:gd name="connsiteY8430" fmla="*/ 995116 h 6859062"/>
              <a:gd name="connsiteX8431" fmla="*/ 884491 w 12192185"/>
              <a:gd name="connsiteY8431" fmla="*/ 1005101 h 6859062"/>
              <a:gd name="connsiteX8432" fmla="*/ 889562 w 12192185"/>
              <a:gd name="connsiteY8432" fmla="*/ 1011097 h 6859062"/>
              <a:gd name="connsiteX8433" fmla="*/ 890674 w 12192185"/>
              <a:gd name="connsiteY8433" fmla="*/ 1014175 h 6859062"/>
              <a:gd name="connsiteX8434" fmla="*/ 889818 w 12192185"/>
              <a:gd name="connsiteY8434" fmla="*/ 1021444 h 6859062"/>
              <a:gd name="connsiteX8435" fmla="*/ 886222 w 12192185"/>
              <a:gd name="connsiteY8435" fmla="*/ 1033182 h 6859062"/>
              <a:gd name="connsiteX8436" fmla="*/ 885722 w 12192185"/>
              <a:gd name="connsiteY8436" fmla="*/ 1037423 h 6859062"/>
              <a:gd name="connsiteX8437" fmla="*/ 883105 w 12192185"/>
              <a:gd name="connsiteY8437" fmla="*/ 1039819 h 6859062"/>
              <a:gd name="connsiteX8438" fmla="*/ 877847 w 12192185"/>
              <a:gd name="connsiteY8438" fmla="*/ 1043749 h 6859062"/>
              <a:gd name="connsiteX8439" fmla="*/ 876164 w 12192185"/>
              <a:gd name="connsiteY8439" fmla="*/ 1045518 h 6859062"/>
              <a:gd name="connsiteX8440" fmla="*/ 868317 w 12192185"/>
              <a:gd name="connsiteY8440" fmla="*/ 1049522 h 6859062"/>
              <a:gd name="connsiteX8441" fmla="*/ 866705 w 12192185"/>
              <a:gd name="connsiteY8441" fmla="*/ 1050684 h 6859062"/>
              <a:gd name="connsiteX8442" fmla="*/ 844301 w 12192185"/>
              <a:gd name="connsiteY8442" fmla="*/ 1045726 h 6859062"/>
              <a:gd name="connsiteX8443" fmla="*/ 844301 w 12192185"/>
              <a:gd name="connsiteY8443" fmla="*/ 1045726 h 6859062"/>
              <a:gd name="connsiteX8444" fmla="*/ 834850 w 12192185"/>
              <a:gd name="connsiteY8444" fmla="*/ 1037253 h 6859062"/>
              <a:gd name="connsiteX8445" fmla="*/ 831476 w 12192185"/>
              <a:gd name="connsiteY8445" fmla="*/ 1033543 h 6859062"/>
              <a:gd name="connsiteX8446" fmla="*/ 829643 w 12192185"/>
              <a:gd name="connsiteY8446" fmla="*/ 1029275 h 6859062"/>
              <a:gd name="connsiteX8447" fmla="*/ 829209 w 12192185"/>
              <a:gd name="connsiteY8447" fmla="*/ 1025663 h 6859062"/>
              <a:gd name="connsiteX8448" fmla="*/ 827991 w 12192185"/>
              <a:gd name="connsiteY8448" fmla="*/ 1018274 h 6859062"/>
              <a:gd name="connsiteX8449" fmla="*/ 827320 w 12192185"/>
              <a:gd name="connsiteY8449" fmla="*/ 1015617 h 6859062"/>
              <a:gd name="connsiteX8450" fmla="*/ 825865 w 12192185"/>
              <a:gd name="connsiteY8450" fmla="*/ 1009184 h 6859062"/>
              <a:gd name="connsiteX8451" fmla="*/ 835089 w 12192185"/>
              <a:gd name="connsiteY8451" fmla="*/ 994541 h 6859062"/>
              <a:gd name="connsiteX8452" fmla="*/ 843213 w 12192185"/>
              <a:gd name="connsiteY8452" fmla="*/ 991314 h 6859062"/>
              <a:gd name="connsiteX8453" fmla="*/ 851606 w 12192185"/>
              <a:gd name="connsiteY8453" fmla="*/ 988026 h 6859062"/>
              <a:gd name="connsiteX8454" fmla="*/ 8188293 w 12192185"/>
              <a:gd name="connsiteY8454" fmla="*/ 987309 h 6859062"/>
              <a:gd name="connsiteX8455" fmla="*/ 8205722 w 12192185"/>
              <a:gd name="connsiteY8455" fmla="*/ 998341 h 6859062"/>
              <a:gd name="connsiteX8456" fmla="*/ 8211123 w 12192185"/>
              <a:gd name="connsiteY8456" fmla="*/ 1008393 h 6859062"/>
              <a:gd name="connsiteX8457" fmla="*/ 8212842 w 12192185"/>
              <a:gd name="connsiteY8457" fmla="*/ 1012561 h 6859062"/>
              <a:gd name="connsiteX8458" fmla="*/ 8213087 w 12192185"/>
              <a:gd name="connsiteY8458" fmla="*/ 1016729 h 6859062"/>
              <a:gd name="connsiteX8459" fmla="*/ 8213087 w 12192185"/>
              <a:gd name="connsiteY8459" fmla="*/ 1016730 h 6859062"/>
              <a:gd name="connsiteX8460" fmla="*/ 8212351 w 12192185"/>
              <a:gd name="connsiteY8460" fmla="*/ 1019916 h 6859062"/>
              <a:gd name="connsiteX8461" fmla="*/ 8211124 w 12192185"/>
              <a:gd name="connsiteY8461" fmla="*/ 1026536 h 6859062"/>
              <a:gd name="connsiteX8462" fmla="*/ 8210878 w 12192185"/>
              <a:gd name="connsiteY8462" fmla="*/ 1028988 h 6859062"/>
              <a:gd name="connsiteX8463" fmla="*/ 8210141 w 12192185"/>
              <a:gd name="connsiteY8463" fmla="*/ 1034872 h 6859062"/>
              <a:gd name="connsiteX8464" fmla="*/ 8197867 w 12192185"/>
              <a:gd name="connsiteY8464" fmla="*/ 1044433 h 6859062"/>
              <a:gd name="connsiteX8465" fmla="*/ 8190012 w 12192185"/>
              <a:gd name="connsiteY8465" fmla="*/ 1044679 h 6859062"/>
              <a:gd name="connsiteX8466" fmla="*/ 8174546 w 12192185"/>
              <a:gd name="connsiteY8466" fmla="*/ 1041246 h 6859062"/>
              <a:gd name="connsiteX8467" fmla="*/ 8170373 w 12192185"/>
              <a:gd name="connsiteY8467" fmla="*/ 1039039 h 6859062"/>
              <a:gd name="connsiteX8468" fmla="*/ 8165709 w 12192185"/>
              <a:gd name="connsiteY8468" fmla="*/ 1035117 h 6859062"/>
              <a:gd name="connsiteX8469" fmla="*/ 8162763 w 12192185"/>
              <a:gd name="connsiteY8469" fmla="*/ 1031194 h 6859062"/>
              <a:gd name="connsiteX8470" fmla="*/ 8159327 w 12192185"/>
              <a:gd name="connsiteY8470" fmla="*/ 1020407 h 6859062"/>
              <a:gd name="connsiteX8471" fmla="*/ 8156872 w 12192185"/>
              <a:gd name="connsiteY8471" fmla="*/ 1013787 h 6859062"/>
              <a:gd name="connsiteX8472" fmla="*/ 8156872 w 12192185"/>
              <a:gd name="connsiteY8472" fmla="*/ 1013787 h 6859062"/>
              <a:gd name="connsiteX8473" fmla="*/ 8156872 w 12192185"/>
              <a:gd name="connsiteY8473" fmla="*/ 1010845 h 6859062"/>
              <a:gd name="connsiteX8474" fmla="*/ 8159817 w 12192185"/>
              <a:gd name="connsiteY8474" fmla="*/ 1004961 h 6859062"/>
              <a:gd name="connsiteX8475" fmla="*/ 8166446 w 12192185"/>
              <a:gd name="connsiteY8475" fmla="*/ 996134 h 6859062"/>
              <a:gd name="connsiteX8476" fmla="*/ 8168164 w 12192185"/>
              <a:gd name="connsiteY8476" fmla="*/ 992702 h 6859062"/>
              <a:gd name="connsiteX8477" fmla="*/ 8171110 w 12192185"/>
              <a:gd name="connsiteY8477" fmla="*/ 991476 h 6859062"/>
              <a:gd name="connsiteX8478" fmla="*/ 8176755 w 12192185"/>
              <a:gd name="connsiteY8478" fmla="*/ 989760 h 6859062"/>
              <a:gd name="connsiteX8479" fmla="*/ 8178719 w 12192185"/>
              <a:gd name="connsiteY8479" fmla="*/ 988780 h 6859062"/>
              <a:gd name="connsiteX8480" fmla="*/ 8186575 w 12192185"/>
              <a:gd name="connsiteY8480" fmla="*/ 987799 h 6859062"/>
              <a:gd name="connsiteX8481" fmla="*/ 8188293 w 12192185"/>
              <a:gd name="connsiteY8481" fmla="*/ 987309 h 6859062"/>
              <a:gd name="connsiteX8482" fmla="*/ 3557296 w 12192185"/>
              <a:gd name="connsiteY8482" fmla="*/ 968784 h 6859062"/>
              <a:gd name="connsiteX8483" fmla="*/ 3540675 w 12192185"/>
              <a:gd name="connsiteY8483" fmla="*/ 982712 h 6859062"/>
              <a:gd name="connsiteX8484" fmla="*/ 3552670 w 12192185"/>
              <a:gd name="connsiteY8484" fmla="*/ 983190 h 6859062"/>
              <a:gd name="connsiteX8485" fmla="*/ 2209806 w 12192185"/>
              <a:gd name="connsiteY8485" fmla="*/ 956984 h 6859062"/>
              <a:gd name="connsiteX8486" fmla="*/ 2210072 w 12192185"/>
              <a:gd name="connsiteY8486" fmla="*/ 957248 h 6859062"/>
              <a:gd name="connsiteX8487" fmla="*/ 2209579 w 12192185"/>
              <a:gd name="connsiteY8487" fmla="*/ 957365 h 6859062"/>
              <a:gd name="connsiteX8488" fmla="*/ 10684116 w 12192185"/>
              <a:gd name="connsiteY8488" fmla="*/ 950821 h 6859062"/>
              <a:gd name="connsiteX8489" fmla="*/ 10688522 w 12192185"/>
              <a:gd name="connsiteY8489" fmla="*/ 951262 h 6859062"/>
              <a:gd name="connsiteX8490" fmla="*/ 10696552 w 12192185"/>
              <a:gd name="connsiteY8490" fmla="*/ 952881 h 6859062"/>
              <a:gd name="connsiteX8491" fmla="*/ 10699598 w 12192185"/>
              <a:gd name="connsiteY8491" fmla="*/ 952975 h 6859062"/>
              <a:gd name="connsiteX8492" fmla="*/ 10709843 w 12192185"/>
              <a:gd name="connsiteY8492" fmla="*/ 956949 h 6859062"/>
              <a:gd name="connsiteX8493" fmla="*/ 10712266 w 12192185"/>
              <a:gd name="connsiteY8493" fmla="*/ 957481 h 6859062"/>
              <a:gd name="connsiteX8494" fmla="*/ 10726302 w 12192185"/>
              <a:gd name="connsiteY8494" fmla="*/ 982437 h 6859062"/>
              <a:gd name="connsiteX8495" fmla="*/ 10726285 w 12192185"/>
              <a:gd name="connsiteY8495" fmla="*/ 998277 h 6859062"/>
              <a:gd name="connsiteX8496" fmla="*/ 10725641 w 12192185"/>
              <a:gd name="connsiteY8496" fmla="*/ 1004501 h 6859062"/>
              <a:gd name="connsiteX8497" fmla="*/ 10723197 w 12192185"/>
              <a:gd name="connsiteY8497" fmla="*/ 1009757 h 6859062"/>
              <a:gd name="connsiteX8498" fmla="*/ 10720199 w 12192185"/>
              <a:gd name="connsiteY8498" fmla="*/ 1013168 h 6859062"/>
              <a:gd name="connsiteX8499" fmla="*/ 10714342 w 12192185"/>
              <a:gd name="connsiteY8499" fmla="*/ 1020449 h 6859062"/>
              <a:gd name="connsiteX8500" fmla="*/ 10712428 w 12192185"/>
              <a:gd name="connsiteY8500" fmla="*/ 1023283 h 6859062"/>
              <a:gd name="connsiteX8501" fmla="*/ 10707653 w 12192185"/>
              <a:gd name="connsiteY8501" fmla="*/ 1029989 h 6859062"/>
              <a:gd name="connsiteX8502" fmla="*/ 10686358 w 12192185"/>
              <a:gd name="connsiteY8502" fmla="*/ 1033593 h 6859062"/>
              <a:gd name="connsiteX8503" fmla="*/ 10676597 w 12192185"/>
              <a:gd name="connsiteY8503" fmla="*/ 1028722 h 6859062"/>
              <a:gd name="connsiteX8504" fmla="*/ 10659958 w 12192185"/>
              <a:gd name="connsiteY8504" fmla="*/ 1014346 h 6859062"/>
              <a:gd name="connsiteX8505" fmla="*/ 10656310 w 12192185"/>
              <a:gd name="connsiteY8505" fmla="*/ 1008903 h 6859062"/>
              <a:gd name="connsiteX8506" fmla="*/ 10653192 w 12192185"/>
              <a:gd name="connsiteY8506" fmla="*/ 1001038 h 6859062"/>
              <a:gd name="connsiteX8507" fmla="*/ 10652176 w 12192185"/>
              <a:gd name="connsiteY8507" fmla="*/ 994305 h 6859062"/>
              <a:gd name="connsiteX8508" fmla="*/ 10655078 w 12192185"/>
              <a:gd name="connsiteY8508" fmla="*/ 978859 h 6859062"/>
              <a:gd name="connsiteX8509" fmla="*/ 10656435 w 12192185"/>
              <a:gd name="connsiteY8509" fmla="*/ 969154 h 6859062"/>
              <a:gd name="connsiteX8510" fmla="*/ 10658373 w 12192185"/>
              <a:gd name="connsiteY8510" fmla="*/ 965558 h 6859062"/>
              <a:gd name="connsiteX8511" fmla="*/ 10665845 w 12192185"/>
              <a:gd name="connsiteY8511" fmla="*/ 960307 h 6859062"/>
              <a:gd name="connsiteX8512" fmla="*/ 10679756 w 12192185"/>
              <a:gd name="connsiteY8512" fmla="*/ 953884 h 6859062"/>
              <a:gd name="connsiteX8513" fmla="*/ 10684116 w 12192185"/>
              <a:gd name="connsiteY8513" fmla="*/ 950821 h 6859062"/>
              <a:gd name="connsiteX8514" fmla="*/ 2905368 w 12192185"/>
              <a:gd name="connsiteY8514" fmla="*/ 946296 h 6859062"/>
              <a:gd name="connsiteX8515" fmla="*/ 2915427 w 12192185"/>
              <a:gd name="connsiteY8515" fmla="*/ 946297 h 6859062"/>
              <a:gd name="connsiteX8516" fmla="*/ 2916937 w 12192185"/>
              <a:gd name="connsiteY8516" fmla="*/ 948299 h 6859062"/>
              <a:gd name="connsiteX8517" fmla="*/ 2931016 w 12192185"/>
              <a:gd name="connsiteY8517" fmla="*/ 959315 h 6859062"/>
              <a:gd name="connsiteX8518" fmla="*/ 2935541 w 12192185"/>
              <a:gd name="connsiteY8518" fmla="*/ 976340 h 6859062"/>
              <a:gd name="connsiteX8519" fmla="*/ 2928501 w 12192185"/>
              <a:gd name="connsiteY8519" fmla="*/ 996369 h 6859062"/>
              <a:gd name="connsiteX8520" fmla="*/ 2920961 w 12192185"/>
              <a:gd name="connsiteY8520" fmla="*/ 1000875 h 6859062"/>
              <a:gd name="connsiteX8521" fmla="*/ 2911406 w 12192185"/>
              <a:gd name="connsiteY8521" fmla="*/ 1012892 h 6859062"/>
              <a:gd name="connsiteX8522" fmla="*/ 2908388 w 12192185"/>
              <a:gd name="connsiteY8522" fmla="*/ 1018400 h 6859062"/>
              <a:gd name="connsiteX8523" fmla="*/ 2893297 w 12192185"/>
              <a:gd name="connsiteY8523" fmla="*/ 1032421 h 6859062"/>
              <a:gd name="connsiteX8524" fmla="*/ 2880217 w 12192185"/>
              <a:gd name="connsiteY8524" fmla="*/ 1030417 h 6859062"/>
              <a:gd name="connsiteX8525" fmla="*/ 2869150 w 12192185"/>
              <a:gd name="connsiteY8525" fmla="*/ 1023407 h 6859062"/>
              <a:gd name="connsiteX8526" fmla="*/ 2863113 w 12192185"/>
              <a:gd name="connsiteY8526" fmla="*/ 1016398 h 6859062"/>
              <a:gd name="connsiteX8527" fmla="*/ 2863113 w 12192185"/>
              <a:gd name="connsiteY8527" fmla="*/ 998372 h 6859062"/>
              <a:gd name="connsiteX8528" fmla="*/ 2874181 w 12192185"/>
              <a:gd name="connsiteY8528" fmla="*/ 987356 h 6859062"/>
              <a:gd name="connsiteX8529" fmla="*/ 2881223 w 12192185"/>
              <a:gd name="connsiteY8529" fmla="*/ 974337 h 6859062"/>
              <a:gd name="connsiteX8530" fmla="*/ 2886756 w 12192185"/>
              <a:gd name="connsiteY8530" fmla="*/ 960818 h 6859062"/>
              <a:gd name="connsiteX8531" fmla="*/ 2894301 w 12192185"/>
              <a:gd name="connsiteY8531" fmla="*/ 951805 h 6859062"/>
              <a:gd name="connsiteX8532" fmla="*/ 2905368 w 12192185"/>
              <a:gd name="connsiteY8532" fmla="*/ 946296 h 6859062"/>
              <a:gd name="connsiteX8533" fmla="*/ 2260447 w 12192185"/>
              <a:gd name="connsiteY8533" fmla="*/ 944656 h 6859062"/>
              <a:gd name="connsiteX8534" fmla="*/ 2270507 w 12192185"/>
              <a:gd name="connsiteY8534" fmla="*/ 944656 h 6859062"/>
              <a:gd name="connsiteX8535" fmla="*/ 2281574 w 12192185"/>
              <a:gd name="connsiteY8535" fmla="*/ 950164 h 6859062"/>
              <a:gd name="connsiteX8536" fmla="*/ 2289119 w 12192185"/>
              <a:gd name="connsiteY8536" fmla="*/ 959177 h 6859062"/>
              <a:gd name="connsiteX8537" fmla="*/ 2294651 w 12192185"/>
              <a:gd name="connsiteY8537" fmla="*/ 972696 h 6859062"/>
              <a:gd name="connsiteX8538" fmla="*/ 2301692 w 12192185"/>
              <a:gd name="connsiteY8538" fmla="*/ 985715 h 6859062"/>
              <a:gd name="connsiteX8539" fmla="*/ 2312761 w 12192185"/>
              <a:gd name="connsiteY8539" fmla="*/ 996731 h 6859062"/>
              <a:gd name="connsiteX8540" fmla="*/ 2312760 w 12192185"/>
              <a:gd name="connsiteY8540" fmla="*/ 1014757 h 6859062"/>
              <a:gd name="connsiteX8541" fmla="*/ 2306725 w 12192185"/>
              <a:gd name="connsiteY8541" fmla="*/ 1021767 h 6859062"/>
              <a:gd name="connsiteX8542" fmla="*/ 2295658 w 12192185"/>
              <a:gd name="connsiteY8542" fmla="*/ 1028777 h 6859062"/>
              <a:gd name="connsiteX8543" fmla="*/ 2282579 w 12192185"/>
              <a:gd name="connsiteY8543" fmla="*/ 1030780 h 6859062"/>
              <a:gd name="connsiteX8544" fmla="*/ 2267489 w 12192185"/>
              <a:gd name="connsiteY8544" fmla="*/ 1016759 h 6859062"/>
              <a:gd name="connsiteX8545" fmla="*/ 2264473 w 12192185"/>
              <a:gd name="connsiteY8545" fmla="*/ 1011252 h 6859062"/>
              <a:gd name="connsiteX8546" fmla="*/ 2254917 w 12192185"/>
              <a:gd name="connsiteY8546" fmla="*/ 999234 h 6859062"/>
              <a:gd name="connsiteX8547" fmla="*/ 2247372 w 12192185"/>
              <a:gd name="connsiteY8547" fmla="*/ 994728 h 6859062"/>
              <a:gd name="connsiteX8548" fmla="*/ 2240329 w 12192185"/>
              <a:gd name="connsiteY8548" fmla="*/ 974699 h 6859062"/>
              <a:gd name="connsiteX8549" fmla="*/ 2244855 w 12192185"/>
              <a:gd name="connsiteY8549" fmla="*/ 957675 h 6859062"/>
              <a:gd name="connsiteX8550" fmla="*/ 2258937 w 12192185"/>
              <a:gd name="connsiteY8550" fmla="*/ 946659 h 6859062"/>
              <a:gd name="connsiteX8551" fmla="*/ 2260447 w 12192185"/>
              <a:gd name="connsiteY8551" fmla="*/ 944656 h 6859062"/>
              <a:gd name="connsiteX8552" fmla="*/ 8445790 w 12192185"/>
              <a:gd name="connsiteY8552" fmla="*/ 941572 h 6859062"/>
              <a:gd name="connsiteX8553" fmla="*/ 8448263 w 12192185"/>
              <a:gd name="connsiteY8553" fmla="*/ 942277 h 6859062"/>
              <a:gd name="connsiteX8554" fmla="*/ 8459574 w 12192185"/>
              <a:gd name="connsiteY8554" fmla="*/ 943689 h 6859062"/>
              <a:gd name="connsiteX8555" fmla="*/ 8462400 w 12192185"/>
              <a:gd name="connsiteY8555" fmla="*/ 945101 h 6859062"/>
              <a:gd name="connsiteX8556" fmla="*/ 8470529 w 12192185"/>
              <a:gd name="connsiteY8556" fmla="*/ 947572 h 6859062"/>
              <a:gd name="connsiteX8557" fmla="*/ 8474771 w 12192185"/>
              <a:gd name="connsiteY8557" fmla="*/ 949336 h 6859062"/>
              <a:gd name="connsiteX8558" fmla="*/ 8477244 w 12192185"/>
              <a:gd name="connsiteY8558" fmla="*/ 954278 h 6859062"/>
              <a:gd name="connsiteX8559" fmla="*/ 8486786 w 12192185"/>
              <a:gd name="connsiteY8559" fmla="*/ 966985 h 6859062"/>
              <a:gd name="connsiteX8560" fmla="*/ 8491028 w 12192185"/>
              <a:gd name="connsiteY8560" fmla="*/ 975456 h 6859062"/>
              <a:gd name="connsiteX8561" fmla="*/ 8491027 w 12192185"/>
              <a:gd name="connsiteY8561" fmla="*/ 979691 h 6859062"/>
              <a:gd name="connsiteX8562" fmla="*/ 8487493 w 12192185"/>
              <a:gd name="connsiteY8562" fmla="*/ 989222 h 6859062"/>
              <a:gd name="connsiteX8563" fmla="*/ 8482546 w 12192185"/>
              <a:gd name="connsiteY8563" fmla="*/ 1004753 h 6859062"/>
              <a:gd name="connsiteX8564" fmla="*/ 8478304 w 12192185"/>
              <a:gd name="connsiteY8564" fmla="*/ 1010400 h 6859062"/>
              <a:gd name="connsiteX8565" fmla="*/ 8471589 w 12192185"/>
              <a:gd name="connsiteY8565" fmla="*/ 1016047 h 6859062"/>
              <a:gd name="connsiteX8566" fmla="*/ 8465582 w 12192185"/>
              <a:gd name="connsiteY8566" fmla="*/ 1019223 h 6859062"/>
              <a:gd name="connsiteX8567" fmla="*/ 8443316 w 12192185"/>
              <a:gd name="connsiteY8567" fmla="*/ 1024165 h 6859062"/>
              <a:gd name="connsiteX8568" fmla="*/ 8432006 w 12192185"/>
              <a:gd name="connsiteY8568" fmla="*/ 1023812 h 6859062"/>
              <a:gd name="connsiteX8569" fmla="*/ 8414336 w 12192185"/>
              <a:gd name="connsiteY8569" fmla="*/ 1010047 h 6859062"/>
              <a:gd name="connsiteX8570" fmla="*/ 8413276 w 12192185"/>
              <a:gd name="connsiteY8570" fmla="*/ 1001575 h 6859062"/>
              <a:gd name="connsiteX8571" fmla="*/ 8412923 w 12192185"/>
              <a:gd name="connsiteY8571" fmla="*/ 998045 h 6859062"/>
              <a:gd name="connsiteX8572" fmla="*/ 8411155 w 12192185"/>
              <a:gd name="connsiteY8572" fmla="*/ 988516 h 6859062"/>
              <a:gd name="connsiteX8573" fmla="*/ 8410095 w 12192185"/>
              <a:gd name="connsiteY8573" fmla="*/ 983928 h 6859062"/>
              <a:gd name="connsiteX8574" fmla="*/ 8410449 w 12192185"/>
              <a:gd name="connsiteY8574" fmla="*/ 977927 h 6859062"/>
              <a:gd name="connsiteX8575" fmla="*/ 8412922 w 12192185"/>
              <a:gd name="connsiteY8575" fmla="*/ 971927 h 6859062"/>
              <a:gd name="connsiteX8576" fmla="*/ 8420697 w 12192185"/>
              <a:gd name="connsiteY8576" fmla="*/ 957455 h 6859062"/>
              <a:gd name="connsiteX8577" fmla="*/ 8445790 w 12192185"/>
              <a:gd name="connsiteY8577" fmla="*/ 941572 h 6859062"/>
              <a:gd name="connsiteX8578" fmla="*/ 8552998 w 12192185"/>
              <a:gd name="connsiteY8578" fmla="*/ 925507 h 6859062"/>
              <a:gd name="connsiteX8579" fmla="*/ 8553196 w 12192185"/>
              <a:gd name="connsiteY8579" fmla="*/ 925838 h 6859062"/>
              <a:gd name="connsiteX8580" fmla="*/ 8552768 w 12192185"/>
              <a:gd name="connsiteY8580" fmla="*/ 925736 h 6859062"/>
              <a:gd name="connsiteX8581" fmla="*/ 2546234 w 12192185"/>
              <a:gd name="connsiteY8581" fmla="*/ 923434 h 6859062"/>
              <a:gd name="connsiteX8582" fmla="*/ 2564962 w 12192185"/>
              <a:gd name="connsiteY8582" fmla="*/ 935290 h 6859062"/>
              <a:gd name="connsiteX8583" fmla="*/ 2570765 w 12192185"/>
              <a:gd name="connsiteY8583" fmla="*/ 946091 h 6859062"/>
              <a:gd name="connsiteX8584" fmla="*/ 2572614 w 12192185"/>
              <a:gd name="connsiteY8584" fmla="*/ 950569 h 6859062"/>
              <a:gd name="connsiteX8585" fmla="*/ 2572874 w 12192185"/>
              <a:gd name="connsiteY8585" fmla="*/ 955049 h 6859062"/>
              <a:gd name="connsiteX8586" fmla="*/ 2572085 w 12192185"/>
              <a:gd name="connsiteY8586" fmla="*/ 958474 h 6859062"/>
              <a:gd name="connsiteX8587" fmla="*/ 2570765 w 12192185"/>
              <a:gd name="connsiteY8587" fmla="*/ 965587 h 6859062"/>
              <a:gd name="connsiteX8588" fmla="*/ 2570502 w 12192185"/>
              <a:gd name="connsiteY8588" fmla="*/ 968222 h 6859062"/>
              <a:gd name="connsiteX8589" fmla="*/ 2569710 w 12192185"/>
              <a:gd name="connsiteY8589" fmla="*/ 974544 h 6859062"/>
              <a:gd name="connsiteX8590" fmla="*/ 2556523 w 12192185"/>
              <a:gd name="connsiteY8590" fmla="*/ 984820 h 6859062"/>
              <a:gd name="connsiteX8591" fmla="*/ 2548083 w 12192185"/>
              <a:gd name="connsiteY8591" fmla="*/ 985083 h 6859062"/>
              <a:gd name="connsiteX8592" fmla="*/ 2531463 w 12192185"/>
              <a:gd name="connsiteY8592" fmla="*/ 981394 h 6859062"/>
              <a:gd name="connsiteX8593" fmla="*/ 2526978 w 12192185"/>
              <a:gd name="connsiteY8593" fmla="*/ 979024 h 6859062"/>
              <a:gd name="connsiteX8594" fmla="*/ 2521965 w 12192185"/>
              <a:gd name="connsiteY8594" fmla="*/ 974808 h 6859062"/>
              <a:gd name="connsiteX8595" fmla="*/ 2518800 w 12192185"/>
              <a:gd name="connsiteY8595" fmla="*/ 970593 h 6859062"/>
              <a:gd name="connsiteX8596" fmla="*/ 2515106 w 12192185"/>
              <a:gd name="connsiteY8596" fmla="*/ 959001 h 6859062"/>
              <a:gd name="connsiteX8597" fmla="*/ 2512468 w 12192185"/>
              <a:gd name="connsiteY8597" fmla="*/ 951887 h 6859062"/>
              <a:gd name="connsiteX8598" fmla="*/ 2512468 w 12192185"/>
              <a:gd name="connsiteY8598" fmla="*/ 948726 h 6859062"/>
              <a:gd name="connsiteX8599" fmla="*/ 2515635 w 12192185"/>
              <a:gd name="connsiteY8599" fmla="*/ 942403 h 6859062"/>
              <a:gd name="connsiteX8600" fmla="*/ 2522757 w 12192185"/>
              <a:gd name="connsiteY8600" fmla="*/ 932918 h 6859062"/>
              <a:gd name="connsiteX8601" fmla="*/ 2524603 w 12192185"/>
              <a:gd name="connsiteY8601" fmla="*/ 929230 h 6859062"/>
              <a:gd name="connsiteX8602" fmla="*/ 2527770 w 12192185"/>
              <a:gd name="connsiteY8602" fmla="*/ 927913 h 6859062"/>
              <a:gd name="connsiteX8603" fmla="*/ 2533838 w 12192185"/>
              <a:gd name="connsiteY8603" fmla="*/ 926068 h 6859062"/>
              <a:gd name="connsiteX8604" fmla="*/ 2535946 w 12192185"/>
              <a:gd name="connsiteY8604" fmla="*/ 925015 h 6859062"/>
              <a:gd name="connsiteX8605" fmla="*/ 2544388 w 12192185"/>
              <a:gd name="connsiteY8605" fmla="*/ 923961 h 6859062"/>
              <a:gd name="connsiteX8606" fmla="*/ 2546234 w 12192185"/>
              <a:gd name="connsiteY8606" fmla="*/ 923434 h 6859062"/>
              <a:gd name="connsiteX8607" fmla="*/ 5379329 w 12192185"/>
              <a:gd name="connsiteY8607" fmla="*/ 915503 h 6859062"/>
              <a:gd name="connsiteX8608" fmla="*/ 5374936 w 12192185"/>
              <a:gd name="connsiteY8608" fmla="*/ 917306 h 6859062"/>
              <a:gd name="connsiteX8609" fmla="*/ 5374848 w 12192185"/>
              <a:gd name="connsiteY8609" fmla="*/ 917099 h 6859062"/>
              <a:gd name="connsiteX8610" fmla="*/ 4021382 w 12192185"/>
              <a:gd name="connsiteY8610" fmla="*/ 913322 h 6859062"/>
              <a:gd name="connsiteX8611" fmla="*/ 4025584 w 12192185"/>
              <a:gd name="connsiteY8611" fmla="*/ 913339 h 6859062"/>
              <a:gd name="connsiteX8612" fmla="*/ 4030884 w 12192185"/>
              <a:gd name="connsiteY8612" fmla="*/ 914505 h 6859062"/>
              <a:gd name="connsiteX8613" fmla="*/ 4034829 w 12192185"/>
              <a:gd name="connsiteY8613" fmla="*/ 916382 h 6859062"/>
              <a:gd name="connsiteX8614" fmla="*/ 4041997 w 12192185"/>
              <a:gd name="connsiteY8614" fmla="*/ 923470 h 6859062"/>
              <a:gd name="connsiteX8615" fmla="*/ 4046668 w 12192185"/>
              <a:gd name="connsiteY8615" fmla="*/ 927677 h 6859062"/>
              <a:gd name="connsiteX8616" fmla="*/ 4047884 w 12192185"/>
              <a:gd name="connsiteY8616" fmla="*/ 929997 h 6859062"/>
              <a:gd name="connsiteX8617" fmla="*/ 4047992 w 12192185"/>
              <a:gd name="connsiteY8617" fmla="*/ 935855 h 6859062"/>
              <a:gd name="connsiteX8618" fmla="*/ 4046411 w 12192185"/>
              <a:gd name="connsiteY8618" fmla="*/ 945556 h 6859062"/>
              <a:gd name="connsiteX8619" fmla="*/ 4046474 w 12192185"/>
              <a:gd name="connsiteY8619" fmla="*/ 948973 h 6859062"/>
              <a:gd name="connsiteX8620" fmla="*/ 4044658 w 12192185"/>
              <a:gd name="connsiteY8620" fmla="*/ 951157 h 6859062"/>
              <a:gd name="connsiteX8621" fmla="*/ 4040915 w 12192185"/>
              <a:gd name="connsiteY8621" fmla="*/ 954844 h 6859062"/>
              <a:gd name="connsiteX8622" fmla="*/ 4039770 w 12192185"/>
              <a:gd name="connsiteY8622" fmla="*/ 956428 h 6859062"/>
              <a:gd name="connsiteX8623" fmla="*/ 4033979 w 12192185"/>
              <a:gd name="connsiteY8623" fmla="*/ 960448 h 6859062"/>
              <a:gd name="connsiteX8624" fmla="*/ 4032827 w 12192185"/>
              <a:gd name="connsiteY8624" fmla="*/ 961546 h 6859062"/>
              <a:gd name="connsiteX8625" fmla="*/ 4014522 w 12192185"/>
              <a:gd name="connsiteY8625" fmla="*/ 960045 h 6859062"/>
              <a:gd name="connsiteX8626" fmla="*/ 4006109 w 12192185"/>
              <a:gd name="connsiteY8626" fmla="*/ 954349 h 6859062"/>
              <a:gd name="connsiteX8627" fmla="*/ 4003029 w 12192185"/>
              <a:gd name="connsiteY8627" fmla="*/ 951772 h 6859062"/>
              <a:gd name="connsiteX8628" fmla="*/ 4001114 w 12192185"/>
              <a:gd name="connsiteY8628" fmla="*/ 948586 h 6859062"/>
              <a:gd name="connsiteX8629" fmla="*/ 4000379 w 12192185"/>
              <a:gd name="connsiteY8629" fmla="*/ 945767 h 6859062"/>
              <a:gd name="connsiteX8630" fmla="*/ 3998611 w 12192185"/>
              <a:gd name="connsiteY8630" fmla="*/ 940039 h 6859062"/>
              <a:gd name="connsiteX8631" fmla="*/ 3997792 w 12192185"/>
              <a:gd name="connsiteY8631" fmla="*/ 938005 h 6859062"/>
              <a:gd name="connsiteX8632" fmla="*/ 3995940 w 12192185"/>
              <a:gd name="connsiteY8632" fmla="*/ 933059 h 6859062"/>
              <a:gd name="connsiteX8633" fmla="*/ 4001671 w 12192185"/>
              <a:gd name="connsiteY8633" fmla="*/ 920446 h 6859062"/>
              <a:gd name="connsiteX8634" fmla="*/ 4007765 w 12192185"/>
              <a:gd name="connsiteY8634" fmla="*/ 917006 h 6859062"/>
              <a:gd name="connsiteX8635" fmla="*/ 4021382 w 12192185"/>
              <a:gd name="connsiteY8635" fmla="*/ 913322 h 6859062"/>
              <a:gd name="connsiteX8636" fmla="*/ 5373132 w 12192185"/>
              <a:gd name="connsiteY8636" fmla="*/ 912918 h 6859062"/>
              <a:gd name="connsiteX8637" fmla="*/ 5374848 w 12192185"/>
              <a:gd name="connsiteY8637" fmla="*/ 917099 h 6859062"/>
              <a:gd name="connsiteX8638" fmla="*/ 5367518 w 12192185"/>
              <a:gd name="connsiteY8638" fmla="*/ 919716 h 6859062"/>
              <a:gd name="connsiteX8639" fmla="*/ 5350421 w 12192185"/>
              <a:gd name="connsiteY8639" fmla="*/ 932509 h 6859062"/>
              <a:gd name="connsiteX8640" fmla="*/ 5344230 w 12192185"/>
              <a:gd name="connsiteY8640" fmla="*/ 929926 h 6859062"/>
              <a:gd name="connsiteX8641" fmla="*/ 5339843 w 12192185"/>
              <a:gd name="connsiteY8641" fmla="*/ 931729 h 6859062"/>
              <a:gd name="connsiteX8642" fmla="*/ 5333651 w 12192185"/>
              <a:gd name="connsiteY8642" fmla="*/ 929144 h 6859062"/>
              <a:gd name="connsiteX8643" fmla="*/ 5329260 w 12192185"/>
              <a:gd name="connsiteY8643" fmla="*/ 930947 h 6859062"/>
              <a:gd name="connsiteX8644" fmla="*/ 5331067 w 12192185"/>
              <a:gd name="connsiteY8644" fmla="*/ 935334 h 6859062"/>
              <a:gd name="connsiteX8645" fmla="*/ 5297772 w 12192185"/>
              <a:gd name="connsiteY8645" fmla="*/ 954144 h 6859062"/>
              <a:gd name="connsiteX8646" fmla="*/ 5295974 w 12192185"/>
              <a:gd name="connsiteY8646" fmla="*/ 949758 h 6859062"/>
              <a:gd name="connsiteX8647" fmla="*/ 5287202 w 12192185"/>
              <a:gd name="connsiteY8647" fmla="*/ 953363 h 6859062"/>
              <a:gd name="connsiteX8648" fmla="*/ 5282808 w 12192185"/>
              <a:gd name="connsiteY8648" fmla="*/ 955166 h 6859062"/>
              <a:gd name="connsiteX8649" fmla="*/ 5237137 w 12192185"/>
              <a:gd name="connsiteY8649" fmla="*/ 968808 h 6859062"/>
              <a:gd name="connsiteX8650" fmla="*/ 5238944 w 12192185"/>
              <a:gd name="connsiteY8650" fmla="*/ 973196 h 6859062"/>
              <a:gd name="connsiteX8651" fmla="*/ 5232751 w 12192185"/>
              <a:gd name="connsiteY8651" fmla="*/ 970610 h 6859062"/>
              <a:gd name="connsiteX8652" fmla="*/ 5230159 w 12192185"/>
              <a:gd name="connsiteY8652" fmla="*/ 976802 h 6859062"/>
              <a:gd name="connsiteX8653" fmla="*/ 5203836 w 12192185"/>
              <a:gd name="connsiteY8653" fmla="*/ 987618 h 6859062"/>
              <a:gd name="connsiteX8654" fmla="*/ 5192483 w 12192185"/>
              <a:gd name="connsiteY8654" fmla="*/ 997413 h 6859062"/>
              <a:gd name="connsiteX8655" fmla="*/ 5186302 w 12192185"/>
              <a:gd name="connsiteY8655" fmla="*/ 994830 h 6859062"/>
              <a:gd name="connsiteX8656" fmla="*/ 5185522 w 12192185"/>
              <a:gd name="connsiteY8656" fmla="*/ 1005407 h 6859062"/>
              <a:gd name="connsiteX8657" fmla="*/ 5183724 w 12192185"/>
              <a:gd name="connsiteY8657" fmla="*/ 1001019 h 6859062"/>
              <a:gd name="connsiteX8658" fmla="*/ 5179328 w 12192185"/>
              <a:gd name="connsiteY8658" fmla="*/ 1002822 h 6859062"/>
              <a:gd name="connsiteX8659" fmla="*/ 5174944 w 12192185"/>
              <a:gd name="connsiteY8659" fmla="*/ 1004625 h 6859062"/>
              <a:gd name="connsiteX8660" fmla="*/ 5170560 w 12192185"/>
              <a:gd name="connsiteY8660" fmla="*/ 1006429 h 6859062"/>
              <a:gd name="connsiteX8661" fmla="*/ 5166160 w 12192185"/>
              <a:gd name="connsiteY8661" fmla="*/ 1008231 h 6859062"/>
              <a:gd name="connsiteX8662" fmla="*/ 5155589 w 12192185"/>
              <a:gd name="connsiteY8662" fmla="*/ 1007450 h 6859062"/>
              <a:gd name="connsiteX8663" fmla="*/ 5148611 w 12192185"/>
              <a:gd name="connsiteY8663" fmla="*/ 1015443 h 6859062"/>
              <a:gd name="connsiteX8664" fmla="*/ 5120488 w 12192185"/>
              <a:gd name="connsiteY8664" fmla="*/ 1021873 h 6859062"/>
              <a:gd name="connsiteX8665" fmla="*/ 5197657 w 12192185"/>
              <a:gd name="connsiteY8665" fmla="*/ 985034 h 6859062"/>
              <a:gd name="connsiteX8666" fmla="*/ 5227340 w 12192185"/>
              <a:gd name="connsiteY8666" fmla="*/ 957450 h 6859062"/>
              <a:gd name="connsiteX8667" fmla="*/ 5269411 w 12192185"/>
              <a:gd name="connsiteY8667" fmla="*/ 935033 h 6859062"/>
              <a:gd name="connsiteX8668" fmla="*/ 5347599 w 12192185"/>
              <a:gd name="connsiteY8668" fmla="*/ 913159 h 6859062"/>
              <a:gd name="connsiteX8669" fmla="*/ 5345009 w 12192185"/>
              <a:gd name="connsiteY8669" fmla="*/ 919350 h 6859062"/>
              <a:gd name="connsiteX8670" fmla="*/ 5349397 w 12192185"/>
              <a:gd name="connsiteY8670" fmla="*/ 917545 h 6859062"/>
              <a:gd name="connsiteX8671" fmla="*/ 5368747 w 12192185"/>
              <a:gd name="connsiteY8671" fmla="*/ 914721 h 6859062"/>
              <a:gd name="connsiteX8672" fmla="*/ 5373132 w 12192185"/>
              <a:gd name="connsiteY8672" fmla="*/ 912918 h 6859062"/>
              <a:gd name="connsiteX8673" fmla="*/ 5381913 w 12192185"/>
              <a:gd name="connsiteY8673" fmla="*/ 909312 h 6859062"/>
              <a:gd name="connsiteX8674" fmla="*/ 5381752 w 12192185"/>
              <a:gd name="connsiteY8674" fmla="*/ 909689 h 6859062"/>
              <a:gd name="connsiteX8675" fmla="*/ 5377518 w 12192185"/>
              <a:gd name="connsiteY8675" fmla="*/ 911116 h 6859062"/>
              <a:gd name="connsiteX8676" fmla="*/ 5381913 w 12192185"/>
              <a:gd name="connsiteY8676" fmla="*/ 909312 h 6859062"/>
              <a:gd name="connsiteX8677" fmla="*/ 6290812 w 12192185"/>
              <a:gd name="connsiteY8677" fmla="*/ 898549 h 6859062"/>
              <a:gd name="connsiteX8678" fmla="*/ 6301289 w 12192185"/>
              <a:gd name="connsiteY8678" fmla="*/ 900653 h 6859062"/>
              <a:gd name="connsiteX8679" fmla="*/ 6290539 w 12192185"/>
              <a:gd name="connsiteY8679" fmla="*/ 898739 h 6859062"/>
              <a:gd name="connsiteX8680" fmla="*/ 2129505 w 12192185"/>
              <a:gd name="connsiteY8680" fmla="*/ 892138 h 6859062"/>
              <a:gd name="connsiteX8681" fmla="*/ 2131448 w 12192185"/>
              <a:gd name="connsiteY8681" fmla="*/ 895024 h 6859062"/>
              <a:gd name="connsiteX8682" fmla="*/ 2132095 w 12192185"/>
              <a:gd name="connsiteY8682" fmla="*/ 897612 h 6859062"/>
              <a:gd name="connsiteX8683" fmla="*/ 2134038 w 12192185"/>
              <a:gd name="connsiteY8683" fmla="*/ 900632 h 6859062"/>
              <a:gd name="connsiteX8684" fmla="*/ 2136844 w 12192185"/>
              <a:gd name="connsiteY8684" fmla="*/ 898691 h 6859062"/>
              <a:gd name="connsiteX8685" fmla="*/ 2143319 w 12192185"/>
              <a:gd name="connsiteY8685" fmla="*/ 899769 h 6859062"/>
              <a:gd name="connsiteX8686" fmla="*/ 2144615 w 12192185"/>
              <a:gd name="connsiteY8686" fmla="*/ 902573 h 6859062"/>
              <a:gd name="connsiteX8687" fmla="*/ 2148500 w 12192185"/>
              <a:gd name="connsiteY8687" fmla="*/ 904084 h 6859062"/>
              <a:gd name="connsiteX8688" fmla="*/ 2150011 w 12192185"/>
              <a:gd name="connsiteY8688" fmla="*/ 900416 h 6859062"/>
              <a:gd name="connsiteX8689" fmla="*/ 2149647 w 12192185"/>
              <a:gd name="connsiteY8689" fmla="*/ 897153 h 6859062"/>
              <a:gd name="connsiteX8690" fmla="*/ 2166515 w 12192185"/>
              <a:gd name="connsiteY8690" fmla="*/ 913930 h 6859062"/>
              <a:gd name="connsiteX8691" fmla="*/ 2165550 w 12192185"/>
              <a:gd name="connsiteY8691" fmla="*/ 915300 h 6859062"/>
              <a:gd name="connsiteX8692" fmla="*/ 2167491 w 12192185"/>
              <a:gd name="connsiteY8692" fmla="*/ 919399 h 6859062"/>
              <a:gd name="connsiteX8693" fmla="*/ 2171376 w 12192185"/>
              <a:gd name="connsiteY8693" fmla="*/ 921125 h 6859062"/>
              <a:gd name="connsiteX8694" fmla="*/ 2173967 w 12192185"/>
              <a:gd name="connsiteY8694" fmla="*/ 926303 h 6859062"/>
              <a:gd name="connsiteX8695" fmla="*/ 2182384 w 12192185"/>
              <a:gd name="connsiteY8695" fmla="*/ 942912 h 6859062"/>
              <a:gd name="connsiteX8696" fmla="*/ 2185407 w 12192185"/>
              <a:gd name="connsiteY8696" fmla="*/ 945285 h 6859062"/>
              <a:gd name="connsiteX8697" fmla="*/ 2181304 w 12192185"/>
              <a:gd name="connsiteY8697" fmla="*/ 947874 h 6859062"/>
              <a:gd name="connsiteX8698" fmla="*/ 2180658 w 12192185"/>
              <a:gd name="connsiteY8698" fmla="*/ 947874 h 6859062"/>
              <a:gd name="connsiteX8699" fmla="*/ 2176557 w 12192185"/>
              <a:gd name="connsiteY8699" fmla="*/ 955208 h 6859062"/>
              <a:gd name="connsiteX8700" fmla="*/ 2176126 w 12192185"/>
              <a:gd name="connsiteY8700" fmla="*/ 965347 h 6859062"/>
              <a:gd name="connsiteX8701" fmla="*/ 2172457 w 12192185"/>
              <a:gd name="connsiteY8701" fmla="*/ 979584 h 6859062"/>
              <a:gd name="connsiteX8702" fmla="*/ 2169218 w 12192185"/>
              <a:gd name="connsiteY8702" fmla="*/ 983467 h 6859062"/>
              <a:gd name="connsiteX8703" fmla="*/ 2160370 w 12192185"/>
              <a:gd name="connsiteY8703" fmla="*/ 994684 h 6859062"/>
              <a:gd name="connsiteX8704" fmla="*/ 2155192 w 12192185"/>
              <a:gd name="connsiteY8704" fmla="*/ 996626 h 6859062"/>
              <a:gd name="connsiteX8705" fmla="*/ 2133823 w 12192185"/>
              <a:gd name="connsiteY8705" fmla="*/ 1002881 h 6859062"/>
              <a:gd name="connsiteX8706" fmla="*/ 2133823 w 12192185"/>
              <a:gd name="connsiteY8706" fmla="*/ 1007627 h 6859062"/>
              <a:gd name="connsiteX8707" fmla="*/ 2139433 w 12192185"/>
              <a:gd name="connsiteY8707" fmla="*/ 1008274 h 6859062"/>
              <a:gd name="connsiteX8708" fmla="*/ 2143319 w 12192185"/>
              <a:gd name="connsiteY8708" fmla="*/ 1005685 h 6859062"/>
              <a:gd name="connsiteX8709" fmla="*/ 2146990 w 12192185"/>
              <a:gd name="connsiteY8709" fmla="*/ 1005254 h 6859062"/>
              <a:gd name="connsiteX8710" fmla="*/ 2146342 w 12192185"/>
              <a:gd name="connsiteY8710" fmla="*/ 1009137 h 6859062"/>
              <a:gd name="connsiteX8711" fmla="*/ 2143319 w 12192185"/>
              <a:gd name="connsiteY8711" fmla="*/ 1011941 h 6859062"/>
              <a:gd name="connsiteX8712" fmla="*/ 2142241 w 12192185"/>
              <a:gd name="connsiteY8712" fmla="*/ 1018629 h 6859062"/>
              <a:gd name="connsiteX8713" fmla="*/ 2148068 w 12192185"/>
              <a:gd name="connsiteY8713" fmla="*/ 1017335 h 6859062"/>
              <a:gd name="connsiteX8714" fmla="*/ 2152602 w 12192185"/>
              <a:gd name="connsiteY8714" fmla="*/ 1013667 h 6859062"/>
              <a:gd name="connsiteX8715" fmla="*/ 2156918 w 12192185"/>
              <a:gd name="connsiteY8715" fmla="*/ 1016472 h 6859062"/>
              <a:gd name="connsiteX8716" fmla="*/ 2152169 w 12192185"/>
              <a:gd name="connsiteY8716" fmla="*/ 1028768 h 6859062"/>
              <a:gd name="connsiteX8717" fmla="*/ 2152169 w 12192185"/>
              <a:gd name="connsiteY8717" fmla="*/ 1040631 h 6859062"/>
              <a:gd name="connsiteX8718" fmla="*/ 2156487 w 12192185"/>
              <a:gd name="connsiteY8718" fmla="*/ 1045377 h 6859062"/>
              <a:gd name="connsiteX8719" fmla="*/ 2157780 w 12192185"/>
              <a:gd name="connsiteY8719" fmla="*/ 1047750 h 6859062"/>
              <a:gd name="connsiteX8720" fmla="*/ 2155406 w 12192185"/>
              <a:gd name="connsiteY8720" fmla="*/ 1049044 h 6859062"/>
              <a:gd name="connsiteX8721" fmla="*/ 2150876 w 12192185"/>
              <a:gd name="connsiteY8721" fmla="*/ 1053367 h 6859062"/>
              <a:gd name="connsiteX8722" fmla="*/ 2145262 w 12192185"/>
              <a:gd name="connsiteY8722" fmla="*/ 1063074 h 6859062"/>
              <a:gd name="connsiteX8723" fmla="*/ 2145046 w 12192185"/>
              <a:gd name="connsiteY8723" fmla="*/ 1068252 h 6859062"/>
              <a:gd name="connsiteX8724" fmla="*/ 2146773 w 12192185"/>
              <a:gd name="connsiteY8724" fmla="*/ 1071703 h 6859062"/>
              <a:gd name="connsiteX8725" fmla="*/ 2143104 w 12192185"/>
              <a:gd name="connsiteY8725" fmla="*/ 1074075 h 6859062"/>
              <a:gd name="connsiteX8726" fmla="*/ 2140082 w 12192185"/>
              <a:gd name="connsiteY8726" fmla="*/ 1074507 h 6859062"/>
              <a:gd name="connsiteX8727" fmla="*/ 2136414 w 12192185"/>
              <a:gd name="connsiteY8727" fmla="*/ 1083351 h 6859062"/>
              <a:gd name="connsiteX8728" fmla="*/ 2137491 w 12192185"/>
              <a:gd name="connsiteY8728" fmla="*/ 1085076 h 6859062"/>
              <a:gd name="connsiteX8729" fmla="*/ 2137276 w 12192185"/>
              <a:gd name="connsiteY8729" fmla="*/ 1088959 h 6859062"/>
              <a:gd name="connsiteX8730" fmla="*/ 2133824 w 12192185"/>
              <a:gd name="connsiteY8730" fmla="*/ 1088096 h 6859062"/>
              <a:gd name="connsiteX8731" fmla="*/ 2131664 w 12192185"/>
              <a:gd name="connsiteY8731" fmla="*/ 1085291 h 6859062"/>
              <a:gd name="connsiteX8732" fmla="*/ 2127347 w 12192185"/>
              <a:gd name="connsiteY8732" fmla="*/ 1084645 h 6859062"/>
              <a:gd name="connsiteX8733" fmla="*/ 2114180 w 12192185"/>
              <a:gd name="connsiteY8733" fmla="*/ 1088096 h 6859062"/>
              <a:gd name="connsiteX8734" fmla="*/ 2097778 w 12192185"/>
              <a:gd name="connsiteY8734" fmla="*/ 1089174 h 6859062"/>
              <a:gd name="connsiteX8735" fmla="*/ 2093878 w 12192185"/>
              <a:gd name="connsiteY8735" fmla="*/ 1087233 h 6859062"/>
              <a:gd name="connsiteX8736" fmla="*/ 2082656 w 12192185"/>
              <a:gd name="connsiteY8736" fmla="*/ 1082056 h 6859062"/>
              <a:gd name="connsiteX8737" fmla="*/ 2080496 w 12192185"/>
              <a:gd name="connsiteY8737" fmla="*/ 1080547 h 6859062"/>
              <a:gd name="connsiteX8738" fmla="*/ 2071000 w 12192185"/>
              <a:gd name="connsiteY8738" fmla="*/ 1069114 h 6859062"/>
              <a:gd name="connsiteX8739" fmla="*/ 2065173 w 12192185"/>
              <a:gd name="connsiteY8739" fmla="*/ 1049700 h 6859062"/>
              <a:gd name="connsiteX8740" fmla="*/ 2062368 w 12192185"/>
              <a:gd name="connsiteY8740" fmla="*/ 1043005 h 6859062"/>
              <a:gd name="connsiteX8741" fmla="*/ 2063015 w 12192185"/>
              <a:gd name="connsiteY8741" fmla="*/ 1033513 h 6859062"/>
              <a:gd name="connsiteX8742" fmla="*/ 2063878 w 12192185"/>
              <a:gd name="connsiteY8742" fmla="*/ 1025532 h 6859062"/>
              <a:gd name="connsiteX8743" fmla="*/ 2063661 w 12192185"/>
              <a:gd name="connsiteY8743" fmla="*/ 1022296 h 6859062"/>
              <a:gd name="connsiteX8744" fmla="*/ 2076397 w 12192185"/>
              <a:gd name="connsiteY8744" fmla="*/ 1007627 h 6859062"/>
              <a:gd name="connsiteX8745" fmla="*/ 2088483 w 12192185"/>
              <a:gd name="connsiteY8745" fmla="*/ 1000508 h 6859062"/>
              <a:gd name="connsiteX8746" fmla="*/ 2097564 w 12192185"/>
              <a:gd name="connsiteY8746" fmla="*/ 988645 h 6859062"/>
              <a:gd name="connsiteX8747" fmla="*/ 2096252 w 12192185"/>
              <a:gd name="connsiteY8747" fmla="*/ 986271 h 6859062"/>
              <a:gd name="connsiteX8748" fmla="*/ 2083519 w 12192185"/>
              <a:gd name="connsiteY8748" fmla="*/ 971171 h 6859062"/>
              <a:gd name="connsiteX8749" fmla="*/ 2081793 w 12192185"/>
              <a:gd name="connsiteY8749" fmla="*/ 967720 h 6859062"/>
              <a:gd name="connsiteX8750" fmla="*/ 2080066 w 12192185"/>
              <a:gd name="connsiteY8750" fmla="*/ 956934 h 6859062"/>
              <a:gd name="connsiteX8751" fmla="*/ 2077044 w 12192185"/>
              <a:gd name="connsiteY8751" fmla="*/ 944422 h 6859062"/>
              <a:gd name="connsiteX8752" fmla="*/ 2077260 w 12192185"/>
              <a:gd name="connsiteY8752" fmla="*/ 939245 h 6859062"/>
              <a:gd name="connsiteX8753" fmla="*/ 2088699 w 12192185"/>
              <a:gd name="connsiteY8753" fmla="*/ 911418 h 6859062"/>
              <a:gd name="connsiteX8754" fmla="*/ 2090856 w 12192185"/>
              <a:gd name="connsiteY8754" fmla="*/ 909692 h 6859062"/>
              <a:gd name="connsiteX8755" fmla="*/ 2104037 w 12192185"/>
              <a:gd name="connsiteY8755" fmla="*/ 903436 h 6859062"/>
              <a:gd name="connsiteX8756" fmla="*/ 2109649 w 12192185"/>
              <a:gd name="connsiteY8756" fmla="*/ 901711 h 6859062"/>
              <a:gd name="connsiteX8757" fmla="*/ 2119145 w 12192185"/>
              <a:gd name="connsiteY8757" fmla="*/ 899553 h 6859062"/>
              <a:gd name="connsiteX8758" fmla="*/ 2126268 w 12192185"/>
              <a:gd name="connsiteY8758" fmla="*/ 893297 h 6859062"/>
              <a:gd name="connsiteX8759" fmla="*/ 2129505 w 12192185"/>
              <a:gd name="connsiteY8759" fmla="*/ 892138 h 6859062"/>
              <a:gd name="connsiteX8760" fmla="*/ 9480411 w 12192185"/>
              <a:gd name="connsiteY8760" fmla="*/ 883157 h 6859062"/>
              <a:gd name="connsiteX8761" fmla="*/ 9489852 w 12192185"/>
              <a:gd name="connsiteY8761" fmla="*/ 887833 h 6859062"/>
              <a:gd name="connsiteX8762" fmla="*/ 9495202 w 12192185"/>
              <a:gd name="connsiteY8762" fmla="*/ 890661 h 6859062"/>
              <a:gd name="connsiteX8763" fmla="*/ 9501182 w 12192185"/>
              <a:gd name="connsiteY8763" fmla="*/ 895690 h 6859062"/>
              <a:gd name="connsiteX8764" fmla="*/ 9504957 w 12192185"/>
              <a:gd name="connsiteY8764" fmla="*/ 900718 h 6859062"/>
              <a:gd name="connsiteX8765" fmla="*/ 9509363 w 12192185"/>
              <a:gd name="connsiteY8765" fmla="*/ 914547 h 6859062"/>
              <a:gd name="connsiteX8766" fmla="*/ 9512510 w 12192185"/>
              <a:gd name="connsiteY8766" fmla="*/ 923033 h 6859062"/>
              <a:gd name="connsiteX8767" fmla="*/ 9512511 w 12192185"/>
              <a:gd name="connsiteY8767" fmla="*/ 926804 h 6859062"/>
              <a:gd name="connsiteX8768" fmla="*/ 9508735 w 12192185"/>
              <a:gd name="connsiteY8768" fmla="*/ 934348 h 6859062"/>
              <a:gd name="connsiteX8769" fmla="*/ 9500237 w 12192185"/>
              <a:gd name="connsiteY8769" fmla="*/ 945662 h 6859062"/>
              <a:gd name="connsiteX8770" fmla="*/ 9498035 w 12192185"/>
              <a:gd name="connsiteY8770" fmla="*/ 950062 h 6859062"/>
              <a:gd name="connsiteX8771" fmla="*/ 9494258 w 12192185"/>
              <a:gd name="connsiteY8771" fmla="*/ 951634 h 6859062"/>
              <a:gd name="connsiteX8772" fmla="*/ 9487021 w 12192185"/>
              <a:gd name="connsiteY8772" fmla="*/ 953834 h 6859062"/>
              <a:gd name="connsiteX8773" fmla="*/ 9484503 w 12192185"/>
              <a:gd name="connsiteY8773" fmla="*/ 955091 h 6859062"/>
              <a:gd name="connsiteX8774" fmla="*/ 9474432 w 12192185"/>
              <a:gd name="connsiteY8774" fmla="*/ 956348 h 6859062"/>
              <a:gd name="connsiteX8775" fmla="*/ 9472229 w 12192185"/>
              <a:gd name="connsiteY8775" fmla="*/ 956977 h 6859062"/>
              <a:gd name="connsiteX8776" fmla="*/ 9449887 w 12192185"/>
              <a:gd name="connsiteY8776" fmla="*/ 942833 h 6859062"/>
              <a:gd name="connsiteX8777" fmla="*/ 9442963 w 12192185"/>
              <a:gd name="connsiteY8777" fmla="*/ 929948 h 6859062"/>
              <a:gd name="connsiteX8778" fmla="*/ 9440760 w 12192185"/>
              <a:gd name="connsiteY8778" fmla="*/ 924605 h 6859062"/>
              <a:gd name="connsiteX8779" fmla="*/ 9440446 w 12192185"/>
              <a:gd name="connsiteY8779" fmla="*/ 919262 h 6859062"/>
              <a:gd name="connsiteX8780" fmla="*/ 9441390 w 12192185"/>
              <a:gd name="connsiteY8780" fmla="*/ 915176 h 6859062"/>
              <a:gd name="connsiteX8781" fmla="*/ 9442964 w 12192185"/>
              <a:gd name="connsiteY8781" fmla="*/ 906690 h 6859062"/>
              <a:gd name="connsiteX8782" fmla="*/ 9443279 w 12192185"/>
              <a:gd name="connsiteY8782" fmla="*/ 903547 h 6859062"/>
              <a:gd name="connsiteX8783" fmla="*/ 9444223 w 12192185"/>
              <a:gd name="connsiteY8783" fmla="*/ 896004 h 6859062"/>
              <a:gd name="connsiteX8784" fmla="*/ 9459956 w 12192185"/>
              <a:gd name="connsiteY8784" fmla="*/ 883747 h 6859062"/>
              <a:gd name="connsiteX8785" fmla="*/ 9470028 w 12192185"/>
              <a:gd name="connsiteY8785" fmla="*/ 883433 h 6859062"/>
              <a:gd name="connsiteX8786" fmla="*/ 9480411 w 12192185"/>
              <a:gd name="connsiteY8786" fmla="*/ 883157 h 6859062"/>
              <a:gd name="connsiteX8787" fmla="*/ 1571998 w 12192185"/>
              <a:gd name="connsiteY8787" fmla="*/ 883072 h 6859062"/>
              <a:gd name="connsiteX8788" fmla="*/ 1581080 w 12192185"/>
              <a:gd name="connsiteY8788" fmla="*/ 884102 h 6859062"/>
              <a:gd name="connsiteX8789" fmla="*/ 1586280 w 12192185"/>
              <a:gd name="connsiteY8789" fmla="*/ 884833 h 6859062"/>
              <a:gd name="connsiteX8790" fmla="*/ 1592642 w 12192185"/>
              <a:gd name="connsiteY8790" fmla="*/ 887172 h 6859062"/>
              <a:gd name="connsiteX8791" fmla="*/ 1597207 w 12192185"/>
              <a:gd name="connsiteY8791" fmla="*/ 890161 h 6859062"/>
              <a:gd name="connsiteX8792" fmla="*/ 1604881 w 12192185"/>
              <a:gd name="connsiteY8792" fmla="*/ 900146 h 6859062"/>
              <a:gd name="connsiteX8793" fmla="*/ 1609952 w 12192185"/>
              <a:gd name="connsiteY8793" fmla="*/ 906142 h 6859062"/>
              <a:gd name="connsiteX8794" fmla="*/ 1611065 w 12192185"/>
              <a:gd name="connsiteY8794" fmla="*/ 909220 h 6859062"/>
              <a:gd name="connsiteX8795" fmla="*/ 1610208 w 12192185"/>
              <a:gd name="connsiteY8795" fmla="*/ 916489 h 6859062"/>
              <a:gd name="connsiteX8796" fmla="*/ 1606612 w 12192185"/>
              <a:gd name="connsiteY8796" fmla="*/ 928228 h 6859062"/>
              <a:gd name="connsiteX8797" fmla="*/ 1606112 w 12192185"/>
              <a:gd name="connsiteY8797" fmla="*/ 932468 h 6859062"/>
              <a:gd name="connsiteX8798" fmla="*/ 1603495 w 12192185"/>
              <a:gd name="connsiteY8798" fmla="*/ 934864 h 6859062"/>
              <a:gd name="connsiteX8799" fmla="*/ 1598237 w 12192185"/>
              <a:gd name="connsiteY8799" fmla="*/ 938794 h 6859062"/>
              <a:gd name="connsiteX8800" fmla="*/ 1596554 w 12192185"/>
              <a:gd name="connsiteY8800" fmla="*/ 940563 h 6859062"/>
              <a:gd name="connsiteX8801" fmla="*/ 1588707 w 12192185"/>
              <a:gd name="connsiteY8801" fmla="*/ 944559 h 6859062"/>
              <a:gd name="connsiteX8802" fmla="*/ 1587095 w 12192185"/>
              <a:gd name="connsiteY8802" fmla="*/ 945721 h 6859062"/>
              <a:gd name="connsiteX8803" fmla="*/ 1564692 w 12192185"/>
              <a:gd name="connsiteY8803" fmla="*/ 940771 h 6859062"/>
              <a:gd name="connsiteX8804" fmla="*/ 1555242 w 12192185"/>
              <a:gd name="connsiteY8804" fmla="*/ 932299 h 6859062"/>
              <a:gd name="connsiteX8805" fmla="*/ 1551868 w 12192185"/>
              <a:gd name="connsiteY8805" fmla="*/ 928589 h 6859062"/>
              <a:gd name="connsiteX8806" fmla="*/ 1550035 w 12192185"/>
              <a:gd name="connsiteY8806" fmla="*/ 924321 h 6859062"/>
              <a:gd name="connsiteX8807" fmla="*/ 1549600 w 12192185"/>
              <a:gd name="connsiteY8807" fmla="*/ 920709 h 6859062"/>
              <a:gd name="connsiteX8808" fmla="*/ 1548381 w 12192185"/>
              <a:gd name="connsiteY8808" fmla="*/ 913320 h 6859062"/>
              <a:gd name="connsiteX8809" fmla="*/ 1547711 w 12192185"/>
              <a:gd name="connsiteY8809" fmla="*/ 910663 h 6859062"/>
              <a:gd name="connsiteX8810" fmla="*/ 1546256 w 12192185"/>
              <a:gd name="connsiteY8810" fmla="*/ 904229 h 6859062"/>
              <a:gd name="connsiteX8811" fmla="*/ 1555480 w 12192185"/>
              <a:gd name="connsiteY8811" fmla="*/ 889586 h 6859062"/>
              <a:gd name="connsiteX8812" fmla="*/ 1563604 w 12192185"/>
              <a:gd name="connsiteY8812" fmla="*/ 886359 h 6859062"/>
              <a:gd name="connsiteX8813" fmla="*/ 1571998 w 12192185"/>
              <a:gd name="connsiteY8813" fmla="*/ 883072 h 6859062"/>
              <a:gd name="connsiteX8814" fmla="*/ 6662223 w 12192185"/>
              <a:gd name="connsiteY8814" fmla="*/ 880517 h 6859062"/>
              <a:gd name="connsiteX8815" fmla="*/ 6649063 w 12192185"/>
              <a:gd name="connsiteY8815" fmla="*/ 885926 h 6859062"/>
              <a:gd name="connsiteX8816" fmla="*/ 6669436 w 12192185"/>
              <a:gd name="connsiteY8816" fmla="*/ 898065 h 6859062"/>
              <a:gd name="connsiteX8817" fmla="*/ 6676406 w 12192185"/>
              <a:gd name="connsiteY8817" fmla="*/ 890073 h 6859062"/>
              <a:gd name="connsiteX8818" fmla="*/ 6713545 w 12192185"/>
              <a:gd name="connsiteY8818" fmla="*/ 905578 h 6859062"/>
              <a:gd name="connsiteX8819" fmla="*/ 6696778 w 12192185"/>
              <a:gd name="connsiteY8819" fmla="*/ 902212 h 6859062"/>
              <a:gd name="connsiteX8820" fmla="*/ 6800984 w 12192185"/>
              <a:gd name="connsiteY8820" fmla="*/ 931176 h 6859062"/>
              <a:gd name="connsiteX8821" fmla="*/ 6913965 w 12192185"/>
              <a:gd name="connsiteY8821" fmla="*/ 956536 h 6859062"/>
              <a:gd name="connsiteX8822" fmla="*/ 6917571 w 12192185"/>
              <a:gd name="connsiteY8822" fmla="*/ 965311 h 6859062"/>
              <a:gd name="connsiteX8823" fmla="*/ 7014806 w 12192185"/>
              <a:gd name="connsiteY8823" fmla="*/ 1002269 h 6859062"/>
              <a:gd name="connsiteX8824" fmla="*/ 7051944 w 12192185"/>
              <a:gd name="connsiteY8824" fmla="*/ 1017773 h 6859062"/>
              <a:gd name="connsiteX8825" fmla="*/ 7068712 w 12192185"/>
              <a:gd name="connsiteY8825" fmla="*/ 1021140 h 6859062"/>
              <a:gd name="connsiteX8826" fmla="*/ 7095273 w 12192185"/>
              <a:gd name="connsiteY8826" fmla="*/ 1035861 h 6859062"/>
              <a:gd name="connsiteX8827" fmla="*/ 7155370 w 12192185"/>
              <a:gd name="connsiteY8827" fmla="*/ 1057325 h 6859062"/>
              <a:gd name="connsiteX8828" fmla="*/ 7211078 w 12192185"/>
              <a:gd name="connsiteY8828" fmla="*/ 1080578 h 6859062"/>
              <a:gd name="connsiteX8829" fmla="*/ 7365045 w 12192185"/>
              <a:gd name="connsiteY8829" fmla="*/ 1155761 h 6859062"/>
              <a:gd name="connsiteX8830" fmla="*/ 7410176 w 12192185"/>
              <a:gd name="connsiteY8830" fmla="*/ 1178235 h 6859062"/>
              <a:gd name="connsiteX8831" fmla="*/ 7407592 w 12192185"/>
              <a:gd name="connsiteY8831" fmla="*/ 1184425 h 6859062"/>
              <a:gd name="connsiteX8832" fmla="*/ 7547617 w 12192185"/>
              <a:gd name="connsiteY8832" fmla="*/ 1275588 h 6859062"/>
              <a:gd name="connsiteX8833" fmla="*/ 7582170 w 12192185"/>
              <a:gd name="connsiteY8833" fmla="*/ 1297282 h 6859062"/>
              <a:gd name="connsiteX8834" fmla="*/ 7632711 w 12192185"/>
              <a:gd name="connsiteY8834" fmla="*/ 1332920 h 6859062"/>
              <a:gd name="connsiteX8835" fmla="*/ 7796955 w 12192185"/>
              <a:gd name="connsiteY8835" fmla="*/ 1470542 h 6859062"/>
              <a:gd name="connsiteX8836" fmla="*/ 7849298 w 12192185"/>
              <a:gd name="connsiteY8836" fmla="*/ 1510564 h 6859062"/>
              <a:gd name="connsiteX8837" fmla="*/ 7852904 w 12192185"/>
              <a:gd name="connsiteY8837" fmla="*/ 1519337 h 6859062"/>
              <a:gd name="connsiteX8838" fmla="*/ 7882292 w 12192185"/>
              <a:gd name="connsiteY8838" fmla="*/ 1553410 h 6859062"/>
              <a:gd name="connsiteX8839" fmla="*/ 7910865 w 12192185"/>
              <a:gd name="connsiteY8839" fmla="*/ 1575666 h 6859062"/>
              <a:gd name="connsiteX8840" fmla="*/ 7979585 w 12192185"/>
              <a:gd name="connsiteY8840" fmla="*/ 1515824 h 6859062"/>
              <a:gd name="connsiteX8841" fmla="*/ 8005155 w 12192185"/>
              <a:gd name="connsiteY8841" fmla="*/ 1497189 h 6859062"/>
              <a:gd name="connsiteX8842" fmla="*/ 7965942 w 12192185"/>
              <a:gd name="connsiteY8842" fmla="*/ 1457499 h 6859062"/>
              <a:gd name="connsiteX8843" fmla="*/ 7970330 w 12192185"/>
              <a:gd name="connsiteY8843" fmla="*/ 1455695 h 6859062"/>
              <a:gd name="connsiteX8844" fmla="*/ 7972132 w 12192185"/>
              <a:gd name="connsiteY8844" fmla="*/ 1460082 h 6859062"/>
              <a:gd name="connsiteX8845" fmla="*/ 7982709 w 12192185"/>
              <a:gd name="connsiteY8845" fmla="*/ 1460864 h 6859062"/>
              <a:gd name="connsiteX8846" fmla="*/ 7974717 w 12192185"/>
              <a:gd name="connsiteY8846" fmla="*/ 1453892 h 6859062"/>
              <a:gd name="connsiteX8847" fmla="*/ 7966724 w 12192185"/>
              <a:gd name="connsiteY8847" fmla="*/ 1446921 h 6859062"/>
              <a:gd name="connsiteX8848" fmla="*/ 7965703 w 12192185"/>
              <a:gd name="connsiteY8848" fmla="*/ 1431959 h 6859062"/>
              <a:gd name="connsiteX8849" fmla="*/ 7960668 w 12192185"/>
              <a:gd name="connsiteY8849" fmla="*/ 1435308 h 6859062"/>
              <a:gd name="connsiteX8850" fmla="*/ 7962086 w 12192185"/>
              <a:gd name="connsiteY8850" fmla="*/ 1437716 h 6859062"/>
              <a:gd name="connsiteX8851" fmla="*/ 7950738 w 12192185"/>
              <a:gd name="connsiteY8851" fmla="*/ 1432981 h 6859062"/>
              <a:gd name="connsiteX8852" fmla="*/ 7956147 w 12192185"/>
              <a:gd name="connsiteY8852" fmla="*/ 1446140 h 6859062"/>
              <a:gd name="connsiteX8853" fmla="*/ 7907410 w 12192185"/>
              <a:gd name="connsiteY8853" fmla="*/ 1414890 h 6859062"/>
              <a:gd name="connsiteX8854" fmla="*/ 7909993 w 12192185"/>
              <a:gd name="connsiteY8854" fmla="*/ 1408698 h 6859062"/>
              <a:gd name="connsiteX8855" fmla="*/ 7851460 w 12192185"/>
              <a:gd name="connsiteY8855" fmla="*/ 1366091 h 6859062"/>
              <a:gd name="connsiteX8856" fmla="*/ 7857650 w 12192185"/>
              <a:gd name="connsiteY8856" fmla="*/ 1368675 h 6859062"/>
              <a:gd name="connsiteX8857" fmla="*/ 7799898 w 12192185"/>
              <a:gd name="connsiteY8857" fmla="*/ 1315490 h 6859062"/>
              <a:gd name="connsiteX8858" fmla="*/ 7793707 w 12192185"/>
              <a:gd name="connsiteY8858" fmla="*/ 1312907 h 6859062"/>
              <a:gd name="connsiteX8859" fmla="*/ 7800919 w 12192185"/>
              <a:gd name="connsiteY8859" fmla="*/ 1330455 h 6859062"/>
              <a:gd name="connsiteX8860" fmla="*/ 7756568 w 12192185"/>
              <a:gd name="connsiteY8860" fmla="*/ 1297402 h 6859062"/>
              <a:gd name="connsiteX8861" fmla="*/ 7757350 w 12192185"/>
              <a:gd name="connsiteY8861" fmla="*/ 1286824 h 6859062"/>
              <a:gd name="connsiteX8862" fmla="*/ 7740583 w 12192185"/>
              <a:gd name="connsiteY8862" fmla="*/ 1283460 h 6859062"/>
              <a:gd name="connsiteX8863" fmla="*/ 7734393 w 12192185"/>
              <a:gd name="connsiteY8863" fmla="*/ 1280875 h 6859062"/>
              <a:gd name="connsiteX8864" fmla="*/ 7722013 w 12192185"/>
              <a:gd name="connsiteY8864" fmla="*/ 1275708 h 6859062"/>
              <a:gd name="connsiteX8865" fmla="*/ 7725618 w 12192185"/>
              <a:gd name="connsiteY8865" fmla="*/ 1284482 h 6859062"/>
              <a:gd name="connsiteX8866" fmla="*/ 7727422 w 12192185"/>
              <a:gd name="connsiteY8866" fmla="*/ 1288868 h 6859062"/>
              <a:gd name="connsiteX8867" fmla="*/ 7621953 w 12192185"/>
              <a:gd name="connsiteY8867" fmla="*/ 1219401 h 6859062"/>
              <a:gd name="connsiteX8868" fmla="*/ 7598756 w 12192185"/>
              <a:gd name="connsiteY8868" fmla="*/ 1187909 h 6859062"/>
              <a:gd name="connsiteX8869" fmla="*/ 7603143 w 12192185"/>
              <a:gd name="connsiteY8869" fmla="*/ 1186108 h 6859062"/>
              <a:gd name="connsiteX8870" fmla="*/ 7601339 w 12192185"/>
              <a:gd name="connsiteY8870" fmla="*/ 1181719 h 6859062"/>
              <a:gd name="connsiteX8871" fmla="*/ 7588960 w 12192185"/>
              <a:gd name="connsiteY8871" fmla="*/ 1176552 h 6859062"/>
              <a:gd name="connsiteX8872" fmla="*/ 7582770 w 12192185"/>
              <a:gd name="connsiteY8872" fmla="*/ 1173968 h 6859062"/>
              <a:gd name="connsiteX8873" fmla="*/ 7576269 w 12192185"/>
              <a:gd name="connsiteY8873" fmla="*/ 1170943 h 6859062"/>
              <a:gd name="connsiteX8874" fmla="*/ 7571739 w 12192185"/>
              <a:gd name="connsiteY8874" fmla="*/ 1171064 h 6859062"/>
              <a:gd name="connsiteX8875" fmla="*/ 7567806 w 12192185"/>
              <a:gd name="connsiteY8875" fmla="*/ 1174990 h 6859062"/>
              <a:gd name="connsiteX8876" fmla="*/ 7547434 w 12192185"/>
              <a:gd name="connsiteY8876" fmla="*/ 1162850 h 6859062"/>
              <a:gd name="connsiteX8877" fmla="*/ 7571413 w 12192185"/>
              <a:gd name="connsiteY8877" fmla="*/ 1183764 h 6859062"/>
              <a:gd name="connsiteX8878" fmla="*/ 7580187 w 12192185"/>
              <a:gd name="connsiteY8878" fmla="*/ 1180157 h 6859062"/>
              <a:gd name="connsiteX8879" fmla="*/ 7586376 w 12192185"/>
              <a:gd name="connsiteY8879" fmla="*/ 1182742 h 6859062"/>
              <a:gd name="connsiteX8880" fmla="*/ 7588179 w 12192185"/>
              <a:gd name="connsiteY8880" fmla="*/ 1187130 h 6859062"/>
              <a:gd name="connsiteX8881" fmla="*/ 7598756 w 12192185"/>
              <a:gd name="connsiteY8881" fmla="*/ 1187909 h 6859062"/>
              <a:gd name="connsiteX8882" fmla="*/ 7657530 w 12192185"/>
              <a:gd name="connsiteY8882" fmla="*/ 1256057 h 6859062"/>
              <a:gd name="connsiteX8883" fmla="*/ 7661136 w 12192185"/>
              <a:gd name="connsiteY8883" fmla="*/ 1264831 h 6859062"/>
              <a:gd name="connsiteX8884" fmla="*/ 7656749 w 12192185"/>
              <a:gd name="connsiteY8884" fmla="*/ 1266634 h 6859062"/>
              <a:gd name="connsiteX8885" fmla="*/ 7662940 w 12192185"/>
              <a:gd name="connsiteY8885" fmla="*/ 1269218 h 6859062"/>
              <a:gd name="connsiteX8886" fmla="*/ 7664743 w 12192185"/>
              <a:gd name="connsiteY8886" fmla="*/ 1273606 h 6859062"/>
              <a:gd name="connsiteX8887" fmla="*/ 7619060 w 12192185"/>
              <a:gd name="connsiteY8887" fmla="*/ 1251355 h 6859062"/>
              <a:gd name="connsiteX8888" fmla="*/ 7581590 w 12192185"/>
              <a:gd name="connsiteY8888" fmla="*/ 1215476 h 6859062"/>
              <a:gd name="connsiteX8889" fmla="*/ 7584032 w 12192185"/>
              <a:gd name="connsiteY8889" fmla="*/ 1214473 h 6859062"/>
              <a:gd name="connsiteX8890" fmla="*/ 7577843 w 12192185"/>
              <a:gd name="connsiteY8890" fmla="*/ 1211888 h 6859062"/>
              <a:gd name="connsiteX8891" fmla="*/ 7561858 w 12192185"/>
              <a:gd name="connsiteY8891" fmla="*/ 1197947 h 6859062"/>
              <a:gd name="connsiteX8892" fmla="*/ 7568047 w 12192185"/>
              <a:gd name="connsiteY8892" fmla="*/ 1200530 h 6859062"/>
              <a:gd name="connsiteX8893" fmla="*/ 7566244 w 12192185"/>
              <a:gd name="connsiteY8893" fmla="*/ 1196142 h 6859062"/>
              <a:gd name="connsiteX8894" fmla="*/ 7560054 w 12192185"/>
              <a:gd name="connsiteY8894" fmla="*/ 1193559 h 6859062"/>
              <a:gd name="connsiteX8895" fmla="*/ 7496113 w 12192185"/>
              <a:gd name="connsiteY8895" fmla="*/ 1137791 h 6859062"/>
              <a:gd name="connsiteX8896" fmla="*/ 7496894 w 12192185"/>
              <a:gd name="connsiteY8896" fmla="*/ 1127213 h 6859062"/>
              <a:gd name="connsiteX8897" fmla="*/ 7527842 w 12192185"/>
              <a:gd name="connsiteY8897" fmla="*/ 1140133 h 6859062"/>
              <a:gd name="connsiteX8898" fmla="*/ 7436557 w 12192185"/>
              <a:gd name="connsiteY8898" fmla="*/ 1080217 h 6859062"/>
              <a:gd name="connsiteX8899" fmla="*/ 7432951 w 12192185"/>
              <a:gd name="connsiteY8899" fmla="*/ 1071444 h 6859062"/>
              <a:gd name="connsiteX8900" fmla="*/ 7422375 w 12192185"/>
              <a:gd name="connsiteY8900" fmla="*/ 1070663 h 6859062"/>
              <a:gd name="connsiteX8901" fmla="*/ 7387038 w 12192185"/>
              <a:gd name="connsiteY8901" fmla="*/ 1059544 h 6859062"/>
              <a:gd name="connsiteX8902" fmla="*/ 7394009 w 12192185"/>
              <a:gd name="connsiteY8902" fmla="*/ 1051551 h 6859062"/>
              <a:gd name="connsiteX8903" fmla="*/ 7377242 w 12192185"/>
              <a:gd name="connsiteY8903" fmla="*/ 1048179 h 6859062"/>
              <a:gd name="connsiteX8904" fmla="*/ 7371053 w 12192185"/>
              <a:gd name="connsiteY8904" fmla="*/ 1045594 h 6859062"/>
              <a:gd name="connsiteX8905" fmla="*/ 7369249 w 12192185"/>
              <a:gd name="connsiteY8905" fmla="*/ 1041208 h 6859062"/>
              <a:gd name="connsiteX8906" fmla="*/ 7364862 w 12192185"/>
              <a:gd name="connsiteY8906" fmla="*/ 1043010 h 6859062"/>
              <a:gd name="connsiteX8907" fmla="*/ 7371053 w 12192185"/>
              <a:gd name="connsiteY8907" fmla="*/ 1045594 h 6859062"/>
              <a:gd name="connsiteX8908" fmla="*/ 7372855 w 12192185"/>
              <a:gd name="connsiteY8908" fmla="*/ 1049991 h 6859062"/>
              <a:gd name="connsiteX8909" fmla="*/ 7352483 w 12192185"/>
              <a:gd name="connsiteY8909" fmla="*/ 1037842 h 6859062"/>
              <a:gd name="connsiteX8910" fmla="*/ 7356869 w 12192185"/>
              <a:gd name="connsiteY8910" fmla="*/ 1036040 h 6859062"/>
              <a:gd name="connsiteX8911" fmla="*/ 7186378 w 12192185"/>
              <a:gd name="connsiteY8911" fmla="*/ 983036 h 6859062"/>
              <a:gd name="connsiteX8912" fmla="*/ 7012522 w 12192185"/>
              <a:gd name="connsiteY8912" fmla="*/ 946801 h 6859062"/>
              <a:gd name="connsiteX8913" fmla="*/ 7022076 w 12192185"/>
              <a:gd name="connsiteY8913" fmla="*/ 932618 h 6859062"/>
              <a:gd name="connsiteX8914" fmla="*/ 6903929 w 12192185"/>
              <a:gd name="connsiteY8914" fmla="*/ 919639 h 6859062"/>
              <a:gd name="connsiteX8915" fmla="*/ 6779590 w 12192185"/>
              <a:gd name="connsiteY8915" fmla="*/ 904074 h 6859062"/>
              <a:gd name="connsiteX8916" fmla="*/ 6783976 w 12192185"/>
              <a:gd name="connsiteY8916" fmla="*/ 902272 h 6859062"/>
              <a:gd name="connsiteX8917" fmla="*/ 6775984 w 12192185"/>
              <a:gd name="connsiteY8917" fmla="*/ 895301 h 6859062"/>
              <a:gd name="connsiteX8918" fmla="*/ 6774181 w 12192185"/>
              <a:gd name="connsiteY8918" fmla="*/ 890913 h 6859062"/>
              <a:gd name="connsiteX8919" fmla="*/ 6748641 w 12192185"/>
              <a:gd name="connsiteY8919" fmla="*/ 891154 h 6859062"/>
              <a:gd name="connsiteX8920" fmla="*/ 6736261 w 12192185"/>
              <a:gd name="connsiteY8920" fmla="*/ 885985 h 6859062"/>
              <a:gd name="connsiteX8921" fmla="*/ 6731873 w 12192185"/>
              <a:gd name="connsiteY8921" fmla="*/ 887789 h 6859062"/>
              <a:gd name="connsiteX8922" fmla="*/ 6733678 w 12192185"/>
              <a:gd name="connsiteY8922" fmla="*/ 892176 h 6859062"/>
              <a:gd name="connsiteX8923" fmla="*/ 6662223 w 12192185"/>
              <a:gd name="connsiteY8923" fmla="*/ 880517 h 6859062"/>
              <a:gd name="connsiteX8924" fmla="*/ 8622589 w 12192185"/>
              <a:gd name="connsiteY8924" fmla="*/ 869310 h 6859062"/>
              <a:gd name="connsiteX8925" fmla="*/ 8625394 w 12192185"/>
              <a:gd name="connsiteY8925" fmla="*/ 870315 h 6859062"/>
              <a:gd name="connsiteX8926" fmla="*/ 8631567 w 12192185"/>
              <a:gd name="connsiteY8926" fmla="*/ 875736 h 6859062"/>
              <a:gd name="connsiteX8927" fmla="*/ 8639798 w 12192185"/>
              <a:gd name="connsiteY8927" fmla="*/ 877605 h 6859062"/>
              <a:gd name="connsiteX8928" fmla="*/ 8644661 w 12192185"/>
              <a:gd name="connsiteY8928" fmla="*/ 879101 h 6859062"/>
              <a:gd name="connsiteX8929" fmla="*/ 8656069 w 12192185"/>
              <a:gd name="connsiteY8929" fmla="*/ 884523 h 6859062"/>
              <a:gd name="connsiteX8930" fmla="*/ 8657941 w 12192185"/>
              <a:gd name="connsiteY8930" fmla="*/ 886018 h 6859062"/>
              <a:gd name="connsiteX8931" fmla="*/ 8667853 w 12192185"/>
              <a:gd name="connsiteY8931" fmla="*/ 910134 h 6859062"/>
              <a:gd name="connsiteX8932" fmla="*/ 8668041 w 12192185"/>
              <a:gd name="connsiteY8932" fmla="*/ 914621 h 6859062"/>
              <a:gd name="connsiteX8933" fmla="*/ 8665421 w 12192185"/>
              <a:gd name="connsiteY8933" fmla="*/ 925464 h 6859062"/>
              <a:gd name="connsiteX8934" fmla="*/ 8663925 w 12192185"/>
              <a:gd name="connsiteY8934" fmla="*/ 934811 h 6859062"/>
              <a:gd name="connsiteX8935" fmla="*/ 8662429 w 12192185"/>
              <a:gd name="connsiteY8935" fmla="*/ 937802 h 6859062"/>
              <a:gd name="connsiteX8936" fmla="*/ 8651394 w 12192185"/>
              <a:gd name="connsiteY8936" fmla="*/ 950889 h 6859062"/>
              <a:gd name="connsiteX8937" fmla="*/ 8650272 w 12192185"/>
              <a:gd name="connsiteY8937" fmla="*/ 952945 h 6859062"/>
              <a:gd name="connsiteX8938" fmla="*/ 8658127 w 12192185"/>
              <a:gd name="connsiteY8938" fmla="*/ 963226 h 6859062"/>
              <a:gd name="connsiteX8939" fmla="*/ 8668601 w 12192185"/>
              <a:gd name="connsiteY8939" fmla="*/ 969396 h 6859062"/>
              <a:gd name="connsiteX8940" fmla="*/ 8679637 w 12192185"/>
              <a:gd name="connsiteY8940" fmla="*/ 982109 h 6859062"/>
              <a:gd name="connsiteX8941" fmla="*/ 8679450 w 12192185"/>
              <a:gd name="connsiteY8941" fmla="*/ 984913 h 6859062"/>
              <a:gd name="connsiteX8942" fmla="*/ 8680198 w 12192185"/>
              <a:gd name="connsiteY8942" fmla="*/ 991830 h 6859062"/>
              <a:gd name="connsiteX8943" fmla="*/ 8680759 w 12192185"/>
              <a:gd name="connsiteY8943" fmla="*/ 1000056 h 6859062"/>
              <a:gd name="connsiteX8944" fmla="*/ 8678328 w 12192185"/>
              <a:gd name="connsiteY8944" fmla="*/ 1005851 h 6859062"/>
              <a:gd name="connsiteX8945" fmla="*/ 8673278 w 12192185"/>
              <a:gd name="connsiteY8945" fmla="*/ 1022676 h 6859062"/>
              <a:gd name="connsiteX8946" fmla="*/ 8665047 w 12192185"/>
              <a:gd name="connsiteY8946" fmla="*/ 1032584 h 6859062"/>
              <a:gd name="connsiteX8947" fmla="*/ 8663177 w 12192185"/>
              <a:gd name="connsiteY8947" fmla="*/ 1033893 h 6859062"/>
              <a:gd name="connsiteX8948" fmla="*/ 8653452 w 12192185"/>
              <a:gd name="connsiteY8948" fmla="*/ 1038380 h 6859062"/>
              <a:gd name="connsiteX8949" fmla="*/ 8650084 w 12192185"/>
              <a:gd name="connsiteY8949" fmla="*/ 1040062 h 6859062"/>
              <a:gd name="connsiteX8950" fmla="*/ 8635870 w 12192185"/>
              <a:gd name="connsiteY8950" fmla="*/ 1039127 h 6859062"/>
              <a:gd name="connsiteX8951" fmla="*/ 8624460 w 12192185"/>
              <a:gd name="connsiteY8951" fmla="*/ 1036136 h 6859062"/>
              <a:gd name="connsiteX8952" fmla="*/ 8620719 w 12192185"/>
              <a:gd name="connsiteY8952" fmla="*/ 1036697 h 6859062"/>
              <a:gd name="connsiteX8953" fmla="*/ 8618848 w 12192185"/>
              <a:gd name="connsiteY8953" fmla="*/ 1039127 h 6859062"/>
              <a:gd name="connsiteX8954" fmla="*/ 8615855 w 12192185"/>
              <a:gd name="connsiteY8954" fmla="*/ 1039875 h 6859062"/>
              <a:gd name="connsiteX8955" fmla="*/ 8615669 w 12192185"/>
              <a:gd name="connsiteY8955" fmla="*/ 1036510 h 6859062"/>
              <a:gd name="connsiteX8956" fmla="*/ 8616603 w 12192185"/>
              <a:gd name="connsiteY8956" fmla="*/ 1035014 h 6859062"/>
              <a:gd name="connsiteX8957" fmla="*/ 8613424 w 12192185"/>
              <a:gd name="connsiteY8957" fmla="*/ 1027349 h 6859062"/>
              <a:gd name="connsiteX8958" fmla="*/ 8610805 w 12192185"/>
              <a:gd name="connsiteY8958" fmla="*/ 1026976 h 6859062"/>
              <a:gd name="connsiteX8959" fmla="*/ 8607625 w 12192185"/>
              <a:gd name="connsiteY8959" fmla="*/ 1024919 h 6859062"/>
              <a:gd name="connsiteX8960" fmla="*/ 8609122 w 12192185"/>
              <a:gd name="connsiteY8960" fmla="*/ 1021928 h 6859062"/>
              <a:gd name="connsiteX8961" fmla="*/ 8608935 w 12192185"/>
              <a:gd name="connsiteY8961" fmla="*/ 1017442 h 6859062"/>
              <a:gd name="connsiteX8962" fmla="*/ 8604072 w 12192185"/>
              <a:gd name="connsiteY8962" fmla="*/ 1009029 h 6859062"/>
              <a:gd name="connsiteX8963" fmla="*/ 8600145 w 12192185"/>
              <a:gd name="connsiteY8963" fmla="*/ 1005290 h 6859062"/>
              <a:gd name="connsiteX8964" fmla="*/ 8598086 w 12192185"/>
              <a:gd name="connsiteY8964" fmla="*/ 1004168 h 6859062"/>
              <a:gd name="connsiteX8965" fmla="*/ 8599208 w 12192185"/>
              <a:gd name="connsiteY8965" fmla="*/ 1002112 h 6859062"/>
              <a:gd name="connsiteX8966" fmla="*/ 8602949 w 12192185"/>
              <a:gd name="connsiteY8966" fmla="*/ 997999 h 6859062"/>
              <a:gd name="connsiteX8967" fmla="*/ 8602949 w 12192185"/>
              <a:gd name="connsiteY8967" fmla="*/ 987717 h 6859062"/>
              <a:gd name="connsiteX8968" fmla="*/ 8598834 w 12192185"/>
              <a:gd name="connsiteY8968" fmla="*/ 977060 h 6859062"/>
              <a:gd name="connsiteX8969" fmla="*/ 8602576 w 12192185"/>
              <a:gd name="connsiteY8969" fmla="*/ 974631 h 6859062"/>
              <a:gd name="connsiteX8970" fmla="*/ 8606504 w 12192185"/>
              <a:gd name="connsiteY8970" fmla="*/ 977809 h 6859062"/>
              <a:gd name="connsiteX8971" fmla="*/ 8611553 w 12192185"/>
              <a:gd name="connsiteY8971" fmla="*/ 978931 h 6859062"/>
              <a:gd name="connsiteX8972" fmla="*/ 8610618 w 12192185"/>
              <a:gd name="connsiteY8972" fmla="*/ 973135 h 6859062"/>
              <a:gd name="connsiteX8973" fmla="*/ 8607999 w 12192185"/>
              <a:gd name="connsiteY8973" fmla="*/ 970705 h 6859062"/>
              <a:gd name="connsiteX8974" fmla="*/ 8607439 w 12192185"/>
              <a:gd name="connsiteY8974" fmla="*/ 967340 h 6859062"/>
              <a:gd name="connsiteX8975" fmla="*/ 8610618 w 12192185"/>
              <a:gd name="connsiteY8975" fmla="*/ 967713 h 6859062"/>
              <a:gd name="connsiteX8976" fmla="*/ 8613986 w 12192185"/>
              <a:gd name="connsiteY8976" fmla="*/ 969957 h 6859062"/>
              <a:gd name="connsiteX8977" fmla="*/ 8618849 w 12192185"/>
              <a:gd name="connsiteY8977" fmla="*/ 969396 h 6859062"/>
              <a:gd name="connsiteX8978" fmla="*/ 8618849 w 12192185"/>
              <a:gd name="connsiteY8978" fmla="*/ 965283 h 6859062"/>
              <a:gd name="connsiteX8979" fmla="*/ 8600331 w 12192185"/>
              <a:gd name="connsiteY8979" fmla="*/ 959861 h 6859062"/>
              <a:gd name="connsiteX8980" fmla="*/ 8595842 w 12192185"/>
              <a:gd name="connsiteY8980" fmla="*/ 958179 h 6859062"/>
              <a:gd name="connsiteX8981" fmla="*/ 8588173 w 12192185"/>
              <a:gd name="connsiteY8981" fmla="*/ 948458 h 6859062"/>
              <a:gd name="connsiteX8982" fmla="*/ 8585367 w 12192185"/>
              <a:gd name="connsiteY8982" fmla="*/ 945093 h 6859062"/>
              <a:gd name="connsiteX8983" fmla="*/ 8582187 w 12192185"/>
              <a:gd name="connsiteY8983" fmla="*/ 932755 h 6859062"/>
              <a:gd name="connsiteX8984" fmla="*/ 8581814 w 12192185"/>
              <a:gd name="connsiteY8984" fmla="*/ 923969 h 6859062"/>
              <a:gd name="connsiteX8985" fmla="*/ 8578261 w 12192185"/>
              <a:gd name="connsiteY8985" fmla="*/ 917612 h 6859062"/>
              <a:gd name="connsiteX8986" fmla="*/ 8577699 w 12192185"/>
              <a:gd name="connsiteY8986" fmla="*/ 917612 h 6859062"/>
              <a:gd name="connsiteX8987" fmla="*/ 8574145 w 12192185"/>
              <a:gd name="connsiteY8987" fmla="*/ 915369 h 6859062"/>
              <a:gd name="connsiteX8988" fmla="*/ 8576763 w 12192185"/>
              <a:gd name="connsiteY8988" fmla="*/ 913312 h 6859062"/>
              <a:gd name="connsiteX8989" fmla="*/ 8584059 w 12192185"/>
              <a:gd name="connsiteY8989" fmla="*/ 898918 h 6859062"/>
              <a:gd name="connsiteX8990" fmla="*/ 8586302 w 12192185"/>
              <a:gd name="connsiteY8990" fmla="*/ 894431 h 6859062"/>
              <a:gd name="connsiteX8991" fmla="*/ 8589670 w 12192185"/>
              <a:gd name="connsiteY8991" fmla="*/ 892935 h 6859062"/>
              <a:gd name="connsiteX8992" fmla="*/ 8591353 w 12192185"/>
              <a:gd name="connsiteY8992" fmla="*/ 889383 h 6859062"/>
              <a:gd name="connsiteX8993" fmla="*/ 8590516 w 12192185"/>
              <a:gd name="connsiteY8993" fmla="*/ 888195 h 6859062"/>
              <a:gd name="connsiteX8994" fmla="*/ 8605136 w 12192185"/>
              <a:gd name="connsiteY8994" fmla="*/ 873656 h 6859062"/>
              <a:gd name="connsiteX8995" fmla="*/ 8604820 w 12192185"/>
              <a:gd name="connsiteY8995" fmla="*/ 876484 h 6859062"/>
              <a:gd name="connsiteX8996" fmla="*/ 8606130 w 12192185"/>
              <a:gd name="connsiteY8996" fmla="*/ 879662 h 6859062"/>
              <a:gd name="connsiteX8997" fmla="*/ 8609496 w 12192185"/>
              <a:gd name="connsiteY8997" fmla="*/ 878353 h 6859062"/>
              <a:gd name="connsiteX8998" fmla="*/ 8610618 w 12192185"/>
              <a:gd name="connsiteY8998" fmla="*/ 875923 h 6859062"/>
              <a:gd name="connsiteX8999" fmla="*/ 8616229 w 12192185"/>
              <a:gd name="connsiteY8999" fmla="*/ 874989 h 6859062"/>
              <a:gd name="connsiteX9000" fmla="*/ 8618661 w 12192185"/>
              <a:gd name="connsiteY9000" fmla="*/ 876671 h 6859062"/>
              <a:gd name="connsiteX9001" fmla="*/ 8620345 w 12192185"/>
              <a:gd name="connsiteY9001" fmla="*/ 874054 h 6859062"/>
              <a:gd name="connsiteX9002" fmla="*/ 8620905 w 12192185"/>
              <a:gd name="connsiteY9002" fmla="*/ 871811 h 6859062"/>
              <a:gd name="connsiteX9003" fmla="*/ 8622589 w 12192185"/>
              <a:gd name="connsiteY9003" fmla="*/ 869310 h 6859062"/>
              <a:gd name="connsiteX9004" fmla="*/ 6180318 w 12192185"/>
              <a:gd name="connsiteY9004" fmla="*/ 868322 h 6859062"/>
              <a:gd name="connsiteX9005" fmla="*/ 6186508 w 12192185"/>
              <a:gd name="connsiteY9005" fmla="*/ 870906 h 6859062"/>
              <a:gd name="connsiteX9006" fmla="*/ 6177734 w 12192185"/>
              <a:gd name="connsiteY9006" fmla="*/ 874512 h 6859062"/>
              <a:gd name="connsiteX9007" fmla="*/ 6172085 w 12192185"/>
              <a:gd name="connsiteY9007" fmla="*/ 869839 h 6859062"/>
              <a:gd name="connsiteX9008" fmla="*/ 6175932 w 12192185"/>
              <a:gd name="connsiteY9008" fmla="*/ 870124 h 6859062"/>
              <a:gd name="connsiteX9009" fmla="*/ 6180318 w 12192185"/>
              <a:gd name="connsiteY9009" fmla="*/ 868322 h 6859062"/>
              <a:gd name="connsiteX9010" fmla="*/ 11609853 w 12192185"/>
              <a:gd name="connsiteY9010" fmla="*/ 868216 h 6859062"/>
              <a:gd name="connsiteX9011" fmla="*/ 11613954 w 12192185"/>
              <a:gd name="connsiteY9011" fmla="*/ 868627 h 6859062"/>
              <a:gd name="connsiteX9012" fmla="*/ 11621427 w 12192185"/>
              <a:gd name="connsiteY9012" fmla="*/ 870134 h 6859062"/>
              <a:gd name="connsiteX9013" fmla="*/ 11624261 w 12192185"/>
              <a:gd name="connsiteY9013" fmla="*/ 870222 h 6859062"/>
              <a:gd name="connsiteX9014" fmla="*/ 11633795 w 12192185"/>
              <a:gd name="connsiteY9014" fmla="*/ 873920 h 6859062"/>
              <a:gd name="connsiteX9015" fmla="*/ 11636051 w 12192185"/>
              <a:gd name="connsiteY9015" fmla="*/ 874414 h 6859062"/>
              <a:gd name="connsiteX9016" fmla="*/ 11649113 w 12192185"/>
              <a:gd name="connsiteY9016" fmla="*/ 897639 h 6859062"/>
              <a:gd name="connsiteX9017" fmla="*/ 11649097 w 12192185"/>
              <a:gd name="connsiteY9017" fmla="*/ 912379 h 6859062"/>
              <a:gd name="connsiteX9018" fmla="*/ 11648496 w 12192185"/>
              <a:gd name="connsiteY9018" fmla="*/ 918172 h 6859062"/>
              <a:gd name="connsiteX9019" fmla="*/ 11646222 w 12192185"/>
              <a:gd name="connsiteY9019" fmla="*/ 923061 h 6859062"/>
              <a:gd name="connsiteX9020" fmla="*/ 11643432 w 12192185"/>
              <a:gd name="connsiteY9020" fmla="*/ 926235 h 6859062"/>
              <a:gd name="connsiteX9021" fmla="*/ 11637981 w 12192185"/>
              <a:gd name="connsiteY9021" fmla="*/ 933011 h 6859062"/>
              <a:gd name="connsiteX9022" fmla="*/ 11636200 w 12192185"/>
              <a:gd name="connsiteY9022" fmla="*/ 935648 h 6859062"/>
              <a:gd name="connsiteX9023" fmla="*/ 11631759 w 12192185"/>
              <a:gd name="connsiteY9023" fmla="*/ 941889 h 6859062"/>
              <a:gd name="connsiteX9024" fmla="*/ 11611942 w 12192185"/>
              <a:gd name="connsiteY9024" fmla="*/ 945244 h 6859062"/>
              <a:gd name="connsiteX9025" fmla="*/ 11602858 w 12192185"/>
              <a:gd name="connsiteY9025" fmla="*/ 940710 h 6859062"/>
              <a:gd name="connsiteX9026" fmla="*/ 11587374 w 12192185"/>
              <a:gd name="connsiteY9026" fmla="*/ 927332 h 6859062"/>
              <a:gd name="connsiteX9027" fmla="*/ 11583980 w 12192185"/>
              <a:gd name="connsiteY9027" fmla="*/ 922265 h 6859062"/>
              <a:gd name="connsiteX9028" fmla="*/ 11581078 w 12192185"/>
              <a:gd name="connsiteY9028" fmla="*/ 914947 h 6859062"/>
              <a:gd name="connsiteX9029" fmla="*/ 11580131 w 12192185"/>
              <a:gd name="connsiteY9029" fmla="*/ 908682 h 6859062"/>
              <a:gd name="connsiteX9030" fmla="*/ 11582831 w 12192185"/>
              <a:gd name="connsiteY9030" fmla="*/ 894308 h 6859062"/>
              <a:gd name="connsiteX9031" fmla="*/ 11584095 w 12192185"/>
              <a:gd name="connsiteY9031" fmla="*/ 885277 h 6859062"/>
              <a:gd name="connsiteX9032" fmla="*/ 11585897 w 12192185"/>
              <a:gd name="connsiteY9032" fmla="*/ 881931 h 6859062"/>
              <a:gd name="connsiteX9033" fmla="*/ 11592852 w 12192185"/>
              <a:gd name="connsiteY9033" fmla="*/ 877044 h 6859062"/>
              <a:gd name="connsiteX9034" fmla="*/ 11605797 w 12192185"/>
              <a:gd name="connsiteY9034" fmla="*/ 871067 h 6859062"/>
              <a:gd name="connsiteX9035" fmla="*/ 11609853 w 12192185"/>
              <a:gd name="connsiteY9035" fmla="*/ 868216 h 6859062"/>
              <a:gd name="connsiteX9036" fmla="*/ 6161671 w 12192185"/>
              <a:gd name="connsiteY9036" fmla="*/ 867805 h 6859062"/>
              <a:gd name="connsiteX9037" fmla="*/ 6170937 w 12192185"/>
              <a:gd name="connsiteY9037" fmla="*/ 868892 h 6859062"/>
              <a:gd name="connsiteX9038" fmla="*/ 6172085 w 12192185"/>
              <a:gd name="connsiteY9038" fmla="*/ 869839 h 6859062"/>
              <a:gd name="connsiteX9039" fmla="*/ 6165354 w 12192185"/>
              <a:gd name="connsiteY9039" fmla="*/ 869343 h 6859062"/>
              <a:gd name="connsiteX9040" fmla="*/ 6143887 w 12192185"/>
              <a:gd name="connsiteY9040" fmla="*/ 867020 h 6859062"/>
              <a:gd name="connsiteX9041" fmla="*/ 6144201 w 12192185"/>
              <a:gd name="connsiteY9041" fmla="*/ 867781 h 6859062"/>
              <a:gd name="connsiteX9042" fmla="*/ 6135789 w 12192185"/>
              <a:gd name="connsiteY9042" fmla="*/ 867103 h 6859062"/>
              <a:gd name="connsiteX9043" fmla="*/ 10072362 w 12192185"/>
              <a:gd name="connsiteY9043" fmla="*/ 865574 h 6859062"/>
              <a:gd name="connsiteX9044" fmla="*/ 10084509 w 12192185"/>
              <a:gd name="connsiteY9044" fmla="*/ 867343 h 6859062"/>
              <a:gd name="connsiteX9045" fmla="*/ 10087452 w 12192185"/>
              <a:gd name="connsiteY9045" fmla="*/ 865990 h 6859062"/>
              <a:gd name="connsiteX9046" fmla="*/ 10098892 w 12192185"/>
              <a:gd name="connsiteY9046" fmla="*/ 872153 h 6859062"/>
              <a:gd name="connsiteX9047" fmla="*/ 10108102 w 12192185"/>
              <a:gd name="connsiteY9047" fmla="*/ 885195 h 6859062"/>
              <a:gd name="connsiteX9048" fmla="*/ 10111160 w 12192185"/>
              <a:gd name="connsiteY9048" fmla="*/ 900067 h 6859062"/>
              <a:gd name="connsiteX9049" fmla="*/ 10109171 w 12192185"/>
              <a:gd name="connsiteY9049" fmla="*/ 918832 h 6859062"/>
              <a:gd name="connsiteX9050" fmla="*/ 10109202 w 12192185"/>
              <a:gd name="connsiteY9050" fmla="*/ 937951 h 6859062"/>
              <a:gd name="connsiteX9051" fmla="*/ 10115038 w 12192185"/>
              <a:gd name="connsiteY9051" fmla="*/ 957258 h 6859062"/>
              <a:gd name="connsiteX9052" fmla="*/ 10103996 w 12192185"/>
              <a:gd name="connsiteY9052" fmla="*/ 977757 h 6859062"/>
              <a:gd name="connsiteX9053" fmla="*/ 10092836 w 12192185"/>
              <a:gd name="connsiteY9053" fmla="*/ 982032 h 6859062"/>
              <a:gd name="connsiteX9054" fmla="*/ 10075957 w 12192185"/>
              <a:gd name="connsiteY9054" fmla="*/ 983225 h 6859062"/>
              <a:gd name="connsiteX9055" fmla="*/ 10059858 w 12192185"/>
              <a:gd name="connsiteY9055" fmla="*/ 977492 h 6859062"/>
              <a:gd name="connsiteX9056" fmla="*/ 10051287 w 12192185"/>
              <a:gd name="connsiteY9056" fmla="*/ 952302 h 6859062"/>
              <a:gd name="connsiteX9057" fmla="*/ 10051229 w 12192185"/>
              <a:gd name="connsiteY9057" fmla="*/ 944190 h 6859062"/>
              <a:gd name="connsiteX9058" fmla="*/ 10047723 w 12192185"/>
              <a:gd name="connsiteY9058" fmla="*/ 924668 h 6859062"/>
              <a:gd name="connsiteX9059" fmla="*/ 10041904 w 12192185"/>
              <a:gd name="connsiteY9059" fmla="*/ 914922 h 6859062"/>
              <a:gd name="connsiteX9060" fmla="*/ 10046166 w 12192185"/>
              <a:gd name="connsiteY9060" fmla="*/ 887830 h 6859062"/>
              <a:gd name="connsiteX9061" fmla="*/ 10061744 w 12192185"/>
              <a:gd name="connsiteY9061" fmla="*/ 871243 h 6859062"/>
              <a:gd name="connsiteX9062" fmla="*/ 10072362 w 12192185"/>
              <a:gd name="connsiteY9062" fmla="*/ 865574 h 6859062"/>
              <a:gd name="connsiteX9063" fmla="*/ 6142398 w 12192185"/>
              <a:gd name="connsiteY9063" fmla="*/ 863394 h 6859062"/>
              <a:gd name="connsiteX9064" fmla="*/ 6159165 w 12192185"/>
              <a:gd name="connsiteY9064" fmla="*/ 866759 h 6859062"/>
              <a:gd name="connsiteX9065" fmla="*/ 6161671 w 12192185"/>
              <a:gd name="connsiteY9065" fmla="*/ 867805 h 6859062"/>
              <a:gd name="connsiteX9066" fmla="*/ 6154099 w 12192185"/>
              <a:gd name="connsiteY9066" fmla="*/ 866918 h 6859062"/>
              <a:gd name="connsiteX9067" fmla="*/ 6143887 w 12192185"/>
              <a:gd name="connsiteY9067" fmla="*/ 867020 h 6859062"/>
              <a:gd name="connsiteX9068" fmla="*/ 10022309 w 12192185"/>
              <a:gd name="connsiteY9068" fmla="*/ 848986 h 6859062"/>
              <a:gd name="connsiteX9069" fmla="*/ 10022449 w 12192185"/>
              <a:gd name="connsiteY9069" fmla="*/ 849450 h 6859062"/>
              <a:gd name="connsiteX9070" fmla="*/ 10021816 w 12192185"/>
              <a:gd name="connsiteY9070" fmla="*/ 849280 h 6859062"/>
              <a:gd name="connsiteX9071" fmla="*/ 1317955 w 12192185"/>
              <a:gd name="connsiteY9071" fmla="*/ 842634 h 6859062"/>
              <a:gd name="connsiteX9072" fmla="*/ 1327716 w 12192185"/>
              <a:gd name="connsiteY9072" fmla="*/ 843741 h 6859062"/>
              <a:gd name="connsiteX9073" fmla="*/ 1333304 w 12192185"/>
              <a:gd name="connsiteY9073" fmla="*/ 844526 h 6859062"/>
              <a:gd name="connsiteX9074" fmla="*/ 1340140 w 12192185"/>
              <a:gd name="connsiteY9074" fmla="*/ 847040 h 6859062"/>
              <a:gd name="connsiteX9075" fmla="*/ 1345046 w 12192185"/>
              <a:gd name="connsiteY9075" fmla="*/ 850253 h 6859062"/>
              <a:gd name="connsiteX9076" fmla="*/ 1353292 w 12192185"/>
              <a:gd name="connsiteY9076" fmla="*/ 860982 h 6859062"/>
              <a:gd name="connsiteX9077" fmla="*/ 1358741 w 12192185"/>
              <a:gd name="connsiteY9077" fmla="*/ 867426 h 6859062"/>
              <a:gd name="connsiteX9078" fmla="*/ 1359937 w 12192185"/>
              <a:gd name="connsiteY9078" fmla="*/ 870733 h 6859062"/>
              <a:gd name="connsiteX9079" fmla="*/ 1359016 w 12192185"/>
              <a:gd name="connsiteY9079" fmla="*/ 878544 h 6859062"/>
              <a:gd name="connsiteX9080" fmla="*/ 1355152 w 12192185"/>
              <a:gd name="connsiteY9080" fmla="*/ 891159 h 6859062"/>
              <a:gd name="connsiteX9081" fmla="*/ 1354615 w 12192185"/>
              <a:gd name="connsiteY9081" fmla="*/ 895715 h 6859062"/>
              <a:gd name="connsiteX9082" fmla="*/ 1351802 w 12192185"/>
              <a:gd name="connsiteY9082" fmla="*/ 898290 h 6859062"/>
              <a:gd name="connsiteX9083" fmla="*/ 1346153 w 12192185"/>
              <a:gd name="connsiteY9083" fmla="*/ 902513 h 6859062"/>
              <a:gd name="connsiteX9084" fmla="*/ 1344344 w 12192185"/>
              <a:gd name="connsiteY9084" fmla="*/ 904414 h 6859062"/>
              <a:gd name="connsiteX9085" fmla="*/ 1335912 w 12192185"/>
              <a:gd name="connsiteY9085" fmla="*/ 908708 h 6859062"/>
              <a:gd name="connsiteX9086" fmla="*/ 1334179 w 12192185"/>
              <a:gd name="connsiteY9086" fmla="*/ 909958 h 6859062"/>
              <a:gd name="connsiteX9087" fmla="*/ 1310104 w 12192185"/>
              <a:gd name="connsiteY9087" fmla="*/ 904638 h 6859062"/>
              <a:gd name="connsiteX9088" fmla="*/ 1299949 w 12192185"/>
              <a:gd name="connsiteY9088" fmla="*/ 895533 h 6859062"/>
              <a:gd name="connsiteX9089" fmla="*/ 1296324 w 12192185"/>
              <a:gd name="connsiteY9089" fmla="*/ 891547 h 6859062"/>
              <a:gd name="connsiteX9090" fmla="*/ 1294355 w 12192185"/>
              <a:gd name="connsiteY9090" fmla="*/ 886961 h 6859062"/>
              <a:gd name="connsiteX9091" fmla="*/ 1293887 w 12192185"/>
              <a:gd name="connsiteY9091" fmla="*/ 883079 h 6859062"/>
              <a:gd name="connsiteX9092" fmla="*/ 1292577 w 12192185"/>
              <a:gd name="connsiteY9092" fmla="*/ 875139 h 6859062"/>
              <a:gd name="connsiteX9093" fmla="*/ 1291857 w 12192185"/>
              <a:gd name="connsiteY9093" fmla="*/ 872284 h 6859062"/>
              <a:gd name="connsiteX9094" fmla="*/ 1290294 w 12192185"/>
              <a:gd name="connsiteY9094" fmla="*/ 865370 h 6859062"/>
              <a:gd name="connsiteX9095" fmla="*/ 1300206 w 12192185"/>
              <a:gd name="connsiteY9095" fmla="*/ 849635 h 6859062"/>
              <a:gd name="connsiteX9096" fmla="*/ 1308937 w 12192185"/>
              <a:gd name="connsiteY9096" fmla="*/ 846167 h 6859062"/>
              <a:gd name="connsiteX9097" fmla="*/ 1317955 w 12192185"/>
              <a:gd name="connsiteY9097" fmla="*/ 842634 h 6859062"/>
              <a:gd name="connsiteX9098" fmla="*/ 9068586 w 12192185"/>
              <a:gd name="connsiteY9098" fmla="*/ 829016 h 6859062"/>
              <a:gd name="connsiteX9099" fmla="*/ 9075142 w 12192185"/>
              <a:gd name="connsiteY9099" fmla="*/ 832263 h 6859062"/>
              <a:gd name="connsiteX9100" fmla="*/ 9078859 w 12192185"/>
              <a:gd name="connsiteY9100" fmla="*/ 834227 h 6859062"/>
              <a:gd name="connsiteX9101" fmla="*/ 9083011 w 12192185"/>
              <a:gd name="connsiteY9101" fmla="*/ 837720 h 6859062"/>
              <a:gd name="connsiteX9102" fmla="*/ 9085634 w 12192185"/>
              <a:gd name="connsiteY9102" fmla="*/ 841213 h 6859062"/>
              <a:gd name="connsiteX9103" fmla="*/ 9088694 w 12192185"/>
              <a:gd name="connsiteY9103" fmla="*/ 850818 h 6859062"/>
              <a:gd name="connsiteX9104" fmla="*/ 9090880 w 12192185"/>
              <a:gd name="connsiteY9104" fmla="*/ 856713 h 6859062"/>
              <a:gd name="connsiteX9105" fmla="*/ 9090880 w 12192185"/>
              <a:gd name="connsiteY9105" fmla="*/ 859332 h 6859062"/>
              <a:gd name="connsiteX9106" fmla="*/ 9088258 w 12192185"/>
              <a:gd name="connsiteY9106" fmla="*/ 864572 h 6859062"/>
              <a:gd name="connsiteX9107" fmla="*/ 9082355 w 12192185"/>
              <a:gd name="connsiteY9107" fmla="*/ 872431 h 6859062"/>
              <a:gd name="connsiteX9108" fmla="*/ 9080826 w 12192185"/>
              <a:gd name="connsiteY9108" fmla="*/ 875486 h 6859062"/>
              <a:gd name="connsiteX9109" fmla="*/ 9078202 w 12192185"/>
              <a:gd name="connsiteY9109" fmla="*/ 876578 h 6859062"/>
              <a:gd name="connsiteX9110" fmla="*/ 9073176 w 12192185"/>
              <a:gd name="connsiteY9110" fmla="*/ 878106 h 6859062"/>
              <a:gd name="connsiteX9111" fmla="*/ 9071426 w 12192185"/>
              <a:gd name="connsiteY9111" fmla="*/ 878980 h 6859062"/>
              <a:gd name="connsiteX9112" fmla="*/ 9064432 w 12192185"/>
              <a:gd name="connsiteY9112" fmla="*/ 879853 h 6859062"/>
              <a:gd name="connsiteX9113" fmla="*/ 9062901 w 12192185"/>
              <a:gd name="connsiteY9113" fmla="*/ 880289 h 6859062"/>
              <a:gd name="connsiteX9114" fmla="*/ 9047382 w 12192185"/>
              <a:gd name="connsiteY9114" fmla="*/ 870465 h 6859062"/>
              <a:gd name="connsiteX9115" fmla="*/ 9042573 w 12192185"/>
              <a:gd name="connsiteY9115" fmla="*/ 861515 h 6859062"/>
              <a:gd name="connsiteX9116" fmla="*/ 9041043 w 12192185"/>
              <a:gd name="connsiteY9116" fmla="*/ 857804 h 6859062"/>
              <a:gd name="connsiteX9117" fmla="*/ 9040826 w 12192185"/>
              <a:gd name="connsiteY9117" fmla="*/ 854093 h 6859062"/>
              <a:gd name="connsiteX9118" fmla="*/ 9041480 w 12192185"/>
              <a:gd name="connsiteY9118" fmla="*/ 851255 h 6859062"/>
              <a:gd name="connsiteX9119" fmla="*/ 9042573 w 12192185"/>
              <a:gd name="connsiteY9119" fmla="*/ 845360 h 6859062"/>
              <a:gd name="connsiteX9120" fmla="*/ 9042793 w 12192185"/>
              <a:gd name="connsiteY9120" fmla="*/ 843178 h 6859062"/>
              <a:gd name="connsiteX9121" fmla="*/ 9043448 w 12192185"/>
              <a:gd name="connsiteY9121" fmla="*/ 837938 h 6859062"/>
              <a:gd name="connsiteX9122" fmla="*/ 9054378 w 12192185"/>
              <a:gd name="connsiteY9122" fmla="*/ 829425 h 6859062"/>
              <a:gd name="connsiteX9123" fmla="*/ 9061371 w 12192185"/>
              <a:gd name="connsiteY9123" fmla="*/ 829206 h 6859062"/>
              <a:gd name="connsiteX9124" fmla="*/ 9068586 w 12192185"/>
              <a:gd name="connsiteY9124" fmla="*/ 829016 h 6859062"/>
              <a:gd name="connsiteX9125" fmla="*/ 5928837 w 12192185"/>
              <a:gd name="connsiteY9125" fmla="*/ 817844 h 6859062"/>
              <a:gd name="connsiteX9126" fmla="*/ 5924450 w 12192185"/>
              <a:gd name="connsiteY9126" fmla="*/ 819646 h 6859062"/>
              <a:gd name="connsiteX9127" fmla="*/ 5920063 w 12192185"/>
              <a:gd name="connsiteY9127" fmla="*/ 821450 h 6859062"/>
              <a:gd name="connsiteX9128" fmla="*/ 5918605 w 12192185"/>
              <a:gd name="connsiteY9128" fmla="*/ 821341 h 6859062"/>
              <a:gd name="connsiteX9129" fmla="*/ 9250954 w 12192185"/>
              <a:gd name="connsiteY9129" fmla="*/ 817680 h 6859062"/>
              <a:gd name="connsiteX9130" fmla="*/ 9260496 w 12192185"/>
              <a:gd name="connsiteY9130" fmla="*/ 826545 h 6859062"/>
              <a:gd name="connsiteX9131" fmla="*/ 9262403 w 12192185"/>
              <a:gd name="connsiteY9131" fmla="*/ 830028 h 6859062"/>
              <a:gd name="connsiteX9132" fmla="*/ 9268447 w 12192185"/>
              <a:gd name="connsiteY9132" fmla="*/ 837626 h 6859062"/>
              <a:gd name="connsiteX9133" fmla="*/ 9273216 w 12192185"/>
              <a:gd name="connsiteY9133" fmla="*/ 840476 h 6859062"/>
              <a:gd name="connsiteX9134" fmla="*/ 9277669 w 12192185"/>
              <a:gd name="connsiteY9134" fmla="*/ 853140 h 6859062"/>
              <a:gd name="connsiteX9135" fmla="*/ 9274807 w 12192185"/>
              <a:gd name="connsiteY9135" fmla="*/ 863905 h 6859062"/>
              <a:gd name="connsiteX9136" fmla="*/ 9265902 w 12192185"/>
              <a:gd name="connsiteY9136" fmla="*/ 870870 h 6859062"/>
              <a:gd name="connsiteX9137" fmla="*/ 9264948 w 12192185"/>
              <a:gd name="connsiteY9137" fmla="*/ 872136 h 6859062"/>
              <a:gd name="connsiteX9138" fmla="*/ 9258588 w 12192185"/>
              <a:gd name="connsiteY9138" fmla="*/ 872136 h 6859062"/>
              <a:gd name="connsiteX9139" fmla="*/ 9251590 w 12192185"/>
              <a:gd name="connsiteY9139" fmla="*/ 868654 h 6859062"/>
              <a:gd name="connsiteX9140" fmla="*/ 9246820 w 12192185"/>
              <a:gd name="connsiteY9140" fmla="*/ 862955 h 6859062"/>
              <a:gd name="connsiteX9141" fmla="*/ 9243321 w 12192185"/>
              <a:gd name="connsiteY9141" fmla="*/ 854406 h 6859062"/>
              <a:gd name="connsiteX9142" fmla="*/ 9238869 w 12192185"/>
              <a:gd name="connsiteY9142" fmla="*/ 846175 h 6859062"/>
              <a:gd name="connsiteX9143" fmla="*/ 9231872 w 12192185"/>
              <a:gd name="connsiteY9143" fmla="*/ 839209 h 6859062"/>
              <a:gd name="connsiteX9144" fmla="*/ 9231873 w 12192185"/>
              <a:gd name="connsiteY9144" fmla="*/ 827812 h 6859062"/>
              <a:gd name="connsiteX9145" fmla="*/ 9235689 w 12192185"/>
              <a:gd name="connsiteY9145" fmla="*/ 823379 h 6859062"/>
              <a:gd name="connsiteX9146" fmla="*/ 9242685 w 12192185"/>
              <a:gd name="connsiteY9146" fmla="*/ 818946 h 6859062"/>
              <a:gd name="connsiteX9147" fmla="*/ 9250954 w 12192185"/>
              <a:gd name="connsiteY9147" fmla="*/ 817680 h 6859062"/>
              <a:gd name="connsiteX9148" fmla="*/ 8102504 w 12192185"/>
              <a:gd name="connsiteY9148" fmla="*/ 812227 h 6859062"/>
              <a:gd name="connsiteX9149" fmla="*/ 8121234 w 12192185"/>
              <a:gd name="connsiteY9149" fmla="*/ 824083 h 6859062"/>
              <a:gd name="connsiteX9150" fmla="*/ 8127037 w 12192185"/>
              <a:gd name="connsiteY9150" fmla="*/ 834885 h 6859062"/>
              <a:gd name="connsiteX9151" fmla="*/ 8128883 w 12192185"/>
              <a:gd name="connsiteY9151" fmla="*/ 839364 h 6859062"/>
              <a:gd name="connsiteX9152" fmla="*/ 8129147 w 12192185"/>
              <a:gd name="connsiteY9152" fmla="*/ 843842 h 6859062"/>
              <a:gd name="connsiteX9153" fmla="*/ 8128356 w 12192185"/>
              <a:gd name="connsiteY9153" fmla="*/ 847268 h 6859062"/>
              <a:gd name="connsiteX9154" fmla="*/ 8127037 w 12192185"/>
              <a:gd name="connsiteY9154" fmla="*/ 854380 h 6859062"/>
              <a:gd name="connsiteX9155" fmla="*/ 8126773 w 12192185"/>
              <a:gd name="connsiteY9155" fmla="*/ 857015 h 6859062"/>
              <a:gd name="connsiteX9156" fmla="*/ 8125982 w 12192185"/>
              <a:gd name="connsiteY9156" fmla="*/ 863338 h 6859062"/>
              <a:gd name="connsiteX9157" fmla="*/ 8112792 w 12192185"/>
              <a:gd name="connsiteY9157" fmla="*/ 873613 h 6859062"/>
              <a:gd name="connsiteX9158" fmla="*/ 8104350 w 12192185"/>
              <a:gd name="connsiteY9158" fmla="*/ 873877 h 6859062"/>
              <a:gd name="connsiteX9159" fmla="*/ 8087732 w 12192185"/>
              <a:gd name="connsiteY9159" fmla="*/ 870188 h 6859062"/>
              <a:gd name="connsiteX9160" fmla="*/ 8083247 w 12192185"/>
              <a:gd name="connsiteY9160" fmla="*/ 867817 h 6859062"/>
              <a:gd name="connsiteX9161" fmla="*/ 8078235 w 12192185"/>
              <a:gd name="connsiteY9161" fmla="*/ 863602 h 6859062"/>
              <a:gd name="connsiteX9162" fmla="*/ 8075070 w 12192185"/>
              <a:gd name="connsiteY9162" fmla="*/ 859386 h 6859062"/>
              <a:gd name="connsiteX9163" fmla="*/ 8071377 w 12192185"/>
              <a:gd name="connsiteY9163" fmla="*/ 847795 h 6859062"/>
              <a:gd name="connsiteX9164" fmla="*/ 8068738 w 12192185"/>
              <a:gd name="connsiteY9164" fmla="*/ 840681 h 6859062"/>
              <a:gd name="connsiteX9165" fmla="*/ 8068739 w 12192185"/>
              <a:gd name="connsiteY9165" fmla="*/ 837520 h 6859062"/>
              <a:gd name="connsiteX9166" fmla="*/ 8071904 w 12192185"/>
              <a:gd name="connsiteY9166" fmla="*/ 831196 h 6859062"/>
              <a:gd name="connsiteX9167" fmla="*/ 8079027 w 12192185"/>
              <a:gd name="connsiteY9167" fmla="*/ 821712 h 6859062"/>
              <a:gd name="connsiteX9168" fmla="*/ 8080873 w 12192185"/>
              <a:gd name="connsiteY9168" fmla="*/ 818024 h 6859062"/>
              <a:gd name="connsiteX9169" fmla="*/ 8084038 w 12192185"/>
              <a:gd name="connsiteY9169" fmla="*/ 816707 h 6859062"/>
              <a:gd name="connsiteX9170" fmla="*/ 8090106 w 12192185"/>
              <a:gd name="connsiteY9170" fmla="*/ 814862 h 6859062"/>
              <a:gd name="connsiteX9171" fmla="*/ 8092216 w 12192185"/>
              <a:gd name="connsiteY9171" fmla="*/ 813809 h 6859062"/>
              <a:gd name="connsiteX9172" fmla="*/ 8100657 w 12192185"/>
              <a:gd name="connsiteY9172" fmla="*/ 812755 h 6859062"/>
              <a:gd name="connsiteX9173" fmla="*/ 8102504 w 12192185"/>
              <a:gd name="connsiteY9173" fmla="*/ 812227 h 6859062"/>
              <a:gd name="connsiteX9174" fmla="*/ 1836633 w 12192185"/>
              <a:gd name="connsiteY9174" fmla="*/ 811775 h 6859062"/>
              <a:gd name="connsiteX9175" fmla="*/ 1860322 w 12192185"/>
              <a:gd name="connsiteY9175" fmla="*/ 819494 h 6859062"/>
              <a:gd name="connsiteX9176" fmla="*/ 1864636 w 12192185"/>
              <a:gd name="connsiteY9176" fmla="*/ 827954 h 6859062"/>
              <a:gd name="connsiteX9177" fmla="*/ 1866340 w 12192185"/>
              <a:gd name="connsiteY9177" fmla="*/ 831512 h 6859062"/>
              <a:gd name="connsiteX9178" fmla="*/ 1871792 w 12192185"/>
              <a:gd name="connsiteY9178" fmla="*/ 840814 h 6859062"/>
              <a:gd name="connsiteX9179" fmla="*/ 1874635 w 12192185"/>
              <a:gd name="connsiteY9179" fmla="*/ 845212 h 6859062"/>
              <a:gd name="connsiteX9180" fmla="*/ 1876536 w 12192185"/>
              <a:gd name="connsiteY9180" fmla="*/ 851624 h 6859062"/>
              <a:gd name="connsiteX9181" fmla="*/ 1876216 w 12192185"/>
              <a:gd name="connsiteY9181" fmla="*/ 858835 h 6859062"/>
              <a:gd name="connsiteX9182" fmla="*/ 1873555 w 12192185"/>
              <a:gd name="connsiteY9182" fmla="*/ 876914 h 6859062"/>
              <a:gd name="connsiteX9183" fmla="*/ 1853312 w 12192185"/>
              <a:gd name="connsiteY9183" fmla="*/ 903017 h 6859062"/>
              <a:gd name="connsiteX9184" fmla="*/ 1850458 w 12192185"/>
              <a:gd name="connsiteY9184" fmla="*/ 903214 h 6859062"/>
              <a:gd name="connsiteX9185" fmla="*/ 1838094 w 12192185"/>
              <a:gd name="connsiteY9185" fmla="*/ 906014 h 6859062"/>
              <a:gd name="connsiteX9186" fmla="*/ 1834602 w 12192185"/>
              <a:gd name="connsiteY9186" fmla="*/ 905605 h 6859062"/>
              <a:gd name="connsiteX9187" fmla="*/ 1825165 w 12192185"/>
              <a:gd name="connsiteY9187" fmla="*/ 906095 h 6859062"/>
              <a:gd name="connsiteX9188" fmla="*/ 1820062 w 12192185"/>
              <a:gd name="connsiteY9188" fmla="*/ 905852 h 6859062"/>
              <a:gd name="connsiteX9189" fmla="*/ 1815605 w 12192185"/>
              <a:gd name="connsiteY9189" fmla="*/ 901618 h 6859062"/>
              <a:gd name="connsiteX9190" fmla="*/ 1800818 w 12192185"/>
              <a:gd name="connsiteY9190" fmla="*/ 891934 h 6859062"/>
              <a:gd name="connsiteX9191" fmla="*/ 1793179 w 12192185"/>
              <a:gd name="connsiteY9191" fmla="*/ 884677 h 6859062"/>
              <a:gd name="connsiteX9192" fmla="*/ 1791578 w 12192185"/>
              <a:gd name="connsiteY9192" fmla="*/ 880247 h 6859062"/>
              <a:gd name="connsiteX9193" fmla="*/ 1791671 w 12192185"/>
              <a:gd name="connsiteY9193" fmla="*/ 868941 h 6859062"/>
              <a:gd name="connsiteX9194" fmla="*/ 1790974 w 12192185"/>
              <a:gd name="connsiteY9194" fmla="*/ 850824 h 6859062"/>
              <a:gd name="connsiteX9195" fmla="*/ 1793274 w 12192185"/>
              <a:gd name="connsiteY9195" fmla="*/ 843312 h 6859062"/>
              <a:gd name="connsiteX9196" fmla="*/ 1798163 w 12192185"/>
              <a:gd name="connsiteY9196" fmla="*/ 834866 h 6859062"/>
              <a:gd name="connsiteX9197" fmla="*/ 1803247 w 12192185"/>
              <a:gd name="connsiteY9197" fmla="*/ 829271 h 6859062"/>
              <a:gd name="connsiteX9198" fmla="*/ 1824669 w 12192185"/>
              <a:gd name="connsiteY9198" fmla="*/ 815683 h 6859062"/>
              <a:gd name="connsiteX9199" fmla="*/ 1836633 w 12192185"/>
              <a:gd name="connsiteY9199" fmla="*/ 811775 h 6859062"/>
              <a:gd name="connsiteX9200" fmla="*/ 6219183 w 12192185"/>
              <a:gd name="connsiteY9200" fmla="*/ 810045 h 6859062"/>
              <a:gd name="connsiteX9201" fmla="*/ 6220340 w 12192185"/>
              <a:gd name="connsiteY9201" fmla="*/ 815978 h 6859062"/>
              <a:gd name="connsiteX9202" fmla="*/ 6214150 w 12192185"/>
              <a:gd name="connsiteY9202" fmla="*/ 813394 h 6859062"/>
              <a:gd name="connsiteX9203" fmla="*/ 6219183 w 12192185"/>
              <a:gd name="connsiteY9203" fmla="*/ 810045 h 6859062"/>
              <a:gd name="connsiteX9204" fmla="*/ 3158128 w 12192185"/>
              <a:gd name="connsiteY9204" fmla="*/ 801511 h 6859062"/>
              <a:gd name="connsiteX9205" fmla="*/ 3158128 w 12192185"/>
              <a:gd name="connsiteY9205" fmla="*/ 801512 h 6859062"/>
              <a:gd name="connsiteX9206" fmla="*/ 3175559 w 12192185"/>
              <a:gd name="connsiteY9206" fmla="*/ 812545 h 6859062"/>
              <a:gd name="connsiteX9207" fmla="*/ 3180960 w 12192185"/>
              <a:gd name="connsiteY9207" fmla="*/ 822597 h 6859062"/>
              <a:gd name="connsiteX9208" fmla="*/ 3182677 w 12192185"/>
              <a:gd name="connsiteY9208" fmla="*/ 826764 h 6859062"/>
              <a:gd name="connsiteX9209" fmla="*/ 3182922 w 12192185"/>
              <a:gd name="connsiteY9209" fmla="*/ 830932 h 6859062"/>
              <a:gd name="connsiteX9210" fmla="*/ 3182187 w 12192185"/>
              <a:gd name="connsiteY9210" fmla="*/ 834119 h 6859062"/>
              <a:gd name="connsiteX9211" fmla="*/ 3180959 w 12192185"/>
              <a:gd name="connsiteY9211" fmla="*/ 840738 h 6859062"/>
              <a:gd name="connsiteX9212" fmla="*/ 3180713 w 12192185"/>
              <a:gd name="connsiteY9212" fmla="*/ 843190 h 6859062"/>
              <a:gd name="connsiteX9213" fmla="*/ 3179976 w 12192185"/>
              <a:gd name="connsiteY9213" fmla="*/ 849074 h 6859062"/>
              <a:gd name="connsiteX9214" fmla="*/ 3167705 w 12192185"/>
              <a:gd name="connsiteY9214" fmla="*/ 858635 h 6859062"/>
              <a:gd name="connsiteX9215" fmla="*/ 3159847 w 12192185"/>
              <a:gd name="connsiteY9215" fmla="*/ 858881 h 6859062"/>
              <a:gd name="connsiteX9216" fmla="*/ 3151747 w 12192185"/>
              <a:gd name="connsiteY9216" fmla="*/ 859095 h 6859062"/>
              <a:gd name="connsiteX9217" fmla="*/ 3151746 w 12192185"/>
              <a:gd name="connsiteY9217" fmla="*/ 859094 h 6859062"/>
              <a:gd name="connsiteX9218" fmla="*/ 3144383 w 12192185"/>
              <a:gd name="connsiteY9218" fmla="*/ 855448 h 6859062"/>
              <a:gd name="connsiteX9219" fmla="*/ 3140208 w 12192185"/>
              <a:gd name="connsiteY9219" fmla="*/ 853241 h 6859062"/>
              <a:gd name="connsiteX9220" fmla="*/ 3135545 w 12192185"/>
              <a:gd name="connsiteY9220" fmla="*/ 849319 h 6859062"/>
              <a:gd name="connsiteX9221" fmla="*/ 3132598 w 12192185"/>
              <a:gd name="connsiteY9221" fmla="*/ 845396 h 6859062"/>
              <a:gd name="connsiteX9222" fmla="*/ 3129161 w 12192185"/>
              <a:gd name="connsiteY9222" fmla="*/ 834609 h 6859062"/>
              <a:gd name="connsiteX9223" fmla="*/ 3126708 w 12192185"/>
              <a:gd name="connsiteY9223" fmla="*/ 827989 h 6859062"/>
              <a:gd name="connsiteX9224" fmla="*/ 3126708 w 12192185"/>
              <a:gd name="connsiteY9224" fmla="*/ 825047 h 6859062"/>
              <a:gd name="connsiteX9225" fmla="*/ 3129652 w 12192185"/>
              <a:gd name="connsiteY9225" fmla="*/ 819163 h 6859062"/>
              <a:gd name="connsiteX9226" fmla="*/ 3136279 w 12192185"/>
              <a:gd name="connsiteY9226" fmla="*/ 810337 h 6859062"/>
              <a:gd name="connsiteX9227" fmla="*/ 3137999 w 12192185"/>
              <a:gd name="connsiteY9227" fmla="*/ 806904 h 6859062"/>
              <a:gd name="connsiteX9228" fmla="*/ 3140943 w 12192185"/>
              <a:gd name="connsiteY9228" fmla="*/ 805679 h 6859062"/>
              <a:gd name="connsiteX9229" fmla="*/ 3146590 w 12192185"/>
              <a:gd name="connsiteY9229" fmla="*/ 803963 h 6859062"/>
              <a:gd name="connsiteX9230" fmla="*/ 3148556 w 12192185"/>
              <a:gd name="connsiteY9230" fmla="*/ 802983 h 6859062"/>
              <a:gd name="connsiteX9231" fmla="*/ 3156407 w 12192185"/>
              <a:gd name="connsiteY9231" fmla="*/ 802001 h 6859062"/>
              <a:gd name="connsiteX9232" fmla="*/ 3158128 w 12192185"/>
              <a:gd name="connsiteY9232" fmla="*/ 801511 h 6859062"/>
              <a:gd name="connsiteX9233" fmla="*/ 10975865 w 12192185"/>
              <a:gd name="connsiteY9233" fmla="*/ 789481 h 6859062"/>
              <a:gd name="connsiteX9234" fmla="*/ 10980273 w 12192185"/>
              <a:gd name="connsiteY9234" fmla="*/ 789922 h 6859062"/>
              <a:gd name="connsiteX9235" fmla="*/ 10988303 w 12192185"/>
              <a:gd name="connsiteY9235" fmla="*/ 791541 h 6859062"/>
              <a:gd name="connsiteX9236" fmla="*/ 10991347 w 12192185"/>
              <a:gd name="connsiteY9236" fmla="*/ 791636 h 6859062"/>
              <a:gd name="connsiteX9237" fmla="*/ 11001593 w 12192185"/>
              <a:gd name="connsiteY9237" fmla="*/ 795609 h 6859062"/>
              <a:gd name="connsiteX9238" fmla="*/ 11004016 w 12192185"/>
              <a:gd name="connsiteY9238" fmla="*/ 796141 h 6859062"/>
              <a:gd name="connsiteX9239" fmla="*/ 11018053 w 12192185"/>
              <a:gd name="connsiteY9239" fmla="*/ 821097 h 6859062"/>
              <a:gd name="connsiteX9240" fmla="*/ 11018036 w 12192185"/>
              <a:gd name="connsiteY9240" fmla="*/ 836937 h 6859062"/>
              <a:gd name="connsiteX9241" fmla="*/ 11017392 w 12192185"/>
              <a:gd name="connsiteY9241" fmla="*/ 843162 h 6859062"/>
              <a:gd name="connsiteX9242" fmla="*/ 11014948 w 12192185"/>
              <a:gd name="connsiteY9242" fmla="*/ 848417 h 6859062"/>
              <a:gd name="connsiteX9243" fmla="*/ 11011950 w 12192185"/>
              <a:gd name="connsiteY9243" fmla="*/ 851827 h 6859062"/>
              <a:gd name="connsiteX9244" fmla="*/ 11006091 w 12192185"/>
              <a:gd name="connsiteY9244" fmla="*/ 859109 h 6859062"/>
              <a:gd name="connsiteX9245" fmla="*/ 11004177 w 12192185"/>
              <a:gd name="connsiteY9245" fmla="*/ 861943 h 6859062"/>
              <a:gd name="connsiteX9246" fmla="*/ 10999404 w 12192185"/>
              <a:gd name="connsiteY9246" fmla="*/ 868649 h 6859062"/>
              <a:gd name="connsiteX9247" fmla="*/ 10978109 w 12192185"/>
              <a:gd name="connsiteY9247" fmla="*/ 872253 h 6859062"/>
              <a:gd name="connsiteX9248" fmla="*/ 10968347 w 12192185"/>
              <a:gd name="connsiteY9248" fmla="*/ 867382 h 6859062"/>
              <a:gd name="connsiteX9249" fmla="*/ 10951707 w 12192185"/>
              <a:gd name="connsiteY9249" fmla="*/ 853006 h 6859062"/>
              <a:gd name="connsiteX9250" fmla="*/ 10948061 w 12192185"/>
              <a:gd name="connsiteY9250" fmla="*/ 847563 h 6859062"/>
              <a:gd name="connsiteX9251" fmla="*/ 10944943 w 12192185"/>
              <a:gd name="connsiteY9251" fmla="*/ 839698 h 6859062"/>
              <a:gd name="connsiteX9252" fmla="*/ 10943925 w 12192185"/>
              <a:gd name="connsiteY9252" fmla="*/ 832965 h 6859062"/>
              <a:gd name="connsiteX9253" fmla="*/ 10946827 w 12192185"/>
              <a:gd name="connsiteY9253" fmla="*/ 817519 h 6859062"/>
              <a:gd name="connsiteX9254" fmla="*/ 10948185 w 12192185"/>
              <a:gd name="connsiteY9254" fmla="*/ 807814 h 6859062"/>
              <a:gd name="connsiteX9255" fmla="*/ 10950122 w 12192185"/>
              <a:gd name="connsiteY9255" fmla="*/ 804218 h 6859062"/>
              <a:gd name="connsiteX9256" fmla="*/ 10957596 w 12192185"/>
              <a:gd name="connsiteY9256" fmla="*/ 798967 h 6859062"/>
              <a:gd name="connsiteX9257" fmla="*/ 10971507 w 12192185"/>
              <a:gd name="connsiteY9257" fmla="*/ 792544 h 6859062"/>
              <a:gd name="connsiteX9258" fmla="*/ 10975865 w 12192185"/>
              <a:gd name="connsiteY9258" fmla="*/ 789481 h 6859062"/>
              <a:gd name="connsiteX9259" fmla="*/ 9626745 w 12192185"/>
              <a:gd name="connsiteY9259" fmla="*/ 786684 h 6859062"/>
              <a:gd name="connsiteX9260" fmla="*/ 9626595 w 12192185"/>
              <a:gd name="connsiteY9260" fmla="*/ 786936 h 6859062"/>
              <a:gd name="connsiteX9261" fmla="*/ 9626421 w 12192185"/>
              <a:gd name="connsiteY9261" fmla="*/ 786762 h 6859062"/>
              <a:gd name="connsiteX9262" fmla="*/ 2719876 w 12192185"/>
              <a:gd name="connsiteY9262" fmla="*/ 777613 h 6859062"/>
              <a:gd name="connsiteX9263" fmla="*/ 2738602 w 12192185"/>
              <a:gd name="connsiteY9263" fmla="*/ 789469 h 6859062"/>
              <a:gd name="connsiteX9264" fmla="*/ 2744405 w 12192185"/>
              <a:gd name="connsiteY9264" fmla="*/ 800270 h 6859062"/>
              <a:gd name="connsiteX9265" fmla="*/ 2746252 w 12192185"/>
              <a:gd name="connsiteY9265" fmla="*/ 804749 h 6859062"/>
              <a:gd name="connsiteX9266" fmla="*/ 2746517 w 12192185"/>
              <a:gd name="connsiteY9266" fmla="*/ 809228 h 6859062"/>
              <a:gd name="connsiteX9267" fmla="*/ 2745725 w 12192185"/>
              <a:gd name="connsiteY9267" fmla="*/ 812653 h 6859062"/>
              <a:gd name="connsiteX9268" fmla="*/ 2744406 w 12192185"/>
              <a:gd name="connsiteY9268" fmla="*/ 819766 h 6859062"/>
              <a:gd name="connsiteX9269" fmla="*/ 2744142 w 12192185"/>
              <a:gd name="connsiteY9269" fmla="*/ 822401 h 6859062"/>
              <a:gd name="connsiteX9270" fmla="*/ 2743352 w 12192185"/>
              <a:gd name="connsiteY9270" fmla="*/ 828724 h 6859062"/>
              <a:gd name="connsiteX9271" fmla="*/ 2730161 w 12192185"/>
              <a:gd name="connsiteY9271" fmla="*/ 838998 h 6859062"/>
              <a:gd name="connsiteX9272" fmla="*/ 2721719 w 12192185"/>
              <a:gd name="connsiteY9272" fmla="*/ 839262 h 6859062"/>
              <a:gd name="connsiteX9273" fmla="*/ 2705102 w 12192185"/>
              <a:gd name="connsiteY9273" fmla="*/ 835573 h 6859062"/>
              <a:gd name="connsiteX9274" fmla="*/ 2700617 w 12192185"/>
              <a:gd name="connsiteY9274" fmla="*/ 833203 h 6859062"/>
              <a:gd name="connsiteX9275" fmla="*/ 2695605 w 12192185"/>
              <a:gd name="connsiteY9275" fmla="*/ 828987 h 6859062"/>
              <a:gd name="connsiteX9276" fmla="*/ 2692440 w 12192185"/>
              <a:gd name="connsiteY9276" fmla="*/ 824772 h 6859062"/>
              <a:gd name="connsiteX9277" fmla="*/ 2688745 w 12192185"/>
              <a:gd name="connsiteY9277" fmla="*/ 813180 h 6859062"/>
              <a:gd name="connsiteX9278" fmla="*/ 2686108 w 12192185"/>
              <a:gd name="connsiteY9278" fmla="*/ 806066 h 6859062"/>
              <a:gd name="connsiteX9279" fmla="*/ 2686109 w 12192185"/>
              <a:gd name="connsiteY9279" fmla="*/ 802905 h 6859062"/>
              <a:gd name="connsiteX9280" fmla="*/ 2689275 w 12192185"/>
              <a:gd name="connsiteY9280" fmla="*/ 796583 h 6859062"/>
              <a:gd name="connsiteX9281" fmla="*/ 2696397 w 12192185"/>
              <a:gd name="connsiteY9281" fmla="*/ 787097 h 6859062"/>
              <a:gd name="connsiteX9282" fmla="*/ 2698243 w 12192185"/>
              <a:gd name="connsiteY9282" fmla="*/ 783410 h 6859062"/>
              <a:gd name="connsiteX9283" fmla="*/ 2701407 w 12192185"/>
              <a:gd name="connsiteY9283" fmla="*/ 782092 h 6859062"/>
              <a:gd name="connsiteX9284" fmla="*/ 2707476 w 12192185"/>
              <a:gd name="connsiteY9284" fmla="*/ 780248 h 6859062"/>
              <a:gd name="connsiteX9285" fmla="*/ 2709587 w 12192185"/>
              <a:gd name="connsiteY9285" fmla="*/ 779194 h 6859062"/>
              <a:gd name="connsiteX9286" fmla="*/ 2718030 w 12192185"/>
              <a:gd name="connsiteY9286" fmla="*/ 778140 h 6859062"/>
              <a:gd name="connsiteX9287" fmla="*/ 2719876 w 12192185"/>
              <a:gd name="connsiteY9287" fmla="*/ 777613 h 6859062"/>
              <a:gd name="connsiteX9288" fmla="*/ 8879049 w 12192185"/>
              <a:gd name="connsiteY9288" fmla="*/ 770345 h 6859062"/>
              <a:gd name="connsiteX9289" fmla="*/ 8885606 w 12192185"/>
              <a:gd name="connsiteY9289" fmla="*/ 773591 h 6859062"/>
              <a:gd name="connsiteX9290" fmla="*/ 8889322 w 12192185"/>
              <a:gd name="connsiteY9290" fmla="*/ 775556 h 6859062"/>
              <a:gd name="connsiteX9291" fmla="*/ 8893475 w 12192185"/>
              <a:gd name="connsiteY9291" fmla="*/ 779050 h 6859062"/>
              <a:gd name="connsiteX9292" fmla="*/ 8896098 w 12192185"/>
              <a:gd name="connsiteY9292" fmla="*/ 782542 h 6859062"/>
              <a:gd name="connsiteX9293" fmla="*/ 8899159 w 12192185"/>
              <a:gd name="connsiteY9293" fmla="*/ 792147 h 6859062"/>
              <a:gd name="connsiteX9294" fmla="*/ 8901344 w 12192185"/>
              <a:gd name="connsiteY9294" fmla="*/ 798041 h 6859062"/>
              <a:gd name="connsiteX9295" fmla="*/ 8901344 w 12192185"/>
              <a:gd name="connsiteY9295" fmla="*/ 800661 h 6859062"/>
              <a:gd name="connsiteX9296" fmla="*/ 8898721 w 12192185"/>
              <a:gd name="connsiteY9296" fmla="*/ 805901 h 6859062"/>
              <a:gd name="connsiteX9297" fmla="*/ 8892820 w 12192185"/>
              <a:gd name="connsiteY9297" fmla="*/ 813759 h 6859062"/>
              <a:gd name="connsiteX9298" fmla="*/ 8891290 w 12192185"/>
              <a:gd name="connsiteY9298" fmla="*/ 816815 h 6859062"/>
              <a:gd name="connsiteX9299" fmla="*/ 8888666 w 12192185"/>
              <a:gd name="connsiteY9299" fmla="*/ 817908 h 6859062"/>
              <a:gd name="connsiteX9300" fmla="*/ 8883639 w 12192185"/>
              <a:gd name="connsiteY9300" fmla="*/ 819435 h 6859062"/>
              <a:gd name="connsiteX9301" fmla="*/ 8881891 w 12192185"/>
              <a:gd name="connsiteY9301" fmla="*/ 820308 h 6859062"/>
              <a:gd name="connsiteX9302" fmla="*/ 8874896 w 12192185"/>
              <a:gd name="connsiteY9302" fmla="*/ 821181 h 6859062"/>
              <a:gd name="connsiteX9303" fmla="*/ 8873365 w 12192185"/>
              <a:gd name="connsiteY9303" fmla="*/ 821618 h 6859062"/>
              <a:gd name="connsiteX9304" fmla="*/ 8857847 w 12192185"/>
              <a:gd name="connsiteY9304" fmla="*/ 811794 h 6859062"/>
              <a:gd name="connsiteX9305" fmla="*/ 8853037 w 12192185"/>
              <a:gd name="connsiteY9305" fmla="*/ 802845 h 6859062"/>
              <a:gd name="connsiteX9306" fmla="*/ 8851507 w 12192185"/>
              <a:gd name="connsiteY9306" fmla="*/ 799133 h 6859062"/>
              <a:gd name="connsiteX9307" fmla="*/ 8851289 w 12192185"/>
              <a:gd name="connsiteY9307" fmla="*/ 795421 h 6859062"/>
              <a:gd name="connsiteX9308" fmla="*/ 8851945 w 12192185"/>
              <a:gd name="connsiteY9308" fmla="*/ 792584 h 6859062"/>
              <a:gd name="connsiteX9309" fmla="*/ 8853038 w 12192185"/>
              <a:gd name="connsiteY9309" fmla="*/ 786690 h 6859062"/>
              <a:gd name="connsiteX9310" fmla="*/ 8853256 w 12192185"/>
              <a:gd name="connsiteY9310" fmla="*/ 784507 h 6859062"/>
              <a:gd name="connsiteX9311" fmla="*/ 8853913 w 12192185"/>
              <a:gd name="connsiteY9311" fmla="*/ 779267 h 6859062"/>
              <a:gd name="connsiteX9312" fmla="*/ 8864841 w 12192185"/>
              <a:gd name="connsiteY9312" fmla="*/ 770753 h 6859062"/>
              <a:gd name="connsiteX9313" fmla="*/ 8871836 w 12192185"/>
              <a:gd name="connsiteY9313" fmla="*/ 770535 h 6859062"/>
              <a:gd name="connsiteX9314" fmla="*/ 8879049 w 12192185"/>
              <a:gd name="connsiteY9314" fmla="*/ 770345 h 6859062"/>
              <a:gd name="connsiteX9315" fmla="*/ 8292402 w 12192185"/>
              <a:gd name="connsiteY9315" fmla="*/ 770215 h 6859062"/>
              <a:gd name="connsiteX9316" fmla="*/ 8293474 w 12192185"/>
              <a:gd name="connsiteY9316" fmla="*/ 771638 h 6859062"/>
              <a:gd name="connsiteX9317" fmla="*/ 8303475 w 12192185"/>
              <a:gd name="connsiteY9317" fmla="*/ 779460 h 6859062"/>
              <a:gd name="connsiteX9318" fmla="*/ 8306689 w 12192185"/>
              <a:gd name="connsiteY9318" fmla="*/ 791550 h 6859062"/>
              <a:gd name="connsiteX9319" fmla="*/ 8301689 w 12192185"/>
              <a:gd name="connsiteY9319" fmla="*/ 805772 h 6859062"/>
              <a:gd name="connsiteX9320" fmla="*/ 8296331 w 12192185"/>
              <a:gd name="connsiteY9320" fmla="*/ 808973 h 6859062"/>
              <a:gd name="connsiteX9321" fmla="*/ 8289545 w 12192185"/>
              <a:gd name="connsiteY9321" fmla="*/ 817506 h 6859062"/>
              <a:gd name="connsiteX9322" fmla="*/ 8287402 w 12192185"/>
              <a:gd name="connsiteY9322" fmla="*/ 821417 h 6859062"/>
              <a:gd name="connsiteX9323" fmla="*/ 8276687 w 12192185"/>
              <a:gd name="connsiteY9323" fmla="*/ 831373 h 6859062"/>
              <a:gd name="connsiteX9324" fmla="*/ 8267401 w 12192185"/>
              <a:gd name="connsiteY9324" fmla="*/ 829951 h 6859062"/>
              <a:gd name="connsiteX9325" fmla="*/ 8259543 w 12192185"/>
              <a:gd name="connsiteY9325" fmla="*/ 824973 h 6859062"/>
              <a:gd name="connsiteX9326" fmla="*/ 8255256 w 12192185"/>
              <a:gd name="connsiteY9326" fmla="*/ 819995 h 6859062"/>
              <a:gd name="connsiteX9327" fmla="*/ 8255257 w 12192185"/>
              <a:gd name="connsiteY9327" fmla="*/ 807195 h 6859062"/>
              <a:gd name="connsiteX9328" fmla="*/ 8263115 w 12192185"/>
              <a:gd name="connsiteY9328" fmla="*/ 799372 h 6859062"/>
              <a:gd name="connsiteX9329" fmla="*/ 8268115 w 12192185"/>
              <a:gd name="connsiteY9329" fmla="*/ 790127 h 6859062"/>
              <a:gd name="connsiteX9330" fmla="*/ 8272043 w 12192185"/>
              <a:gd name="connsiteY9330" fmla="*/ 780526 h 6859062"/>
              <a:gd name="connsiteX9331" fmla="*/ 8277401 w 12192185"/>
              <a:gd name="connsiteY9331" fmla="*/ 774127 h 6859062"/>
              <a:gd name="connsiteX9332" fmla="*/ 8285259 w 12192185"/>
              <a:gd name="connsiteY9332" fmla="*/ 770216 h 6859062"/>
              <a:gd name="connsiteX9333" fmla="*/ 8292402 w 12192185"/>
              <a:gd name="connsiteY9333" fmla="*/ 770215 h 6859062"/>
              <a:gd name="connsiteX9334" fmla="*/ 3415630 w 12192185"/>
              <a:gd name="connsiteY9334" fmla="*/ 755773 h 6859062"/>
              <a:gd name="connsiteX9335" fmla="*/ 3418105 w 12192185"/>
              <a:gd name="connsiteY9335" fmla="*/ 756480 h 6859062"/>
              <a:gd name="connsiteX9336" fmla="*/ 3429412 w 12192185"/>
              <a:gd name="connsiteY9336" fmla="*/ 757892 h 6859062"/>
              <a:gd name="connsiteX9337" fmla="*/ 3432240 w 12192185"/>
              <a:gd name="connsiteY9337" fmla="*/ 759303 h 6859062"/>
              <a:gd name="connsiteX9338" fmla="*/ 3440367 w 12192185"/>
              <a:gd name="connsiteY9338" fmla="*/ 761775 h 6859062"/>
              <a:gd name="connsiteX9339" fmla="*/ 3444609 w 12192185"/>
              <a:gd name="connsiteY9339" fmla="*/ 763539 h 6859062"/>
              <a:gd name="connsiteX9340" fmla="*/ 3447082 w 12192185"/>
              <a:gd name="connsiteY9340" fmla="*/ 768481 h 6859062"/>
              <a:gd name="connsiteX9341" fmla="*/ 3456623 w 12192185"/>
              <a:gd name="connsiteY9341" fmla="*/ 781187 h 6859062"/>
              <a:gd name="connsiteX9342" fmla="*/ 3460868 w 12192185"/>
              <a:gd name="connsiteY9342" fmla="*/ 789659 h 6859062"/>
              <a:gd name="connsiteX9343" fmla="*/ 3460867 w 12192185"/>
              <a:gd name="connsiteY9343" fmla="*/ 793894 h 6859062"/>
              <a:gd name="connsiteX9344" fmla="*/ 3457331 w 12192185"/>
              <a:gd name="connsiteY9344" fmla="*/ 803424 h 6859062"/>
              <a:gd name="connsiteX9345" fmla="*/ 3452382 w 12192185"/>
              <a:gd name="connsiteY9345" fmla="*/ 818955 h 6859062"/>
              <a:gd name="connsiteX9346" fmla="*/ 3448142 w 12192185"/>
              <a:gd name="connsiteY9346" fmla="*/ 824602 h 6859062"/>
              <a:gd name="connsiteX9347" fmla="*/ 3441429 w 12192185"/>
              <a:gd name="connsiteY9347" fmla="*/ 830249 h 6859062"/>
              <a:gd name="connsiteX9348" fmla="*/ 3435420 w 12192185"/>
              <a:gd name="connsiteY9348" fmla="*/ 833426 h 6859062"/>
              <a:gd name="connsiteX9349" fmla="*/ 3413157 w 12192185"/>
              <a:gd name="connsiteY9349" fmla="*/ 838368 h 6859062"/>
              <a:gd name="connsiteX9350" fmla="*/ 3401849 w 12192185"/>
              <a:gd name="connsiteY9350" fmla="*/ 838015 h 6859062"/>
              <a:gd name="connsiteX9351" fmla="*/ 3384176 w 12192185"/>
              <a:gd name="connsiteY9351" fmla="*/ 824249 h 6859062"/>
              <a:gd name="connsiteX9352" fmla="*/ 3383116 w 12192185"/>
              <a:gd name="connsiteY9352" fmla="*/ 815778 h 6859062"/>
              <a:gd name="connsiteX9353" fmla="*/ 3382762 w 12192185"/>
              <a:gd name="connsiteY9353" fmla="*/ 812248 h 6859062"/>
              <a:gd name="connsiteX9354" fmla="*/ 3380993 w 12192185"/>
              <a:gd name="connsiteY9354" fmla="*/ 802718 h 6859062"/>
              <a:gd name="connsiteX9355" fmla="*/ 3379934 w 12192185"/>
              <a:gd name="connsiteY9355" fmla="*/ 798129 h 6859062"/>
              <a:gd name="connsiteX9356" fmla="*/ 3380289 w 12192185"/>
              <a:gd name="connsiteY9356" fmla="*/ 792129 h 6859062"/>
              <a:gd name="connsiteX9357" fmla="*/ 3382762 w 12192185"/>
              <a:gd name="connsiteY9357" fmla="*/ 786129 h 6859062"/>
              <a:gd name="connsiteX9358" fmla="*/ 3390539 w 12192185"/>
              <a:gd name="connsiteY9358" fmla="*/ 771657 h 6859062"/>
              <a:gd name="connsiteX9359" fmla="*/ 3415630 w 12192185"/>
              <a:gd name="connsiteY9359" fmla="*/ 755773 h 6859062"/>
              <a:gd name="connsiteX9360" fmla="*/ 7889644 w 12192185"/>
              <a:gd name="connsiteY9360" fmla="*/ 746337 h 6859062"/>
              <a:gd name="connsiteX9361" fmla="*/ 7908373 w 12192185"/>
              <a:gd name="connsiteY9361" fmla="*/ 758192 h 6859062"/>
              <a:gd name="connsiteX9362" fmla="*/ 7914177 w 12192185"/>
              <a:gd name="connsiteY9362" fmla="*/ 768995 h 6859062"/>
              <a:gd name="connsiteX9363" fmla="*/ 7916024 w 12192185"/>
              <a:gd name="connsiteY9363" fmla="*/ 773474 h 6859062"/>
              <a:gd name="connsiteX9364" fmla="*/ 7916287 w 12192185"/>
              <a:gd name="connsiteY9364" fmla="*/ 777952 h 6859062"/>
              <a:gd name="connsiteX9365" fmla="*/ 7915496 w 12192185"/>
              <a:gd name="connsiteY9365" fmla="*/ 781376 h 6859062"/>
              <a:gd name="connsiteX9366" fmla="*/ 7914177 w 12192185"/>
              <a:gd name="connsiteY9366" fmla="*/ 788490 h 6859062"/>
              <a:gd name="connsiteX9367" fmla="*/ 7913913 w 12192185"/>
              <a:gd name="connsiteY9367" fmla="*/ 791125 h 6859062"/>
              <a:gd name="connsiteX9368" fmla="*/ 7913121 w 12192185"/>
              <a:gd name="connsiteY9368" fmla="*/ 797448 h 6859062"/>
              <a:gd name="connsiteX9369" fmla="*/ 7899933 w 12192185"/>
              <a:gd name="connsiteY9369" fmla="*/ 807723 h 6859062"/>
              <a:gd name="connsiteX9370" fmla="*/ 7891491 w 12192185"/>
              <a:gd name="connsiteY9370" fmla="*/ 807987 h 6859062"/>
              <a:gd name="connsiteX9371" fmla="*/ 7874871 w 12192185"/>
              <a:gd name="connsiteY9371" fmla="*/ 804297 h 6859062"/>
              <a:gd name="connsiteX9372" fmla="*/ 7870387 w 12192185"/>
              <a:gd name="connsiteY9372" fmla="*/ 801926 h 6859062"/>
              <a:gd name="connsiteX9373" fmla="*/ 7865375 w 12192185"/>
              <a:gd name="connsiteY9373" fmla="*/ 797711 h 6859062"/>
              <a:gd name="connsiteX9374" fmla="*/ 7862209 w 12192185"/>
              <a:gd name="connsiteY9374" fmla="*/ 793496 h 6859062"/>
              <a:gd name="connsiteX9375" fmla="*/ 7858517 w 12192185"/>
              <a:gd name="connsiteY9375" fmla="*/ 781904 h 6859062"/>
              <a:gd name="connsiteX9376" fmla="*/ 7855879 w 12192185"/>
              <a:gd name="connsiteY9376" fmla="*/ 774790 h 6859062"/>
              <a:gd name="connsiteX9377" fmla="*/ 7855878 w 12192185"/>
              <a:gd name="connsiteY9377" fmla="*/ 771629 h 6859062"/>
              <a:gd name="connsiteX9378" fmla="*/ 7859044 w 12192185"/>
              <a:gd name="connsiteY9378" fmla="*/ 765306 h 6859062"/>
              <a:gd name="connsiteX9379" fmla="*/ 7866166 w 12192185"/>
              <a:gd name="connsiteY9379" fmla="*/ 755821 h 6859062"/>
              <a:gd name="connsiteX9380" fmla="*/ 7868013 w 12192185"/>
              <a:gd name="connsiteY9380" fmla="*/ 752133 h 6859062"/>
              <a:gd name="connsiteX9381" fmla="*/ 7871179 w 12192185"/>
              <a:gd name="connsiteY9381" fmla="*/ 750816 h 6859062"/>
              <a:gd name="connsiteX9382" fmla="*/ 7877246 w 12192185"/>
              <a:gd name="connsiteY9382" fmla="*/ 748971 h 6859062"/>
              <a:gd name="connsiteX9383" fmla="*/ 7879356 w 12192185"/>
              <a:gd name="connsiteY9383" fmla="*/ 747918 h 6859062"/>
              <a:gd name="connsiteX9384" fmla="*/ 7887798 w 12192185"/>
              <a:gd name="connsiteY9384" fmla="*/ 746864 h 6859062"/>
              <a:gd name="connsiteX9385" fmla="*/ 7889644 w 12192185"/>
              <a:gd name="connsiteY9385" fmla="*/ 746337 h 6859062"/>
              <a:gd name="connsiteX9386" fmla="*/ 11361673 w 12192185"/>
              <a:gd name="connsiteY9386" fmla="*/ 745523 h 6859062"/>
              <a:gd name="connsiteX9387" fmla="*/ 11370298 w 12192185"/>
              <a:gd name="connsiteY9387" fmla="*/ 746778 h 6859062"/>
              <a:gd name="connsiteX9388" fmla="*/ 11372388 w 12192185"/>
              <a:gd name="connsiteY9388" fmla="*/ 745818 h 6859062"/>
              <a:gd name="connsiteX9389" fmla="*/ 11380512 w 12192185"/>
              <a:gd name="connsiteY9389" fmla="*/ 750194 h 6859062"/>
              <a:gd name="connsiteX9390" fmla="*/ 11387053 w 12192185"/>
              <a:gd name="connsiteY9390" fmla="*/ 759456 h 6859062"/>
              <a:gd name="connsiteX9391" fmla="*/ 11389224 w 12192185"/>
              <a:gd name="connsiteY9391" fmla="*/ 770017 h 6859062"/>
              <a:gd name="connsiteX9392" fmla="*/ 11387810 w 12192185"/>
              <a:gd name="connsiteY9392" fmla="*/ 783341 h 6859062"/>
              <a:gd name="connsiteX9393" fmla="*/ 11387833 w 12192185"/>
              <a:gd name="connsiteY9393" fmla="*/ 796919 h 6859062"/>
              <a:gd name="connsiteX9394" fmla="*/ 11391978 w 12192185"/>
              <a:gd name="connsiteY9394" fmla="*/ 810628 h 6859062"/>
              <a:gd name="connsiteX9395" fmla="*/ 11384136 w 12192185"/>
              <a:gd name="connsiteY9395" fmla="*/ 825185 h 6859062"/>
              <a:gd name="connsiteX9396" fmla="*/ 11376212 w 12192185"/>
              <a:gd name="connsiteY9396" fmla="*/ 828221 h 6859062"/>
              <a:gd name="connsiteX9397" fmla="*/ 11364226 w 12192185"/>
              <a:gd name="connsiteY9397" fmla="*/ 829068 h 6859062"/>
              <a:gd name="connsiteX9398" fmla="*/ 11352793 w 12192185"/>
              <a:gd name="connsiteY9398" fmla="*/ 824996 h 6859062"/>
              <a:gd name="connsiteX9399" fmla="*/ 11346707 w 12192185"/>
              <a:gd name="connsiteY9399" fmla="*/ 807109 h 6859062"/>
              <a:gd name="connsiteX9400" fmla="*/ 11346666 w 12192185"/>
              <a:gd name="connsiteY9400" fmla="*/ 801349 h 6859062"/>
              <a:gd name="connsiteX9401" fmla="*/ 11344177 w 12192185"/>
              <a:gd name="connsiteY9401" fmla="*/ 787487 h 6859062"/>
              <a:gd name="connsiteX9402" fmla="*/ 11340044 w 12192185"/>
              <a:gd name="connsiteY9402" fmla="*/ 780565 h 6859062"/>
              <a:gd name="connsiteX9403" fmla="*/ 11343071 w 12192185"/>
              <a:gd name="connsiteY9403" fmla="*/ 761327 h 6859062"/>
              <a:gd name="connsiteX9404" fmla="*/ 11354133 w 12192185"/>
              <a:gd name="connsiteY9404" fmla="*/ 749548 h 6859062"/>
              <a:gd name="connsiteX9405" fmla="*/ 11361673 w 12192185"/>
              <a:gd name="connsiteY9405" fmla="*/ 745523 h 6859062"/>
              <a:gd name="connsiteX9406" fmla="*/ 3522833 w 12192185"/>
              <a:gd name="connsiteY9406" fmla="*/ 739710 h 6859062"/>
              <a:gd name="connsiteX9407" fmla="*/ 3523031 w 12192185"/>
              <a:gd name="connsiteY9407" fmla="*/ 740040 h 6859062"/>
              <a:gd name="connsiteX9408" fmla="*/ 3522603 w 12192185"/>
              <a:gd name="connsiteY9408" fmla="*/ 739939 h 6859062"/>
              <a:gd name="connsiteX9409" fmla="*/ 3919363 w 12192185"/>
              <a:gd name="connsiteY9409" fmla="*/ 727256 h 6859062"/>
              <a:gd name="connsiteX9410" fmla="*/ 3919276 w 12192185"/>
              <a:gd name="connsiteY9410" fmla="*/ 727532 h 6859062"/>
              <a:gd name="connsiteX9411" fmla="*/ 3918982 w 12192185"/>
              <a:gd name="connsiteY9411" fmla="*/ 727353 h 6859062"/>
              <a:gd name="connsiteX9412" fmla="*/ 9916027 w 12192185"/>
              <a:gd name="connsiteY9412" fmla="*/ 722342 h 6859062"/>
              <a:gd name="connsiteX9413" fmla="*/ 9934832 w 12192185"/>
              <a:gd name="connsiteY9413" fmla="*/ 723293 h 6859062"/>
              <a:gd name="connsiteX9414" fmla="*/ 9942270 w 12192185"/>
              <a:gd name="connsiteY9414" fmla="*/ 724768 h 6859062"/>
              <a:gd name="connsiteX9415" fmla="*/ 9954392 w 12192185"/>
              <a:gd name="connsiteY9415" fmla="*/ 728133 h 6859062"/>
              <a:gd name="connsiteX9416" fmla="*/ 9966324 w 12192185"/>
              <a:gd name="connsiteY9416" fmla="*/ 725382 h 6859062"/>
              <a:gd name="connsiteX9417" fmla="*/ 9970717 w 12192185"/>
              <a:gd name="connsiteY9417" fmla="*/ 726046 h 6859062"/>
              <a:gd name="connsiteX9418" fmla="*/ 9971157 w 12192185"/>
              <a:gd name="connsiteY9418" fmla="*/ 730518 h 6859062"/>
              <a:gd name="connsiteX9419" fmla="*/ 9970308 w 12192185"/>
              <a:gd name="connsiteY9419" fmla="*/ 733858 h 6859062"/>
              <a:gd name="connsiteX9420" fmla="*/ 9970667 w 12192185"/>
              <a:gd name="connsiteY9420" fmla="*/ 738483 h 6859062"/>
              <a:gd name="connsiteX9421" fmla="*/ 9975048 w 12192185"/>
              <a:gd name="connsiteY9421" fmla="*/ 737993 h 6859062"/>
              <a:gd name="connsiteX9422" fmla="*/ 9981750 w 12192185"/>
              <a:gd name="connsiteY9422" fmla="*/ 743187 h 6859062"/>
              <a:gd name="connsiteX9423" fmla="*/ 9981505 w 12192185"/>
              <a:gd name="connsiteY9423" fmla="*/ 747170 h 6859062"/>
              <a:gd name="connsiteX9424" fmla="*/ 9984997 w 12192185"/>
              <a:gd name="connsiteY9424" fmla="*/ 751267 h 6859062"/>
              <a:gd name="connsiteX9425" fmla="*/ 9988963 w 12192185"/>
              <a:gd name="connsiteY9425" fmla="*/ 748022 h 6859062"/>
              <a:gd name="connsiteX9426" fmla="*/ 9990547 w 12192185"/>
              <a:gd name="connsiteY9426" fmla="*/ 744089 h 6859062"/>
              <a:gd name="connsiteX9427" fmla="*/ 9999453 w 12192185"/>
              <a:gd name="connsiteY9427" fmla="*/ 773502 h 6859062"/>
              <a:gd name="connsiteX9428" fmla="*/ 9997515 w 12192185"/>
              <a:gd name="connsiteY9428" fmla="*/ 774469 h 6859062"/>
              <a:gd name="connsiteX9429" fmla="*/ 9997213 w 12192185"/>
              <a:gd name="connsiteY9429" fmla="*/ 780320 h 6859062"/>
              <a:gd name="connsiteX9430" fmla="*/ 10000574 w 12192185"/>
              <a:gd name="connsiteY9430" fmla="*/ 784663 h 6859062"/>
              <a:gd name="connsiteX9431" fmla="*/ 10000349 w 12192185"/>
              <a:gd name="connsiteY9431" fmla="*/ 792137 h 6859062"/>
              <a:gd name="connsiteX9432" fmla="*/ 9999744 w 12192185"/>
              <a:gd name="connsiteY9432" fmla="*/ 816183 h 6859062"/>
              <a:gd name="connsiteX9433" fmla="*/ 10001727 w 12192185"/>
              <a:gd name="connsiteY9433" fmla="*/ 820733 h 6859062"/>
              <a:gd name="connsiteX9434" fmla="*/ 9995478 w 12192185"/>
              <a:gd name="connsiteY9434" fmla="*/ 821165 h 6859062"/>
              <a:gd name="connsiteX9435" fmla="*/ 9994741 w 12192185"/>
              <a:gd name="connsiteY9435" fmla="*/ 820768 h 6859062"/>
              <a:gd name="connsiteX9436" fmla="*/ 9985585 w 12192185"/>
              <a:gd name="connsiteY9436" fmla="*/ 826596 h 6859062"/>
              <a:gd name="connsiteX9437" fmla="*/ 9978883 w 12192185"/>
              <a:gd name="connsiteY9437" fmla="*/ 837862 h 6859062"/>
              <a:gd name="connsiteX9438" fmla="*/ 9965987 w 12192185"/>
              <a:gd name="connsiteY9438" fmla="*/ 851806 h 6859062"/>
              <a:gd name="connsiteX9439" fmla="*/ 9959927 w 12192185"/>
              <a:gd name="connsiteY9439" fmla="*/ 854238 h 6859062"/>
              <a:gd name="connsiteX9440" fmla="*/ 9942993 w 12192185"/>
              <a:gd name="connsiteY9440" fmla="*/ 861574 h 6859062"/>
              <a:gd name="connsiteX9441" fmla="*/ 9935912 w 12192185"/>
              <a:gd name="connsiteY9441" fmla="*/ 860609 h 6859062"/>
              <a:gd name="connsiteX9442" fmla="*/ 9907781 w 12192185"/>
              <a:gd name="connsiteY9442" fmla="*/ 854633 h 6859062"/>
              <a:gd name="connsiteX9443" fmla="*/ 9904872 w 12192185"/>
              <a:gd name="connsiteY9443" fmla="*/ 860029 h 6859062"/>
              <a:gd name="connsiteX9444" fmla="*/ 9910857 w 12192185"/>
              <a:gd name="connsiteY9444" fmla="*/ 864204 h 6859062"/>
              <a:gd name="connsiteX9445" fmla="*/ 9916861 w 12192185"/>
              <a:gd name="connsiteY9445" fmla="*/ 863640 h 6859062"/>
              <a:gd name="connsiteX9446" fmla="*/ 9921299 w 12192185"/>
              <a:gd name="connsiteY9446" fmla="*/ 865397 h 6859062"/>
              <a:gd name="connsiteX9447" fmla="*/ 9918184 w 12192185"/>
              <a:gd name="connsiteY9447" fmla="*/ 869416 h 6859062"/>
              <a:gd name="connsiteX9448" fmla="*/ 9913030 w 12192185"/>
              <a:gd name="connsiteY9448" fmla="*/ 870754 h 6859062"/>
              <a:gd name="connsiteX9449" fmla="*/ 9907705 w 12192185"/>
              <a:gd name="connsiteY9449" fmla="*/ 877698 h 6859062"/>
              <a:gd name="connsiteX9450" fmla="*/ 9915126 w 12192185"/>
              <a:gd name="connsiteY9450" fmla="*/ 879796 h 6859062"/>
              <a:gd name="connsiteX9451" fmla="*/ 9922526 w 12192185"/>
              <a:gd name="connsiteY9451" fmla="*/ 878402 h 6859062"/>
              <a:gd name="connsiteX9452" fmla="*/ 9925717 w 12192185"/>
              <a:gd name="connsiteY9452" fmla="*/ 884236 h 6859062"/>
              <a:gd name="connsiteX9453" fmla="*/ 9912785 w 12192185"/>
              <a:gd name="connsiteY9453" fmla="*/ 895311 h 6859062"/>
              <a:gd name="connsiteX9454" fmla="*/ 9905517 w 12192185"/>
              <a:gd name="connsiteY9454" fmla="*/ 908803 h 6859062"/>
              <a:gd name="connsiteX9455" fmla="*/ 9907517 w 12192185"/>
              <a:gd name="connsiteY9455" fmla="*/ 916845 h 6859062"/>
              <a:gd name="connsiteX9456" fmla="*/ 9907536 w 12192185"/>
              <a:gd name="connsiteY9456" fmla="*/ 920336 h 6859062"/>
              <a:gd name="connsiteX9457" fmla="*/ 9904043 w 12192185"/>
              <a:gd name="connsiteY9457" fmla="*/ 920353 h 6859062"/>
              <a:gd name="connsiteX9458" fmla="*/ 9896246 w 12192185"/>
              <a:gd name="connsiteY9458" fmla="*/ 922484 h 6859062"/>
              <a:gd name="connsiteX9459" fmla="*/ 9883917 w 12192185"/>
              <a:gd name="connsiteY9459" fmla="*/ 930085 h 6859062"/>
              <a:gd name="connsiteX9460" fmla="*/ 9880501 w 12192185"/>
              <a:gd name="connsiteY9460" fmla="*/ 935840 h 6859062"/>
              <a:gd name="connsiteX9461" fmla="*/ 9880349 w 12192185"/>
              <a:gd name="connsiteY9461" fmla="*/ 940823 h 6859062"/>
              <a:gd name="connsiteX9462" fmla="*/ 9874724 w 12192185"/>
              <a:gd name="connsiteY9462" fmla="*/ 941274 h 6859062"/>
              <a:gd name="connsiteX9463" fmla="*/ 9871023 w 12192185"/>
              <a:gd name="connsiteY9463" fmla="*/ 939914 h 6859062"/>
              <a:gd name="connsiteX9464" fmla="*/ 9861432 w 12192185"/>
              <a:gd name="connsiteY9464" fmla="*/ 947724 h 6859062"/>
              <a:gd name="connsiteX9465" fmla="*/ 9861601 w 12192185"/>
              <a:gd name="connsiteY9465" fmla="*/ 950347 h 6859062"/>
              <a:gd name="connsiteX9466" fmla="*/ 9858977 w 12192185"/>
              <a:gd name="connsiteY9466" fmla="*/ 954631 h 6859062"/>
              <a:gd name="connsiteX9467" fmla="*/ 9855578 w 12192185"/>
              <a:gd name="connsiteY9467" fmla="*/ 951535 h 6859062"/>
              <a:gd name="connsiteX9468" fmla="*/ 9854842 w 12192185"/>
              <a:gd name="connsiteY9468" fmla="*/ 947023 h 6859062"/>
              <a:gd name="connsiteX9469" fmla="*/ 9850330 w 12192185"/>
              <a:gd name="connsiteY9469" fmla="*/ 943643 h 6859062"/>
              <a:gd name="connsiteX9470" fmla="*/ 9833244 w 12192185"/>
              <a:gd name="connsiteY9470" fmla="*/ 939502 h 6859062"/>
              <a:gd name="connsiteX9471" fmla="*/ 9813928 w 12192185"/>
              <a:gd name="connsiteY9471" fmla="*/ 930680 h 6859062"/>
              <a:gd name="connsiteX9472" fmla="*/ 9810700 w 12192185"/>
              <a:gd name="connsiteY9472" fmla="*/ 926092 h 6859062"/>
              <a:gd name="connsiteX9473" fmla="*/ 9801108 w 12192185"/>
              <a:gd name="connsiteY9473" fmla="*/ 913329 h 6859062"/>
              <a:gd name="connsiteX9474" fmla="*/ 9799579 w 12192185"/>
              <a:gd name="connsiteY9474" fmla="*/ 910289 h 6859062"/>
              <a:gd name="connsiteX9475" fmla="*/ 9795783 w 12192185"/>
              <a:gd name="connsiteY9475" fmla="*/ 891470 h 6859062"/>
              <a:gd name="connsiteX9476" fmla="*/ 9801050 w 12192185"/>
              <a:gd name="connsiteY9476" fmla="*/ 865820 h 6859062"/>
              <a:gd name="connsiteX9477" fmla="*/ 9801956 w 12192185"/>
              <a:gd name="connsiteY9477" fmla="*/ 856497 h 6859062"/>
              <a:gd name="connsiteX9478" fmla="*/ 9808508 w 12192185"/>
              <a:gd name="connsiteY9478" fmla="*/ 846099 h 6859062"/>
              <a:gd name="connsiteX9479" fmla="*/ 9814379 w 12192185"/>
              <a:gd name="connsiteY9479" fmla="*/ 837551 h 6859062"/>
              <a:gd name="connsiteX9480" fmla="*/ 9816116 w 12192185"/>
              <a:gd name="connsiteY9480" fmla="*/ 833739 h 6859062"/>
              <a:gd name="connsiteX9481" fmla="*/ 9839583 w 12192185"/>
              <a:gd name="connsiteY9481" fmla="*/ 824859 h 6859062"/>
              <a:gd name="connsiteX9482" fmla="*/ 9857690 w 12192185"/>
              <a:gd name="connsiteY9482" fmla="*/ 824167 h 6859062"/>
              <a:gd name="connsiteX9483" fmla="*/ 9875267 w 12192185"/>
              <a:gd name="connsiteY9483" fmla="*/ 816229 h 6859062"/>
              <a:gd name="connsiteX9484" fmla="*/ 9875248 w 12192185"/>
              <a:gd name="connsiteY9484" fmla="*/ 812737 h 6859062"/>
              <a:gd name="connsiteX9485" fmla="*/ 9870019 w 12192185"/>
              <a:gd name="connsiteY9485" fmla="*/ 787763 h 6859062"/>
              <a:gd name="connsiteX9486" fmla="*/ 9870168 w 12192185"/>
              <a:gd name="connsiteY9486" fmla="*/ 782780 h 6859062"/>
              <a:gd name="connsiteX9487" fmla="*/ 9874814 w 12192185"/>
              <a:gd name="connsiteY9487" fmla="*/ 769456 h 6859062"/>
              <a:gd name="connsiteX9488" fmla="*/ 9879042 w 12192185"/>
              <a:gd name="connsiteY9488" fmla="*/ 753376 h 6859062"/>
              <a:gd name="connsiteX9489" fmla="*/ 9882458 w 12192185"/>
              <a:gd name="connsiteY9489" fmla="*/ 747621 h 6859062"/>
              <a:gd name="connsiteX9490" fmla="*/ 9912515 w 12192185"/>
              <a:gd name="connsiteY9490" fmla="*/ 722982 h 6859062"/>
              <a:gd name="connsiteX9491" fmla="*/ 9916027 w 12192185"/>
              <a:gd name="connsiteY9491" fmla="*/ 722342 h 6859062"/>
              <a:gd name="connsiteX9492" fmla="*/ 1070860 w 12192185"/>
              <a:gd name="connsiteY9492" fmla="*/ 706138 h 6859062"/>
              <a:gd name="connsiteX9493" fmla="*/ 1085086 w 12192185"/>
              <a:gd name="connsiteY9493" fmla="*/ 709287 h 6859062"/>
              <a:gd name="connsiteX9494" fmla="*/ 1094051 w 12192185"/>
              <a:gd name="connsiteY9494" fmla="*/ 714338 h 6859062"/>
              <a:gd name="connsiteX9495" fmla="*/ 1100866 w 12192185"/>
              <a:gd name="connsiteY9495" fmla="*/ 733194 h 6859062"/>
              <a:gd name="connsiteX9496" fmla="*/ 1093457 w 12192185"/>
              <a:gd name="connsiteY9496" fmla="*/ 748901 h 6859062"/>
              <a:gd name="connsiteX9497" fmla="*/ 1091013 w 12192185"/>
              <a:gd name="connsiteY9497" fmla="*/ 765183 h 6859062"/>
              <a:gd name="connsiteX9498" fmla="*/ 1090338 w 12192185"/>
              <a:gd name="connsiteY9498" fmla="*/ 781417 h 6859062"/>
              <a:gd name="connsiteX9499" fmla="*/ 1085854 w 12192185"/>
              <a:gd name="connsiteY9499" fmla="*/ 793698 h 6859062"/>
              <a:gd name="connsiteX9500" fmla="*/ 1076362 w 12192185"/>
              <a:gd name="connsiteY9500" fmla="*/ 803644 h 6859062"/>
              <a:gd name="connsiteX9501" fmla="*/ 1065838 w 12192185"/>
              <a:gd name="connsiteY9501" fmla="*/ 807448 h 6859062"/>
              <a:gd name="connsiteX9502" fmla="*/ 1063503 w 12192185"/>
              <a:gd name="connsiteY9502" fmla="*/ 805924 h 6859062"/>
              <a:gd name="connsiteX9503" fmla="*/ 1044605 w 12192185"/>
              <a:gd name="connsiteY9503" fmla="*/ 799725 h 6859062"/>
              <a:gd name="connsiteX9504" fmla="*/ 1033431 w 12192185"/>
              <a:gd name="connsiteY9504" fmla="*/ 783628 h 6859062"/>
              <a:gd name="connsiteX9505" fmla="*/ 1033224 w 12192185"/>
              <a:gd name="connsiteY9505" fmla="*/ 760014 h 6859062"/>
              <a:gd name="connsiteX9506" fmla="*/ 1039413 w 12192185"/>
              <a:gd name="connsiteY9506" fmla="*/ 752447 h 6859062"/>
              <a:gd name="connsiteX9507" fmla="*/ 1044865 w 12192185"/>
              <a:gd name="connsiteY9507" fmla="*/ 736263 h 6859062"/>
              <a:gd name="connsiteX9508" fmla="*/ 1045939 w 12192185"/>
              <a:gd name="connsiteY9508" fmla="*/ 729360 h 6859062"/>
              <a:gd name="connsiteX9509" fmla="*/ 1056422 w 12192185"/>
              <a:gd name="connsiteY9509" fmla="*/ 708989 h 6859062"/>
              <a:gd name="connsiteX9510" fmla="*/ 1070860 w 12192185"/>
              <a:gd name="connsiteY9510" fmla="*/ 706138 h 6859062"/>
              <a:gd name="connsiteX9511" fmla="*/ 10521196 w 12192185"/>
              <a:gd name="connsiteY9511" fmla="*/ 704686 h 6859062"/>
              <a:gd name="connsiteX9512" fmla="*/ 10525297 w 12192185"/>
              <a:gd name="connsiteY9512" fmla="*/ 705096 h 6859062"/>
              <a:gd name="connsiteX9513" fmla="*/ 10532770 w 12192185"/>
              <a:gd name="connsiteY9513" fmla="*/ 706604 h 6859062"/>
              <a:gd name="connsiteX9514" fmla="*/ 10535603 w 12192185"/>
              <a:gd name="connsiteY9514" fmla="*/ 706692 h 6859062"/>
              <a:gd name="connsiteX9515" fmla="*/ 10545137 w 12192185"/>
              <a:gd name="connsiteY9515" fmla="*/ 710388 h 6859062"/>
              <a:gd name="connsiteX9516" fmla="*/ 10547392 w 12192185"/>
              <a:gd name="connsiteY9516" fmla="*/ 710884 h 6859062"/>
              <a:gd name="connsiteX9517" fmla="*/ 10560454 w 12192185"/>
              <a:gd name="connsiteY9517" fmla="*/ 734109 h 6859062"/>
              <a:gd name="connsiteX9518" fmla="*/ 10560438 w 12192185"/>
              <a:gd name="connsiteY9518" fmla="*/ 748848 h 6859062"/>
              <a:gd name="connsiteX9519" fmla="*/ 10559839 w 12192185"/>
              <a:gd name="connsiteY9519" fmla="*/ 754641 h 6859062"/>
              <a:gd name="connsiteX9520" fmla="*/ 10557565 w 12192185"/>
              <a:gd name="connsiteY9520" fmla="*/ 759531 h 6859062"/>
              <a:gd name="connsiteX9521" fmla="*/ 10554774 w 12192185"/>
              <a:gd name="connsiteY9521" fmla="*/ 762705 h 6859062"/>
              <a:gd name="connsiteX9522" fmla="*/ 10549323 w 12192185"/>
              <a:gd name="connsiteY9522" fmla="*/ 769481 h 6859062"/>
              <a:gd name="connsiteX9523" fmla="*/ 10547543 w 12192185"/>
              <a:gd name="connsiteY9523" fmla="*/ 772118 h 6859062"/>
              <a:gd name="connsiteX9524" fmla="*/ 10543100 w 12192185"/>
              <a:gd name="connsiteY9524" fmla="*/ 778358 h 6859062"/>
              <a:gd name="connsiteX9525" fmla="*/ 10523283 w 12192185"/>
              <a:gd name="connsiteY9525" fmla="*/ 781713 h 6859062"/>
              <a:gd name="connsiteX9526" fmla="*/ 10514200 w 12192185"/>
              <a:gd name="connsiteY9526" fmla="*/ 777179 h 6859062"/>
              <a:gd name="connsiteX9527" fmla="*/ 10498715 w 12192185"/>
              <a:gd name="connsiteY9527" fmla="*/ 763802 h 6859062"/>
              <a:gd name="connsiteX9528" fmla="*/ 10495321 w 12192185"/>
              <a:gd name="connsiteY9528" fmla="*/ 758735 h 6859062"/>
              <a:gd name="connsiteX9529" fmla="*/ 10492419 w 12192185"/>
              <a:gd name="connsiteY9529" fmla="*/ 751417 h 6859062"/>
              <a:gd name="connsiteX9530" fmla="*/ 10491474 w 12192185"/>
              <a:gd name="connsiteY9530" fmla="*/ 745152 h 6859062"/>
              <a:gd name="connsiteX9531" fmla="*/ 10494173 w 12192185"/>
              <a:gd name="connsiteY9531" fmla="*/ 730778 h 6859062"/>
              <a:gd name="connsiteX9532" fmla="*/ 10495437 w 12192185"/>
              <a:gd name="connsiteY9532" fmla="*/ 721746 h 6859062"/>
              <a:gd name="connsiteX9533" fmla="*/ 10497240 w 12192185"/>
              <a:gd name="connsiteY9533" fmla="*/ 718400 h 6859062"/>
              <a:gd name="connsiteX9534" fmla="*/ 10504195 w 12192185"/>
              <a:gd name="connsiteY9534" fmla="*/ 713514 h 6859062"/>
              <a:gd name="connsiteX9535" fmla="*/ 10517138 w 12192185"/>
              <a:gd name="connsiteY9535" fmla="*/ 707537 h 6859062"/>
              <a:gd name="connsiteX9536" fmla="*/ 10521196 w 12192185"/>
              <a:gd name="connsiteY9536" fmla="*/ 704686 h 6859062"/>
              <a:gd name="connsiteX9537" fmla="*/ 9700273 w 12192185"/>
              <a:gd name="connsiteY9537" fmla="*/ 700001 h 6859062"/>
              <a:gd name="connsiteX9538" fmla="*/ 9702828 w 12192185"/>
              <a:gd name="connsiteY9538" fmla="*/ 701277 h 6859062"/>
              <a:gd name="connsiteX9539" fmla="*/ 9710209 w 12192185"/>
              <a:gd name="connsiteY9539" fmla="*/ 704682 h 6859062"/>
              <a:gd name="connsiteX9540" fmla="*/ 9711629 w 12192185"/>
              <a:gd name="connsiteY9540" fmla="*/ 705676 h 6859062"/>
              <a:gd name="connsiteX9541" fmla="*/ 9717875 w 12192185"/>
              <a:gd name="connsiteY9541" fmla="*/ 713194 h 6859062"/>
              <a:gd name="connsiteX9542" fmla="*/ 9721706 w 12192185"/>
              <a:gd name="connsiteY9542" fmla="*/ 725963 h 6859062"/>
              <a:gd name="connsiteX9543" fmla="*/ 9723553 w 12192185"/>
              <a:gd name="connsiteY9543" fmla="*/ 730361 h 6859062"/>
              <a:gd name="connsiteX9544" fmla="*/ 9723126 w 12192185"/>
              <a:gd name="connsiteY9544" fmla="*/ 736604 h 6859062"/>
              <a:gd name="connsiteX9545" fmla="*/ 9722558 w 12192185"/>
              <a:gd name="connsiteY9545" fmla="*/ 741853 h 6859062"/>
              <a:gd name="connsiteX9546" fmla="*/ 9722701 w 12192185"/>
              <a:gd name="connsiteY9546" fmla="*/ 743981 h 6859062"/>
              <a:gd name="connsiteX9547" fmla="*/ 9714325 w 12192185"/>
              <a:gd name="connsiteY9547" fmla="*/ 753628 h 6859062"/>
              <a:gd name="connsiteX9548" fmla="*/ 9706377 w 12192185"/>
              <a:gd name="connsiteY9548" fmla="*/ 758311 h 6859062"/>
              <a:gd name="connsiteX9549" fmla="*/ 9700414 w 12192185"/>
              <a:gd name="connsiteY9549" fmla="*/ 766113 h 6859062"/>
              <a:gd name="connsiteX9550" fmla="*/ 9701267 w 12192185"/>
              <a:gd name="connsiteY9550" fmla="*/ 767674 h 6859062"/>
              <a:gd name="connsiteX9551" fmla="*/ 9709641 w 12192185"/>
              <a:gd name="connsiteY9551" fmla="*/ 777604 h 6859062"/>
              <a:gd name="connsiteX9552" fmla="*/ 9710777 w 12192185"/>
              <a:gd name="connsiteY9552" fmla="*/ 779874 h 6859062"/>
              <a:gd name="connsiteX9553" fmla="*/ 9711912 w 12192185"/>
              <a:gd name="connsiteY9553" fmla="*/ 786968 h 6859062"/>
              <a:gd name="connsiteX9554" fmla="*/ 9713900 w 12192185"/>
              <a:gd name="connsiteY9554" fmla="*/ 795197 h 6859062"/>
              <a:gd name="connsiteX9555" fmla="*/ 9713757 w 12192185"/>
              <a:gd name="connsiteY9555" fmla="*/ 798602 h 6859062"/>
              <a:gd name="connsiteX9556" fmla="*/ 9706234 w 12192185"/>
              <a:gd name="connsiteY9556" fmla="*/ 816903 h 6859062"/>
              <a:gd name="connsiteX9557" fmla="*/ 9704815 w 12192185"/>
              <a:gd name="connsiteY9557" fmla="*/ 818038 h 6859062"/>
              <a:gd name="connsiteX9558" fmla="*/ 9696156 w 12192185"/>
              <a:gd name="connsiteY9558" fmla="*/ 822153 h 6859062"/>
              <a:gd name="connsiteX9559" fmla="*/ 9692466 w 12192185"/>
              <a:gd name="connsiteY9559" fmla="*/ 823288 h 6859062"/>
              <a:gd name="connsiteX9560" fmla="*/ 9686220 w 12192185"/>
              <a:gd name="connsiteY9560" fmla="*/ 824706 h 6859062"/>
              <a:gd name="connsiteX9561" fmla="*/ 9681536 w 12192185"/>
              <a:gd name="connsiteY9561" fmla="*/ 828821 h 6859062"/>
              <a:gd name="connsiteX9562" fmla="*/ 9679408 w 12192185"/>
              <a:gd name="connsiteY9562" fmla="*/ 829584 h 6859062"/>
              <a:gd name="connsiteX9563" fmla="*/ 9678129 w 12192185"/>
              <a:gd name="connsiteY9563" fmla="*/ 827686 h 6859062"/>
              <a:gd name="connsiteX9564" fmla="*/ 9677704 w 12192185"/>
              <a:gd name="connsiteY9564" fmla="*/ 825984 h 6859062"/>
              <a:gd name="connsiteX9565" fmla="*/ 9676427 w 12192185"/>
              <a:gd name="connsiteY9565" fmla="*/ 823997 h 6859062"/>
              <a:gd name="connsiteX9566" fmla="*/ 9674580 w 12192185"/>
              <a:gd name="connsiteY9566" fmla="*/ 825274 h 6859062"/>
              <a:gd name="connsiteX9567" fmla="*/ 9670323 w 12192185"/>
              <a:gd name="connsiteY9567" fmla="*/ 824564 h 6859062"/>
              <a:gd name="connsiteX9568" fmla="*/ 9669470 w 12192185"/>
              <a:gd name="connsiteY9568" fmla="*/ 822720 h 6859062"/>
              <a:gd name="connsiteX9569" fmla="*/ 9666915 w 12192185"/>
              <a:gd name="connsiteY9569" fmla="*/ 821727 h 6859062"/>
              <a:gd name="connsiteX9570" fmla="*/ 9665923 w 12192185"/>
              <a:gd name="connsiteY9570" fmla="*/ 824139 h 6859062"/>
              <a:gd name="connsiteX9571" fmla="*/ 9666161 w 12192185"/>
              <a:gd name="connsiteY9571" fmla="*/ 826285 h 6859062"/>
              <a:gd name="connsiteX9572" fmla="*/ 9655067 w 12192185"/>
              <a:gd name="connsiteY9572" fmla="*/ 815251 h 6859062"/>
              <a:gd name="connsiteX9573" fmla="*/ 9655703 w 12192185"/>
              <a:gd name="connsiteY9573" fmla="*/ 814350 h 6859062"/>
              <a:gd name="connsiteX9574" fmla="*/ 9654425 w 12192185"/>
              <a:gd name="connsiteY9574" fmla="*/ 811654 h 6859062"/>
              <a:gd name="connsiteX9575" fmla="*/ 9651870 w 12192185"/>
              <a:gd name="connsiteY9575" fmla="*/ 810520 h 6859062"/>
              <a:gd name="connsiteX9576" fmla="*/ 9650167 w 12192185"/>
              <a:gd name="connsiteY9576" fmla="*/ 807114 h 6859062"/>
              <a:gd name="connsiteX9577" fmla="*/ 9644630 w 12192185"/>
              <a:gd name="connsiteY9577" fmla="*/ 796190 h 6859062"/>
              <a:gd name="connsiteX9578" fmla="*/ 9642644 w 12192185"/>
              <a:gd name="connsiteY9578" fmla="*/ 794630 h 6859062"/>
              <a:gd name="connsiteX9579" fmla="*/ 9645340 w 12192185"/>
              <a:gd name="connsiteY9579" fmla="*/ 792927 h 6859062"/>
              <a:gd name="connsiteX9580" fmla="*/ 9645765 w 12192185"/>
              <a:gd name="connsiteY9580" fmla="*/ 792927 h 6859062"/>
              <a:gd name="connsiteX9581" fmla="*/ 9648463 w 12192185"/>
              <a:gd name="connsiteY9581" fmla="*/ 788104 h 6859062"/>
              <a:gd name="connsiteX9582" fmla="*/ 9648747 w 12192185"/>
              <a:gd name="connsiteY9582" fmla="*/ 781435 h 6859062"/>
              <a:gd name="connsiteX9583" fmla="*/ 9651159 w 12192185"/>
              <a:gd name="connsiteY9583" fmla="*/ 772071 h 6859062"/>
              <a:gd name="connsiteX9584" fmla="*/ 9653289 w 12192185"/>
              <a:gd name="connsiteY9584" fmla="*/ 769518 h 6859062"/>
              <a:gd name="connsiteX9585" fmla="*/ 9659109 w 12192185"/>
              <a:gd name="connsiteY9585" fmla="*/ 762141 h 6859062"/>
              <a:gd name="connsiteX9586" fmla="*/ 9662515 w 12192185"/>
              <a:gd name="connsiteY9586" fmla="*/ 760864 h 6859062"/>
              <a:gd name="connsiteX9587" fmla="*/ 9676568 w 12192185"/>
              <a:gd name="connsiteY9587" fmla="*/ 756750 h 6859062"/>
              <a:gd name="connsiteX9588" fmla="*/ 9676568 w 12192185"/>
              <a:gd name="connsiteY9588" fmla="*/ 753628 h 6859062"/>
              <a:gd name="connsiteX9589" fmla="*/ 9672878 w 12192185"/>
              <a:gd name="connsiteY9589" fmla="*/ 753203 h 6859062"/>
              <a:gd name="connsiteX9590" fmla="*/ 9670322 w 12192185"/>
              <a:gd name="connsiteY9590" fmla="*/ 754905 h 6859062"/>
              <a:gd name="connsiteX9591" fmla="*/ 9667909 w 12192185"/>
              <a:gd name="connsiteY9591" fmla="*/ 755189 h 6859062"/>
              <a:gd name="connsiteX9592" fmla="*/ 9668335 w 12192185"/>
              <a:gd name="connsiteY9592" fmla="*/ 752635 h 6859062"/>
              <a:gd name="connsiteX9593" fmla="*/ 9670322 w 12192185"/>
              <a:gd name="connsiteY9593" fmla="*/ 750791 h 6859062"/>
              <a:gd name="connsiteX9594" fmla="*/ 9671033 w 12192185"/>
              <a:gd name="connsiteY9594" fmla="*/ 746393 h 6859062"/>
              <a:gd name="connsiteX9595" fmla="*/ 9667199 w 12192185"/>
              <a:gd name="connsiteY9595" fmla="*/ 747244 h 6859062"/>
              <a:gd name="connsiteX9596" fmla="*/ 9664218 w 12192185"/>
              <a:gd name="connsiteY9596" fmla="*/ 749656 h 6859062"/>
              <a:gd name="connsiteX9597" fmla="*/ 9661379 w 12192185"/>
              <a:gd name="connsiteY9597" fmla="*/ 747811 h 6859062"/>
              <a:gd name="connsiteX9598" fmla="*/ 9664503 w 12192185"/>
              <a:gd name="connsiteY9598" fmla="*/ 739725 h 6859062"/>
              <a:gd name="connsiteX9599" fmla="*/ 9664502 w 12192185"/>
              <a:gd name="connsiteY9599" fmla="*/ 731922 h 6859062"/>
              <a:gd name="connsiteX9600" fmla="*/ 9661663 w 12192185"/>
              <a:gd name="connsiteY9600" fmla="*/ 728800 h 6859062"/>
              <a:gd name="connsiteX9601" fmla="*/ 9660812 w 12192185"/>
              <a:gd name="connsiteY9601" fmla="*/ 727240 h 6859062"/>
              <a:gd name="connsiteX9602" fmla="*/ 9662374 w 12192185"/>
              <a:gd name="connsiteY9602" fmla="*/ 726388 h 6859062"/>
              <a:gd name="connsiteX9603" fmla="*/ 9665354 w 12192185"/>
              <a:gd name="connsiteY9603" fmla="*/ 723552 h 6859062"/>
              <a:gd name="connsiteX9604" fmla="*/ 9669045 w 12192185"/>
              <a:gd name="connsiteY9604" fmla="*/ 717167 h 6859062"/>
              <a:gd name="connsiteX9605" fmla="*/ 9669187 w 12192185"/>
              <a:gd name="connsiteY9605" fmla="*/ 713762 h 6859062"/>
              <a:gd name="connsiteX9606" fmla="*/ 9668052 w 12192185"/>
              <a:gd name="connsiteY9606" fmla="*/ 711492 h 6859062"/>
              <a:gd name="connsiteX9607" fmla="*/ 9670465 w 12192185"/>
              <a:gd name="connsiteY9607" fmla="*/ 709931 h 6859062"/>
              <a:gd name="connsiteX9608" fmla="*/ 9672451 w 12192185"/>
              <a:gd name="connsiteY9608" fmla="*/ 709647 h 6859062"/>
              <a:gd name="connsiteX9609" fmla="*/ 9674864 w 12192185"/>
              <a:gd name="connsiteY9609" fmla="*/ 703831 h 6859062"/>
              <a:gd name="connsiteX9610" fmla="*/ 9674156 w 12192185"/>
              <a:gd name="connsiteY9610" fmla="*/ 702696 h 6859062"/>
              <a:gd name="connsiteX9611" fmla="*/ 9674298 w 12192185"/>
              <a:gd name="connsiteY9611" fmla="*/ 700143 h 6859062"/>
              <a:gd name="connsiteX9612" fmla="*/ 9676568 w 12192185"/>
              <a:gd name="connsiteY9612" fmla="*/ 700710 h 6859062"/>
              <a:gd name="connsiteX9613" fmla="*/ 9677987 w 12192185"/>
              <a:gd name="connsiteY9613" fmla="*/ 702554 h 6859062"/>
              <a:gd name="connsiteX9614" fmla="*/ 9680826 w 12192185"/>
              <a:gd name="connsiteY9614" fmla="*/ 702980 h 6859062"/>
              <a:gd name="connsiteX9615" fmla="*/ 9689486 w 12192185"/>
              <a:gd name="connsiteY9615" fmla="*/ 700710 h 6859062"/>
              <a:gd name="connsiteX9616" fmla="*/ 9700273 w 12192185"/>
              <a:gd name="connsiteY9616" fmla="*/ 700001 h 6859062"/>
              <a:gd name="connsiteX9617" fmla="*/ 4184019 w 12192185"/>
              <a:gd name="connsiteY9617" fmla="*/ 684882 h 6859062"/>
              <a:gd name="connsiteX9618" fmla="*/ 4192273 w 12192185"/>
              <a:gd name="connsiteY9618" fmla="*/ 685562 h 6859062"/>
              <a:gd name="connsiteX9619" fmla="*/ 4197707 w 12192185"/>
              <a:gd name="connsiteY9619" fmla="*/ 687717 h 6859062"/>
              <a:gd name="connsiteX9620" fmla="*/ 4202996 w 12192185"/>
              <a:gd name="connsiteY9620" fmla="*/ 697813 h 6859062"/>
              <a:gd name="connsiteX9621" fmla="*/ 4200031 w 12192185"/>
              <a:gd name="connsiteY9621" fmla="*/ 707230 h 6859062"/>
              <a:gd name="connsiteX9622" fmla="*/ 4199905 w 12192185"/>
              <a:gd name="connsiteY9622" fmla="*/ 716588 h 6859062"/>
              <a:gd name="connsiteX9623" fmla="*/ 4200775 w 12192185"/>
              <a:gd name="connsiteY9623" fmla="*/ 725784 h 6859062"/>
              <a:gd name="connsiteX9624" fmla="*/ 4199194 w 12192185"/>
              <a:gd name="connsiteY9624" fmla="*/ 733046 h 6859062"/>
              <a:gd name="connsiteX9625" fmla="*/ 4194613 w 12192185"/>
              <a:gd name="connsiteY9625" fmla="*/ 739378 h 6859062"/>
              <a:gd name="connsiteX9626" fmla="*/ 4188983 w 12192185"/>
              <a:gd name="connsiteY9626" fmla="*/ 742330 h 6859062"/>
              <a:gd name="connsiteX9627" fmla="*/ 4187551 w 12192185"/>
              <a:gd name="connsiteY9627" fmla="*/ 741651 h 6859062"/>
              <a:gd name="connsiteX9628" fmla="*/ 4176428 w 12192185"/>
              <a:gd name="connsiteY9628" fmla="*/ 739613 h 6859062"/>
              <a:gd name="connsiteX9629" fmla="*/ 4168897 w 12192185"/>
              <a:gd name="connsiteY9629" fmla="*/ 731407 h 6859062"/>
              <a:gd name="connsiteX9630" fmla="*/ 4166964 w 12192185"/>
              <a:gd name="connsiteY9630" fmla="*/ 718122 h 6859062"/>
              <a:gd name="connsiteX9631" fmla="*/ 4169867 w 12192185"/>
              <a:gd name="connsiteY9631" fmla="*/ 713385 h 6859062"/>
              <a:gd name="connsiteX9632" fmla="*/ 4171693 w 12192185"/>
              <a:gd name="connsiteY9632" fmla="*/ 703849 h 6859062"/>
              <a:gd name="connsiteX9633" fmla="*/ 4171768 w 12192185"/>
              <a:gd name="connsiteY9633" fmla="*/ 699878 h 6859062"/>
              <a:gd name="connsiteX9634" fmla="*/ 4176107 w 12192185"/>
              <a:gd name="connsiteY9634" fmla="*/ 687598 h 6859062"/>
              <a:gd name="connsiteX9635" fmla="*/ 4184019 w 12192185"/>
              <a:gd name="connsiteY9635" fmla="*/ 684882 h 6859062"/>
              <a:gd name="connsiteX9636" fmla="*/ 3592418 w 12192185"/>
              <a:gd name="connsiteY9636" fmla="*/ 683513 h 6859062"/>
              <a:gd name="connsiteX9637" fmla="*/ 3595223 w 12192185"/>
              <a:gd name="connsiteY9637" fmla="*/ 684517 h 6859062"/>
              <a:gd name="connsiteX9638" fmla="*/ 3601395 w 12192185"/>
              <a:gd name="connsiteY9638" fmla="*/ 689939 h 6859062"/>
              <a:gd name="connsiteX9639" fmla="*/ 3609626 w 12192185"/>
              <a:gd name="connsiteY9639" fmla="*/ 691808 h 6859062"/>
              <a:gd name="connsiteX9640" fmla="*/ 3614487 w 12192185"/>
              <a:gd name="connsiteY9640" fmla="*/ 693303 h 6859062"/>
              <a:gd name="connsiteX9641" fmla="*/ 3625897 w 12192185"/>
              <a:gd name="connsiteY9641" fmla="*/ 698725 h 6859062"/>
              <a:gd name="connsiteX9642" fmla="*/ 3627768 w 12192185"/>
              <a:gd name="connsiteY9642" fmla="*/ 700221 h 6859062"/>
              <a:gd name="connsiteX9643" fmla="*/ 3637679 w 12192185"/>
              <a:gd name="connsiteY9643" fmla="*/ 724336 h 6859062"/>
              <a:gd name="connsiteX9644" fmla="*/ 3637866 w 12192185"/>
              <a:gd name="connsiteY9644" fmla="*/ 728824 h 6859062"/>
              <a:gd name="connsiteX9645" fmla="*/ 3635248 w 12192185"/>
              <a:gd name="connsiteY9645" fmla="*/ 739666 h 6859062"/>
              <a:gd name="connsiteX9646" fmla="*/ 3633750 w 12192185"/>
              <a:gd name="connsiteY9646" fmla="*/ 749013 h 6859062"/>
              <a:gd name="connsiteX9647" fmla="*/ 3632256 w 12192185"/>
              <a:gd name="connsiteY9647" fmla="*/ 752005 h 6859062"/>
              <a:gd name="connsiteX9648" fmla="*/ 3621221 w 12192185"/>
              <a:gd name="connsiteY9648" fmla="*/ 765091 h 6859062"/>
              <a:gd name="connsiteX9649" fmla="*/ 3620098 w 12192185"/>
              <a:gd name="connsiteY9649" fmla="*/ 767147 h 6859062"/>
              <a:gd name="connsiteX9650" fmla="*/ 3627955 w 12192185"/>
              <a:gd name="connsiteY9650" fmla="*/ 777429 h 6859062"/>
              <a:gd name="connsiteX9651" fmla="*/ 3638428 w 12192185"/>
              <a:gd name="connsiteY9651" fmla="*/ 783599 h 6859062"/>
              <a:gd name="connsiteX9652" fmla="*/ 3649463 w 12192185"/>
              <a:gd name="connsiteY9652" fmla="*/ 796310 h 6859062"/>
              <a:gd name="connsiteX9653" fmla="*/ 3649275 w 12192185"/>
              <a:gd name="connsiteY9653" fmla="*/ 799115 h 6859062"/>
              <a:gd name="connsiteX9654" fmla="*/ 3650022 w 12192185"/>
              <a:gd name="connsiteY9654" fmla="*/ 806032 h 6859062"/>
              <a:gd name="connsiteX9655" fmla="*/ 3650586 w 12192185"/>
              <a:gd name="connsiteY9655" fmla="*/ 814258 h 6859062"/>
              <a:gd name="connsiteX9656" fmla="*/ 3648153 w 12192185"/>
              <a:gd name="connsiteY9656" fmla="*/ 820053 h 6859062"/>
              <a:gd name="connsiteX9657" fmla="*/ 3643105 w 12192185"/>
              <a:gd name="connsiteY9657" fmla="*/ 836879 h 6859062"/>
              <a:gd name="connsiteX9658" fmla="*/ 3634874 w 12192185"/>
              <a:gd name="connsiteY9658" fmla="*/ 846786 h 6859062"/>
              <a:gd name="connsiteX9659" fmla="*/ 3633005 w 12192185"/>
              <a:gd name="connsiteY9659" fmla="*/ 848095 h 6859062"/>
              <a:gd name="connsiteX9660" fmla="*/ 3623278 w 12192185"/>
              <a:gd name="connsiteY9660" fmla="*/ 852581 h 6859062"/>
              <a:gd name="connsiteX9661" fmla="*/ 3619910 w 12192185"/>
              <a:gd name="connsiteY9661" fmla="*/ 854264 h 6859062"/>
              <a:gd name="connsiteX9662" fmla="*/ 3605697 w 12192185"/>
              <a:gd name="connsiteY9662" fmla="*/ 853329 h 6859062"/>
              <a:gd name="connsiteX9663" fmla="*/ 3594288 w 12192185"/>
              <a:gd name="connsiteY9663" fmla="*/ 850339 h 6859062"/>
              <a:gd name="connsiteX9664" fmla="*/ 3590547 w 12192185"/>
              <a:gd name="connsiteY9664" fmla="*/ 850900 h 6859062"/>
              <a:gd name="connsiteX9665" fmla="*/ 3588678 w 12192185"/>
              <a:gd name="connsiteY9665" fmla="*/ 853329 h 6859062"/>
              <a:gd name="connsiteX9666" fmla="*/ 3585684 w 12192185"/>
              <a:gd name="connsiteY9666" fmla="*/ 854077 h 6859062"/>
              <a:gd name="connsiteX9667" fmla="*/ 3585498 w 12192185"/>
              <a:gd name="connsiteY9667" fmla="*/ 850713 h 6859062"/>
              <a:gd name="connsiteX9668" fmla="*/ 3586433 w 12192185"/>
              <a:gd name="connsiteY9668" fmla="*/ 849217 h 6859062"/>
              <a:gd name="connsiteX9669" fmla="*/ 3583254 w 12192185"/>
              <a:gd name="connsiteY9669" fmla="*/ 841552 h 6859062"/>
              <a:gd name="connsiteX9670" fmla="*/ 3580635 w 12192185"/>
              <a:gd name="connsiteY9670" fmla="*/ 841178 h 6859062"/>
              <a:gd name="connsiteX9671" fmla="*/ 3577457 w 12192185"/>
              <a:gd name="connsiteY9671" fmla="*/ 839121 h 6859062"/>
              <a:gd name="connsiteX9672" fmla="*/ 3578952 w 12192185"/>
              <a:gd name="connsiteY9672" fmla="*/ 836130 h 6859062"/>
              <a:gd name="connsiteX9673" fmla="*/ 3578764 w 12192185"/>
              <a:gd name="connsiteY9673" fmla="*/ 831644 h 6859062"/>
              <a:gd name="connsiteX9674" fmla="*/ 3573902 w 12192185"/>
              <a:gd name="connsiteY9674" fmla="*/ 823231 h 6859062"/>
              <a:gd name="connsiteX9675" fmla="*/ 3569974 w 12192185"/>
              <a:gd name="connsiteY9675" fmla="*/ 819493 h 6859062"/>
              <a:gd name="connsiteX9676" fmla="*/ 3567918 w 12192185"/>
              <a:gd name="connsiteY9676" fmla="*/ 818371 h 6859062"/>
              <a:gd name="connsiteX9677" fmla="*/ 3569038 w 12192185"/>
              <a:gd name="connsiteY9677" fmla="*/ 816314 h 6859062"/>
              <a:gd name="connsiteX9678" fmla="*/ 3572777 w 12192185"/>
              <a:gd name="connsiteY9678" fmla="*/ 812201 h 6859062"/>
              <a:gd name="connsiteX9679" fmla="*/ 3572777 w 12192185"/>
              <a:gd name="connsiteY9679" fmla="*/ 801920 h 6859062"/>
              <a:gd name="connsiteX9680" fmla="*/ 3568663 w 12192185"/>
              <a:gd name="connsiteY9680" fmla="*/ 791263 h 6859062"/>
              <a:gd name="connsiteX9681" fmla="*/ 3572404 w 12192185"/>
              <a:gd name="connsiteY9681" fmla="*/ 788833 h 6859062"/>
              <a:gd name="connsiteX9682" fmla="*/ 3576332 w 12192185"/>
              <a:gd name="connsiteY9682" fmla="*/ 792011 h 6859062"/>
              <a:gd name="connsiteX9683" fmla="*/ 3581384 w 12192185"/>
              <a:gd name="connsiteY9683" fmla="*/ 793133 h 6859062"/>
              <a:gd name="connsiteX9684" fmla="*/ 3580448 w 12192185"/>
              <a:gd name="connsiteY9684" fmla="*/ 787337 h 6859062"/>
              <a:gd name="connsiteX9685" fmla="*/ 3577831 w 12192185"/>
              <a:gd name="connsiteY9685" fmla="*/ 784907 h 6859062"/>
              <a:gd name="connsiteX9686" fmla="*/ 3577267 w 12192185"/>
              <a:gd name="connsiteY9686" fmla="*/ 781542 h 6859062"/>
              <a:gd name="connsiteX9687" fmla="*/ 3580447 w 12192185"/>
              <a:gd name="connsiteY9687" fmla="*/ 781916 h 6859062"/>
              <a:gd name="connsiteX9688" fmla="*/ 3583814 w 12192185"/>
              <a:gd name="connsiteY9688" fmla="*/ 784160 h 6859062"/>
              <a:gd name="connsiteX9689" fmla="*/ 3588678 w 12192185"/>
              <a:gd name="connsiteY9689" fmla="*/ 783598 h 6859062"/>
              <a:gd name="connsiteX9690" fmla="*/ 3588678 w 12192185"/>
              <a:gd name="connsiteY9690" fmla="*/ 779486 h 6859062"/>
              <a:gd name="connsiteX9691" fmla="*/ 3570159 w 12192185"/>
              <a:gd name="connsiteY9691" fmla="*/ 774064 h 6859062"/>
              <a:gd name="connsiteX9692" fmla="*/ 3565672 w 12192185"/>
              <a:gd name="connsiteY9692" fmla="*/ 772382 h 6859062"/>
              <a:gd name="connsiteX9693" fmla="*/ 3558005 w 12192185"/>
              <a:gd name="connsiteY9693" fmla="*/ 762660 h 6859062"/>
              <a:gd name="connsiteX9694" fmla="*/ 3555199 w 12192185"/>
              <a:gd name="connsiteY9694" fmla="*/ 759296 h 6859062"/>
              <a:gd name="connsiteX9695" fmla="*/ 3552019 w 12192185"/>
              <a:gd name="connsiteY9695" fmla="*/ 746957 h 6859062"/>
              <a:gd name="connsiteX9696" fmla="*/ 3551646 w 12192185"/>
              <a:gd name="connsiteY9696" fmla="*/ 738171 h 6859062"/>
              <a:gd name="connsiteX9697" fmla="*/ 3548093 w 12192185"/>
              <a:gd name="connsiteY9697" fmla="*/ 731814 h 6859062"/>
              <a:gd name="connsiteX9698" fmla="*/ 3547529 w 12192185"/>
              <a:gd name="connsiteY9698" fmla="*/ 731814 h 6859062"/>
              <a:gd name="connsiteX9699" fmla="*/ 3543976 w 12192185"/>
              <a:gd name="connsiteY9699" fmla="*/ 729571 h 6859062"/>
              <a:gd name="connsiteX9700" fmla="*/ 3546596 w 12192185"/>
              <a:gd name="connsiteY9700" fmla="*/ 727515 h 6859062"/>
              <a:gd name="connsiteX9701" fmla="*/ 3553891 w 12192185"/>
              <a:gd name="connsiteY9701" fmla="*/ 713120 h 6859062"/>
              <a:gd name="connsiteX9702" fmla="*/ 3556133 w 12192185"/>
              <a:gd name="connsiteY9702" fmla="*/ 708634 h 6859062"/>
              <a:gd name="connsiteX9703" fmla="*/ 3559502 w 12192185"/>
              <a:gd name="connsiteY9703" fmla="*/ 707137 h 6859062"/>
              <a:gd name="connsiteX9704" fmla="*/ 3561183 w 12192185"/>
              <a:gd name="connsiteY9704" fmla="*/ 703585 h 6859062"/>
              <a:gd name="connsiteX9705" fmla="*/ 3560347 w 12192185"/>
              <a:gd name="connsiteY9705" fmla="*/ 702398 h 6859062"/>
              <a:gd name="connsiteX9706" fmla="*/ 3574963 w 12192185"/>
              <a:gd name="connsiteY9706" fmla="*/ 687859 h 6859062"/>
              <a:gd name="connsiteX9707" fmla="*/ 3574649 w 12192185"/>
              <a:gd name="connsiteY9707" fmla="*/ 690686 h 6859062"/>
              <a:gd name="connsiteX9708" fmla="*/ 3575959 w 12192185"/>
              <a:gd name="connsiteY9708" fmla="*/ 693864 h 6859062"/>
              <a:gd name="connsiteX9709" fmla="*/ 3579326 w 12192185"/>
              <a:gd name="connsiteY9709" fmla="*/ 692555 h 6859062"/>
              <a:gd name="connsiteX9710" fmla="*/ 3580447 w 12192185"/>
              <a:gd name="connsiteY9710" fmla="*/ 690125 h 6859062"/>
              <a:gd name="connsiteX9711" fmla="*/ 3586059 w 12192185"/>
              <a:gd name="connsiteY9711" fmla="*/ 689191 h 6859062"/>
              <a:gd name="connsiteX9712" fmla="*/ 3588490 w 12192185"/>
              <a:gd name="connsiteY9712" fmla="*/ 690873 h 6859062"/>
              <a:gd name="connsiteX9713" fmla="*/ 3590174 w 12192185"/>
              <a:gd name="connsiteY9713" fmla="*/ 688256 h 6859062"/>
              <a:gd name="connsiteX9714" fmla="*/ 3590735 w 12192185"/>
              <a:gd name="connsiteY9714" fmla="*/ 686013 h 6859062"/>
              <a:gd name="connsiteX9715" fmla="*/ 3592418 w 12192185"/>
              <a:gd name="connsiteY9715" fmla="*/ 683513 h 6859062"/>
              <a:gd name="connsiteX9716" fmla="*/ 7716079 w 12192185"/>
              <a:gd name="connsiteY9716" fmla="*/ 672480 h 6859062"/>
              <a:gd name="connsiteX9717" fmla="*/ 7716275 w 12192185"/>
              <a:gd name="connsiteY9717" fmla="*/ 672675 h 6859062"/>
              <a:gd name="connsiteX9718" fmla="*/ 7715910 w 12192185"/>
              <a:gd name="connsiteY9718" fmla="*/ 672762 h 6859062"/>
              <a:gd name="connsiteX9719" fmla="*/ 668614 w 12192185"/>
              <a:gd name="connsiteY9719" fmla="*/ 671171 h 6859062"/>
              <a:gd name="connsiteX9720" fmla="*/ 692305 w 12192185"/>
              <a:gd name="connsiteY9720" fmla="*/ 678890 h 6859062"/>
              <a:gd name="connsiteX9721" fmla="*/ 696617 w 12192185"/>
              <a:gd name="connsiteY9721" fmla="*/ 687350 h 6859062"/>
              <a:gd name="connsiteX9722" fmla="*/ 698322 w 12192185"/>
              <a:gd name="connsiteY9722" fmla="*/ 690908 h 6859062"/>
              <a:gd name="connsiteX9723" fmla="*/ 703774 w 12192185"/>
              <a:gd name="connsiteY9723" fmla="*/ 700210 h 6859062"/>
              <a:gd name="connsiteX9724" fmla="*/ 706618 w 12192185"/>
              <a:gd name="connsiteY9724" fmla="*/ 704609 h 6859062"/>
              <a:gd name="connsiteX9725" fmla="*/ 708517 w 12192185"/>
              <a:gd name="connsiteY9725" fmla="*/ 711019 h 6859062"/>
              <a:gd name="connsiteX9726" fmla="*/ 708198 w 12192185"/>
              <a:gd name="connsiteY9726" fmla="*/ 718231 h 6859062"/>
              <a:gd name="connsiteX9727" fmla="*/ 705537 w 12192185"/>
              <a:gd name="connsiteY9727" fmla="*/ 736310 h 6859062"/>
              <a:gd name="connsiteX9728" fmla="*/ 685294 w 12192185"/>
              <a:gd name="connsiteY9728" fmla="*/ 762413 h 6859062"/>
              <a:gd name="connsiteX9729" fmla="*/ 682439 w 12192185"/>
              <a:gd name="connsiteY9729" fmla="*/ 762610 h 6859062"/>
              <a:gd name="connsiteX9730" fmla="*/ 670076 w 12192185"/>
              <a:gd name="connsiteY9730" fmla="*/ 765410 h 6859062"/>
              <a:gd name="connsiteX9731" fmla="*/ 666584 w 12192185"/>
              <a:gd name="connsiteY9731" fmla="*/ 765002 h 6859062"/>
              <a:gd name="connsiteX9732" fmla="*/ 657147 w 12192185"/>
              <a:gd name="connsiteY9732" fmla="*/ 765491 h 6859062"/>
              <a:gd name="connsiteX9733" fmla="*/ 652043 w 12192185"/>
              <a:gd name="connsiteY9733" fmla="*/ 765249 h 6859062"/>
              <a:gd name="connsiteX9734" fmla="*/ 647587 w 12192185"/>
              <a:gd name="connsiteY9734" fmla="*/ 761014 h 6859062"/>
              <a:gd name="connsiteX9735" fmla="*/ 632800 w 12192185"/>
              <a:gd name="connsiteY9735" fmla="*/ 751330 h 6859062"/>
              <a:gd name="connsiteX9736" fmla="*/ 625160 w 12192185"/>
              <a:gd name="connsiteY9736" fmla="*/ 744073 h 6859062"/>
              <a:gd name="connsiteX9737" fmla="*/ 623559 w 12192185"/>
              <a:gd name="connsiteY9737" fmla="*/ 739643 h 6859062"/>
              <a:gd name="connsiteX9738" fmla="*/ 623652 w 12192185"/>
              <a:gd name="connsiteY9738" fmla="*/ 728337 h 6859062"/>
              <a:gd name="connsiteX9739" fmla="*/ 622955 w 12192185"/>
              <a:gd name="connsiteY9739" fmla="*/ 710220 h 6859062"/>
              <a:gd name="connsiteX9740" fmla="*/ 625256 w 12192185"/>
              <a:gd name="connsiteY9740" fmla="*/ 702709 h 6859062"/>
              <a:gd name="connsiteX9741" fmla="*/ 630145 w 12192185"/>
              <a:gd name="connsiteY9741" fmla="*/ 694262 h 6859062"/>
              <a:gd name="connsiteX9742" fmla="*/ 635229 w 12192185"/>
              <a:gd name="connsiteY9742" fmla="*/ 688667 h 6859062"/>
              <a:gd name="connsiteX9743" fmla="*/ 656651 w 12192185"/>
              <a:gd name="connsiteY9743" fmla="*/ 675079 h 6859062"/>
              <a:gd name="connsiteX9744" fmla="*/ 668614 w 12192185"/>
              <a:gd name="connsiteY9744" fmla="*/ 671171 h 6859062"/>
              <a:gd name="connsiteX9745" fmla="*/ 2516971 w 12192185"/>
              <a:gd name="connsiteY9745" fmla="*/ 670081 h 6859062"/>
              <a:gd name="connsiteX9746" fmla="*/ 2534400 w 12192185"/>
              <a:gd name="connsiteY9746" fmla="*/ 681114 h 6859062"/>
              <a:gd name="connsiteX9747" fmla="*/ 2539798 w 12192185"/>
              <a:gd name="connsiteY9747" fmla="*/ 691165 h 6859062"/>
              <a:gd name="connsiteX9748" fmla="*/ 2541519 w 12192185"/>
              <a:gd name="connsiteY9748" fmla="*/ 695333 h 6859062"/>
              <a:gd name="connsiteX9749" fmla="*/ 2541765 w 12192185"/>
              <a:gd name="connsiteY9749" fmla="*/ 699501 h 6859062"/>
              <a:gd name="connsiteX9750" fmla="*/ 2541030 w 12192185"/>
              <a:gd name="connsiteY9750" fmla="*/ 702688 h 6859062"/>
              <a:gd name="connsiteX9751" fmla="*/ 2539799 w 12192185"/>
              <a:gd name="connsiteY9751" fmla="*/ 709308 h 6859062"/>
              <a:gd name="connsiteX9752" fmla="*/ 2539557 w 12192185"/>
              <a:gd name="connsiteY9752" fmla="*/ 711759 h 6859062"/>
              <a:gd name="connsiteX9753" fmla="*/ 2538817 w 12192185"/>
              <a:gd name="connsiteY9753" fmla="*/ 717643 h 6859062"/>
              <a:gd name="connsiteX9754" fmla="*/ 2526545 w 12192185"/>
              <a:gd name="connsiteY9754" fmla="*/ 727205 h 6859062"/>
              <a:gd name="connsiteX9755" fmla="*/ 2518689 w 12192185"/>
              <a:gd name="connsiteY9755" fmla="*/ 727450 h 6859062"/>
              <a:gd name="connsiteX9756" fmla="*/ 2503225 w 12192185"/>
              <a:gd name="connsiteY9756" fmla="*/ 724017 h 6859062"/>
              <a:gd name="connsiteX9757" fmla="*/ 2499049 w 12192185"/>
              <a:gd name="connsiteY9757" fmla="*/ 721811 h 6859062"/>
              <a:gd name="connsiteX9758" fmla="*/ 2494388 w 12192185"/>
              <a:gd name="connsiteY9758" fmla="*/ 717889 h 6859062"/>
              <a:gd name="connsiteX9759" fmla="*/ 2491439 w 12192185"/>
              <a:gd name="connsiteY9759" fmla="*/ 713966 h 6859062"/>
              <a:gd name="connsiteX9760" fmla="*/ 2488004 w 12192185"/>
              <a:gd name="connsiteY9760" fmla="*/ 703178 h 6859062"/>
              <a:gd name="connsiteX9761" fmla="*/ 2485550 w 12192185"/>
              <a:gd name="connsiteY9761" fmla="*/ 696559 h 6859062"/>
              <a:gd name="connsiteX9762" fmla="*/ 2485550 w 12192185"/>
              <a:gd name="connsiteY9762" fmla="*/ 693616 h 6859062"/>
              <a:gd name="connsiteX9763" fmla="*/ 2488496 w 12192185"/>
              <a:gd name="connsiteY9763" fmla="*/ 687733 h 6859062"/>
              <a:gd name="connsiteX9764" fmla="*/ 2495123 w 12192185"/>
              <a:gd name="connsiteY9764" fmla="*/ 678907 h 6859062"/>
              <a:gd name="connsiteX9765" fmla="*/ 2496840 w 12192185"/>
              <a:gd name="connsiteY9765" fmla="*/ 675475 h 6859062"/>
              <a:gd name="connsiteX9766" fmla="*/ 2499786 w 12192185"/>
              <a:gd name="connsiteY9766" fmla="*/ 674249 h 6859062"/>
              <a:gd name="connsiteX9767" fmla="*/ 2505432 w 12192185"/>
              <a:gd name="connsiteY9767" fmla="*/ 672533 h 6859062"/>
              <a:gd name="connsiteX9768" fmla="*/ 2507397 w 12192185"/>
              <a:gd name="connsiteY9768" fmla="*/ 671552 h 6859062"/>
              <a:gd name="connsiteX9769" fmla="*/ 2515253 w 12192185"/>
              <a:gd name="connsiteY9769" fmla="*/ 670571 h 6859062"/>
              <a:gd name="connsiteX9770" fmla="*/ 2516971 w 12192185"/>
              <a:gd name="connsiteY9770" fmla="*/ 670081 h 6859062"/>
              <a:gd name="connsiteX9771" fmla="*/ 9478155 w 12192185"/>
              <a:gd name="connsiteY9771" fmla="*/ 666068 h 6859062"/>
              <a:gd name="connsiteX9772" fmla="*/ 9485201 w 12192185"/>
              <a:gd name="connsiteY9772" fmla="*/ 669558 h 6859062"/>
              <a:gd name="connsiteX9773" fmla="*/ 9489195 w 12192185"/>
              <a:gd name="connsiteY9773" fmla="*/ 671669 h 6859062"/>
              <a:gd name="connsiteX9774" fmla="*/ 9493657 w 12192185"/>
              <a:gd name="connsiteY9774" fmla="*/ 675422 h 6859062"/>
              <a:gd name="connsiteX9775" fmla="*/ 9496476 w 12192185"/>
              <a:gd name="connsiteY9775" fmla="*/ 679175 h 6859062"/>
              <a:gd name="connsiteX9776" fmla="*/ 9499765 w 12192185"/>
              <a:gd name="connsiteY9776" fmla="*/ 689498 h 6859062"/>
              <a:gd name="connsiteX9777" fmla="*/ 9502113 w 12192185"/>
              <a:gd name="connsiteY9777" fmla="*/ 695831 h 6859062"/>
              <a:gd name="connsiteX9778" fmla="*/ 9502113 w 12192185"/>
              <a:gd name="connsiteY9778" fmla="*/ 698647 h 6859062"/>
              <a:gd name="connsiteX9779" fmla="*/ 9499295 w 12192185"/>
              <a:gd name="connsiteY9779" fmla="*/ 704277 h 6859062"/>
              <a:gd name="connsiteX9780" fmla="*/ 9492952 w 12192185"/>
              <a:gd name="connsiteY9780" fmla="*/ 712722 h 6859062"/>
              <a:gd name="connsiteX9781" fmla="*/ 9491309 w 12192185"/>
              <a:gd name="connsiteY9781" fmla="*/ 716006 h 6859062"/>
              <a:gd name="connsiteX9782" fmla="*/ 9488490 w 12192185"/>
              <a:gd name="connsiteY9782" fmla="*/ 717180 h 6859062"/>
              <a:gd name="connsiteX9783" fmla="*/ 9483087 w 12192185"/>
              <a:gd name="connsiteY9783" fmla="*/ 718821 h 6859062"/>
              <a:gd name="connsiteX9784" fmla="*/ 9481208 w 12192185"/>
              <a:gd name="connsiteY9784" fmla="*/ 719760 h 6859062"/>
              <a:gd name="connsiteX9785" fmla="*/ 9473691 w 12192185"/>
              <a:gd name="connsiteY9785" fmla="*/ 720698 h 6859062"/>
              <a:gd name="connsiteX9786" fmla="*/ 9472047 w 12192185"/>
              <a:gd name="connsiteY9786" fmla="*/ 721167 h 6859062"/>
              <a:gd name="connsiteX9787" fmla="*/ 9455370 w 12192185"/>
              <a:gd name="connsiteY9787" fmla="*/ 710611 h 6859062"/>
              <a:gd name="connsiteX9788" fmla="*/ 9450202 w 12192185"/>
              <a:gd name="connsiteY9788" fmla="*/ 700992 h 6859062"/>
              <a:gd name="connsiteX9789" fmla="*/ 9448558 w 12192185"/>
              <a:gd name="connsiteY9789" fmla="*/ 697005 h 6859062"/>
              <a:gd name="connsiteX9790" fmla="*/ 9448323 w 12192185"/>
              <a:gd name="connsiteY9790" fmla="*/ 693016 h 6859062"/>
              <a:gd name="connsiteX9791" fmla="*/ 9449028 w 12192185"/>
              <a:gd name="connsiteY9791" fmla="*/ 689967 h 6859062"/>
              <a:gd name="connsiteX9792" fmla="*/ 9450202 w 12192185"/>
              <a:gd name="connsiteY9792" fmla="*/ 683633 h 6859062"/>
              <a:gd name="connsiteX9793" fmla="*/ 9450437 w 12192185"/>
              <a:gd name="connsiteY9793" fmla="*/ 681287 h 6859062"/>
              <a:gd name="connsiteX9794" fmla="*/ 9451142 w 12192185"/>
              <a:gd name="connsiteY9794" fmla="*/ 675657 h 6859062"/>
              <a:gd name="connsiteX9795" fmla="*/ 9462886 w 12192185"/>
              <a:gd name="connsiteY9795" fmla="*/ 666508 h 6859062"/>
              <a:gd name="connsiteX9796" fmla="*/ 9470403 w 12192185"/>
              <a:gd name="connsiteY9796" fmla="*/ 666273 h 6859062"/>
              <a:gd name="connsiteX9797" fmla="*/ 9478155 w 12192185"/>
              <a:gd name="connsiteY9797" fmla="*/ 666068 h 6859062"/>
              <a:gd name="connsiteX9798" fmla="*/ 9127415 w 12192185"/>
              <a:gd name="connsiteY9798" fmla="*/ 645450 h 6859062"/>
              <a:gd name="connsiteX9799" fmla="*/ 9135684 w 12192185"/>
              <a:gd name="connsiteY9799" fmla="*/ 646716 h 6859062"/>
              <a:gd name="connsiteX9800" fmla="*/ 9142681 w 12192185"/>
              <a:gd name="connsiteY9800" fmla="*/ 651149 h 6859062"/>
              <a:gd name="connsiteX9801" fmla="*/ 9146497 w 12192185"/>
              <a:gd name="connsiteY9801" fmla="*/ 655582 h 6859062"/>
              <a:gd name="connsiteX9802" fmla="*/ 9146497 w 12192185"/>
              <a:gd name="connsiteY9802" fmla="*/ 666980 h 6859062"/>
              <a:gd name="connsiteX9803" fmla="*/ 9139500 w 12192185"/>
              <a:gd name="connsiteY9803" fmla="*/ 673945 h 6859062"/>
              <a:gd name="connsiteX9804" fmla="*/ 9135049 w 12192185"/>
              <a:gd name="connsiteY9804" fmla="*/ 682177 h 6859062"/>
              <a:gd name="connsiteX9805" fmla="*/ 9131549 w 12192185"/>
              <a:gd name="connsiteY9805" fmla="*/ 690726 h 6859062"/>
              <a:gd name="connsiteX9806" fmla="*/ 9126779 w 12192185"/>
              <a:gd name="connsiteY9806" fmla="*/ 696425 h 6859062"/>
              <a:gd name="connsiteX9807" fmla="*/ 9119782 w 12192185"/>
              <a:gd name="connsiteY9807" fmla="*/ 699907 h 6859062"/>
              <a:gd name="connsiteX9808" fmla="*/ 9113421 w 12192185"/>
              <a:gd name="connsiteY9808" fmla="*/ 699907 h 6859062"/>
              <a:gd name="connsiteX9809" fmla="*/ 9112468 w 12192185"/>
              <a:gd name="connsiteY9809" fmla="*/ 698640 h 6859062"/>
              <a:gd name="connsiteX9810" fmla="*/ 9103562 w 12192185"/>
              <a:gd name="connsiteY9810" fmla="*/ 691675 h 6859062"/>
              <a:gd name="connsiteX9811" fmla="*/ 9100700 w 12192185"/>
              <a:gd name="connsiteY9811" fmla="*/ 680910 h 6859062"/>
              <a:gd name="connsiteX9812" fmla="*/ 9105153 w 12192185"/>
              <a:gd name="connsiteY9812" fmla="*/ 668246 h 6859062"/>
              <a:gd name="connsiteX9813" fmla="*/ 9109923 w 12192185"/>
              <a:gd name="connsiteY9813" fmla="*/ 665396 h 6859062"/>
              <a:gd name="connsiteX9814" fmla="*/ 9115966 w 12192185"/>
              <a:gd name="connsiteY9814" fmla="*/ 657798 h 6859062"/>
              <a:gd name="connsiteX9815" fmla="*/ 9117874 w 12192185"/>
              <a:gd name="connsiteY9815" fmla="*/ 654315 h 6859062"/>
              <a:gd name="connsiteX9816" fmla="*/ 9127415 w 12192185"/>
              <a:gd name="connsiteY9816" fmla="*/ 645450 h 6859062"/>
              <a:gd name="connsiteX9817" fmla="*/ 8561999 w 12192185"/>
              <a:gd name="connsiteY9817" fmla="*/ 633526 h 6859062"/>
              <a:gd name="connsiteX9818" fmla="*/ 8579428 w 12192185"/>
              <a:gd name="connsiteY9818" fmla="*/ 644558 h 6859062"/>
              <a:gd name="connsiteX9819" fmla="*/ 8584828 w 12192185"/>
              <a:gd name="connsiteY9819" fmla="*/ 654610 h 6859062"/>
              <a:gd name="connsiteX9820" fmla="*/ 8586547 w 12192185"/>
              <a:gd name="connsiteY9820" fmla="*/ 658778 h 6859062"/>
              <a:gd name="connsiteX9821" fmla="*/ 8586792 w 12192185"/>
              <a:gd name="connsiteY9821" fmla="*/ 662945 h 6859062"/>
              <a:gd name="connsiteX9822" fmla="*/ 8586056 w 12192185"/>
              <a:gd name="connsiteY9822" fmla="*/ 666133 h 6859062"/>
              <a:gd name="connsiteX9823" fmla="*/ 8584828 w 12192185"/>
              <a:gd name="connsiteY9823" fmla="*/ 672753 h 6859062"/>
              <a:gd name="connsiteX9824" fmla="*/ 8584583 w 12192185"/>
              <a:gd name="connsiteY9824" fmla="*/ 675204 h 6859062"/>
              <a:gd name="connsiteX9825" fmla="*/ 8583846 w 12192185"/>
              <a:gd name="connsiteY9825" fmla="*/ 681088 h 6859062"/>
              <a:gd name="connsiteX9826" fmla="*/ 8571573 w 12192185"/>
              <a:gd name="connsiteY9826" fmla="*/ 690650 h 6859062"/>
              <a:gd name="connsiteX9827" fmla="*/ 8563718 w 12192185"/>
              <a:gd name="connsiteY9827" fmla="*/ 690894 h 6859062"/>
              <a:gd name="connsiteX9828" fmla="*/ 8548252 w 12192185"/>
              <a:gd name="connsiteY9828" fmla="*/ 687463 h 6859062"/>
              <a:gd name="connsiteX9829" fmla="*/ 8544078 w 12192185"/>
              <a:gd name="connsiteY9829" fmla="*/ 685256 h 6859062"/>
              <a:gd name="connsiteX9830" fmla="*/ 8539414 w 12192185"/>
              <a:gd name="connsiteY9830" fmla="*/ 681333 h 6859062"/>
              <a:gd name="connsiteX9831" fmla="*/ 8536469 w 12192185"/>
              <a:gd name="connsiteY9831" fmla="*/ 677411 h 6859062"/>
              <a:gd name="connsiteX9832" fmla="*/ 8533032 w 12192185"/>
              <a:gd name="connsiteY9832" fmla="*/ 666624 h 6859062"/>
              <a:gd name="connsiteX9833" fmla="*/ 8530577 w 12192185"/>
              <a:gd name="connsiteY9833" fmla="*/ 660003 h 6859062"/>
              <a:gd name="connsiteX9834" fmla="*/ 8530577 w 12192185"/>
              <a:gd name="connsiteY9834" fmla="*/ 657062 h 6859062"/>
              <a:gd name="connsiteX9835" fmla="*/ 8533524 w 12192185"/>
              <a:gd name="connsiteY9835" fmla="*/ 651178 h 6859062"/>
              <a:gd name="connsiteX9836" fmla="*/ 8540151 w 12192185"/>
              <a:gd name="connsiteY9836" fmla="*/ 642352 h 6859062"/>
              <a:gd name="connsiteX9837" fmla="*/ 8541869 w 12192185"/>
              <a:gd name="connsiteY9837" fmla="*/ 638920 h 6859062"/>
              <a:gd name="connsiteX9838" fmla="*/ 8544815 w 12192185"/>
              <a:gd name="connsiteY9838" fmla="*/ 637694 h 6859062"/>
              <a:gd name="connsiteX9839" fmla="*/ 8550462 w 12192185"/>
              <a:gd name="connsiteY9839" fmla="*/ 635977 h 6859062"/>
              <a:gd name="connsiteX9840" fmla="*/ 8552425 w 12192185"/>
              <a:gd name="connsiteY9840" fmla="*/ 634997 h 6859062"/>
              <a:gd name="connsiteX9841" fmla="*/ 8560280 w 12192185"/>
              <a:gd name="connsiteY9841" fmla="*/ 634016 h 6859062"/>
              <a:gd name="connsiteX9842" fmla="*/ 8561999 w 12192185"/>
              <a:gd name="connsiteY9842" fmla="*/ 633526 h 6859062"/>
              <a:gd name="connsiteX9843" fmla="*/ 3072335 w 12192185"/>
              <a:gd name="connsiteY9843" fmla="*/ 626429 h 6859062"/>
              <a:gd name="connsiteX9844" fmla="*/ 3091065 w 12192185"/>
              <a:gd name="connsiteY9844" fmla="*/ 638286 h 6859062"/>
              <a:gd name="connsiteX9845" fmla="*/ 3096869 w 12192185"/>
              <a:gd name="connsiteY9845" fmla="*/ 649087 h 6859062"/>
              <a:gd name="connsiteX9846" fmla="*/ 3098716 w 12192185"/>
              <a:gd name="connsiteY9846" fmla="*/ 653566 h 6859062"/>
              <a:gd name="connsiteX9847" fmla="*/ 3098979 w 12192185"/>
              <a:gd name="connsiteY9847" fmla="*/ 658045 h 6859062"/>
              <a:gd name="connsiteX9848" fmla="*/ 3098188 w 12192185"/>
              <a:gd name="connsiteY9848" fmla="*/ 661470 h 6859062"/>
              <a:gd name="connsiteX9849" fmla="*/ 3096869 w 12192185"/>
              <a:gd name="connsiteY9849" fmla="*/ 668583 h 6859062"/>
              <a:gd name="connsiteX9850" fmla="*/ 3096605 w 12192185"/>
              <a:gd name="connsiteY9850" fmla="*/ 671217 h 6859062"/>
              <a:gd name="connsiteX9851" fmla="*/ 3095813 w 12192185"/>
              <a:gd name="connsiteY9851" fmla="*/ 677540 h 6859062"/>
              <a:gd name="connsiteX9852" fmla="*/ 3082623 w 12192185"/>
              <a:gd name="connsiteY9852" fmla="*/ 687815 h 6859062"/>
              <a:gd name="connsiteX9853" fmla="*/ 3074182 w 12192185"/>
              <a:gd name="connsiteY9853" fmla="*/ 688079 h 6859062"/>
              <a:gd name="connsiteX9854" fmla="*/ 3057563 w 12192185"/>
              <a:gd name="connsiteY9854" fmla="*/ 684391 h 6859062"/>
              <a:gd name="connsiteX9855" fmla="*/ 3053079 w 12192185"/>
              <a:gd name="connsiteY9855" fmla="*/ 682020 h 6859062"/>
              <a:gd name="connsiteX9856" fmla="*/ 3048066 w 12192185"/>
              <a:gd name="connsiteY9856" fmla="*/ 677804 h 6859062"/>
              <a:gd name="connsiteX9857" fmla="*/ 3044901 w 12192185"/>
              <a:gd name="connsiteY9857" fmla="*/ 673589 h 6859062"/>
              <a:gd name="connsiteX9858" fmla="*/ 3041209 w 12192185"/>
              <a:gd name="connsiteY9858" fmla="*/ 661997 h 6859062"/>
              <a:gd name="connsiteX9859" fmla="*/ 3038570 w 12192185"/>
              <a:gd name="connsiteY9859" fmla="*/ 654883 h 6859062"/>
              <a:gd name="connsiteX9860" fmla="*/ 3038570 w 12192185"/>
              <a:gd name="connsiteY9860" fmla="*/ 651722 h 6859062"/>
              <a:gd name="connsiteX9861" fmla="*/ 3041736 w 12192185"/>
              <a:gd name="connsiteY9861" fmla="*/ 645399 h 6859062"/>
              <a:gd name="connsiteX9862" fmla="*/ 3048856 w 12192185"/>
              <a:gd name="connsiteY9862" fmla="*/ 635914 h 6859062"/>
              <a:gd name="connsiteX9863" fmla="*/ 3050704 w 12192185"/>
              <a:gd name="connsiteY9863" fmla="*/ 632225 h 6859062"/>
              <a:gd name="connsiteX9864" fmla="*/ 3053870 w 12192185"/>
              <a:gd name="connsiteY9864" fmla="*/ 630909 h 6859062"/>
              <a:gd name="connsiteX9865" fmla="*/ 3059937 w 12192185"/>
              <a:gd name="connsiteY9865" fmla="*/ 629065 h 6859062"/>
              <a:gd name="connsiteX9866" fmla="*/ 3062047 w 12192185"/>
              <a:gd name="connsiteY9866" fmla="*/ 628010 h 6859062"/>
              <a:gd name="connsiteX9867" fmla="*/ 3070488 w 12192185"/>
              <a:gd name="connsiteY9867" fmla="*/ 626957 h 6859062"/>
              <a:gd name="connsiteX9868" fmla="*/ 3072335 w 12192185"/>
              <a:gd name="connsiteY9868" fmla="*/ 626429 h 6859062"/>
              <a:gd name="connsiteX9869" fmla="*/ 2278833 w 12192185"/>
              <a:gd name="connsiteY9869" fmla="*/ 624824 h 6859062"/>
              <a:gd name="connsiteX9870" fmla="*/ 2281306 w 12192185"/>
              <a:gd name="connsiteY9870" fmla="*/ 625530 h 6859062"/>
              <a:gd name="connsiteX9871" fmla="*/ 2292616 w 12192185"/>
              <a:gd name="connsiteY9871" fmla="*/ 626942 h 6859062"/>
              <a:gd name="connsiteX9872" fmla="*/ 2295446 w 12192185"/>
              <a:gd name="connsiteY9872" fmla="*/ 628354 h 6859062"/>
              <a:gd name="connsiteX9873" fmla="*/ 2303573 w 12192185"/>
              <a:gd name="connsiteY9873" fmla="*/ 630824 h 6859062"/>
              <a:gd name="connsiteX9874" fmla="*/ 2307815 w 12192185"/>
              <a:gd name="connsiteY9874" fmla="*/ 632589 h 6859062"/>
              <a:gd name="connsiteX9875" fmla="*/ 2310288 w 12192185"/>
              <a:gd name="connsiteY9875" fmla="*/ 637530 h 6859062"/>
              <a:gd name="connsiteX9876" fmla="*/ 2319831 w 12192185"/>
              <a:gd name="connsiteY9876" fmla="*/ 650237 h 6859062"/>
              <a:gd name="connsiteX9877" fmla="*/ 2324073 w 12192185"/>
              <a:gd name="connsiteY9877" fmla="*/ 658709 h 6859062"/>
              <a:gd name="connsiteX9878" fmla="*/ 2324073 w 12192185"/>
              <a:gd name="connsiteY9878" fmla="*/ 662944 h 6859062"/>
              <a:gd name="connsiteX9879" fmla="*/ 2320536 w 12192185"/>
              <a:gd name="connsiteY9879" fmla="*/ 672474 h 6859062"/>
              <a:gd name="connsiteX9880" fmla="*/ 2315589 w 12192185"/>
              <a:gd name="connsiteY9880" fmla="*/ 688004 h 6859062"/>
              <a:gd name="connsiteX9881" fmla="*/ 2311348 w 12192185"/>
              <a:gd name="connsiteY9881" fmla="*/ 693653 h 6859062"/>
              <a:gd name="connsiteX9882" fmla="*/ 2304632 w 12192185"/>
              <a:gd name="connsiteY9882" fmla="*/ 699300 h 6859062"/>
              <a:gd name="connsiteX9883" fmla="*/ 2298625 w 12192185"/>
              <a:gd name="connsiteY9883" fmla="*/ 702476 h 6859062"/>
              <a:gd name="connsiteX9884" fmla="*/ 2276360 w 12192185"/>
              <a:gd name="connsiteY9884" fmla="*/ 707417 h 6859062"/>
              <a:gd name="connsiteX9885" fmla="*/ 2265051 w 12192185"/>
              <a:gd name="connsiteY9885" fmla="*/ 707065 h 6859062"/>
              <a:gd name="connsiteX9886" fmla="*/ 2247380 w 12192185"/>
              <a:gd name="connsiteY9886" fmla="*/ 693299 h 6859062"/>
              <a:gd name="connsiteX9887" fmla="*/ 2246320 w 12192185"/>
              <a:gd name="connsiteY9887" fmla="*/ 684828 h 6859062"/>
              <a:gd name="connsiteX9888" fmla="*/ 2245966 w 12192185"/>
              <a:gd name="connsiteY9888" fmla="*/ 681298 h 6859062"/>
              <a:gd name="connsiteX9889" fmla="*/ 2244198 w 12192185"/>
              <a:gd name="connsiteY9889" fmla="*/ 671768 h 6859062"/>
              <a:gd name="connsiteX9890" fmla="*/ 2243137 w 12192185"/>
              <a:gd name="connsiteY9890" fmla="*/ 667179 h 6859062"/>
              <a:gd name="connsiteX9891" fmla="*/ 2243491 w 12192185"/>
              <a:gd name="connsiteY9891" fmla="*/ 661179 h 6859062"/>
              <a:gd name="connsiteX9892" fmla="*/ 2245966 w 12192185"/>
              <a:gd name="connsiteY9892" fmla="*/ 655179 h 6859062"/>
              <a:gd name="connsiteX9893" fmla="*/ 2253742 w 12192185"/>
              <a:gd name="connsiteY9893" fmla="*/ 640708 h 6859062"/>
              <a:gd name="connsiteX9894" fmla="*/ 2278833 w 12192185"/>
              <a:gd name="connsiteY9894" fmla="*/ 624824 h 6859062"/>
              <a:gd name="connsiteX9895" fmla="*/ 7656768 w 12192185"/>
              <a:gd name="connsiteY9895" fmla="*/ 624585 h 6859062"/>
              <a:gd name="connsiteX9896" fmla="*/ 7658203 w 12192185"/>
              <a:gd name="connsiteY9896" fmla="*/ 626716 h 6859062"/>
              <a:gd name="connsiteX9897" fmla="*/ 7658680 w 12192185"/>
              <a:gd name="connsiteY9897" fmla="*/ 628628 h 6859062"/>
              <a:gd name="connsiteX9898" fmla="*/ 7660116 w 12192185"/>
              <a:gd name="connsiteY9898" fmla="*/ 630859 h 6859062"/>
              <a:gd name="connsiteX9899" fmla="*/ 7662187 w 12192185"/>
              <a:gd name="connsiteY9899" fmla="*/ 629425 h 6859062"/>
              <a:gd name="connsiteX9900" fmla="*/ 7666970 w 12192185"/>
              <a:gd name="connsiteY9900" fmla="*/ 630221 h 6859062"/>
              <a:gd name="connsiteX9901" fmla="*/ 7667926 w 12192185"/>
              <a:gd name="connsiteY9901" fmla="*/ 632292 h 6859062"/>
              <a:gd name="connsiteX9902" fmla="*/ 7670796 w 12192185"/>
              <a:gd name="connsiteY9902" fmla="*/ 633408 h 6859062"/>
              <a:gd name="connsiteX9903" fmla="*/ 7671912 w 12192185"/>
              <a:gd name="connsiteY9903" fmla="*/ 630699 h 6859062"/>
              <a:gd name="connsiteX9904" fmla="*/ 7671643 w 12192185"/>
              <a:gd name="connsiteY9904" fmla="*/ 628289 h 6859062"/>
              <a:gd name="connsiteX9905" fmla="*/ 7684103 w 12192185"/>
              <a:gd name="connsiteY9905" fmla="*/ 640680 h 6859062"/>
              <a:gd name="connsiteX9906" fmla="*/ 7683389 w 12192185"/>
              <a:gd name="connsiteY9906" fmla="*/ 641692 h 6859062"/>
              <a:gd name="connsiteX9907" fmla="*/ 7684825 w 12192185"/>
              <a:gd name="connsiteY9907" fmla="*/ 644720 h 6859062"/>
              <a:gd name="connsiteX9908" fmla="*/ 7687694 w 12192185"/>
              <a:gd name="connsiteY9908" fmla="*/ 645994 h 6859062"/>
              <a:gd name="connsiteX9909" fmla="*/ 7689606 w 12192185"/>
              <a:gd name="connsiteY9909" fmla="*/ 649819 h 6859062"/>
              <a:gd name="connsiteX9910" fmla="*/ 7695824 w 12192185"/>
              <a:gd name="connsiteY9910" fmla="*/ 662087 h 6859062"/>
              <a:gd name="connsiteX9911" fmla="*/ 7698055 w 12192185"/>
              <a:gd name="connsiteY9911" fmla="*/ 663840 h 6859062"/>
              <a:gd name="connsiteX9912" fmla="*/ 7695027 w 12192185"/>
              <a:gd name="connsiteY9912" fmla="*/ 665752 h 6859062"/>
              <a:gd name="connsiteX9913" fmla="*/ 7694549 w 12192185"/>
              <a:gd name="connsiteY9913" fmla="*/ 665752 h 6859062"/>
              <a:gd name="connsiteX9914" fmla="*/ 7691519 w 12192185"/>
              <a:gd name="connsiteY9914" fmla="*/ 671169 h 6859062"/>
              <a:gd name="connsiteX9915" fmla="*/ 7691201 w 12192185"/>
              <a:gd name="connsiteY9915" fmla="*/ 678657 h 6859062"/>
              <a:gd name="connsiteX9916" fmla="*/ 7688491 w 12192185"/>
              <a:gd name="connsiteY9916" fmla="*/ 689173 h 6859062"/>
              <a:gd name="connsiteX9917" fmla="*/ 7686099 w 12192185"/>
              <a:gd name="connsiteY9917" fmla="*/ 692041 h 6859062"/>
              <a:gd name="connsiteX9918" fmla="*/ 7679563 w 12192185"/>
              <a:gd name="connsiteY9918" fmla="*/ 700326 h 6859062"/>
              <a:gd name="connsiteX9919" fmla="*/ 7675738 w 12192185"/>
              <a:gd name="connsiteY9919" fmla="*/ 701760 h 6859062"/>
              <a:gd name="connsiteX9920" fmla="*/ 7659956 w 12192185"/>
              <a:gd name="connsiteY9920" fmla="*/ 706381 h 6859062"/>
              <a:gd name="connsiteX9921" fmla="*/ 7659956 w 12192185"/>
              <a:gd name="connsiteY9921" fmla="*/ 709886 h 6859062"/>
              <a:gd name="connsiteX9922" fmla="*/ 7664101 w 12192185"/>
              <a:gd name="connsiteY9922" fmla="*/ 710365 h 6859062"/>
              <a:gd name="connsiteX9923" fmla="*/ 7666970 w 12192185"/>
              <a:gd name="connsiteY9923" fmla="*/ 708452 h 6859062"/>
              <a:gd name="connsiteX9924" fmla="*/ 7669680 w 12192185"/>
              <a:gd name="connsiteY9924" fmla="*/ 708133 h 6859062"/>
              <a:gd name="connsiteX9925" fmla="*/ 7669202 w 12192185"/>
              <a:gd name="connsiteY9925" fmla="*/ 711001 h 6859062"/>
              <a:gd name="connsiteX9926" fmla="*/ 7666970 w 12192185"/>
              <a:gd name="connsiteY9926" fmla="*/ 713073 h 6859062"/>
              <a:gd name="connsiteX9927" fmla="*/ 7666173 w 12192185"/>
              <a:gd name="connsiteY9927" fmla="*/ 718012 h 6859062"/>
              <a:gd name="connsiteX9928" fmla="*/ 7670477 w 12192185"/>
              <a:gd name="connsiteY9928" fmla="*/ 717056 h 6859062"/>
              <a:gd name="connsiteX9929" fmla="*/ 7673826 w 12192185"/>
              <a:gd name="connsiteY9929" fmla="*/ 714347 h 6859062"/>
              <a:gd name="connsiteX9930" fmla="*/ 7677013 w 12192185"/>
              <a:gd name="connsiteY9930" fmla="*/ 716419 h 6859062"/>
              <a:gd name="connsiteX9931" fmla="*/ 7673507 w 12192185"/>
              <a:gd name="connsiteY9931" fmla="*/ 725500 h 6859062"/>
              <a:gd name="connsiteX9932" fmla="*/ 7673507 w 12192185"/>
              <a:gd name="connsiteY9932" fmla="*/ 734264 h 6859062"/>
              <a:gd name="connsiteX9933" fmla="*/ 7676695 w 12192185"/>
              <a:gd name="connsiteY9933" fmla="*/ 737769 h 6859062"/>
              <a:gd name="connsiteX9934" fmla="*/ 7677651 w 12192185"/>
              <a:gd name="connsiteY9934" fmla="*/ 739521 h 6859062"/>
              <a:gd name="connsiteX9935" fmla="*/ 7675897 w 12192185"/>
              <a:gd name="connsiteY9935" fmla="*/ 740478 h 6859062"/>
              <a:gd name="connsiteX9936" fmla="*/ 7672550 w 12192185"/>
              <a:gd name="connsiteY9936" fmla="*/ 743664 h 6859062"/>
              <a:gd name="connsiteX9937" fmla="*/ 7668405 w 12192185"/>
              <a:gd name="connsiteY9937" fmla="*/ 750834 h 6859062"/>
              <a:gd name="connsiteX9938" fmla="*/ 7668245 w 12192185"/>
              <a:gd name="connsiteY9938" fmla="*/ 754658 h 6859062"/>
              <a:gd name="connsiteX9939" fmla="*/ 7669520 w 12192185"/>
              <a:gd name="connsiteY9939" fmla="*/ 757207 h 6859062"/>
              <a:gd name="connsiteX9940" fmla="*/ 7666810 w 12192185"/>
              <a:gd name="connsiteY9940" fmla="*/ 758960 h 6859062"/>
              <a:gd name="connsiteX9941" fmla="*/ 7664579 w 12192185"/>
              <a:gd name="connsiteY9941" fmla="*/ 759279 h 6859062"/>
              <a:gd name="connsiteX9942" fmla="*/ 7661869 w 12192185"/>
              <a:gd name="connsiteY9942" fmla="*/ 765811 h 6859062"/>
              <a:gd name="connsiteX9943" fmla="*/ 7662666 w 12192185"/>
              <a:gd name="connsiteY9943" fmla="*/ 767086 h 6859062"/>
              <a:gd name="connsiteX9944" fmla="*/ 7662507 w 12192185"/>
              <a:gd name="connsiteY9944" fmla="*/ 769954 h 6859062"/>
              <a:gd name="connsiteX9945" fmla="*/ 7659956 w 12192185"/>
              <a:gd name="connsiteY9945" fmla="*/ 769316 h 6859062"/>
              <a:gd name="connsiteX9946" fmla="*/ 7658362 w 12192185"/>
              <a:gd name="connsiteY9946" fmla="*/ 767245 h 6859062"/>
              <a:gd name="connsiteX9947" fmla="*/ 7655174 w 12192185"/>
              <a:gd name="connsiteY9947" fmla="*/ 766767 h 6859062"/>
              <a:gd name="connsiteX9948" fmla="*/ 7645449 w 12192185"/>
              <a:gd name="connsiteY9948" fmla="*/ 769316 h 6859062"/>
              <a:gd name="connsiteX9949" fmla="*/ 7633334 w 12192185"/>
              <a:gd name="connsiteY9949" fmla="*/ 770113 h 6859062"/>
              <a:gd name="connsiteX9950" fmla="*/ 7630465 w 12192185"/>
              <a:gd name="connsiteY9950" fmla="*/ 768680 h 6859062"/>
              <a:gd name="connsiteX9951" fmla="*/ 7622175 w 12192185"/>
              <a:gd name="connsiteY9951" fmla="*/ 764856 h 6859062"/>
              <a:gd name="connsiteX9952" fmla="*/ 7620582 w 12192185"/>
              <a:gd name="connsiteY9952" fmla="*/ 763741 h 6859062"/>
              <a:gd name="connsiteX9953" fmla="*/ 7613567 w 12192185"/>
              <a:gd name="connsiteY9953" fmla="*/ 755295 h 6859062"/>
              <a:gd name="connsiteX9954" fmla="*/ 7609263 w 12192185"/>
              <a:gd name="connsiteY9954" fmla="*/ 740956 h 6859062"/>
              <a:gd name="connsiteX9955" fmla="*/ 7607191 w 12192185"/>
              <a:gd name="connsiteY9955" fmla="*/ 736016 h 6859062"/>
              <a:gd name="connsiteX9956" fmla="*/ 7607669 w 12192185"/>
              <a:gd name="connsiteY9956" fmla="*/ 729006 h 6859062"/>
              <a:gd name="connsiteX9957" fmla="*/ 7608306 w 12192185"/>
              <a:gd name="connsiteY9957" fmla="*/ 723110 h 6859062"/>
              <a:gd name="connsiteX9958" fmla="*/ 7608147 w 12192185"/>
              <a:gd name="connsiteY9958" fmla="*/ 720721 h 6859062"/>
              <a:gd name="connsiteX9959" fmla="*/ 7617552 w 12192185"/>
              <a:gd name="connsiteY9959" fmla="*/ 709886 h 6859062"/>
              <a:gd name="connsiteX9960" fmla="*/ 7626480 w 12192185"/>
              <a:gd name="connsiteY9960" fmla="*/ 704629 h 6859062"/>
              <a:gd name="connsiteX9961" fmla="*/ 7633175 w 12192185"/>
              <a:gd name="connsiteY9961" fmla="*/ 695865 h 6859062"/>
              <a:gd name="connsiteX9962" fmla="*/ 7632218 w 12192185"/>
              <a:gd name="connsiteY9962" fmla="*/ 694113 h 6859062"/>
              <a:gd name="connsiteX9963" fmla="*/ 7622813 w 12192185"/>
              <a:gd name="connsiteY9963" fmla="*/ 682959 h 6859062"/>
              <a:gd name="connsiteX9964" fmla="*/ 7621538 w 12192185"/>
              <a:gd name="connsiteY9964" fmla="*/ 680410 h 6859062"/>
              <a:gd name="connsiteX9965" fmla="*/ 7620262 w 12192185"/>
              <a:gd name="connsiteY9965" fmla="*/ 672444 h 6859062"/>
              <a:gd name="connsiteX9966" fmla="*/ 7618031 w 12192185"/>
              <a:gd name="connsiteY9966" fmla="*/ 663203 h 6859062"/>
              <a:gd name="connsiteX9967" fmla="*/ 7618190 w 12192185"/>
              <a:gd name="connsiteY9967" fmla="*/ 659379 h 6859062"/>
              <a:gd name="connsiteX9968" fmla="*/ 7626638 w 12192185"/>
              <a:gd name="connsiteY9968" fmla="*/ 638824 h 6859062"/>
              <a:gd name="connsiteX9969" fmla="*/ 7628233 w 12192185"/>
              <a:gd name="connsiteY9969" fmla="*/ 637550 h 6859062"/>
              <a:gd name="connsiteX9970" fmla="*/ 7637957 w 12192185"/>
              <a:gd name="connsiteY9970" fmla="*/ 632929 h 6859062"/>
              <a:gd name="connsiteX9971" fmla="*/ 7642101 w 12192185"/>
              <a:gd name="connsiteY9971" fmla="*/ 631655 h 6859062"/>
              <a:gd name="connsiteX9972" fmla="*/ 7649116 w 12192185"/>
              <a:gd name="connsiteY9972" fmla="*/ 630062 h 6859062"/>
              <a:gd name="connsiteX9973" fmla="*/ 7654377 w 12192185"/>
              <a:gd name="connsiteY9973" fmla="*/ 625441 h 6859062"/>
              <a:gd name="connsiteX9974" fmla="*/ 7656768 w 12192185"/>
              <a:gd name="connsiteY9974" fmla="*/ 624585 h 6859062"/>
              <a:gd name="connsiteX9975" fmla="*/ 1444458 w 12192185"/>
              <a:gd name="connsiteY9975" fmla="*/ 624438 h 6859062"/>
              <a:gd name="connsiteX9976" fmla="*/ 1454218 w 12192185"/>
              <a:gd name="connsiteY9976" fmla="*/ 625545 h 6859062"/>
              <a:gd name="connsiteX9977" fmla="*/ 1459806 w 12192185"/>
              <a:gd name="connsiteY9977" fmla="*/ 626330 h 6859062"/>
              <a:gd name="connsiteX9978" fmla="*/ 1466643 w 12192185"/>
              <a:gd name="connsiteY9978" fmla="*/ 628844 h 6859062"/>
              <a:gd name="connsiteX9979" fmla="*/ 1471548 w 12192185"/>
              <a:gd name="connsiteY9979" fmla="*/ 632056 h 6859062"/>
              <a:gd name="connsiteX9980" fmla="*/ 1479794 w 12192185"/>
              <a:gd name="connsiteY9980" fmla="*/ 642786 h 6859062"/>
              <a:gd name="connsiteX9981" fmla="*/ 1485244 w 12192185"/>
              <a:gd name="connsiteY9981" fmla="*/ 649230 h 6859062"/>
              <a:gd name="connsiteX9982" fmla="*/ 1486440 w 12192185"/>
              <a:gd name="connsiteY9982" fmla="*/ 652537 h 6859062"/>
              <a:gd name="connsiteX9983" fmla="*/ 1485518 w 12192185"/>
              <a:gd name="connsiteY9983" fmla="*/ 660348 h 6859062"/>
              <a:gd name="connsiteX9984" fmla="*/ 1481655 w 12192185"/>
              <a:gd name="connsiteY9984" fmla="*/ 672963 h 6859062"/>
              <a:gd name="connsiteX9985" fmla="*/ 1481118 w 12192185"/>
              <a:gd name="connsiteY9985" fmla="*/ 677519 h 6859062"/>
              <a:gd name="connsiteX9986" fmla="*/ 1478304 w 12192185"/>
              <a:gd name="connsiteY9986" fmla="*/ 680095 h 6859062"/>
              <a:gd name="connsiteX9987" fmla="*/ 1472655 w 12192185"/>
              <a:gd name="connsiteY9987" fmla="*/ 684318 h 6859062"/>
              <a:gd name="connsiteX9988" fmla="*/ 1470846 w 12192185"/>
              <a:gd name="connsiteY9988" fmla="*/ 686218 h 6859062"/>
              <a:gd name="connsiteX9989" fmla="*/ 1462414 w 12192185"/>
              <a:gd name="connsiteY9989" fmla="*/ 690512 h 6859062"/>
              <a:gd name="connsiteX9990" fmla="*/ 1460682 w 12192185"/>
              <a:gd name="connsiteY9990" fmla="*/ 691761 h 6859062"/>
              <a:gd name="connsiteX9991" fmla="*/ 1436607 w 12192185"/>
              <a:gd name="connsiteY9991" fmla="*/ 686442 h 6859062"/>
              <a:gd name="connsiteX9992" fmla="*/ 1426451 w 12192185"/>
              <a:gd name="connsiteY9992" fmla="*/ 677337 h 6859062"/>
              <a:gd name="connsiteX9993" fmla="*/ 1422826 w 12192185"/>
              <a:gd name="connsiteY9993" fmla="*/ 673350 h 6859062"/>
              <a:gd name="connsiteX9994" fmla="*/ 1420857 w 12192185"/>
              <a:gd name="connsiteY9994" fmla="*/ 668765 h 6859062"/>
              <a:gd name="connsiteX9995" fmla="*/ 1420390 w 12192185"/>
              <a:gd name="connsiteY9995" fmla="*/ 664883 h 6859062"/>
              <a:gd name="connsiteX9996" fmla="*/ 1419079 w 12192185"/>
              <a:gd name="connsiteY9996" fmla="*/ 656943 h 6859062"/>
              <a:gd name="connsiteX9997" fmla="*/ 1418360 w 12192185"/>
              <a:gd name="connsiteY9997" fmla="*/ 654087 h 6859062"/>
              <a:gd name="connsiteX9998" fmla="*/ 1416796 w 12192185"/>
              <a:gd name="connsiteY9998" fmla="*/ 647174 h 6859062"/>
              <a:gd name="connsiteX9999" fmla="*/ 1426708 w 12192185"/>
              <a:gd name="connsiteY9999" fmla="*/ 631438 h 6859062"/>
              <a:gd name="connsiteX10000" fmla="*/ 1435439 w 12192185"/>
              <a:gd name="connsiteY10000" fmla="*/ 627970 h 6859062"/>
              <a:gd name="connsiteX10001" fmla="*/ 1444458 w 12192185"/>
              <a:gd name="connsiteY10001" fmla="*/ 624438 h 6859062"/>
              <a:gd name="connsiteX10002" fmla="*/ 9288619 w 12192185"/>
              <a:gd name="connsiteY10002" fmla="*/ 607397 h 6859062"/>
              <a:gd name="connsiteX10003" fmla="*/ 9295666 w 12192185"/>
              <a:gd name="connsiteY10003" fmla="*/ 610886 h 6859062"/>
              <a:gd name="connsiteX10004" fmla="*/ 9299658 w 12192185"/>
              <a:gd name="connsiteY10004" fmla="*/ 612998 h 6859062"/>
              <a:gd name="connsiteX10005" fmla="*/ 9304122 w 12192185"/>
              <a:gd name="connsiteY10005" fmla="*/ 616751 h 6859062"/>
              <a:gd name="connsiteX10006" fmla="*/ 9306941 w 12192185"/>
              <a:gd name="connsiteY10006" fmla="*/ 620505 h 6859062"/>
              <a:gd name="connsiteX10007" fmla="*/ 9310228 w 12192185"/>
              <a:gd name="connsiteY10007" fmla="*/ 630826 h 6859062"/>
              <a:gd name="connsiteX10008" fmla="*/ 9312577 w 12192185"/>
              <a:gd name="connsiteY10008" fmla="*/ 637161 h 6859062"/>
              <a:gd name="connsiteX10009" fmla="*/ 9312578 w 12192185"/>
              <a:gd name="connsiteY10009" fmla="*/ 639976 h 6859062"/>
              <a:gd name="connsiteX10010" fmla="*/ 9309758 w 12192185"/>
              <a:gd name="connsiteY10010" fmla="*/ 645606 h 6859062"/>
              <a:gd name="connsiteX10011" fmla="*/ 9303416 w 12192185"/>
              <a:gd name="connsiteY10011" fmla="*/ 654051 h 6859062"/>
              <a:gd name="connsiteX10012" fmla="*/ 9301772 w 12192185"/>
              <a:gd name="connsiteY10012" fmla="*/ 657335 h 6859062"/>
              <a:gd name="connsiteX10013" fmla="*/ 9298953 w 12192185"/>
              <a:gd name="connsiteY10013" fmla="*/ 658508 h 6859062"/>
              <a:gd name="connsiteX10014" fmla="*/ 9293552 w 12192185"/>
              <a:gd name="connsiteY10014" fmla="*/ 660150 h 6859062"/>
              <a:gd name="connsiteX10015" fmla="*/ 9291673 w 12192185"/>
              <a:gd name="connsiteY10015" fmla="*/ 661088 h 6859062"/>
              <a:gd name="connsiteX10016" fmla="*/ 9284156 w 12192185"/>
              <a:gd name="connsiteY10016" fmla="*/ 662027 h 6859062"/>
              <a:gd name="connsiteX10017" fmla="*/ 9282512 w 12192185"/>
              <a:gd name="connsiteY10017" fmla="*/ 662496 h 6859062"/>
              <a:gd name="connsiteX10018" fmla="*/ 9265834 w 12192185"/>
              <a:gd name="connsiteY10018" fmla="*/ 651940 h 6859062"/>
              <a:gd name="connsiteX10019" fmla="*/ 9260667 w 12192185"/>
              <a:gd name="connsiteY10019" fmla="*/ 642322 h 6859062"/>
              <a:gd name="connsiteX10020" fmla="*/ 9259023 w 12192185"/>
              <a:gd name="connsiteY10020" fmla="*/ 638334 h 6859062"/>
              <a:gd name="connsiteX10021" fmla="*/ 9258787 w 12192185"/>
              <a:gd name="connsiteY10021" fmla="*/ 634346 h 6859062"/>
              <a:gd name="connsiteX10022" fmla="*/ 9259493 w 12192185"/>
              <a:gd name="connsiteY10022" fmla="*/ 631296 h 6859062"/>
              <a:gd name="connsiteX10023" fmla="*/ 9260667 w 12192185"/>
              <a:gd name="connsiteY10023" fmla="*/ 624962 h 6859062"/>
              <a:gd name="connsiteX10024" fmla="*/ 9260902 w 12192185"/>
              <a:gd name="connsiteY10024" fmla="*/ 622616 h 6859062"/>
              <a:gd name="connsiteX10025" fmla="*/ 9261606 w 12192185"/>
              <a:gd name="connsiteY10025" fmla="*/ 616986 h 6859062"/>
              <a:gd name="connsiteX10026" fmla="*/ 9273351 w 12192185"/>
              <a:gd name="connsiteY10026" fmla="*/ 607837 h 6859062"/>
              <a:gd name="connsiteX10027" fmla="*/ 9280868 w 12192185"/>
              <a:gd name="connsiteY10027" fmla="*/ 607602 h 6859062"/>
              <a:gd name="connsiteX10028" fmla="*/ 9288619 w 12192185"/>
              <a:gd name="connsiteY10028" fmla="*/ 607397 h 6859062"/>
              <a:gd name="connsiteX10029" fmla="*/ 10851878 w 12192185"/>
              <a:gd name="connsiteY10029" fmla="*/ 605816 h 6859062"/>
              <a:gd name="connsiteX10030" fmla="*/ 10851981 w 12192185"/>
              <a:gd name="connsiteY10030" fmla="*/ 606158 h 6859062"/>
              <a:gd name="connsiteX10031" fmla="*/ 10851514 w 12192185"/>
              <a:gd name="connsiteY10031" fmla="*/ 606032 h 6859062"/>
              <a:gd name="connsiteX10032" fmla="*/ 9980887 w 12192185"/>
              <a:gd name="connsiteY10032" fmla="*/ 590110 h 6859062"/>
              <a:gd name="connsiteX10033" fmla="*/ 9991271 w 12192185"/>
              <a:gd name="connsiteY10033" fmla="*/ 590384 h 6859062"/>
              <a:gd name="connsiteX10034" fmla="*/ 10001342 w 12192185"/>
              <a:gd name="connsiteY10034" fmla="*/ 590699 h 6859062"/>
              <a:gd name="connsiteX10035" fmla="*/ 10017076 w 12192185"/>
              <a:gd name="connsiteY10035" fmla="*/ 602957 h 6859062"/>
              <a:gd name="connsiteX10036" fmla="*/ 10018021 w 12192185"/>
              <a:gd name="connsiteY10036" fmla="*/ 610499 h 6859062"/>
              <a:gd name="connsiteX10037" fmla="*/ 10018336 w 12192185"/>
              <a:gd name="connsiteY10037" fmla="*/ 613642 h 6859062"/>
              <a:gd name="connsiteX10038" fmla="*/ 10019908 w 12192185"/>
              <a:gd name="connsiteY10038" fmla="*/ 622128 h 6859062"/>
              <a:gd name="connsiteX10039" fmla="*/ 10020852 w 12192185"/>
              <a:gd name="connsiteY10039" fmla="*/ 626214 h 6859062"/>
              <a:gd name="connsiteX10040" fmla="*/ 10020538 w 12192185"/>
              <a:gd name="connsiteY10040" fmla="*/ 631556 h 6859062"/>
              <a:gd name="connsiteX10041" fmla="*/ 10018335 w 12192185"/>
              <a:gd name="connsiteY10041" fmla="*/ 636900 h 6859062"/>
              <a:gd name="connsiteX10042" fmla="*/ 10011412 w 12192185"/>
              <a:gd name="connsiteY10042" fmla="*/ 649785 h 6859062"/>
              <a:gd name="connsiteX10043" fmla="*/ 9989069 w 12192185"/>
              <a:gd name="connsiteY10043" fmla="*/ 663929 h 6859062"/>
              <a:gd name="connsiteX10044" fmla="*/ 9986867 w 12192185"/>
              <a:gd name="connsiteY10044" fmla="*/ 663300 h 6859062"/>
              <a:gd name="connsiteX10045" fmla="*/ 9976797 w 12192185"/>
              <a:gd name="connsiteY10045" fmla="*/ 662042 h 6859062"/>
              <a:gd name="connsiteX10046" fmla="*/ 9974278 w 12192185"/>
              <a:gd name="connsiteY10046" fmla="*/ 660785 h 6859062"/>
              <a:gd name="connsiteX10047" fmla="*/ 9967041 w 12192185"/>
              <a:gd name="connsiteY10047" fmla="*/ 658585 h 6859062"/>
              <a:gd name="connsiteX10048" fmla="*/ 9963264 w 12192185"/>
              <a:gd name="connsiteY10048" fmla="*/ 657014 h 6859062"/>
              <a:gd name="connsiteX10049" fmla="*/ 9961061 w 12192185"/>
              <a:gd name="connsiteY10049" fmla="*/ 652614 h 6859062"/>
              <a:gd name="connsiteX10050" fmla="*/ 9952565 w 12192185"/>
              <a:gd name="connsiteY10050" fmla="*/ 641300 h 6859062"/>
              <a:gd name="connsiteX10051" fmla="*/ 9948789 w 12192185"/>
              <a:gd name="connsiteY10051" fmla="*/ 633757 h 6859062"/>
              <a:gd name="connsiteX10052" fmla="*/ 9948788 w 12192185"/>
              <a:gd name="connsiteY10052" fmla="*/ 629985 h 6859062"/>
              <a:gd name="connsiteX10053" fmla="*/ 9951936 w 12192185"/>
              <a:gd name="connsiteY10053" fmla="*/ 621499 h 6859062"/>
              <a:gd name="connsiteX10054" fmla="*/ 9956341 w 12192185"/>
              <a:gd name="connsiteY10054" fmla="*/ 607671 h 6859062"/>
              <a:gd name="connsiteX10055" fmla="*/ 9960118 w 12192185"/>
              <a:gd name="connsiteY10055" fmla="*/ 602642 h 6859062"/>
              <a:gd name="connsiteX10056" fmla="*/ 9966096 w 12192185"/>
              <a:gd name="connsiteY10056" fmla="*/ 597613 h 6859062"/>
              <a:gd name="connsiteX10057" fmla="*/ 9971447 w 12192185"/>
              <a:gd name="connsiteY10057" fmla="*/ 594784 h 6859062"/>
              <a:gd name="connsiteX10058" fmla="*/ 9980887 w 12192185"/>
              <a:gd name="connsiteY10058" fmla="*/ 590110 h 6859062"/>
              <a:gd name="connsiteX10059" fmla="*/ 3255092 w 12192185"/>
              <a:gd name="connsiteY10059" fmla="*/ 584418 h 6859062"/>
              <a:gd name="connsiteX10060" fmla="*/ 3262236 w 12192185"/>
              <a:gd name="connsiteY10060" fmla="*/ 584418 h 6859062"/>
              <a:gd name="connsiteX10061" fmla="*/ 3263307 w 12192185"/>
              <a:gd name="connsiteY10061" fmla="*/ 585840 h 6859062"/>
              <a:gd name="connsiteX10062" fmla="*/ 3273308 w 12192185"/>
              <a:gd name="connsiteY10062" fmla="*/ 593663 h 6859062"/>
              <a:gd name="connsiteX10063" fmla="*/ 3276523 w 12192185"/>
              <a:gd name="connsiteY10063" fmla="*/ 605752 h 6859062"/>
              <a:gd name="connsiteX10064" fmla="*/ 3271522 w 12192185"/>
              <a:gd name="connsiteY10064" fmla="*/ 619975 h 6859062"/>
              <a:gd name="connsiteX10065" fmla="*/ 3266166 w 12192185"/>
              <a:gd name="connsiteY10065" fmla="*/ 623175 h 6859062"/>
              <a:gd name="connsiteX10066" fmla="*/ 3259378 w 12192185"/>
              <a:gd name="connsiteY10066" fmla="*/ 631708 h 6859062"/>
              <a:gd name="connsiteX10067" fmla="*/ 3257235 w 12192185"/>
              <a:gd name="connsiteY10067" fmla="*/ 635619 h 6859062"/>
              <a:gd name="connsiteX10068" fmla="*/ 3246520 w 12192185"/>
              <a:gd name="connsiteY10068" fmla="*/ 645575 h 6859062"/>
              <a:gd name="connsiteX10069" fmla="*/ 3237233 w 12192185"/>
              <a:gd name="connsiteY10069" fmla="*/ 644153 h 6859062"/>
              <a:gd name="connsiteX10070" fmla="*/ 3229377 w 12192185"/>
              <a:gd name="connsiteY10070" fmla="*/ 639175 h 6859062"/>
              <a:gd name="connsiteX10071" fmla="*/ 3225091 w 12192185"/>
              <a:gd name="connsiteY10071" fmla="*/ 634197 h 6859062"/>
              <a:gd name="connsiteX10072" fmla="*/ 3225091 w 12192185"/>
              <a:gd name="connsiteY10072" fmla="*/ 621397 h 6859062"/>
              <a:gd name="connsiteX10073" fmla="*/ 3232947 w 12192185"/>
              <a:gd name="connsiteY10073" fmla="*/ 613574 h 6859062"/>
              <a:gd name="connsiteX10074" fmla="*/ 3237948 w 12192185"/>
              <a:gd name="connsiteY10074" fmla="*/ 604330 h 6859062"/>
              <a:gd name="connsiteX10075" fmla="*/ 3241877 w 12192185"/>
              <a:gd name="connsiteY10075" fmla="*/ 594729 h 6859062"/>
              <a:gd name="connsiteX10076" fmla="*/ 3247234 w 12192185"/>
              <a:gd name="connsiteY10076" fmla="*/ 588328 h 6859062"/>
              <a:gd name="connsiteX10077" fmla="*/ 3255092 w 12192185"/>
              <a:gd name="connsiteY10077" fmla="*/ 584418 h 6859062"/>
              <a:gd name="connsiteX10078" fmla="*/ 4683962 w 12192185"/>
              <a:gd name="connsiteY10078" fmla="*/ 580975 h 6859062"/>
              <a:gd name="connsiteX10079" fmla="*/ 4683946 w 12192185"/>
              <a:gd name="connsiteY10079" fmla="*/ 581267 h 6859062"/>
              <a:gd name="connsiteX10080" fmla="*/ 4683707 w 12192185"/>
              <a:gd name="connsiteY10080" fmla="*/ 581194 h 6859062"/>
              <a:gd name="connsiteX10081" fmla="*/ 4309100 w 12192185"/>
              <a:gd name="connsiteY10081" fmla="*/ 578900 h 6859062"/>
              <a:gd name="connsiteX10082" fmla="*/ 4313615 w 12192185"/>
              <a:gd name="connsiteY10082" fmla="*/ 578917 h 6859062"/>
              <a:gd name="connsiteX10083" fmla="*/ 4319308 w 12192185"/>
              <a:gd name="connsiteY10083" fmla="*/ 580172 h 6859062"/>
              <a:gd name="connsiteX10084" fmla="*/ 4323547 w 12192185"/>
              <a:gd name="connsiteY10084" fmla="*/ 582187 h 6859062"/>
              <a:gd name="connsiteX10085" fmla="*/ 4331250 w 12192185"/>
              <a:gd name="connsiteY10085" fmla="*/ 589805 h 6859062"/>
              <a:gd name="connsiteX10086" fmla="*/ 4336271 w 12192185"/>
              <a:gd name="connsiteY10086" fmla="*/ 594325 h 6859062"/>
              <a:gd name="connsiteX10087" fmla="*/ 4337578 w 12192185"/>
              <a:gd name="connsiteY10087" fmla="*/ 596819 h 6859062"/>
              <a:gd name="connsiteX10088" fmla="*/ 4337693 w 12192185"/>
              <a:gd name="connsiteY10088" fmla="*/ 603114 h 6859062"/>
              <a:gd name="connsiteX10089" fmla="*/ 4335993 w 12192185"/>
              <a:gd name="connsiteY10089" fmla="*/ 613538 h 6859062"/>
              <a:gd name="connsiteX10090" fmla="*/ 4336065 w 12192185"/>
              <a:gd name="connsiteY10090" fmla="*/ 617210 h 6859062"/>
              <a:gd name="connsiteX10091" fmla="*/ 4334110 w 12192185"/>
              <a:gd name="connsiteY10091" fmla="*/ 619558 h 6859062"/>
              <a:gd name="connsiteX10092" fmla="*/ 4330086 w 12192185"/>
              <a:gd name="connsiteY10092" fmla="*/ 623519 h 6859062"/>
              <a:gd name="connsiteX10093" fmla="*/ 4328859 w 12192185"/>
              <a:gd name="connsiteY10093" fmla="*/ 625223 h 6859062"/>
              <a:gd name="connsiteX10094" fmla="*/ 4322634 w 12192185"/>
              <a:gd name="connsiteY10094" fmla="*/ 629542 h 6859062"/>
              <a:gd name="connsiteX10095" fmla="*/ 4321399 w 12192185"/>
              <a:gd name="connsiteY10095" fmla="*/ 630721 h 6859062"/>
              <a:gd name="connsiteX10096" fmla="*/ 4301723 w 12192185"/>
              <a:gd name="connsiteY10096" fmla="*/ 629109 h 6859062"/>
              <a:gd name="connsiteX10097" fmla="*/ 4292684 w 12192185"/>
              <a:gd name="connsiteY10097" fmla="*/ 622988 h 6859062"/>
              <a:gd name="connsiteX10098" fmla="*/ 4289378 w 12192185"/>
              <a:gd name="connsiteY10098" fmla="*/ 620219 h 6859062"/>
              <a:gd name="connsiteX10099" fmla="*/ 4287319 w 12192185"/>
              <a:gd name="connsiteY10099" fmla="*/ 616794 h 6859062"/>
              <a:gd name="connsiteX10100" fmla="*/ 4286526 w 12192185"/>
              <a:gd name="connsiteY10100" fmla="*/ 613766 h 6859062"/>
              <a:gd name="connsiteX10101" fmla="*/ 4284627 w 12192185"/>
              <a:gd name="connsiteY10101" fmla="*/ 607611 h 6859062"/>
              <a:gd name="connsiteX10102" fmla="*/ 4283746 w 12192185"/>
              <a:gd name="connsiteY10102" fmla="*/ 605424 h 6859062"/>
              <a:gd name="connsiteX10103" fmla="*/ 4281756 w 12192185"/>
              <a:gd name="connsiteY10103" fmla="*/ 600110 h 6859062"/>
              <a:gd name="connsiteX10104" fmla="*/ 4287917 w 12192185"/>
              <a:gd name="connsiteY10104" fmla="*/ 586555 h 6859062"/>
              <a:gd name="connsiteX10105" fmla="*/ 4294465 w 12192185"/>
              <a:gd name="connsiteY10105" fmla="*/ 582859 h 6859062"/>
              <a:gd name="connsiteX10106" fmla="*/ 4309100 w 12192185"/>
              <a:gd name="connsiteY10106" fmla="*/ 578900 h 6859062"/>
              <a:gd name="connsiteX10107" fmla="*/ 11814451 w 12192185"/>
              <a:gd name="connsiteY10107" fmla="*/ 578358 h 6859062"/>
              <a:gd name="connsiteX10108" fmla="*/ 11816833 w 12192185"/>
              <a:gd name="connsiteY10108" fmla="*/ 580676 h 6859062"/>
              <a:gd name="connsiteX10109" fmla="*/ 11828829 w 12192185"/>
              <a:gd name="connsiteY10109" fmla="*/ 589211 h 6859062"/>
              <a:gd name="connsiteX10110" fmla="*/ 11831179 w 12192185"/>
              <a:gd name="connsiteY10110" fmla="*/ 592548 h 6859062"/>
              <a:gd name="connsiteX10111" fmla="*/ 11838910 w 12192185"/>
              <a:gd name="connsiteY10111" fmla="*/ 600338 h 6859062"/>
              <a:gd name="connsiteX10112" fmla="*/ 11842652 w 12192185"/>
              <a:gd name="connsiteY10112" fmla="*/ 604943 h 6859062"/>
              <a:gd name="connsiteX10113" fmla="*/ 11842439 w 12192185"/>
              <a:gd name="connsiteY10113" fmla="*/ 612079 h 6859062"/>
              <a:gd name="connsiteX10114" fmla="*/ 11845506 w 12192185"/>
              <a:gd name="connsiteY10114" fmla="*/ 632375 h 6859062"/>
              <a:gd name="connsiteX10115" fmla="*/ 11845138 w 12192185"/>
              <a:gd name="connsiteY10115" fmla="*/ 644607 h 6859062"/>
              <a:gd name="connsiteX10116" fmla="*/ 11842543 w 12192185"/>
              <a:gd name="connsiteY10116" fmla="*/ 649424 h 6859062"/>
              <a:gd name="connsiteX10117" fmla="*/ 11832686 w 12192185"/>
              <a:gd name="connsiteY10117" fmla="*/ 658097 h 6859062"/>
              <a:gd name="connsiteX10118" fmla="*/ 11817545 w 12192185"/>
              <a:gd name="connsiteY10118" fmla="*/ 672727 h 6859062"/>
              <a:gd name="connsiteX10119" fmla="*/ 11809262 w 12192185"/>
              <a:gd name="connsiteY10119" fmla="*/ 676552 h 6859062"/>
              <a:gd name="connsiteX10120" fmla="*/ 11798166 w 12192185"/>
              <a:gd name="connsiteY10120" fmla="*/ 678861 h 6859062"/>
              <a:gd name="connsiteX10121" fmla="*/ 11789387 w 12192185"/>
              <a:gd name="connsiteY10121" fmla="*/ 678792 h 6859062"/>
              <a:gd name="connsiteX10122" fmla="*/ 11761038 w 12192185"/>
              <a:gd name="connsiteY10122" fmla="*/ 670772 h 6859062"/>
              <a:gd name="connsiteX10123" fmla="*/ 11748393 w 12192185"/>
              <a:gd name="connsiteY10123" fmla="*/ 663442 h 6859062"/>
              <a:gd name="connsiteX10124" fmla="*/ 11736730 w 12192185"/>
              <a:gd name="connsiteY10124" fmla="*/ 636961 h 6859062"/>
              <a:gd name="connsiteX10125" fmla="*/ 11740714 w 12192185"/>
              <a:gd name="connsiteY10125" fmla="*/ 626678 h 6859062"/>
              <a:gd name="connsiteX10126" fmla="*/ 11742475 w 12192185"/>
              <a:gd name="connsiteY10126" fmla="*/ 622447 h 6859062"/>
              <a:gd name="connsiteX10127" fmla="*/ 11746305 w 12192185"/>
              <a:gd name="connsiteY10127" fmla="*/ 610527 h 6859062"/>
              <a:gd name="connsiteX10128" fmla="*/ 11747909 w 12192185"/>
              <a:gd name="connsiteY10128" fmla="*/ 604659 h 6859062"/>
              <a:gd name="connsiteX10129" fmla="*/ 11751987 w 12192185"/>
              <a:gd name="connsiteY10129" fmla="*/ 598051 h 6859062"/>
              <a:gd name="connsiteX10130" fmla="*/ 11758477 w 12192185"/>
              <a:gd name="connsiteY10130" fmla="*/ 592743 h 6859062"/>
              <a:gd name="connsiteX10131" fmla="*/ 11776184 w 12192185"/>
              <a:gd name="connsiteY10131" fmla="*/ 581049 h 6859062"/>
              <a:gd name="connsiteX10132" fmla="*/ 11814451 w 12192185"/>
              <a:gd name="connsiteY10132" fmla="*/ 578358 h 6859062"/>
              <a:gd name="connsiteX10133" fmla="*/ 8129373 w 12192185"/>
              <a:gd name="connsiteY10133" fmla="*/ 576794 h 6859062"/>
              <a:gd name="connsiteX10134" fmla="*/ 8137230 w 12192185"/>
              <a:gd name="connsiteY10134" fmla="*/ 580705 h 6859062"/>
              <a:gd name="connsiteX10135" fmla="*/ 8142587 w 12192185"/>
              <a:gd name="connsiteY10135" fmla="*/ 587105 h 6859062"/>
              <a:gd name="connsiteX10136" fmla="*/ 8146516 w 12192185"/>
              <a:gd name="connsiteY10136" fmla="*/ 596706 h 6859062"/>
              <a:gd name="connsiteX10137" fmla="*/ 8151516 w 12192185"/>
              <a:gd name="connsiteY10137" fmla="*/ 605950 h 6859062"/>
              <a:gd name="connsiteX10138" fmla="*/ 8159375 w 12192185"/>
              <a:gd name="connsiteY10138" fmla="*/ 613773 h 6859062"/>
              <a:gd name="connsiteX10139" fmla="*/ 8159375 w 12192185"/>
              <a:gd name="connsiteY10139" fmla="*/ 626573 h 6859062"/>
              <a:gd name="connsiteX10140" fmla="*/ 8155089 w 12192185"/>
              <a:gd name="connsiteY10140" fmla="*/ 631551 h 6859062"/>
              <a:gd name="connsiteX10141" fmla="*/ 8147231 w 12192185"/>
              <a:gd name="connsiteY10141" fmla="*/ 636529 h 6859062"/>
              <a:gd name="connsiteX10142" fmla="*/ 8137944 w 12192185"/>
              <a:gd name="connsiteY10142" fmla="*/ 637951 h 6859062"/>
              <a:gd name="connsiteX10143" fmla="*/ 8127229 w 12192185"/>
              <a:gd name="connsiteY10143" fmla="*/ 627995 h 6859062"/>
              <a:gd name="connsiteX10144" fmla="*/ 8125086 w 12192185"/>
              <a:gd name="connsiteY10144" fmla="*/ 624084 h 6859062"/>
              <a:gd name="connsiteX10145" fmla="*/ 8118300 w 12192185"/>
              <a:gd name="connsiteY10145" fmla="*/ 615551 h 6859062"/>
              <a:gd name="connsiteX10146" fmla="*/ 8112942 w 12192185"/>
              <a:gd name="connsiteY10146" fmla="*/ 612350 h 6859062"/>
              <a:gd name="connsiteX10147" fmla="*/ 8107942 w 12192185"/>
              <a:gd name="connsiteY10147" fmla="*/ 598128 h 6859062"/>
              <a:gd name="connsiteX10148" fmla="*/ 8111156 w 12192185"/>
              <a:gd name="connsiteY10148" fmla="*/ 586039 h 6859062"/>
              <a:gd name="connsiteX10149" fmla="*/ 8121157 w 12192185"/>
              <a:gd name="connsiteY10149" fmla="*/ 578216 h 6859062"/>
              <a:gd name="connsiteX10150" fmla="*/ 8122228 w 12192185"/>
              <a:gd name="connsiteY10150" fmla="*/ 576794 h 6859062"/>
              <a:gd name="connsiteX10151" fmla="*/ 8129373 w 12192185"/>
              <a:gd name="connsiteY10151" fmla="*/ 576794 h 6859062"/>
              <a:gd name="connsiteX10152" fmla="*/ 9782710 w 12192185"/>
              <a:gd name="connsiteY10152" fmla="*/ 572357 h 6859062"/>
              <a:gd name="connsiteX10153" fmla="*/ 9789268 w 12192185"/>
              <a:gd name="connsiteY10153" fmla="*/ 575605 h 6859062"/>
              <a:gd name="connsiteX10154" fmla="*/ 9792983 w 12192185"/>
              <a:gd name="connsiteY10154" fmla="*/ 577569 h 6859062"/>
              <a:gd name="connsiteX10155" fmla="*/ 9797137 w 12192185"/>
              <a:gd name="connsiteY10155" fmla="*/ 581062 h 6859062"/>
              <a:gd name="connsiteX10156" fmla="*/ 9799760 w 12192185"/>
              <a:gd name="connsiteY10156" fmla="*/ 584555 h 6859062"/>
              <a:gd name="connsiteX10157" fmla="*/ 9802819 w 12192185"/>
              <a:gd name="connsiteY10157" fmla="*/ 594160 h 6859062"/>
              <a:gd name="connsiteX10158" fmla="*/ 9805006 w 12192185"/>
              <a:gd name="connsiteY10158" fmla="*/ 600055 h 6859062"/>
              <a:gd name="connsiteX10159" fmla="*/ 9805006 w 12192185"/>
              <a:gd name="connsiteY10159" fmla="*/ 602674 h 6859062"/>
              <a:gd name="connsiteX10160" fmla="*/ 9802382 w 12192185"/>
              <a:gd name="connsiteY10160" fmla="*/ 607913 h 6859062"/>
              <a:gd name="connsiteX10161" fmla="*/ 9796480 w 12192185"/>
              <a:gd name="connsiteY10161" fmla="*/ 615772 h 6859062"/>
              <a:gd name="connsiteX10162" fmla="*/ 9794950 w 12192185"/>
              <a:gd name="connsiteY10162" fmla="*/ 618829 h 6859062"/>
              <a:gd name="connsiteX10163" fmla="*/ 9792328 w 12192185"/>
              <a:gd name="connsiteY10163" fmla="*/ 619920 h 6859062"/>
              <a:gd name="connsiteX10164" fmla="*/ 9787300 w 12192185"/>
              <a:gd name="connsiteY10164" fmla="*/ 621448 h 6859062"/>
              <a:gd name="connsiteX10165" fmla="*/ 9785551 w 12192185"/>
              <a:gd name="connsiteY10165" fmla="*/ 622322 h 6859062"/>
              <a:gd name="connsiteX10166" fmla="*/ 9778557 w 12192185"/>
              <a:gd name="connsiteY10166" fmla="*/ 623195 h 6859062"/>
              <a:gd name="connsiteX10167" fmla="*/ 9777027 w 12192185"/>
              <a:gd name="connsiteY10167" fmla="*/ 623631 h 6859062"/>
              <a:gd name="connsiteX10168" fmla="*/ 9761507 w 12192185"/>
              <a:gd name="connsiteY10168" fmla="*/ 613808 h 6859062"/>
              <a:gd name="connsiteX10169" fmla="*/ 9756699 w 12192185"/>
              <a:gd name="connsiteY10169" fmla="*/ 604857 h 6859062"/>
              <a:gd name="connsiteX10170" fmla="*/ 9755169 w 12192185"/>
              <a:gd name="connsiteY10170" fmla="*/ 601146 h 6859062"/>
              <a:gd name="connsiteX10171" fmla="*/ 9754950 w 12192185"/>
              <a:gd name="connsiteY10171" fmla="*/ 597435 h 6859062"/>
              <a:gd name="connsiteX10172" fmla="*/ 9755605 w 12192185"/>
              <a:gd name="connsiteY10172" fmla="*/ 594597 h 6859062"/>
              <a:gd name="connsiteX10173" fmla="*/ 9756698 w 12192185"/>
              <a:gd name="connsiteY10173" fmla="*/ 588702 h 6859062"/>
              <a:gd name="connsiteX10174" fmla="*/ 9756917 w 12192185"/>
              <a:gd name="connsiteY10174" fmla="*/ 586519 h 6859062"/>
              <a:gd name="connsiteX10175" fmla="*/ 9757574 w 12192185"/>
              <a:gd name="connsiteY10175" fmla="*/ 581281 h 6859062"/>
              <a:gd name="connsiteX10176" fmla="*/ 9768502 w 12192185"/>
              <a:gd name="connsiteY10176" fmla="*/ 572767 h 6859062"/>
              <a:gd name="connsiteX10177" fmla="*/ 9775496 w 12192185"/>
              <a:gd name="connsiteY10177" fmla="*/ 572548 h 6859062"/>
              <a:gd name="connsiteX10178" fmla="*/ 9782710 w 12192185"/>
              <a:gd name="connsiteY10178" fmla="*/ 572357 h 6859062"/>
              <a:gd name="connsiteX10179" fmla="*/ 8349139 w 12192185"/>
              <a:gd name="connsiteY10179" fmla="*/ 567635 h 6859062"/>
              <a:gd name="connsiteX10180" fmla="*/ 8366568 w 12192185"/>
              <a:gd name="connsiteY10180" fmla="*/ 578668 h 6859062"/>
              <a:gd name="connsiteX10181" fmla="*/ 8371969 w 12192185"/>
              <a:gd name="connsiteY10181" fmla="*/ 588720 h 6859062"/>
              <a:gd name="connsiteX10182" fmla="*/ 8373688 w 12192185"/>
              <a:gd name="connsiteY10182" fmla="*/ 592888 h 6859062"/>
              <a:gd name="connsiteX10183" fmla="*/ 8373933 w 12192185"/>
              <a:gd name="connsiteY10183" fmla="*/ 597055 h 6859062"/>
              <a:gd name="connsiteX10184" fmla="*/ 8373196 w 12192185"/>
              <a:gd name="connsiteY10184" fmla="*/ 600243 h 6859062"/>
              <a:gd name="connsiteX10185" fmla="*/ 8371969 w 12192185"/>
              <a:gd name="connsiteY10185" fmla="*/ 606862 h 6859062"/>
              <a:gd name="connsiteX10186" fmla="*/ 8371724 w 12192185"/>
              <a:gd name="connsiteY10186" fmla="*/ 609313 h 6859062"/>
              <a:gd name="connsiteX10187" fmla="*/ 8370987 w 12192185"/>
              <a:gd name="connsiteY10187" fmla="*/ 615197 h 6859062"/>
              <a:gd name="connsiteX10188" fmla="*/ 8358713 w 12192185"/>
              <a:gd name="connsiteY10188" fmla="*/ 624759 h 6859062"/>
              <a:gd name="connsiteX10189" fmla="*/ 8350857 w 12192185"/>
              <a:gd name="connsiteY10189" fmla="*/ 625005 h 6859062"/>
              <a:gd name="connsiteX10190" fmla="*/ 8335392 w 12192185"/>
              <a:gd name="connsiteY10190" fmla="*/ 621572 h 6859062"/>
              <a:gd name="connsiteX10191" fmla="*/ 8331219 w 12192185"/>
              <a:gd name="connsiteY10191" fmla="*/ 619365 h 6859062"/>
              <a:gd name="connsiteX10192" fmla="*/ 8326555 w 12192185"/>
              <a:gd name="connsiteY10192" fmla="*/ 615442 h 6859062"/>
              <a:gd name="connsiteX10193" fmla="*/ 8323610 w 12192185"/>
              <a:gd name="connsiteY10193" fmla="*/ 611520 h 6859062"/>
              <a:gd name="connsiteX10194" fmla="*/ 8320173 w 12192185"/>
              <a:gd name="connsiteY10194" fmla="*/ 600733 h 6859062"/>
              <a:gd name="connsiteX10195" fmla="*/ 8317718 w 12192185"/>
              <a:gd name="connsiteY10195" fmla="*/ 594114 h 6859062"/>
              <a:gd name="connsiteX10196" fmla="*/ 8317718 w 12192185"/>
              <a:gd name="connsiteY10196" fmla="*/ 591171 h 6859062"/>
              <a:gd name="connsiteX10197" fmla="*/ 8320663 w 12192185"/>
              <a:gd name="connsiteY10197" fmla="*/ 585287 h 6859062"/>
              <a:gd name="connsiteX10198" fmla="*/ 8327292 w 12192185"/>
              <a:gd name="connsiteY10198" fmla="*/ 576462 h 6859062"/>
              <a:gd name="connsiteX10199" fmla="*/ 8329010 w 12192185"/>
              <a:gd name="connsiteY10199" fmla="*/ 573029 h 6859062"/>
              <a:gd name="connsiteX10200" fmla="*/ 8331956 w 12192185"/>
              <a:gd name="connsiteY10200" fmla="*/ 571803 h 6859062"/>
              <a:gd name="connsiteX10201" fmla="*/ 8337601 w 12192185"/>
              <a:gd name="connsiteY10201" fmla="*/ 570088 h 6859062"/>
              <a:gd name="connsiteX10202" fmla="*/ 8339565 w 12192185"/>
              <a:gd name="connsiteY10202" fmla="*/ 569106 h 6859062"/>
              <a:gd name="connsiteX10203" fmla="*/ 8347421 w 12192185"/>
              <a:gd name="connsiteY10203" fmla="*/ 568125 h 6859062"/>
              <a:gd name="connsiteX10204" fmla="*/ 8349139 w 12192185"/>
              <a:gd name="connsiteY10204" fmla="*/ 567635 h 6859062"/>
              <a:gd name="connsiteX10205" fmla="*/ 8881204 w 12192185"/>
              <a:gd name="connsiteY10205" fmla="*/ 561337 h 6859062"/>
              <a:gd name="connsiteX10206" fmla="*/ 8881585 w 12192185"/>
              <a:gd name="connsiteY10206" fmla="*/ 561427 h 6859062"/>
              <a:gd name="connsiteX10207" fmla="*/ 8881379 w 12192185"/>
              <a:gd name="connsiteY10207" fmla="*/ 561631 h 6859062"/>
              <a:gd name="connsiteX10208" fmla="*/ 2859478 w 12192185"/>
              <a:gd name="connsiteY10208" fmla="*/ 560539 h 6859062"/>
              <a:gd name="connsiteX10209" fmla="*/ 2878206 w 12192185"/>
              <a:gd name="connsiteY10209" fmla="*/ 572395 h 6859062"/>
              <a:gd name="connsiteX10210" fmla="*/ 2884011 w 12192185"/>
              <a:gd name="connsiteY10210" fmla="*/ 583197 h 6859062"/>
              <a:gd name="connsiteX10211" fmla="*/ 2885858 w 12192185"/>
              <a:gd name="connsiteY10211" fmla="*/ 587676 h 6859062"/>
              <a:gd name="connsiteX10212" fmla="*/ 2886122 w 12192185"/>
              <a:gd name="connsiteY10212" fmla="*/ 592155 h 6859062"/>
              <a:gd name="connsiteX10213" fmla="*/ 2885330 w 12192185"/>
              <a:gd name="connsiteY10213" fmla="*/ 595579 h 6859062"/>
              <a:gd name="connsiteX10214" fmla="*/ 2884011 w 12192185"/>
              <a:gd name="connsiteY10214" fmla="*/ 602693 h 6859062"/>
              <a:gd name="connsiteX10215" fmla="*/ 2883748 w 12192185"/>
              <a:gd name="connsiteY10215" fmla="*/ 605327 h 6859062"/>
              <a:gd name="connsiteX10216" fmla="*/ 2882955 w 12192185"/>
              <a:gd name="connsiteY10216" fmla="*/ 611650 h 6859062"/>
              <a:gd name="connsiteX10217" fmla="*/ 2869766 w 12192185"/>
              <a:gd name="connsiteY10217" fmla="*/ 621925 h 6859062"/>
              <a:gd name="connsiteX10218" fmla="*/ 2861325 w 12192185"/>
              <a:gd name="connsiteY10218" fmla="*/ 622189 h 6859062"/>
              <a:gd name="connsiteX10219" fmla="*/ 2844705 w 12192185"/>
              <a:gd name="connsiteY10219" fmla="*/ 618500 h 6859062"/>
              <a:gd name="connsiteX10220" fmla="*/ 2840221 w 12192185"/>
              <a:gd name="connsiteY10220" fmla="*/ 616129 h 6859062"/>
              <a:gd name="connsiteX10221" fmla="*/ 2835209 w 12192185"/>
              <a:gd name="connsiteY10221" fmla="*/ 611913 h 6859062"/>
              <a:gd name="connsiteX10222" fmla="*/ 2832044 w 12192185"/>
              <a:gd name="connsiteY10222" fmla="*/ 607699 h 6859062"/>
              <a:gd name="connsiteX10223" fmla="*/ 2828351 w 12192185"/>
              <a:gd name="connsiteY10223" fmla="*/ 596106 h 6859062"/>
              <a:gd name="connsiteX10224" fmla="*/ 2825711 w 12192185"/>
              <a:gd name="connsiteY10224" fmla="*/ 588993 h 6859062"/>
              <a:gd name="connsiteX10225" fmla="*/ 2825711 w 12192185"/>
              <a:gd name="connsiteY10225" fmla="*/ 585831 h 6859062"/>
              <a:gd name="connsiteX10226" fmla="*/ 2828878 w 12192185"/>
              <a:gd name="connsiteY10226" fmla="*/ 579508 h 6859062"/>
              <a:gd name="connsiteX10227" fmla="*/ 2836000 w 12192185"/>
              <a:gd name="connsiteY10227" fmla="*/ 570024 h 6859062"/>
              <a:gd name="connsiteX10228" fmla="*/ 2837847 w 12192185"/>
              <a:gd name="connsiteY10228" fmla="*/ 566335 h 6859062"/>
              <a:gd name="connsiteX10229" fmla="*/ 2841013 w 12192185"/>
              <a:gd name="connsiteY10229" fmla="*/ 565018 h 6859062"/>
              <a:gd name="connsiteX10230" fmla="*/ 2847079 w 12192185"/>
              <a:gd name="connsiteY10230" fmla="*/ 563174 h 6859062"/>
              <a:gd name="connsiteX10231" fmla="*/ 2849189 w 12192185"/>
              <a:gd name="connsiteY10231" fmla="*/ 562120 h 6859062"/>
              <a:gd name="connsiteX10232" fmla="*/ 2857632 w 12192185"/>
              <a:gd name="connsiteY10232" fmla="*/ 561067 h 6859062"/>
              <a:gd name="connsiteX10233" fmla="*/ 2859478 w 12192185"/>
              <a:gd name="connsiteY10233" fmla="*/ 560539 h 6859062"/>
              <a:gd name="connsiteX10234" fmla="*/ 4504221 w 12192185"/>
              <a:gd name="connsiteY10234" fmla="*/ 542912 h 6859062"/>
              <a:gd name="connsiteX10235" fmla="*/ 4508734 w 12192185"/>
              <a:gd name="connsiteY10235" fmla="*/ 542929 h 6859062"/>
              <a:gd name="connsiteX10236" fmla="*/ 4514429 w 12192185"/>
              <a:gd name="connsiteY10236" fmla="*/ 544182 h 6859062"/>
              <a:gd name="connsiteX10237" fmla="*/ 4518669 w 12192185"/>
              <a:gd name="connsiteY10237" fmla="*/ 546199 h 6859062"/>
              <a:gd name="connsiteX10238" fmla="*/ 4526371 w 12192185"/>
              <a:gd name="connsiteY10238" fmla="*/ 553816 h 6859062"/>
              <a:gd name="connsiteX10239" fmla="*/ 4531396 w 12192185"/>
              <a:gd name="connsiteY10239" fmla="*/ 558336 h 6859062"/>
              <a:gd name="connsiteX10240" fmla="*/ 4532701 w 12192185"/>
              <a:gd name="connsiteY10240" fmla="*/ 560830 h 6859062"/>
              <a:gd name="connsiteX10241" fmla="*/ 4532815 w 12192185"/>
              <a:gd name="connsiteY10241" fmla="*/ 567126 h 6859062"/>
              <a:gd name="connsiteX10242" fmla="*/ 4531119 w 12192185"/>
              <a:gd name="connsiteY10242" fmla="*/ 577549 h 6859062"/>
              <a:gd name="connsiteX10243" fmla="*/ 4531184 w 12192185"/>
              <a:gd name="connsiteY10243" fmla="*/ 581222 h 6859062"/>
              <a:gd name="connsiteX10244" fmla="*/ 4529231 w 12192185"/>
              <a:gd name="connsiteY10244" fmla="*/ 583569 h 6859062"/>
              <a:gd name="connsiteX10245" fmla="*/ 4525207 w 12192185"/>
              <a:gd name="connsiteY10245" fmla="*/ 587531 h 6859062"/>
              <a:gd name="connsiteX10246" fmla="*/ 4523979 w 12192185"/>
              <a:gd name="connsiteY10246" fmla="*/ 589234 h 6859062"/>
              <a:gd name="connsiteX10247" fmla="*/ 4517757 w 12192185"/>
              <a:gd name="connsiteY10247" fmla="*/ 593553 h 6859062"/>
              <a:gd name="connsiteX10248" fmla="*/ 4516519 w 12192185"/>
              <a:gd name="connsiteY10248" fmla="*/ 594732 h 6859062"/>
              <a:gd name="connsiteX10249" fmla="*/ 4496845 w 12192185"/>
              <a:gd name="connsiteY10249" fmla="*/ 593120 h 6859062"/>
              <a:gd name="connsiteX10250" fmla="*/ 4487805 w 12192185"/>
              <a:gd name="connsiteY10250" fmla="*/ 586998 h 6859062"/>
              <a:gd name="connsiteX10251" fmla="*/ 4484494 w 12192185"/>
              <a:gd name="connsiteY10251" fmla="*/ 584229 h 6859062"/>
              <a:gd name="connsiteX10252" fmla="*/ 4482437 w 12192185"/>
              <a:gd name="connsiteY10252" fmla="*/ 580806 h 6859062"/>
              <a:gd name="connsiteX10253" fmla="*/ 4481645 w 12192185"/>
              <a:gd name="connsiteY10253" fmla="*/ 577778 h 6859062"/>
              <a:gd name="connsiteX10254" fmla="*/ 4479743 w 12192185"/>
              <a:gd name="connsiteY10254" fmla="*/ 571622 h 6859062"/>
              <a:gd name="connsiteX10255" fmla="*/ 4478869 w 12192185"/>
              <a:gd name="connsiteY10255" fmla="*/ 569435 h 6859062"/>
              <a:gd name="connsiteX10256" fmla="*/ 4476878 w 12192185"/>
              <a:gd name="connsiteY10256" fmla="*/ 564120 h 6859062"/>
              <a:gd name="connsiteX10257" fmla="*/ 4483033 w 12192185"/>
              <a:gd name="connsiteY10257" fmla="*/ 550566 h 6859062"/>
              <a:gd name="connsiteX10258" fmla="*/ 4489584 w 12192185"/>
              <a:gd name="connsiteY10258" fmla="*/ 546871 h 6859062"/>
              <a:gd name="connsiteX10259" fmla="*/ 4504221 w 12192185"/>
              <a:gd name="connsiteY10259" fmla="*/ 542912 h 6859062"/>
              <a:gd name="connsiteX10260" fmla="*/ 6288145 w 12192185"/>
              <a:gd name="connsiteY10260" fmla="*/ 535747 h 6859062"/>
              <a:gd name="connsiteX10261" fmla="*/ 6292938 w 12192185"/>
              <a:gd name="connsiteY10261" fmla="*/ 544469 h 6859062"/>
              <a:gd name="connsiteX10262" fmla="*/ 6296607 w 12192185"/>
              <a:gd name="connsiteY10262" fmla="*/ 565087 h 6859062"/>
              <a:gd name="connsiteX10263" fmla="*/ 6286274 w 12192185"/>
              <a:gd name="connsiteY10263" fmla="*/ 588114 h 6859062"/>
              <a:gd name="connsiteX10264" fmla="*/ 6282169 w 12192185"/>
              <a:gd name="connsiteY10264" fmla="*/ 590120 h 6859062"/>
              <a:gd name="connsiteX10265" fmla="*/ 6370681 w 12192185"/>
              <a:gd name="connsiteY10265" fmla="*/ 596347 h 6859062"/>
              <a:gd name="connsiteX10266" fmla="*/ 7211608 w 12192185"/>
              <a:gd name="connsiteY10266" fmla="*/ 826684 h 6859062"/>
              <a:gd name="connsiteX10267" fmla="*/ 7274309 w 12192185"/>
              <a:gd name="connsiteY10267" fmla="*/ 857334 h 6859062"/>
              <a:gd name="connsiteX10268" fmla="*/ 7273303 w 12192185"/>
              <a:gd name="connsiteY10268" fmla="*/ 852977 h 6859062"/>
              <a:gd name="connsiteX10269" fmla="*/ 7273657 w 12192185"/>
              <a:gd name="connsiteY10269" fmla="*/ 846977 h 6859062"/>
              <a:gd name="connsiteX10270" fmla="*/ 7276130 w 12192185"/>
              <a:gd name="connsiteY10270" fmla="*/ 840977 h 6859062"/>
              <a:gd name="connsiteX10271" fmla="*/ 7283906 w 12192185"/>
              <a:gd name="connsiteY10271" fmla="*/ 826505 h 6859062"/>
              <a:gd name="connsiteX10272" fmla="*/ 7308998 w 12192185"/>
              <a:gd name="connsiteY10272" fmla="*/ 810622 h 6859062"/>
              <a:gd name="connsiteX10273" fmla="*/ 7311472 w 12192185"/>
              <a:gd name="connsiteY10273" fmla="*/ 811327 h 6859062"/>
              <a:gd name="connsiteX10274" fmla="*/ 7322781 w 12192185"/>
              <a:gd name="connsiteY10274" fmla="*/ 812740 h 6859062"/>
              <a:gd name="connsiteX10275" fmla="*/ 7325608 w 12192185"/>
              <a:gd name="connsiteY10275" fmla="*/ 814151 h 6859062"/>
              <a:gd name="connsiteX10276" fmla="*/ 7333738 w 12192185"/>
              <a:gd name="connsiteY10276" fmla="*/ 816622 h 6859062"/>
              <a:gd name="connsiteX10277" fmla="*/ 7337978 w 12192185"/>
              <a:gd name="connsiteY10277" fmla="*/ 818387 h 6859062"/>
              <a:gd name="connsiteX10278" fmla="*/ 7340452 w 12192185"/>
              <a:gd name="connsiteY10278" fmla="*/ 823328 h 6859062"/>
              <a:gd name="connsiteX10279" fmla="*/ 7349994 w 12192185"/>
              <a:gd name="connsiteY10279" fmla="*/ 836035 h 6859062"/>
              <a:gd name="connsiteX10280" fmla="*/ 7354236 w 12192185"/>
              <a:gd name="connsiteY10280" fmla="*/ 844506 h 6859062"/>
              <a:gd name="connsiteX10281" fmla="*/ 7354235 w 12192185"/>
              <a:gd name="connsiteY10281" fmla="*/ 848742 h 6859062"/>
              <a:gd name="connsiteX10282" fmla="*/ 7350702 w 12192185"/>
              <a:gd name="connsiteY10282" fmla="*/ 858272 h 6859062"/>
              <a:gd name="connsiteX10283" fmla="*/ 7345753 w 12192185"/>
              <a:gd name="connsiteY10283" fmla="*/ 873802 h 6859062"/>
              <a:gd name="connsiteX10284" fmla="*/ 7341512 w 12192185"/>
              <a:gd name="connsiteY10284" fmla="*/ 879449 h 6859062"/>
              <a:gd name="connsiteX10285" fmla="*/ 7334797 w 12192185"/>
              <a:gd name="connsiteY10285" fmla="*/ 885097 h 6859062"/>
              <a:gd name="connsiteX10286" fmla="*/ 7333024 w 12192185"/>
              <a:gd name="connsiteY10286" fmla="*/ 886035 h 6859062"/>
              <a:gd name="connsiteX10287" fmla="*/ 7368740 w 12192185"/>
              <a:gd name="connsiteY10287" fmla="*/ 903495 h 6859062"/>
              <a:gd name="connsiteX10288" fmla="*/ 8072250 w 12192185"/>
              <a:gd name="connsiteY10288" fmla="*/ 1429192 h 6859062"/>
              <a:gd name="connsiteX10289" fmla="*/ 8074054 w 12192185"/>
              <a:gd name="connsiteY10289" fmla="*/ 1433579 h 6859062"/>
              <a:gd name="connsiteX10290" fmla="*/ 8075858 w 12192185"/>
              <a:gd name="connsiteY10290" fmla="*/ 1437968 h 6859062"/>
              <a:gd name="connsiteX10291" fmla="*/ 8073274 w 12192185"/>
              <a:gd name="connsiteY10291" fmla="*/ 1444155 h 6859062"/>
              <a:gd name="connsiteX10292" fmla="*/ 8065281 w 12192185"/>
              <a:gd name="connsiteY10292" fmla="*/ 1437185 h 6859062"/>
              <a:gd name="connsiteX10293" fmla="*/ 8056506 w 12192185"/>
              <a:gd name="connsiteY10293" fmla="*/ 1440791 h 6859062"/>
              <a:gd name="connsiteX10294" fmla="*/ 8064499 w 12192185"/>
              <a:gd name="connsiteY10294" fmla="*/ 1447761 h 6859062"/>
              <a:gd name="connsiteX10295" fmla="*/ 8070689 w 12192185"/>
              <a:gd name="connsiteY10295" fmla="*/ 1450345 h 6859062"/>
              <a:gd name="connsiteX10296" fmla="*/ 8072492 w 12192185"/>
              <a:gd name="connsiteY10296" fmla="*/ 1454733 h 6859062"/>
              <a:gd name="connsiteX10297" fmla="*/ 8066716 w 12192185"/>
              <a:gd name="connsiteY10297" fmla="*/ 1460953 h 6859062"/>
              <a:gd name="connsiteX10298" fmla="*/ 8067317 w 12192185"/>
              <a:gd name="connsiteY10298" fmla="*/ 1461727 h 6859062"/>
              <a:gd name="connsiteX10299" fmla="*/ 8082644 w 12192185"/>
              <a:gd name="connsiteY10299" fmla="*/ 1452725 h 6859062"/>
              <a:gd name="connsiteX10300" fmla="*/ 8081266 w 12192185"/>
              <a:gd name="connsiteY10300" fmla="*/ 1451127 h 6859062"/>
              <a:gd name="connsiteX10301" fmla="*/ 8075076 w 12192185"/>
              <a:gd name="connsiteY10301" fmla="*/ 1448542 h 6859062"/>
              <a:gd name="connsiteX10302" fmla="*/ 8085653 w 12192185"/>
              <a:gd name="connsiteY10302" fmla="*/ 1449324 h 6859062"/>
              <a:gd name="connsiteX10303" fmla="*/ 8086194 w 12192185"/>
              <a:gd name="connsiteY10303" fmla="*/ 1450639 h 6859062"/>
              <a:gd name="connsiteX10304" fmla="*/ 8089783 w 12192185"/>
              <a:gd name="connsiteY10304" fmla="*/ 1448530 h 6859062"/>
              <a:gd name="connsiteX10305" fmla="*/ 8124382 w 12192185"/>
              <a:gd name="connsiteY10305" fmla="*/ 1408243 h 6859062"/>
              <a:gd name="connsiteX10306" fmla="*/ 8131508 w 12192185"/>
              <a:gd name="connsiteY10306" fmla="*/ 1400879 h 6859062"/>
              <a:gd name="connsiteX10307" fmla="*/ 7957229 w 12192185"/>
              <a:gd name="connsiteY10307" fmla="*/ 1229439 h 6859062"/>
              <a:gd name="connsiteX10308" fmla="*/ 7932499 w 12192185"/>
              <a:gd name="connsiteY10308" fmla="*/ 1209829 h 6859062"/>
              <a:gd name="connsiteX10309" fmla="*/ 7923459 w 12192185"/>
              <a:gd name="connsiteY10309" fmla="*/ 1218228 h 6859062"/>
              <a:gd name="connsiteX10310" fmla="*/ 7910382 w 12192185"/>
              <a:gd name="connsiteY10310" fmla="*/ 1216226 h 6859062"/>
              <a:gd name="connsiteX10311" fmla="*/ 7899317 w 12192185"/>
              <a:gd name="connsiteY10311" fmla="*/ 1209215 h 6859062"/>
              <a:gd name="connsiteX10312" fmla="*/ 7893281 w 12192185"/>
              <a:gd name="connsiteY10312" fmla="*/ 1202205 h 6859062"/>
              <a:gd name="connsiteX10313" fmla="*/ 7893281 w 12192185"/>
              <a:gd name="connsiteY10313" fmla="*/ 1184180 h 6859062"/>
              <a:gd name="connsiteX10314" fmla="*/ 7896328 w 12192185"/>
              <a:gd name="connsiteY10314" fmla="*/ 1181145 h 6859062"/>
              <a:gd name="connsiteX10315" fmla="*/ 7732225 w 12192185"/>
              <a:gd name="connsiteY10315" fmla="*/ 1051010 h 6859062"/>
              <a:gd name="connsiteX10316" fmla="*/ 6297971 w 12192185"/>
              <a:gd name="connsiteY10316" fmla="*/ 536052 h 6859062"/>
              <a:gd name="connsiteX10317" fmla="*/ 6077440 w 12192185"/>
              <a:gd name="connsiteY10317" fmla="*/ 529202 h 6859062"/>
              <a:gd name="connsiteX10318" fmla="*/ 5277342 w 12192185"/>
              <a:gd name="connsiteY10318" fmla="*/ 654869 h 6859062"/>
              <a:gd name="connsiteX10319" fmla="*/ 5107025 w 12192185"/>
              <a:gd name="connsiteY10319" fmla="*/ 714606 h 6859062"/>
              <a:gd name="connsiteX10320" fmla="*/ 5100837 w 12192185"/>
              <a:gd name="connsiteY10320" fmla="*/ 712021 h 6859062"/>
              <a:gd name="connsiteX10321" fmla="*/ 5087671 w 12192185"/>
              <a:gd name="connsiteY10321" fmla="*/ 717431 h 6859062"/>
              <a:gd name="connsiteX10322" fmla="*/ 5085094 w 12192185"/>
              <a:gd name="connsiteY10322" fmla="*/ 723620 h 6859062"/>
              <a:gd name="connsiteX10323" fmla="*/ 4962265 w 12192185"/>
              <a:gd name="connsiteY10323" fmla="*/ 774102 h 6859062"/>
              <a:gd name="connsiteX10324" fmla="*/ 4687914 w 12192185"/>
              <a:gd name="connsiteY10324" fmla="*/ 917611 h 6859062"/>
              <a:gd name="connsiteX10325" fmla="*/ 4475346 w 12192185"/>
              <a:gd name="connsiteY10325" fmla="*/ 1054892 h 6859062"/>
              <a:gd name="connsiteX10326" fmla="*/ 4420523 w 12192185"/>
              <a:gd name="connsiteY10326" fmla="*/ 1097615 h 6859062"/>
              <a:gd name="connsiteX10327" fmla="*/ 4435473 w 12192185"/>
              <a:gd name="connsiteY10327" fmla="*/ 1101506 h 6859062"/>
              <a:gd name="connsiteX10328" fmla="*/ 4438550 w 12192185"/>
              <a:gd name="connsiteY10328" fmla="*/ 1102501 h 6859062"/>
              <a:gd name="connsiteX10329" fmla="*/ 4659977 w 12192185"/>
              <a:gd name="connsiteY10329" fmla="*/ 956656 h 6859062"/>
              <a:gd name="connsiteX10330" fmla="*/ 4951149 w 12192185"/>
              <a:gd name="connsiteY10330" fmla="*/ 809437 h 6859062"/>
              <a:gd name="connsiteX10331" fmla="*/ 4954747 w 12192185"/>
              <a:gd name="connsiteY10331" fmla="*/ 818211 h 6859062"/>
              <a:gd name="connsiteX10332" fmla="*/ 4847345 w 12192185"/>
              <a:gd name="connsiteY10332" fmla="*/ 918751 h 6859062"/>
              <a:gd name="connsiteX10333" fmla="*/ 4866690 w 12192185"/>
              <a:gd name="connsiteY10333" fmla="*/ 915927 h 6859062"/>
              <a:gd name="connsiteX10334" fmla="*/ 4791342 w 12192185"/>
              <a:gd name="connsiteY10334" fmla="*/ 957153 h 6859062"/>
              <a:gd name="connsiteX10335" fmla="*/ 4743326 w 12192185"/>
              <a:gd name="connsiteY10335" fmla="*/ 1002526 h 6859062"/>
              <a:gd name="connsiteX10336" fmla="*/ 4790806 w 12192185"/>
              <a:gd name="connsiteY10336" fmla="*/ 993271 h 6859062"/>
              <a:gd name="connsiteX10337" fmla="*/ 4788219 w 12192185"/>
              <a:gd name="connsiteY10337" fmla="*/ 999460 h 6859062"/>
              <a:gd name="connsiteX10338" fmla="*/ 4783831 w 12192185"/>
              <a:gd name="connsiteY10338" fmla="*/ 1001263 h 6859062"/>
              <a:gd name="connsiteX10339" fmla="*/ 4779447 w 12192185"/>
              <a:gd name="connsiteY10339" fmla="*/ 1003067 h 6859062"/>
              <a:gd name="connsiteX10340" fmla="*/ 4770668 w 12192185"/>
              <a:gd name="connsiteY10340" fmla="*/ 1006672 h 6859062"/>
              <a:gd name="connsiteX10341" fmla="*/ 4776864 w 12192185"/>
              <a:gd name="connsiteY10341" fmla="*/ 1009255 h 6859062"/>
              <a:gd name="connsiteX10342" fmla="*/ 4781250 w 12192185"/>
              <a:gd name="connsiteY10342" fmla="*/ 1007452 h 6859062"/>
              <a:gd name="connsiteX10343" fmla="*/ 4785640 w 12192185"/>
              <a:gd name="connsiteY10343" fmla="*/ 1005650 h 6859062"/>
              <a:gd name="connsiteX10344" fmla="*/ 4800602 w 12192185"/>
              <a:gd name="connsiteY10344" fmla="*/ 1004628 h 6859062"/>
              <a:gd name="connsiteX10345" fmla="*/ 4803185 w 12192185"/>
              <a:gd name="connsiteY10345" fmla="*/ 998438 h 6859062"/>
              <a:gd name="connsiteX10346" fmla="*/ 4798798 w 12192185"/>
              <a:gd name="connsiteY10346" fmla="*/ 1000242 h 6859062"/>
              <a:gd name="connsiteX10347" fmla="*/ 4792605 w 12192185"/>
              <a:gd name="connsiteY10347" fmla="*/ 997658 h 6859062"/>
              <a:gd name="connsiteX10348" fmla="*/ 4805764 w 12192185"/>
              <a:gd name="connsiteY10348" fmla="*/ 992249 h 6859062"/>
              <a:gd name="connsiteX10349" fmla="*/ 4810147 w 12192185"/>
              <a:gd name="connsiteY10349" fmla="*/ 990446 h 6859062"/>
              <a:gd name="connsiteX10350" fmla="*/ 4854252 w 12192185"/>
              <a:gd name="connsiteY10350" fmla="*/ 997958 h 6859062"/>
              <a:gd name="connsiteX10351" fmla="*/ 4803424 w 12192185"/>
              <a:gd name="connsiteY10351" fmla="*/ 1023979 h 6859062"/>
              <a:gd name="connsiteX10352" fmla="*/ 4828183 w 12192185"/>
              <a:gd name="connsiteY10352" fmla="*/ 1034315 h 6859062"/>
              <a:gd name="connsiteX10353" fmla="*/ 4740925 w 12192185"/>
              <a:gd name="connsiteY10353" fmla="*/ 1121464 h 6859062"/>
              <a:gd name="connsiteX10354" fmla="*/ 4736530 w 12192185"/>
              <a:gd name="connsiteY10354" fmla="*/ 1123267 h 6859062"/>
              <a:gd name="connsiteX10355" fmla="*/ 4727761 w 12192185"/>
              <a:gd name="connsiteY10355" fmla="*/ 1126872 h 6859062"/>
              <a:gd name="connsiteX10356" fmla="*/ 4725173 w 12192185"/>
              <a:gd name="connsiteY10356" fmla="*/ 1133063 h 6859062"/>
              <a:gd name="connsiteX10357" fmla="*/ 4682330 w 12192185"/>
              <a:gd name="connsiteY10357" fmla="*/ 1166056 h 6859062"/>
              <a:gd name="connsiteX10358" fmla="*/ 4666584 w 12192185"/>
              <a:gd name="connsiteY10358" fmla="*/ 1177654 h 6859062"/>
              <a:gd name="connsiteX10359" fmla="*/ 4665298 w 12192185"/>
              <a:gd name="connsiteY10359" fmla="*/ 1180749 h 6859062"/>
              <a:gd name="connsiteX10360" fmla="*/ 4664805 w 12192185"/>
              <a:gd name="connsiteY10360" fmla="*/ 1181922 h 6859062"/>
              <a:gd name="connsiteX10361" fmla="*/ 4739093 w 12192185"/>
              <a:gd name="connsiteY10361" fmla="*/ 1210984 h 6859062"/>
              <a:gd name="connsiteX10362" fmla="*/ 4746186 w 12192185"/>
              <a:gd name="connsiteY10362" fmla="*/ 1206372 h 6859062"/>
              <a:gd name="connsiteX10363" fmla="*/ 4851795 w 12192185"/>
              <a:gd name="connsiteY10363" fmla="*/ 1150918 h 6859062"/>
              <a:gd name="connsiteX10364" fmla="*/ 4873818 w 12192185"/>
              <a:gd name="connsiteY10364" fmla="*/ 1147758 h 6859062"/>
              <a:gd name="connsiteX10365" fmla="*/ 4869299 w 12192185"/>
              <a:gd name="connsiteY10365" fmla="*/ 1160192 h 6859062"/>
              <a:gd name="connsiteX10366" fmla="*/ 4766089 w 12192185"/>
              <a:gd name="connsiteY10366" fmla="*/ 1221545 h 6859062"/>
              <a:gd name="connsiteX10367" fmla="*/ 4786333 w 12192185"/>
              <a:gd name="connsiteY10367" fmla="*/ 1229463 h 6859062"/>
              <a:gd name="connsiteX10368" fmla="*/ 4788579 w 12192185"/>
              <a:gd name="connsiteY10368" fmla="*/ 1224948 h 6859062"/>
              <a:gd name="connsiteX10369" fmla="*/ 4786780 w 12192185"/>
              <a:gd name="connsiteY10369" fmla="*/ 1220561 h 6859062"/>
              <a:gd name="connsiteX10370" fmla="*/ 4808713 w 12192185"/>
              <a:gd name="connsiteY10370" fmla="*/ 1211546 h 6859062"/>
              <a:gd name="connsiteX10371" fmla="*/ 4811297 w 12192185"/>
              <a:gd name="connsiteY10371" fmla="*/ 1205358 h 6859062"/>
              <a:gd name="connsiteX10372" fmla="*/ 4806904 w 12192185"/>
              <a:gd name="connsiteY10372" fmla="*/ 1207160 h 6859062"/>
              <a:gd name="connsiteX10373" fmla="*/ 4786780 w 12192185"/>
              <a:gd name="connsiteY10373" fmla="*/ 1220561 h 6859062"/>
              <a:gd name="connsiteX10374" fmla="*/ 4784978 w 12192185"/>
              <a:gd name="connsiteY10374" fmla="*/ 1216175 h 6859062"/>
              <a:gd name="connsiteX10375" fmla="*/ 4793751 w 12192185"/>
              <a:gd name="connsiteY10375" fmla="*/ 1212569 h 6859062"/>
              <a:gd name="connsiteX10376" fmla="*/ 4798140 w 12192185"/>
              <a:gd name="connsiteY10376" fmla="*/ 1210765 h 6859062"/>
              <a:gd name="connsiteX10377" fmla="*/ 4809492 w 12192185"/>
              <a:gd name="connsiteY10377" fmla="*/ 1200970 h 6859062"/>
              <a:gd name="connsiteX10378" fmla="*/ 4827038 w 12192185"/>
              <a:gd name="connsiteY10378" fmla="*/ 1193758 h 6859062"/>
              <a:gd name="connsiteX10379" fmla="*/ 4824453 w 12192185"/>
              <a:gd name="connsiteY10379" fmla="*/ 1199949 h 6859062"/>
              <a:gd name="connsiteX10380" fmla="*/ 4833231 w 12192185"/>
              <a:gd name="connsiteY10380" fmla="*/ 1196344 h 6859062"/>
              <a:gd name="connsiteX10381" fmla="*/ 4842000 w 12192185"/>
              <a:gd name="connsiteY10381" fmla="*/ 1192737 h 6859062"/>
              <a:gd name="connsiteX10382" fmla="*/ 4853355 w 12192185"/>
              <a:gd name="connsiteY10382" fmla="*/ 1182941 h 6859062"/>
              <a:gd name="connsiteX10383" fmla="*/ 4862125 w 12192185"/>
              <a:gd name="connsiteY10383" fmla="*/ 1179336 h 6859062"/>
              <a:gd name="connsiteX10384" fmla="*/ 4864702 w 12192185"/>
              <a:gd name="connsiteY10384" fmla="*/ 1173146 h 6859062"/>
              <a:gd name="connsiteX10385" fmla="*/ 4876071 w 12192185"/>
              <a:gd name="connsiteY10385" fmla="*/ 1163350 h 6859062"/>
              <a:gd name="connsiteX10386" fmla="*/ 4884843 w 12192185"/>
              <a:gd name="connsiteY10386" fmla="*/ 1159743 h 6859062"/>
              <a:gd name="connsiteX10387" fmla="*/ 4891040 w 12192185"/>
              <a:gd name="connsiteY10387" fmla="*/ 1162327 h 6859062"/>
              <a:gd name="connsiteX10388" fmla="*/ 4893619 w 12192185"/>
              <a:gd name="connsiteY10388" fmla="*/ 1156139 h 6859062"/>
              <a:gd name="connsiteX10389" fmla="*/ 4904198 w 12192185"/>
              <a:gd name="connsiteY10389" fmla="*/ 1156921 h 6859062"/>
              <a:gd name="connsiteX10390" fmla="*/ 4911175 w 12192185"/>
              <a:gd name="connsiteY10390" fmla="*/ 1148926 h 6859062"/>
              <a:gd name="connsiteX10391" fmla="*/ 4904989 w 12192185"/>
              <a:gd name="connsiteY10391" fmla="*/ 1146344 h 6859062"/>
              <a:gd name="connsiteX10392" fmla="*/ 4918150 w 12192185"/>
              <a:gd name="connsiteY10392" fmla="*/ 1140935 h 6859062"/>
              <a:gd name="connsiteX10393" fmla="*/ 4922536 w 12192185"/>
              <a:gd name="connsiteY10393" fmla="*/ 1139132 h 6859062"/>
              <a:gd name="connsiteX10394" fmla="*/ 4938284 w 12192185"/>
              <a:gd name="connsiteY10394" fmla="*/ 1127532 h 6859062"/>
              <a:gd name="connsiteX10395" fmla="*/ 4955838 w 12192185"/>
              <a:gd name="connsiteY10395" fmla="*/ 1120320 h 6859062"/>
              <a:gd name="connsiteX10396" fmla="*/ 4969000 w 12192185"/>
              <a:gd name="connsiteY10396" fmla="*/ 1114911 h 6859062"/>
              <a:gd name="connsiteX10397" fmla="*/ 4995316 w 12192185"/>
              <a:gd name="connsiteY10397" fmla="*/ 1104093 h 6859062"/>
              <a:gd name="connsiteX10398" fmla="*/ 5010279 w 12192185"/>
              <a:gd name="connsiteY10398" fmla="*/ 1103071 h 6859062"/>
              <a:gd name="connsiteX10399" fmla="*/ 5007691 w 12192185"/>
              <a:gd name="connsiteY10399" fmla="*/ 1109261 h 6859062"/>
              <a:gd name="connsiteX10400" fmla="*/ 5005110 w 12192185"/>
              <a:gd name="connsiteY10400" fmla="*/ 1115452 h 6859062"/>
              <a:gd name="connsiteX10401" fmla="*/ 5009496 w 12192185"/>
              <a:gd name="connsiteY10401" fmla="*/ 1113649 h 6859062"/>
              <a:gd name="connsiteX10402" fmla="*/ 5013881 w 12192185"/>
              <a:gd name="connsiteY10402" fmla="*/ 1111847 h 6859062"/>
              <a:gd name="connsiteX10403" fmla="*/ 5016467 w 12192185"/>
              <a:gd name="connsiteY10403" fmla="*/ 1105654 h 6859062"/>
              <a:gd name="connsiteX10404" fmla="*/ 5019051 w 12192185"/>
              <a:gd name="connsiteY10404" fmla="*/ 1099464 h 6859062"/>
              <a:gd name="connsiteX10405" fmla="*/ 5017250 w 12192185"/>
              <a:gd name="connsiteY10405" fmla="*/ 1095076 h 6859062"/>
              <a:gd name="connsiteX10406" fmla="*/ 4993513 w 12192185"/>
              <a:gd name="connsiteY10406" fmla="*/ 1099705 h 6859062"/>
              <a:gd name="connsiteX10407" fmla="*/ 4989135 w 12192185"/>
              <a:gd name="connsiteY10407" fmla="*/ 1101508 h 6859062"/>
              <a:gd name="connsiteX10408" fmla="*/ 4971591 w 12192185"/>
              <a:gd name="connsiteY10408" fmla="*/ 1108721 h 6859062"/>
              <a:gd name="connsiteX10409" fmla="*/ 4962811 w 12192185"/>
              <a:gd name="connsiteY10409" fmla="*/ 1112326 h 6859062"/>
              <a:gd name="connsiteX10410" fmla="*/ 4982943 w 12192185"/>
              <a:gd name="connsiteY10410" fmla="*/ 1098924 h 6859062"/>
              <a:gd name="connsiteX10411" fmla="*/ 5007455 w 12192185"/>
              <a:gd name="connsiteY10411" fmla="*/ 1083719 h 6859062"/>
              <a:gd name="connsiteX10412" fmla="*/ 5018026 w 12192185"/>
              <a:gd name="connsiteY10412" fmla="*/ 1084500 h 6859062"/>
              <a:gd name="connsiteX10413" fmla="*/ 5026809 w 12192185"/>
              <a:gd name="connsiteY10413" fmla="*/ 1080895 h 6859062"/>
              <a:gd name="connsiteX10414" fmla="*/ 5048742 w 12192185"/>
              <a:gd name="connsiteY10414" fmla="*/ 1071882 h 6859062"/>
              <a:gd name="connsiteX10415" fmla="*/ 5046155 w 12192185"/>
              <a:gd name="connsiteY10415" fmla="*/ 1078070 h 6859062"/>
              <a:gd name="connsiteX10416" fmla="*/ 5047958 w 12192185"/>
              <a:gd name="connsiteY10416" fmla="*/ 1082457 h 6859062"/>
              <a:gd name="connsiteX10417" fmla="*/ 5052347 w 12192185"/>
              <a:gd name="connsiteY10417" fmla="*/ 1080654 h 6859062"/>
              <a:gd name="connsiteX10418" fmla="*/ 5056732 w 12192185"/>
              <a:gd name="connsiteY10418" fmla="*/ 1078852 h 6859062"/>
              <a:gd name="connsiteX10419" fmla="*/ 5059313 w 12192185"/>
              <a:gd name="connsiteY10419" fmla="*/ 1072662 h 6859062"/>
              <a:gd name="connsiteX10420" fmla="*/ 5063706 w 12192185"/>
              <a:gd name="connsiteY10420" fmla="*/ 1070859 h 6859062"/>
              <a:gd name="connsiteX10421" fmla="*/ 5068089 w 12192185"/>
              <a:gd name="connsiteY10421" fmla="*/ 1069055 h 6859062"/>
              <a:gd name="connsiteX10422" fmla="*/ 5083833 w 12192185"/>
              <a:gd name="connsiteY10422" fmla="*/ 1057459 h 6859062"/>
              <a:gd name="connsiteX10423" fmla="*/ 5105774 w 12192185"/>
              <a:gd name="connsiteY10423" fmla="*/ 1048435 h 6859062"/>
              <a:gd name="connsiteX10424" fmla="*/ 5111957 w 12192185"/>
              <a:gd name="connsiteY10424" fmla="*/ 1051028 h 6859062"/>
              <a:gd name="connsiteX10425" fmla="*/ 5109372 w 12192185"/>
              <a:gd name="connsiteY10425" fmla="*/ 1057218 h 6859062"/>
              <a:gd name="connsiteX10426" fmla="*/ 5058533 w 12192185"/>
              <a:gd name="connsiteY10426" fmla="*/ 1083238 h 6859062"/>
              <a:gd name="connsiteX10427" fmla="*/ 5054145 w 12192185"/>
              <a:gd name="connsiteY10427" fmla="*/ 1085042 h 6859062"/>
              <a:gd name="connsiteX10428" fmla="*/ 5060334 w 12192185"/>
              <a:gd name="connsiteY10428" fmla="*/ 1087624 h 6859062"/>
              <a:gd name="connsiteX10429" fmla="*/ 5111177 w 12192185"/>
              <a:gd name="connsiteY10429" fmla="*/ 1061604 h 6859062"/>
              <a:gd name="connsiteX10430" fmla="*/ 5125357 w 12192185"/>
              <a:gd name="connsiteY10430" fmla="*/ 1071160 h 6859062"/>
              <a:gd name="connsiteX10431" fmla="*/ 5177227 w 12192185"/>
              <a:gd name="connsiteY10431" fmla="*/ 1060101 h 6859062"/>
              <a:gd name="connsiteX10432" fmla="*/ 5367125 w 12192185"/>
              <a:gd name="connsiteY10432" fmla="*/ 1023073 h 6859062"/>
              <a:gd name="connsiteX10433" fmla="*/ 5371516 w 12192185"/>
              <a:gd name="connsiteY10433" fmla="*/ 1021270 h 6859062"/>
              <a:gd name="connsiteX10434" fmla="*/ 5375902 w 12192185"/>
              <a:gd name="connsiteY10434" fmla="*/ 1019468 h 6859062"/>
              <a:gd name="connsiteX10435" fmla="*/ 5369707 w 12192185"/>
              <a:gd name="connsiteY10435" fmla="*/ 1016883 h 6859062"/>
              <a:gd name="connsiteX10436" fmla="*/ 5184191 w 12192185"/>
              <a:gd name="connsiteY10436" fmla="*/ 1052109 h 6859062"/>
              <a:gd name="connsiteX10437" fmla="*/ 5188587 w 12192185"/>
              <a:gd name="connsiteY10437" fmla="*/ 1050307 h 6859062"/>
              <a:gd name="connsiteX10438" fmla="*/ 5176214 w 12192185"/>
              <a:gd name="connsiteY10438" fmla="*/ 1045130 h 6859062"/>
              <a:gd name="connsiteX10439" fmla="*/ 5189366 w 12192185"/>
              <a:gd name="connsiteY10439" fmla="*/ 1039721 h 6859062"/>
              <a:gd name="connsiteX10440" fmla="*/ 5191164 w 12192185"/>
              <a:gd name="connsiteY10440" fmla="*/ 1044108 h 6859062"/>
              <a:gd name="connsiteX10441" fmla="*/ 5195547 w 12192185"/>
              <a:gd name="connsiteY10441" fmla="*/ 1042305 h 6859062"/>
              <a:gd name="connsiteX10442" fmla="*/ 5199930 w 12192185"/>
              <a:gd name="connsiteY10442" fmla="*/ 1040502 h 6859062"/>
              <a:gd name="connsiteX10443" fmla="*/ 5198134 w 12192185"/>
              <a:gd name="connsiteY10443" fmla="*/ 1036115 h 6859062"/>
              <a:gd name="connsiteX10444" fmla="*/ 5221866 w 12192185"/>
              <a:gd name="connsiteY10444" fmla="*/ 1031488 h 6859062"/>
              <a:gd name="connsiteX10445" fmla="*/ 5230649 w 12192185"/>
              <a:gd name="connsiteY10445" fmla="*/ 1027882 h 6859062"/>
              <a:gd name="connsiteX10446" fmla="*/ 5243817 w 12192185"/>
              <a:gd name="connsiteY10446" fmla="*/ 1022473 h 6859062"/>
              <a:gd name="connsiteX10447" fmla="*/ 5248204 w 12192185"/>
              <a:gd name="connsiteY10447" fmla="*/ 1020671 h 6859062"/>
              <a:gd name="connsiteX10448" fmla="*/ 5254397 w 12192185"/>
              <a:gd name="connsiteY10448" fmla="*/ 1023255 h 6859062"/>
              <a:gd name="connsiteX10449" fmla="*/ 5263164 w 12192185"/>
              <a:gd name="connsiteY10449" fmla="*/ 1019649 h 6859062"/>
              <a:gd name="connsiteX10450" fmla="*/ 5265748 w 12192185"/>
              <a:gd name="connsiteY10450" fmla="*/ 1013459 h 6859062"/>
              <a:gd name="connsiteX10451" fmla="*/ 5371033 w 12192185"/>
              <a:gd name="connsiteY10451" fmla="*/ 970190 h 6859062"/>
              <a:gd name="connsiteX10452" fmla="*/ 5422891 w 12192185"/>
              <a:gd name="connsiteY10452" fmla="*/ 959131 h 6859062"/>
              <a:gd name="connsiteX10453" fmla="*/ 5416703 w 12192185"/>
              <a:gd name="connsiteY10453" fmla="*/ 956548 h 6859062"/>
              <a:gd name="connsiteX10454" fmla="*/ 5508036 w 12192185"/>
              <a:gd name="connsiteY10454" fmla="*/ 929263 h 6859062"/>
              <a:gd name="connsiteX10455" fmla="*/ 5510626 w 12192185"/>
              <a:gd name="connsiteY10455" fmla="*/ 923074 h 6859062"/>
              <a:gd name="connsiteX10456" fmla="*/ 5534361 w 12192185"/>
              <a:gd name="connsiteY10456" fmla="*/ 918446 h 6859062"/>
              <a:gd name="connsiteX10457" fmla="*/ 5540549 w 12192185"/>
              <a:gd name="connsiteY10457" fmla="*/ 921030 h 6859062"/>
              <a:gd name="connsiteX10458" fmla="*/ 5547522 w 12192185"/>
              <a:gd name="connsiteY10458" fmla="*/ 913037 h 6859062"/>
              <a:gd name="connsiteX10459" fmla="*/ 5575640 w 12192185"/>
              <a:gd name="connsiteY10459" fmla="*/ 906607 h 6859062"/>
              <a:gd name="connsiteX10460" fmla="*/ 5580029 w 12192185"/>
              <a:gd name="connsiteY10460" fmla="*/ 904805 h 6859062"/>
              <a:gd name="connsiteX10461" fmla="*/ 5594991 w 12192185"/>
              <a:gd name="connsiteY10461" fmla="*/ 903782 h 6859062"/>
              <a:gd name="connsiteX10462" fmla="*/ 5599375 w 12192185"/>
              <a:gd name="connsiteY10462" fmla="*/ 901979 h 6859062"/>
              <a:gd name="connsiteX10463" fmla="*/ 5603761 w 12192185"/>
              <a:gd name="connsiteY10463" fmla="*/ 900176 h 6859062"/>
              <a:gd name="connsiteX10464" fmla="*/ 5685524 w 12192185"/>
              <a:gd name="connsiteY10464" fmla="*/ 887075 h 6859062"/>
              <a:gd name="connsiteX10465" fmla="*/ 5698685 w 12192185"/>
              <a:gd name="connsiteY10465" fmla="*/ 881666 h 6859062"/>
              <a:gd name="connsiteX10466" fmla="*/ 5703074 w 12192185"/>
              <a:gd name="connsiteY10466" fmla="*/ 879862 h 6859062"/>
              <a:gd name="connsiteX10467" fmla="*/ 5720619 w 12192185"/>
              <a:gd name="connsiteY10467" fmla="*/ 872651 h 6859062"/>
              <a:gd name="connsiteX10468" fmla="*/ 5776086 w 12192185"/>
              <a:gd name="connsiteY10468" fmla="*/ 870367 h 6859062"/>
              <a:gd name="connsiteX10469" fmla="*/ 5983764 w 12192185"/>
              <a:gd name="connsiteY10469" fmla="*/ 851677 h 6859062"/>
              <a:gd name="connsiteX10470" fmla="*/ 5988149 w 12192185"/>
              <a:gd name="connsiteY10470" fmla="*/ 849873 h 6859062"/>
              <a:gd name="connsiteX10471" fmla="*/ 5994338 w 12192185"/>
              <a:gd name="connsiteY10471" fmla="*/ 852458 h 6859062"/>
              <a:gd name="connsiteX10472" fmla="*/ 6065982 w 12192185"/>
              <a:gd name="connsiteY10472" fmla="*/ 861472 h 6859062"/>
              <a:gd name="connsiteX10473" fmla="*/ 6135789 w 12192185"/>
              <a:gd name="connsiteY10473" fmla="*/ 867103 h 6859062"/>
              <a:gd name="connsiteX10474" fmla="*/ 6134312 w 12192185"/>
              <a:gd name="connsiteY10474" fmla="*/ 867116 h 6859062"/>
              <a:gd name="connsiteX10475" fmla="*/ 6118659 w 12192185"/>
              <a:gd name="connsiteY10475" fmla="*/ 868022 h 6859062"/>
              <a:gd name="connsiteX10476" fmla="*/ 6108085 w 12192185"/>
              <a:gd name="connsiteY10476" fmla="*/ 867240 h 6859062"/>
              <a:gd name="connsiteX10477" fmla="*/ 6071978 w 12192185"/>
              <a:gd name="connsiteY10477" fmla="*/ 866699 h 6859062"/>
              <a:gd name="connsiteX10478" fmla="*/ 6010324 w 12192185"/>
              <a:gd name="connsiteY10478" fmla="*/ 866399 h 6859062"/>
              <a:gd name="connsiteX10479" fmla="*/ 5999748 w 12192185"/>
              <a:gd name="connsiteY10479" fmla="*/ 865620 h 6859062"/>
              <a:gd name="connsiteX10480" fmla="*/ 5989173 w 12192185"/>
              <a:gd name="connsiteY10480" fmla="*/ 864837 h 6859062"/>
              <a:gd name="connsiteX10481" fmla="*/ 5986587 w 12192185"/>
              <a:gd name="connsiteY10481" fmla="*/ 871028 h 6859062"/>
              <a:gd name="connsiteX10482" fmla="*/ 6009542 w 12192185"/>
              <a:gd name="connsiteY10482" fmla="*/ 876977 h 6859062"/>
              <a:gd name="connsiteX10483" fmla="*/ 6013929 w 12192185"/>
              <a:gd name="connsiteY10483" fmla="*/ 875173 h 6859062"/>
              <a:gd name="connsiteX10484" fmla="*/ 6107302 w 12192185"/>
              <a:gd name="connsiteY10484" fmla="*/ 877819 h 6859062"/>
              <a:gd name="connsiteX10485" fmla="*/ 6111691 w 12192185"/>
              <a:gd name="connsiteY10485" fmla="*/ 876015 h 6859062"/>
              <a:gd name="connsiteX10486" fmla="*/ 6140834 w 12192185"/>
              <a:gd name="connsiteY10486" fmla="*/ 884548 h 6859062"/>
              <a:gd name="connsiteX10487" fmla="*/ 6172566 w 12192185"/>
              <a:gd name="connsiteY10487" fmla="*/ 886891 h 6859062"/>
              <a:gd name="connsiteX10488" fmla="*/ 6234899 w 12192185"/>
              <a:gd name="connsiteY10488" fmla="*/ 888836 h 6859062"/>
              <a:gd name="connsiteX10489" fmla="*/ 6290539 w 12192185"/>
              <a:gd name="connsiteY10489" fmla="*/ 898739 h 6859062"/>
              <a:gd name="connsiteX10490" fmla="*/ 6286326 w 12192185"/>
              <a:gd name="connsiteY10490" fmla="*/ 901674 h 6859062"/>
              <a:gd name="connsiteX10491" fmla="*/ 6538608 w 12192185"/>
              <a:gd name="connsiteY10491" fmla="*/ 941577 h 6859062"/>
              <a:gd name="connsiteX10492" fmla="*/ 6540410 w 12192185"/>
              <a:gd name="connsiteY10492" fmla="*/ 945962 h 6859062"/>
              <a:gd name="connsiteX10493" fmla="*/ 6544799 w 12192185"/>
              <a:gd name="connsiteY10493" fmla="*/ 944159 h 6859062"/>
              <a:gd name="connsiteX10494" fmla="*/ 6549184 w 12192185"/>
              <a:gd name="connsiteY10494" fmla="*/ 942357 h 6859062"/>
              <a:gd name="connsiteX10495" fmla="*/ 6569557 w 12192185"/>
              <a:gd name="connsiteY10495" fmla="*/ 954495 h 6859062"/>
              <a:gd name="connsiteX10496" fmla="*/ 6645396 w 12192185"/>
              <a:gd name="connsiteY10496" fmla="*/ 964352 h 6859062"/>
              <a:gd name="connsiteX10497" fmla="*/ 6632237 w 12192185"/>
              <a:gd name="connsiteY10497" fmla="*/ 969759 h 6859062"/>
              <a:gd name="connsiteX10498" fmla="*/ 6668354 w 12192185"/>
              <a:gd name="connsiteY10498" fmla="*/ 970301 h 6859062"/>
              <a:gd name="connsiteX10499" fmla="*/ 6665770 w 12192185"/>
              <a:gd name="connsiteY10499" fmla="*/ 976490 h 6859062"/>
              <a:gd name="connsiteX10500" fmla="*/ 6761984 w 12192185"/>
              <a:gd name="connsiteY10500" fmla="*/ 998485 h 6859062"/>
              <a:gd name="connsiteX10501" fmla="*/ 6763786 w 12192185"/>
              <a:gd name="connsiteY10501" fmla="*/ 1002871 h 6859062"/>
              <a:gd name="connsiteX10502" fmla="*/ 6836260 w 12192185"/>
              <a:gd name="connsiteY10502" fmla="*/ 1029494 h 6859062"/>
              <a:gd name="connsiteX10503" fmla="*/ 6925504 w 12192185"/>
              <a:gd name="connsiteY10503" fmla="*/ 1059488 h 6859062"/>
              <a:gd name="connsiteX10504" fmla="*/ 6967218 w 12192185"/>
              <a:gd name="connsiteY10504" fmla="*/ 1081444 h 6859062"/>
              <a:gd name="connsiteX10505" fmla="*/ 7013833 w 12192185"/>
              <a:gd name="connsiteY10505" fmla="*/ 1100105 h 6859062"/>
              <a:gd name="connsiteX10506" fmla="*/ 7009579 w 12192185"/>
              <a:gd name="connsiteY10506" fmla="*/ 1101853 h 6859062"/>
              <a:gd name="connsiteX10507" fmla="*/ 7015769 w 12192185"/>
              <a:gd name="connsiteY10507" fmla="*/ 1104438 h 6859062"/>
              <a:gd name="connsiteX10508" fmla="*/ 7026345 w 12192185"/>
              <a:gd name="connsiteY10508" fmla="*/ 1105220 h 6859062"/>
              <a:gd name="connsiteX10509" fmla="*/ 7021957 w 12192185"/>
              <a:gd name="connsiteY10509" fmla="*/ 1107024 h 6859062"/>
              <a:gd name="connsiteX10510" fmla="*/ 7059096 w 12192185"/>
              <a:gd name="connsiteY10510" fmla="*/ 1122529 h 6859062"/>
              <a:gd name="connsiteX10511" fmla="*/ 7063484 w 12192185"/>
              <a:gd name="connsiteY10511" fmla="*/ 1120725 h 6859062"/>
              <a:gd name="connsiteX10512" fmla="*/ 7074061 w 12192185"/>
              <a:gd name="connsiteY10512" fmla="*/ 1121508 h 6859062"/>
              <a:gd name="connsiteX10513" fmla="*/ 7065287 w 12192185"/>
              <a:gd name="connsiteY10513" fmla="*/ 1125112 h 6859062"/>
              <a:gd name="connsiteX10514" fmla="*/ 7083856 w 12192185"/>
              <a:gd name="connsiteY10514" fmla="*/ 1132866 h 6859062"/>
              <a:gd name="connsiteX10515" fmla="*/ 7079468 w 12192185"/>
              <a:gd name="connsiteY10515" fmla="*/ 1134669 h 6859062"/>
              <a:gd name="connsiteX10516" fmla="*/ 7075083 w 12192185"/>
              <a:gd name="connsiteY10516" fmla="*/ 1136472 h 6859062"/>
              <a:gd name="connsiteX10517" fmla="*/ 7076886 w 12192185"/>
              <a:gd name="connsiteY10517" fmla="*/ 1140859 h 6859062"/>
              <a:gd name="connsiteX10518" fmla="*/ 7085660 w 12192185"/>
              <a:gd name="connsiteY10518" fmla="*/ 1137253 h 6859062"/>
              <a:gd name="connsiteX10519" fmla="*/ 7090046 w 12192185"/>
              <a:gd name="connsiteY10519" fmla="*/ 1135449 h 6859062"/>
              <a:gd name="connsiteX10520" fmla="*/ 7096237 w 12192185"/>
              <a:gd name="connsiteY10520" fmla="*/ 1138034 h 6859062"/>
              <a:gd name="connsiteX10521" fmla="*/ 7098040 w 12192185"/>
              <a:gd name="connsiteY10521" fmla="*/ 1142421 h 6859062"/>
              <a:gd name="connsiteX10522" fmla="*/ 7099843 w 12192185"/>
              <a:gd name="connsiteY10522" fmla="*/ 1146809 h 6859062"/>
              <a:gd name="connsiteX10523" fmla="*/ 7104229 w 12192185"/>
              <a:gd name="connsiteY10523" fmla="*/ 1145006 h 6859062"/>
              <a:gd name="connsiteX10524" fmla="*/ 7108617 w 12192185"/>
              <a:gd name="connsiteY10524" fmla="*/ 1143202 h 6859062"/>
              <a:gd name="connsiteX10525" fmla="*/ 7110529 w 12192185"/>
              <a:gd name="connsiteY10525" fmla="*/ 1144490 h 6859062"/>
              <a:gd name="connsiteX10526" fmla="*/ 7110249 w 12192185"/>
              <a:gd name="connsiteY10526" fmla="*/ 1142742 h 6859062"/>
              <a:gd name="connsiteX10527" fmla="*/ 7107699 w 12192185"/>
              <a:gd name="connsiteY10527" fmla="*/ 1132185 h 6859062"/>
              <a:gd name="connsiteX10528" fmla="*/ 7100788 w 12192185"/>
              <a:gd name="connsiteY10528" fmla="*/ 1130395 h 6859062"/>
              <a:gd name="connsiteX10529" fmla="*/ 7090828 w 12192185"/>
              <a:gd name="connsiteY10529" fmla="*/ 1124872 h 6859062"/>
              <a:gd name="connsiteX10530" fmla="*/ 7076645 w 12192185"/>
              <a:gd name="connsiteY10530" fmla="*/ 1115318 h 6859062"/>
              <a:gd name="connsiteX10531" fmla="*/ 7059879 w 12192185"/>
              <a:gd name="connsiteY10531" fmla="*/ 1111952 h 6859062"/>
              <a:gd name="connsiteX10532" fmla="*/ 7058075 w 12192185"/>
              <a:gd name="connsiteY10532" fmla="*/ 1107564 h 6859062"/>
              <a:gd name="connsiteX10533" fmla="*/ 6889927 w 12192185"/>
              <a:gd name="connsiteY10533" fmla="*/ 1022822 h 6859062"/>
              <a:gd name="connsiteX10534" fmla="*/ 6888124 w 12192185"/>
              <a:gd name="connsiteY10534" fmla="*/ 1018435 h 6859062"/>
              <a:gd name="connsiteX10535" fmla="*/ 6886322 w 12192185"/>
              <a:gd name="connsiteY10535" fmla="*/ 1014048 h 6859062"/>
              <a:gd name="connsiteX10536" fmla="*/ 6898701 w 12192185"/>
              <a:gd name="connsiteY10536" fmla="*/ 1019216 h 6859062"/>
              <a:gd name="connsiteX10537" fmla="*/ 6911082 w 12192185"/>
              <a:gd name="connsiteY10537" fmla="*/ 1024384 h 6859062"/>
              <a:gd name="connsiteX10538" fmla="*/ 6923460 w 12192185"/>
              <a:gd name="connsiteY10538" fmla="*/ 1029553 h 6859062"/>
              <a:gd name="connsiteX10539" fmla="*/ 6927848 w 12192185"/>
              <a:gd name="connsiteY10539" fmla="*/ 1027749 h 6859062"/>
              <a:gd name="connsiteX10540" fmla="*/ 6958797 w 12192185"/>
              <a:gd name="connsiteY10540" fmla="*/ 1040670 h 6859062"/>
              <a:gd name="connsiteX10541" fmla="*/ 6963183 w 12192185"/>
              <a:gd name="connsiteY10541" fmla="*/ 1038868 h 6859062"/>
              <a:gd name="connsiteX10542" fmla="*/ 6961381 w 12192185"/>
              <a:gd name="connsiteY10542" fmla="*/ 1034479 h 6859062"/>
              <a:gd name="connsiteX10543" fmla="*/ 6955190 w 12192185"/>
              <a:gd name="connsiteY10543" fmla="*/ 1031895 h 6859062"/>
              <a:gd name="connsiteX10544" fmla="*/ 6954911 w 12192185"/>
              <a:gd name="connsiteY10544" fmla="*/ 1031515 h 6859062"/>
              <a:gd name="connsiteX10545" fmla="*/ 6967496 w 12192185"/>
              <a:gd name="connsiteY10545" fmla="*/ 1037001 h 6859062"/>
              <a:gd name="connsiteX10546" fmla="*/ 6967571 w 12192185"/>
              <a:gd name="connsiteY10546" fmla="*/ 1037065 h 6859062"/>
              <a:gd name="connsiteX10547" fmla="*/ 6967623 w 12192185"/>
              <a:gd name="connsiteY10547" fmla="*/ 1037059 h 6859062"/>
              <a:gd name="connsiteX10548" fmla="*/ 6969119 w 12192185"/>
              <a:gd name="connsiteY10548" fmla="*/ 1037709 h 6859062"/>
              <a:gd name="connsiteX10549" fmla="*/ 6966790 w 12192185"/>
              <a:gd name="connsiteY10549" fmla="*/ 1047640 h 6859062"/>
              <a:gd name="connsiteX10550" fmla="*/ 7033076 w 12192185"/>
              <a:gd name="connsiteY10550" fmla="*/ 1071687 h 6859062"/>
              <a:gd name="connsiteX10551" fmla="*/ 7031272 w 12192185"/>
              <a:gd name="connsiteY10551" fmla="*/ 1067300 h 6859062"/>
              <a:gd name="connsiteX10552" fmla="*/ 7049843 w 12192185"/>
              <a:gd name="connsiteY10552" fmla="*/ 1075051 h 6859062"/>
              <a:gd name="connsiteX10553" fmla="*/ 7051645 w 12192185"/>
              <a:gd name="connsiteY10553" fmla="*/ 1079438 h 6859062"/>
              <a:gd name="connsiteX10554" fmla="*/ 7056031 w 12192185"/>
              <a:gd name="connsiteY10554" fmla="*/ 1077636 h 6859062"/>
              <a:gd name="connsiteX10555" fmla="*/ 7057834 w 12192185"/>
              <a:gd name="connsiteY10555" fmla="*/ 1082021 h 6859062"/>
              <a:gd name="connsiteX10556" fmla="*/ 7070214 w 12192185"/>
              <a:gd name="connsiteY10556" fmla="*/ 1087190 h 6859062"/>
              <a:gd name="connsiteX10557" fmla="*/ 7080791 w 12192185"/>
              <a:gd name="connsiteY10557" fmla="*/ 1087970 h 6859062"/>
              <a:gd name="connsiteX10558" fmla="*/ 7086981 w 12192185"/>
              <a:gd name="connsiteY10558" fmla="*/ 1090554 h 6859062"/>
              <a:gd name="connsiteX10559" fmla="*/ 7105551 w 12192185"/>
              <a:gd name="connsiteY10559" fmla="*/ 1098307 h 6859062"/>
              <a:gd name="connsiteX10560" fmla="*/ 7109938 w 12192185"/>
              <a:gd name="connsiteY10560" fmla="*/ 1096503 h 6859062"/>
              <a:gd name="connsiteX10561" fmla="*/ 7116127 w 12192185"/>
              <a:gd name="connsiteY10561" fmla="*/ 1099088 h 6859062"/>
              <a:gd name="connsiteX10562" fmla="*/ 7117783 w 12192185"/>
              <a:gd name="connsiteY10562" fmla="*/ 1099896 h 6859062"/>
              <a:gd name="connsiteX10563" fmla="*/ 7118883 w 12192185"/>
              <a:gd name="connsiteY10563" fmla="*/ 1097222 h 6859062"/>
              <a:gd name="connsiteX10564" fmla="*/ 7121040 w 12192185"/>
              <a:gd name="connsiteY10564" fmla="*/ 1095496 h 6859062"/>
              <a:gd name="connsiteX10565" fmla="*/ 7132091 w 12192185"/>
              <a:gd name="connsiteY10565" fmla="*/ 1090245 h 6859062"/>
              <a:gd name="connsiteX10566" fmla="*/ 7127584 w 12192185"/>
              <a:gd name="connsiteY10566" fmla="*/ 1087971 h 6859062"/>
              <a:gd name="connsiteX10567" fmla="*/ 7076164 w 12192185"/>
              <a:gd name="connsiteY10567" fmla="*/ 1064234 h 6859062"/>
              <a:gd name="connsiteX10568" fmla="*/ 7068171 w 12192185"/>
              <a:gd name="connsiteY10568" fmla="*/ 1057264 h 6859062"/>
              <a:gd name="connsiteX10569" fmla="*/ 7066368 w 12192185"/>
              <a:gd name="connsiteY10569" fmla="*/ 1052877 h 6859062"/>
              <a:gd name="connsiteX10570" fmla="*/ 7060178 w 12192185"/>
              <a:gd name="connsiteY10570" fmla="*/ 1050293 h 6859062"/>
              <a:gd name="connsiteX10571" fmla="*/ 7055791 w 12192185"/>
              <a:gd name="connsiteY10571" fmla="*/ 1052096 h 6859062"/>
              <a:gd name="connsiteX10572" fmla="*/ 7008075 w 12192185"/>
              <a:gd name="connsiteY10572" fmla="*/ 1035801 h 6859062"/>
              <a:gd name="connsiteX10573" fmla="*/ 7001885 w 12192185"/>
              <a:gd name="connsiteY10573" fmla="*/ 1033217 h 6859062"/>
              <a:gd name="connsiteX10574" fmla="*/ 6991308 w 12192185"/>
              <a:gd name="connsiteY10574" fmla="*/ 1032436 h 6859062"/>
              <a:gd name="connsiteX10575" fmla="*/ 6994838 w 12192185"/>
              <a:gd name="connsiteY10575" fmla="*/ 1041027 h 6859062"/>
              <a:gd name="connsiteX10576" fmla="*/ 6982310 w 12192185"/>
              <a:gd name="connsiteY10576" fmla="*/ 1035494 h 6859062"/>
              <a:gd name="connsiteX10577" fmla="*/ 6967623 w 12192185"/>
              <a:gd name="connsiteY10577" fmla="*/ 1037059 h 6859062"/>
              <a:gd name="connsiteX10578" fmla="*/ 6967496 w 12192185"/>
              <a:gd name="connsiteY10578" fmla="*/ 1037001 h 6859062"/>
              <a:gd name="connsiteX10579" fmla="*/ 6953035 w 12192185"/>
              <a:gd name="connsiteY10579" fmla="*/ 1025090 h 6859062"/>
              <a:gd name="connsiteX10580" fmla="*/ 6928630 w 12192185"/>
              <a:gd name="connsiteY10580" fmla="*/ 1017172 h 6859062"/>
              <a:gd name="connsiteX10581" fmla="*/ 6926826 w 12192185"/>
              <a:gd name="connsiteY10581" fmla="*/ 1012785 h 6859062"/>
              <a:gd name="connsiteX10582" fmla="*/ 6922439 w 12192185"/>
              <a:gd name="connsiteY10582" fmla="*/ 1014588 h 6859062"/>
              <a:gd name="connsiteX10583" fmla="*/ 6918052 w 12192185"/>
              <a:gd name="connsiteY10583" fmla="*/ 1016391 h 6859062"/>
              <a:gd name="connsiteX10584" fmla="*/ 6908255 w 12192185"/>
              <a:gd name="connsiteY10584" fmla="*/ 1005034 h 6859062"/>
              <a:gd name="connsiteX10585" fmla="*/ 6914446 w 12192185"/>
              <a:gd name="connsiteY10585" fmla="*/ 1007618 h 6859062"/>
              <a:gd name="connsiteX10586" fmla="*/ 6925023 w 12192185"/>
              <a:gd name="connsiteY10586" fmla="*/ 1008398 h 6859062"/>
              <a:gd name="connsiteX10587" fmla="*/ 6917030 w 12192185"/>
              <a:gd name="connsiteY10587" fmla="*/ 1001427 h 6859062"/>
              <a:gd name="connsiteX10588" fmla="*/ 6915227 w 12192185"/>
              <a:gd name="connsiteY10588" fmla="*/ 997041 h 6859062"/>
              <a:gd name="connsiteX10589" fmla="*/ 6944373 w 12192185"/>
              <a:gd name="connsiteY10589" fmla="*/ 1005574 h 6859062"/>
              <a:gd name="connsiteX10590" fmla="*/ 6748100 w 12192185"/>
              <a:gd name="connsiteY10590" fmla="*/ 927272 h 6859062"/>
              <a:gd name="connsiteX10591" fmla="*/ 6725143 w 12192185"/>
              <a:gd name="connsiteY10591" fmla="*/ 921322 h 6859062"/>
              <a:gd name="connsiteX10592" fmla="*/ 6718954 w 12192185"/>
              <a:gd name="connsiteY10592" fmla="*/ 918737 h 6859062"/>
              <a:gd name="connsiteX10593" fmla="*/ 6524725 w 12192185"/>
              <a:gd name="connsiteY10593" fmla="*/ 870363 h 6859062"/>
              <a:gd name="connsiteX10594" fmla="*/ 6512346 w 12192185"/>
              <a:gd name="connsiteY10594" fmla="*/ 865194 h 6859062"/>
              <a:gd name="connsiteX10595" fmla="*/ 6529111 w 12192185"/>
              <a:gd name="connsiteY10595" fmla="*/ 868560 h 6859062"/>
              <a:gd name="connsiteX10596" fmla="*/ 6537886 w 12192185"/>
              <a:gd name="connsiteY10596" fmla="*/ 864954 h 6859062"/>
              <a:gd name="connsiteX10597" fmla="*/ 6559040 w 12192185"/>
              <a:gd name="connsiteY10597" fmla="*/ 866516 h 6859062"/>
              <a:gd name="connsiteX10598" fmla="*/ 6565229 w 12192185"/>
              <a:gd name="connsiteY10598" fmla="*/ 869100 h 6859062"/>
              <a:gd name="connsiteX10599" fmla="*/ 6569617 w 12192185"/>
              <a:gd name="connsiteY10599" fmla="*/ 867298 h 6859062"/>
              <a:gd name="connsiteX10600" fmla="*/ 6616310 w 12192185"/>
              <a:gd name="connsiteY10600" fmla="*/ 868619 h 6859062"/>
              <a:gd name="connsiteX10601" fmla="*/ 6605733 w 12192185"/>
              <a:gd name="connsiteY10601" fmla="*/ 867839 h 6859062"/>
              <a:gd name="connsiteX10602" fmla="*/ 6614507 w 12192185"/>
              <a:gd name="connsiteY10602" fmla="*/ 864232 h 6859062"/>
              <a:gd name="connsiteX10603" fmla="*/ 6606514 w 12192185"/>
              <a:gd name="connsiteY10603" fmla="*/ 857261 h 6859062"/>
              <a:gd name="connsiteX10604" fmla="*/ 6610902 w 12192185"/>
              <a:gd name="connsiteY10604" fmla="*/ 855458 h 6859062"/>
              <a:gd name="connsiteX10605" fmla="*/ 6617091 w 12192185"/>
              <a:gd name="connsiteY10605" fmla="*/ 858043 h 6859062"/>
              <a:gd name="connsiteX10606" fmla="*/ 6621477 w 12192185"/>
              <a:gd name="connsiteY10606" fmla="*/ 856239 h 6859062"/>
              <a:gd name="connsiteX10607" fmla="*/ 6653208 w 12192185"/>
              <a:gd name="connsiteY10607" fmla="*/ 858583 h 6859062"/>
              <a:gd name="connsiteX10608" fmla="*/ 6657596 w 12192185"/>
              <a:gd name="connsiteY10608" fmla="*/ 856780 h 6859062"/>
              <a:gd name="connsiteX10609" fmla="*/ 6651405 w 12192185"/>
              <a:gd name="connsiteY10609" fmla="*/ 854195 h 6859062"/>
              <a:gd name="connsiteX10610" fmla="*/ 6649603 w 12192185"/>
              <a:gd name="connsiteY10610" fmla="*/ 849809 h 6859062"/>
              <a:gd name="connsiteX10611" fmla="*/ 6746598 w 12192185"/>
              <a:gd name="connsiteY10611" fmla="*/ 861226 h 6859062"/>
              <a:gd name="connsiteX10612" fmla="*/ 6841007 w 12192185"/>
              <a:gd name="connsiteY10612" fmla="*/ 878834 h 6859062"/>
              <a:gd name="connsiteX10613" fmla="*/ 6845394 w 12192185"/>
              <a:gd name="connsiteY10613" fmla="*/ 877031 h 6859062"/>
              <a:gd name="connsiteX10614" fmla="*/ 6847197 w 12192185"/>
              <a:gd name="connsiteY10614" fmla="*/ 881417 h 6859062"/>
              <a:gd name="connsiteX10615" fmla="*/ 6851585 w 12192185"/>
              <a:gd name="connsiteY10615" fmla="*/ 879615 h 6859062"/>
              <a:gd name="connsiteX10616" fmla="*/ 6857775 w 12192185"/>
              <a:gd name="connsiteY10616" fmla="*/ 882199 h 6859062"/>
              <a:gd name="connsiteX10617" fmla="*/ 6874540 w 12192185"/>
              <a:gd name="connsiteY10617" fmla="*/ 885564 h 6859062"/>
              <a:gd name="connsiteX10618" fmla="*/ 6883315 w 12192185"/>
              <a:gd name="connsiteY10618" fmla="*/ 881957 h 6859062"/>
              <a:gd name="connsiteX10619" fmla="*/ 6862161 w 12192185"/>
              <a:gd name="connsiteY10619" fmla="*/ 880397 h 6859062"/>
              <a:gd name="connsiteX10620" fmla="*/ 6860358 w 12192185"/>
              <a:gd name="connsiteY10620" fmla="*/ 876008 h 6859062"/>
              <a:gd name="connsiteX10621" fmla="*/ 6864746 w 12192185"/>
              <a:gd name="connsiteY10621" fmla="*/ 874206 h 6859062"/>
              <a:gd name="connsiteX10622" fmla="*/ 6858554 w 12192185"/>
              <a:gd name="connsiteY10622" fmla="*/ 871622 h 6859062"/>
              <a:gd name="connsiteX10623" fmla="*/ 6854169 w 12192185"/>
              <a:gd name="connsiteY10623" fmla="*/ 873425 h 6859062"/>
              <a:gd name="connsiteX10624" fmla="*/ 6847978 w 12192185"/>
              <a:gd name="connsiteY10624" fmla="*/ 870841 h 6859062"/>
              <a:gd name="connsiteX10625" fmla="*/ 6831212 w 12192185"/>
              <a:gd name="connsiteY10625" fmla="*/ 867476 h 6859062"/>
              <a:gd name="connsiteX10626" fmla="*/ 6822438 w 12192185"/>
              <a:gd name="connsiteY10626" fmla="*/ 871081 h 6859062"/>
              <a:gd name="connsiteX10627" fmla="*/ 6818832 w 12192185"/>
              <a:gd name="connsiteY10627" fmla="*/ 862308 h 6859062"/>
              <a:gd name="connsiteX10628" fmla="*/ 6782716 w 12192185"/>
              <a:gd name="connsiteY10628" fmla="*/ 861767 h 6859062"/>
              <a:gd name="connsiteX10629" fmla="*/ 6715648 w 12192185"/>
              <a:gd name="connsiteY10629" fmla="*/ 848306 h 6859062"/>
              <a:gd name="connsiteX10630" fmla="*/ 6717450 w 12192185"/>
              <a:gd name="connsiteY10630" fmla="*/ 852693 h 6859062"/>
              <a:gd name="connsiteX10631" fmla="*/ 6705071 w 12192185"/>
              <a:gd name="connsiteY10631" fmla="*/ 847525 h 6859062"/>
              <a:gd name="connsiteX10632" fmla="*/ 6696297 w 12192185"/>
              <a:gd name="connsiteY10632" fmla="*/ 851131 h 6859062"/>
              <a:gd name="connsiteX10633" fmla="*/ 6694494 w 12192185"/>
              <a:gd name="connsiteY10633" fmla="*/ 846743 h 6859062"/>
              <a:gd name="connsiteX10634" fmla="*/ 6682115 w 12192185"/>
              <a:gd name="connsiteY10634" fmla="*/ 841576 h 6859062"/>
              <a:gd name="connsiteX10635" fmla="*/ 6643157 w 12192185"/>
              <a:gd name="connsiteY10635" fmla="*/ 843484 h 6859062"/>
              <a:gd name="connsiteX10636" fmla="*/ 6626448 w 12192185"/>
              <a:gd name="connsiteY10636" fmla="*/ 839970 h 6859062"/>
              <a:gd name="connsiteX10637" fmla="*/ 6614112 w 12192185"/>
              <a:gd name="connsiteY10637" fmla="*/ 838605 h 6859062"/>
              <a:gd name="connsiteX10638" fmla="*/ 6612394 w 12192185"/>
              <a:gd name="connsiteY10638" fmla="*/ 838407 h 6859062"/>
              <a:gd name="connsiteX10639" fmla="*/ 6611682 w 12192185"/>
              <a:gd name="connsiteY10639" fmla="*/ 844882 h 6859062"/>
              <a:gd name="connsiteX10640" fmla="*/ 6493535 w 12192185"/>
              <a:gd name="connsiteY10640" fmla="*/ 831901 h 6859062"/>
              <a:gd name="connsiteX10641" fmla="*/ 6398343 w 12192185"/>
              <a:gd name="connsiteY10641" fmla="*/ 824871 h 6859062"/>
              <a:gd name="connsiteX10642" fmla="*/ 6396541 w 12192185"/>
              <a:gd name="connsiteY10642" fmla="*/ 820483 h 6859062"/>
              <a:gd name="connsiteX10643" fmla="*/ 6333079 w 12192185"/>
              <a:gd name="connsiteY10643" fmla="*/ 815797 h 6859062"/>
              <a:gd name="connsiteX10644" fmla="*/ 6346239 w 12192185"/>
              <a:gd name="connsiteY10644" fmla="*/ 810389 h 6859062"/>
              <a:gd name="connsiteX10645" fmla="*/ 6330497 w 12192185"/>
              <a:gd name="connsiteY10645" fmla="*/ 821987 h 6859062"/>
              <a:gd name="connsiteX10646" fmla="*/ 6259041 w 12192185"/>
              <a:gd name="connsiteY10646" fmla="*/ 810329 h 6859062"/>
              <a:gd name="connsiteX10647" fmla="*/ 6252852 w 12192185"/>
              <a:gd name="connsiteY10647" fmla="*/ 807746 h 6859062"/>
              <a:gd name="connsiteX10648" fmla="*/ 6248465 w 12192185"/>
              <a:gd name="connsiteY10648" fmla="*/ 809548 h 6859062"/>
              <a:gd name="connsiteX10649" fmla="*/ 6250267 w 12192185"/>
              <a:gd name="connsiteY10649" fmla="*/ 813934 h 6859062"/>
              <a:gd name="connsiteX10650" fmla="*/ 6239691 w 12192185"/>
              <a:gd name="connsiteY10650" fmla="*/ 813154 h 6859062"/>
              <a:gd name="connsiteX10651" fmla="*/ 6244077 w 12192185"/>
              <a:gd name="connsiteY10651" fmla="*/ 811350 h 6859062"/>
              <a:gd name="connsiteX10652" fmla="*/ 6242274 w 12192185"/>
              <a:gd name="connsiteY10652" fmla="*/ 806964 h 6859062"/>
              <a:gd name="connsiteX10653" fmla="*/ 6233501 w 12192185"/>
              <a:gd name="connsiteY10653" fmla="*/ 810569 h 6859062"/>
              <a:gd name="connsiteX10654" fmla="*/ 6227310 w 12192185"/>
              <a:gd name="connsiteY10654" fmla="*/ 807986 h 6859062"/>
              <a:gd name="connsiteX10655" fmla="*/ 6214150 w 12192185"/>
              <a:gd name="connsiteY10655" fmla="*/ 813394 h 6859062"/>
              <a:gd name="connsiteX10656" fmla="*/ 6203575 w 12192185"/>
              <a:gd name="connsiteY10656" fmla="*/ 812612 h 6859062"/>
              <a:gd name="connsiteX10657" fmla="*/ 6209764 w 12192185"/>
              <a:gd name="connsiteY10657" fmla="*/ 815197 h 6859062"/>
              <a:gd name="connsiteX10658" fmla="*/ 6215952 w 12192185"/>
              <a:gd name="connsiteY10658" fmla="*/ 817781 h 6859062"/>
              <a:gd name="connsiteX10659" fmla="*/ 6207181 w 12192185"/>
              <a:gd name="connsiteY10659" fmla="*/ 821386 h 6859062"/>
              <a:gd name="connsiteX10660" fmla="*/ 6175452 w 12192185"/>
              <a:gd name="connsiteY10660" fmla="*/ 819043 h 6859062"/>
              <a:gd name="connsiteX10661" fmla="*/ 6118178 w 12192185"/>
              <a:gd name="connsiteY10661" fmla="*/ 816941 h 6859062"/>
              <a:gd name="connsiteX10662" fmla="*/ 6111988 w 12192185"/>
              <a:gd name="connsiteY10662" fmla="*/ 814356 h 6859062"/>
              <a:gd name="connsiteX10663" fmla="*/ 6107602 w 12192185"/>
              <a:gd name="connsiteY10663" fmla="*/ 816160 h 6859062"/>
              <a:gd name="connsiteX10664" fmla="*/ 6082074 w 12192185"/>
              <a:gd name="connsiteY10664" fmla="*/ 816400 h 6859062"/>
              <a:gd name="connsiteX10665" fmla="*/ 6062724 w 12192185"/>
              <a:gd name="connsiteY10665" fmla="*/ 819225 h 6859062"/>
              <a:gd name="connsiteX10666" fmla="*/ 6024807 w 12192185"/>
              <a:gd name="connsiteY10666" fmla="*/ 814297 h 6859062"/>
              <a:gd name="connsiteX10667" fmla="*/ 6023000 w 12192185"/>
              <a:gd name="connsiteY10667" fmla="*/ 809909 h 6859062"/>
              <a:gd name="connsiteX10668" fmla="*/ 6014230 w 12192185"/>
              <a:gd name="connsiteY10668" fmla="*/ 813516 h 6859062"/>
              <a:gd name="connsiteX10669" fmla="*/ 6009844 w 12192185"/>
              <a:gd name="connsiteY10669" fmla="*/ 815319 h 6859062"/>
              <a:gd name="connsiteX10670" fmla="*/ 6016034 w 12192185"/>
              <a:gd name="connsiteY10670" fmla="*/ 817902 h 6859062"/>
              <a:gd name="connsiteX10671" fmla="*/ 5979915 w 12192185"/>
              <a:gd name="connsiteY10671" fmla="*/ 817363 h 6859062"/>
              <a:gd name="connsiteX10672" fmla="*/ 5973725 w 12192185"/>
              <a:gd name="connsiteY10672" fmla="*/ 814779 h 6859062"/>
              <a:gd name="connsiteX10673" fmla="*/ 5969341 w 12192185"/>
              <a:gd name="connsiteY10673" fmla="*/ 816580 h 6859062"/>
              <a:gd name="connsiteX10674" fmla="*/ 5935029 w 12192185"/>
              <a:gd name="connsiteY10674" fmla="*/ 820427 h 6859062"/>
              <a:gd name="connsiteX10675" fmla="*/ 5939415 w 12192185"/>
              <a:gd name="connsiteY10675" fmla="*/ 818624 h 6859062"/>
              <a:gd name="connsiteX10676" fmla="*/ 5952573 w 12192185"/>
              <a:gd name="connsiteY10676" fmla="*/ 813215 h 6859062"/>
              <a:gd name="connsiteX10677" fmla="*/ 5941997 w 12192185"/>
              <a:gd name="connsiteY10677" fmla="*/ 812435 h 6859062"/>
              <a:gd name="connsiteX10678" fmla="*/ 5935805 w 12192185"/>
              <a:gd name="connsiteY10678" fmla="*/ 809851 h 6859062"/>
              <a:gd name="connsiteX10679" fmla="*/ 5955158 w 12192185"/>
              <a:gd name="connsiteY10679" fmla="*/ 807026 h 6859062"/>
              <a:gd name="connsiteX10680" fmla="*/ 5955938 w 12192185"/>
              <a:gd name="connsiteY10680" fmla="*/ 796449 h 6859062"/>
              <a:gd name="connsiteX10681" fmla="*/ 5919821 w 12192185"/>
              <a:gd name="connsiteY10681" fmla="*/ 795909 h 6859062"/>
              <a:gd name="connsiteX10682" fmla="*/ 5913634 w 12192185"/>
              <a:gd name="connsiteY10682" fmla="*/ 793324 h 6859062"/>
              <a:gd name="connsiteX10683" fmla="*/ 5909245 w 12192185"/>
              <a:gd name="connsiteY10683" fmla="*/ 795127 h 6859062"/>
              <a:gd name="connsiteX10684" fmla="*/ 5904857 w 12192185"/>
              <a:gd name="connsiteY10684" fmla="*/ 796931 h 6859062"/>
              <a:gd name="connsiteX10685" fmla="*/ 5911046 w 12192185"/>
              <a:gd name="connsiteY10685" fmla="*/ 799515 h 6859062"/>
              <a:gd name="connsiteX10686" fmla="*/ 5897888 w 12192185"/>
              <a:gd name="connsiteY10686" fmla="*/ 804923 h 6859062"/>
              <a:gd name="connsiteX10687" fmla="*/ 5895305 w 12192185"/>
              <a:gd name="connsiteY10687" fmla="*/ 811113 h 6859062"/>
              <a:gd name="connsiteX10688" fmla="*/ 5920843 w 12192185"/>
              <a:gd name="connsiteY10688" fmla="*/ 810873 h 6859062"/>
              <a:gd name="connsiteX10689" fmla="*/ 5916457 w 12192185"/>
              <a:gd name="connsiteY10689" fmla="*/ 812675 h 6859062"/>
              <a:gd name="connsiteX10690" fmla="*/ 5909486 w 12192185"/>
              <a:gd name="connsiteY10690" fmla="*/ 820668 h 6859062"/>
              <a:gd name="connsiteX10691" fmla="*/ 5918605 w 12192185"/>
              <a:gd name="connsiteY10691" fmla="*/ 821341 h 6859062"/>
              <a:gd name="connsiteX10692" fmla="*/ 5910291 w 12192185"/>
              <a:gd name="connsiteY10692" fmla="*/ 824183 h 6859062"/>
              <a:gd name="connsiteX10693" fmla="*/ 5885751 w 12192185"/>
              <a:gd name="connsiteY10693" fmla="*/ 825295 h 6859062"/>
              <a:gd name="connsiteX10694" fmla="*/ 5877998 w 12192185"/>
              <a:gd name="connsiteY10694" fmla="*/ 843866 h 6859062"/>
              <a:gd name="connsiteX10695" fmla="*/ 5880583 w 12192185"/>
              <a:gd name="connsiteY10695" fmla="*/ 837675 h 6859062"/>
              <a:gd name="connsiteX10696" fmla="*/ 5878777 w 12192185"/>
              <a:gd name="connsiteY10696" fmla="*/ 833289 h 6859062"/>
              <a:gd name="connsiteX10697" fmla="*/ 5876979 w 12192185"/>
              <a:gd name="connsiteY10697" fmla="*/ 828901 h 6859062"/>
              <a:gd name="connsiteX10698" fmla="*/ 5868207 w 12192185"/>
              <a:gd name="connsiteY10698" fmla="*/ 832506 h 6859062"/>
              <a:gd name="connsiteX10699" fmla="*/ 5863818 w 12192185"/>
              <a:gd name="connsiteY10699" fmla="*/ 834309 h 6859062"/>
              <a:gd name="connsiteX10700" fmla="*/ 5851437 w 12192185"/>
              <a:gd name="connsiteY10700" fmla="*/ 829142 h 6859062"/>
              <a:gd name="connsiteX10701" fmla="*/ 5860213 w 12192185"/>
              <a:gd name="connsiteY10701" fmla="*/ 825537 h 6859062"/>
              <a:gd name="connsiteX10702" fmla="*/ 5858409 w 12192185"/>
              <a:gd name="connsiteY10702" fmla="*/ 821147 h 6859062"/>
              <a:gd name="connsiteX10703" fmla="*/ 5847831 w 12192185"/>
              <a:gd name="connsiteY10703" fmla="*/ 820368 h 6859062"/>
              <a:gd name="connsiteX10704" fmla="*/ 5839061 w 12192185"/>
              <a:gd name="connsiteY10704" fmla="*/ 823974 h 6859062"/>
              <a:gd name="connsiteX10705" fmla="*/ 5833889 w 12192185"/>
              <a:gd name="connsiteY10705" fmla="*/ 836353 h 6859062"/>
              <a:gd name="connsiteX10706" fmla="*/ 5831308 w 12192185"/>
              <a:gd name="connsiteY10706" fmla="*/ 842544 h 6859062"/>
              <a:gd name="connsiteX10707" fmla="*/ 5837498 w 12192185"/>
              <a:gd name="connsiteY10707" fmla="*/ 845127 h 6859062"/>
              <a:gd name="connsiteX10708" fmla="*/ 5813759 w 12192185"/>
              <a:gd name="connsiteY10708" fmla="*/ 849755 h 6859062"/>
              <a:gd name="connsiteX10709" fmla="*/ 5826921 w 12192185"/>
              <a:gd name="connsiteY10709" fmla="*/ 844346 h 6859062"/>
              <a:gd name="connsiteX10710" fmla="*/ 5805765 w 12192185"/>
              <a:gd name="connsiteY10710" fmla="*/ 842784 h 6859062"/>
              <a:gd name="connsiteX10711" fmla="*/ 5803962 w 12192185"/>
              <a:gd name="connsiteY10711" fmla="*/ 838396 h 6859062"/>
              <a:gd name="connsiteX10712" fmla="*/ 5799579 w 12192185"/>
              <a:gd name="connsiteY10712" fmla="*/ 840200 h 6859062"/>
              <a:gd name="connsiteX10713" fmla="*/ 5795194 w 12192185"/>
              <a:gd name="connsiteY10713" fmla="*/ 842002 h 6859062"/>
              <a:gd name="connsiteX10714" fmla="*/ 5796994 w 12192185"/>
              <a:gd name="connsiteY10714" fmla="*/ 846389 h 6859062"/>
              <a:gd name="connsiteX10715" fmla="*/ 5784616 w 12192185"/>
              <a:gd name="connsiteY10715" fmla="*/ 841221 h 6859062"/>
              <a:gd name="connsiteX10716" fmla="*/ 5758298 w 12192185"/>
              <a:gd name="connsiteY10716" fmla="*/ 852039 h 6859062"/>
              <a:gd name="connsiteX10717" fmla="*/ 5767068 w 12192185"/>
              <a:gd name="connsiteY10717" fmla="*/ 848434 h 6859062"/>
              <a:gd name="connsiteX10718" fmla="*/ 5737144 w 12192185"/>
              <a:gd name="connsiteY10718" fmla="*/ 850476 h 6859062"/>
              <a:gd name="connsiteX10719" fmla="*/ 5739727 w 12192185"/>
              <a:gd name="connsiteY10719" fmla="*/ 844286 h 6859062"/>
              <a:gd name="connsiteX10720" fmla="*/ 5735340 w 12192185"/>
              <a:gd name="connsiteY10720" fmla="*/ 846089 h 6859062"/>
              <a:gd name="connsiteX10721" fmla="*/ 5733537 w 12192185"/>
              <a:gd name="connsiteY10721" fmla="*/ 841703 h 6859062"/>
              <a:gd name="connsiteX10722" fmla="*/ 5736120 w 12192185"/>
              <a:gd name="connsiteY10722" fmla="*/ 835513 h 6859062"/>
              <a:gd name="connsiteX10723" fmla="*/ 5779210 w 12192185"/>
              <a:gd name="connsiteY10723" fmla="*/ 828060 h 6859062"/>
              <a:gd name="connsiteX10724" fmla="*/ 5781011 w 12192185"/>
              <a:gd name="connsiteY10724" fmla="*/ 832447 h 6859062"/>
              <a:gd name="connsiteX10725" fmla="*/ 5800359 w 12192185"/>
              <a:gd name="connsiteY10725" fmla="*/ 829624 h 6859062"/>
              <a:gd name="connsiteX10726" fmla="*/ 5783591 w 12192185"/>
              <a:gd name="connsiteY10726" fmla="*/ 826257 h 6859062"/>
              <a:gd name="connsiteX10727" fmla="*/ 5807328 w 12192185"/>
              <a:gd name="connsiteY10727" fmla="*/ 821631 h 6859062"/>
              <a:gd name="connsiteX10728" fmla="*/ 5813521 w 12192185"/>
              <a:gd name="connsiteY10728" fmla="*/ 824215 h 6859062"/>
              <a:gd name="connsiteX10729" fmla="*/ 5817905 w 12192185"/>
              <a:gd name="connsiteY10729" fmla="*/ 822412 h 6859062"/>
              <a:gd name="connsiteX10730" fmla="*/ 5820490 w 12192185"/>
              <a:gd name="connsiteY10730" fmla="*/ 816222 h 6859062"/>
              <a:gd name="connsiteX10731" fmla="*/ 5814302 w 12192185"/>
              <a:gd name="connsiteY10731" fmla="*/ 813637 h 6859062"/>
              <a:gd name="connsiteX10732" fmla="*/ 5803724 w 12192185"/>
              <a:gd name="connsiteY10732" fmla="*/ 812856 h 6859062"/>
              <a:gd name="connsiteX10733" fmla="*/ 5799340 w 12192185"/>
              <a:gd name="connsiteY10733" fmla="*/ 814660 h 6859062"/>
              <a:gd name="connsiteX10734" fmla="*/ 5801140 w 12192185"/>
              <a:gd name="connsiteY10734" fmla="*/ 819046 h 6859062"/>
              <a:gd name="connsiteX10735" fmla="*/ 5734318 w 12192185"/>
              <a:gd name="connsiteY10735" fmla="*/ 831126 h 6859062"/>
              <a:gd name="connsiteX10736" fmla="*/ 5728128 w 12192185"/>
              <a:gd name="connsiteY10736" fmla="*/ 828542 h 6859062"/>
              <a:gd name="connsiteX10737" fmla="*/ 5723742 w 12192185"/>
              <a:gd name="connsiteY10737" fmla="*/ 830346 h 6859062"/>
              <a:gd name="connsiteX10738" fmla="*/ 5719356 w 12192185"/>
              <a:gd name="connsiteY10738" fmla="*/ 832148 h 6859062"/>
              <a:gd name="connsiteX10739" fmla="*/ 5689427 w 12192185"/>
              <a:gd name="connsiteY10739" fmla="*/ 834191 h 6859062"/>
              <a:gd name="connsiteX10740" fmla="*/ 5691228 w 12192185"/>
              <a:gd name="connsiteY10740" fmla="*/ 838579 h 6859062"/>
              <a:gd name="connsiteX10741" fmla="*/ 5685044 w 12192185"/>
              <a:gd name="connsiteY10741" fmla="*/ 835993 h 6859062"/>
              <a:gd name="connsiteX10742" fmla="*/ 5674468 w 12192185"/>
              <a:gd name="connsiteY10742" fmla="*/ 835212 h 6859062"/>
              <a:gd name="connsiteX10743" fmla="*/ 5671886 w 12192185"/>
              <a:gd name="connsiteY10743" fmla="*/ 841403 h 6859062"/>
              <a:gd name="connsiteX10744" fmla="*/ 5569992 w 12192185"/>
              <a:gd name="connsiteY10744" fmla="*/ 867905 h 6859062"/>
              <a:gd name="connsiteX10745" fmla="*/ 5559414 w 12192185"/>
              <a:gd name="connsiteY10745" fmla="*/ 867124 h 6859062"/>
              <a:gd name="connsiteX10746" fmla="*/ 5555030 w 12192185"/>
              <a:gd name="connsiteY10746" fmla="*/ 868928 h 6859062"/>
              <a:gd name="connsiteX10747" fmla="*/ 5556828 w 12192185"/>
              <a:gd name="connsiteY10747" fmla="*/ 873314 h 6859062"/>
              <a:gd name="connsiteX10748" fmla="*/ 5526903 w 12192185"/>
              <a:gd name="connsiteY10748" fmla="*/ 875358 h 6859062"/>
              <a:gd name="connsiteX10749" fmla="*/ 5522521 w 12192185"/>
              <a:gd name="connsiteY10749" fmla="*/ 877161 h 6859062"/>
              <a:gd name="connsiteX10750" fmla="*/ 5513748 w 12192185"/>
              <a:gd name="connsiteY10750" fmla="*/ 880767 h 6859062"/>
              <a:gd name="connsiteX10751" fmla="*/ 5509363 w 12192185"/>
              <a:gd name="connsiteY10751" fmla="*/ 882570 h 6859062"/>
              <a:gd name="connsiteX10752" fmla="*/ 5503170 w 12192185"/>
              <a:gd name="connsiteY10752" fmla="*/ 879985 h 6859062"/>
              <a:gd name="connsiteX10753" fmla="*/ 5498786 w 12192185"/>
              <a:gd name="connsiteY10753" fmla="*/ 881790 h 6859062"/>
              <a:gd name="connsiteX10754" fmla="*/ 5472459 w 12192185"/>
              <a:gd name="connsiteY10754" fmla="*/ 892605 h 6859062"/>
              <a:gd name="connsiteX10755" fmla="*/ 5468076 w 12192185"/>
              <a:gd name="connsiteY10755" fmla="*/ 894409 h 6859062"/>
              <a:gd name="connsiteX10756" fmla="*/ 5459303 w 12192185"/>
              <a:gd name="connsiteY10756" fmla="*/ 898014 h 6859062"/>
              <a:gd name="connsiteX10757" fmla="*/ 5454917 w 12192185"/>
              <a:gd name="connsiteY10757" fmla="*/ 899817 h 6859062"/>
              <a:gd name="connsiteX10758" fmla="*/ 5424211 w 12192185"/>
              <a:gd name="connsiteY10758" fmla="*/ 912437 h 6859062"/>
              <a:gd name="connsiteX10759" fmla="*/ 5403054 w 12192185"/>
              <a:gd name="connsiteY10759" fmla="*/ 910876 h 6859062"/>
              <a:gd name="connsiteX10760" fmla="*/ 5396869 w 12192185"/>
              <a:gd name="connsiteY10760" fmla="*/ 908291 h 6859062"/>
              <a:gd name="connsiteX10761" fmla="*/ 5392491 w 12192185"/>
              <a:gd name="connsiteY10761" fmla="*/ 910094 h 6859062"/>
              <a:gd name="connsiteX10762" fmla="*/ 5394287 w 12192185"/>
              <a:gd name="connsiteY10762" fmla="*/ 914480 h 6859062"/>
              <a:gd name="connsiteX10763" fmla="*/ 5398679 w 12192185"/>
              <a:gd name="connsiteY10763" fmla="*/ 912677 h 6859062"/>
              <a:gd name="connsiteX10764" fmla="*/ 5382929 w 12192185"/>
              <a:gd name="connsiteY10764" fmla="*/ 924276 h 6859062"/>
              <a:gd name="connsiteX10765" fmla="*/ 5379329 w 12192185"/>
              <a:gd name="connsiteY10765" fmla="*/ 915503 h 6859062"/>
              <a:gd name="connsiteX10766" fmla="*/ 5381752 w 12192185"/>
              <a:gd name="connsiteY10766" fmla="*/ 909689 h 6859062"/>
              <a:gd name="connsiteX10767" fmla="*/ 5406865 w 12192185"/>
              <a:gd name="connsiteY10767" fmla="*/ 901219 h 6859062"/>
              <a:gd name="connsiteX10768" fmla="*/ 5469641 w 12192185"/>
              <a:gd name="connsiteY10768" fmla="*/ 873256 h 6859062"/>
              <a:gd name="connsiteX10769" fmla="*/ 5475829 w 12192185"/>
              <a:gd name="connsiteY10769" fmla="*/ 875841 h 6859062"/>
              <a:gd name="connsiteX10770" fmla="*/ 5480219 w 12192185"/>
              <a:gd name="connsiteY10770" fmla="*/ 874036 h 6859062"/>
              <a:gd name="connsiteX10771" fmla="*/ 5500348 w 12192185"/>
              <a:gd name="connsiteY10771" fmla="*/ 860635 h 6859062"/>
              <a:gd name="connsiteX10772" fmla="*/ 5482805 w 12192185"/>
              <a:gd name="connsiteY10772" fmla="*/ 867846 h 6859062"/>
              <a:gd name="connsiteX10773" fmla="*/ 5485386 w 12192185"/>
              <a:gd name="connsiteY10773" fmla="*/ 861656 h 6859062"/>
              <a:gd name="connsiteX10774" fmla="*/ 5480991 w 12192185"/>
              <a:gd name="connsiteY10774" fmla="*/ 863459 h 6859062"/>
              <a:gd name="connsiteX10775" fmla="*/ 5476611 w 12192185"/>
              <a:gd name="connsiteY10775" fmla="*/ 865262 h 6859062"/>
              <a:gd name="connsiteX10776" fmla="*/ 5472220 w 12192185"/>
              <a:gd name="connsiteY10776" fmla="*/ 867065 h 6859062"/>
              <a:gd name="connsiteX10777" fmla="*/ 5419349 w 12192185"/>
              <a:gd name="connsiteY10777" fmla="*/ 863159 h 6859062"/>
              <a:gd name="connsiteX10778" fmla="*/ 5306614 w 12192185"/>
              <a:gd name="connsiteY10778" fmla="*/ 863341 h 6859062"/>
              <a:gd name="connsiteX10779" fmla="*/ 5300421 w 12192185"/>
              <a:gd name="connsiteY10779" fmla="*/ 860757 h 6859062"/>
              <a:gd name="connsiteX10780" fmla="*/ 5294224 w 12192185"/>
              <a:gd name="connsiteY10780" fmla="*/ 858172 h 6859062"/>
              <a:gd name="connsiteX10781" fmla="*/ 5296812 w 12192185"/>
              <a:gd name="connsiteY10781" fmla="*/ 851982 h 6859062"/>
              <a:gd name="connsiteX10782" fmla="*/ 5283648 w 12192185"/>
              <a:gd name="connsiteY10782" fmla="*/ 857391 h 6859062"/>
              <a:gd name="connsiteX10783" fmla="*/ 5193084 w 12192185"/>
              <a:gd name="connsiteY10783" fmla="*/ 874098 h 6859062"/>
              <a:gd name="connsiteX10784" fmla="*/ 5200056 w 12192185"/>
              <a:gd name="connsiteY10784" fmla="*/ 866105 h 6859062"/>
              <a:gd name="connsiteX10785" fmla="*/ 5136595 w 12192185"/>
              <a:gd name="connsiteY10785" fmla="*/ 861418 h 6859062"/>
              <a:gd name="connsiteX10786" fmla="*/ 5145370 w 12192185"/>
              <a:gd name="connsiteY10786" fmla="*/ 857812 h 6859062"/>
              <a:gd name="connsiteX10787" fmla="*/ 5149766 w 12192185"/>
              <a:gd name="connsiteY10787" fmla="*/ 856010 h 6859062"/>
              <a:gd name="connsiteX10788" fmla="*/ 5143563 w 12192185"/>
              <a:gd name="connsiteY10788" fmla="*/ 853427 h 6859062"/>
              <a:gd name="connsiteX10789" fmla="*/ 5134790 w 12192185"/>
              <a:gd name="connsiteY10789" fmla="*/ 857032 h 6859062"/>
              <a:gd name="connsiteX10790" fmla="*/ 5204980 w 12192185"/>
              <a:gd name="connsiteY10790" fmla="*/ 828185 h 6859062"/>
              <a:gd name="connsiteX10791" fmla="*/ 5072894 w 12192185"/>
              <a:gd name="connsiteY10791" fmla="*/ 831191 h 6859062"/>
              <a:gd name="connsiteX10792" fmla="*/ 5052526 w 12192185"/>
              <a:gd name="connsiteY10792" fmla="*/ 819053 h 6859062"/>
              <a:gd name="connsiteX10793" fmla="*/ 5063877 w 12192185"/>
              <a:gd name="connsiteY10793" fmla="*/ 809258 h 6859062"/>
              <a:gd name="connsiteX10794" fmla="*/ 5170974 w 12192185"/>
              <a:gd name="connsiteY10794" fmla="*/ 770374 h 6859062"/>
              <a:gd name="connsiteX10795" fmla="*/ 5181313 w 12192185"/>
              <a:gd name="connsiteY10795" fmla="*/ 745613 h 6859062"/>
              <a:gd name="connsiteX10796" fmla="*/ 5240148 w 12192185"/>
              <a:gd name="connsiteY10796" fmla="*/ 726563 h 6859062"/>
              <a:gd name="connsiteX10797" fmla="*/ 5210193 w 12192185"/>
              <a:gd name="connsiteY10797" fmla="*/ 728607 h 6859062"/>
              <a:gd name="connsiteX10798" fmla="*/ 5245317 w 12192185"/>
              <a:gd name="connsiteY10798" fmla="*/ 714184 h 6859062"/>
              <a:gd name="connsiteX10799" fmla="*/ 5222343 w 12192185"/>
              <a:gd name="connsiteY10799" fmla="*/ 708236 h 6859062"/>
              <a:gd name="connsiteX10800" fmla="*/ 5458700 w 12192185"/>
              <a:gd name="connsiteY10800" fmla="*/ 646997 h 6859062"/>
              <a:gd name="connsiteX10801" fmla="*/ 5482438 w 12192185"/>
              <a:gd name="connsiteY10801" fmla="*/ 642369 h 6859062"/>
              <a:gd name="connsiteX10802" fmla="*/ 6150670 w 12192185"/>
              <a:gd name="connsiteY10802" fmla="*/ 580870 h 6859062"/>
              <a:gd name="connsiteX10803" fmla="*/ 6208535 w 12192185"/>
              <a:gd name="connsiteY10803" fmla="*/ 584941 h 6859062"/>
              <a:gd name="connsiteX10804" fmla="*/ 6208615 w 12192185"/>
              <a:gd name="connsiteY10804" fmla="*/ 583984 h 6859062"/>
              <a:gd name="connsiteX10805" fmla="*/ 6222819 w 12192185"/>
              <a:gd name="connsiteY10805" fmla="*/ 572035 h 6859062"/>
              <a:gd name="connsiteX10806" fmla="*/ 6232456 w 12192185"/>
              <a:gd name="connsiteY10806" fmla="*/ 557313 h 6859062"/>
              <a:gd name="connsiteX10807" fmla="*/ 6240354 w 12192185"/>
              <a:gd name="connsiteY10807" fmla="*/ 541847 h 6859062"/>
              <a:gd name="connsiteX10808" fmla="*/ 6247643 w 12192185"/>
              <a:gd name="connsiteY10808" fmla="*/ 534489 h 6859062"/>
              <a:gd name="connsiteX10809" fmla="*/ 1800011 w 12192185"/>
              <a:gd name="connsiteY10809" fmla="*/ 528967 h 6859062"/>
              <a:gd name="connsiteX10810" fmla="*/ 1799916 w 12192185"/>
              <a:gd name="connsiteY10810" fmla="*/ 529453 h 6859062"/>
              <a:gd name="connsiteX10811" fmla="*/ 1799538 w 12192185"/>
              <a:gd name="connsiteY10811" fmla="*/ 529276 h 6859062"/>
              <a:gd name="connsiteX10812" fmla="*/ 3846383 w 12192185"/>
              <a:gd name="connsiteY10812" fmla="*/ 524445 h 6859062"/>
              <a:gd name="connsiteX10813" fmla="*/ 3854638 w 12192185"/>
              <a:gd name="connsiteY10813" fmla="*/ 525124 h 6859062"/>
              <a:gd name="connsiteX10814" fmla="*/ 3860076 w 12192185"/>
              <a:gd name="connsiteY10814" fmla="*/ 527279 h 6859062"/>
              <a:gd name="connsiteX10815" fmla="*/ 3865366 w 12192185"/>
              <a:gd name="connsiteY10815" fmla="*/ 537375 h 6859062"/>
              <a:gd name="connsiteX10816" fmla="*/ 3862400 w 12192185"/>
              <a:gd name="connsiteY10816" fmla="*/ 546792 h 6859062"/>
              <a:gd name="connsiteX10817" fmla="*/ 3862276 w 12192185"/>
              <a:gd name="connsiteY10817" fmla="*/ 556150 h 6859062"/>
              <a:gd name="connsiteX10818" fmla="*/ 3863146 w 12192185"/>
              <a:gd name="connsiteY10818" fmla="*/ 565346 h 6859062"/>
              <a:gd name="connsiteX10819" fmla="*/ 3861564 w 12192185"/>
              <a:gd name="connsiteY10819" fmla="*/ 572608 h 6859062"/>
              <a:gd name="connsiteX10820" fmla="*/ 3856982 w 12192185"/>
              <a:gd name="connsiteY10820" fmla="*/ 578940 h 6859062"/>
              <a:gd name="connsiteX10821" fmla="*/ 3851349 w 12192185"/>
              <a:gd name="connsiteY10821" fmla="*/ 581891 h 6859062"/>
              <a:gd name="connsiteX10822" fmla="*/ 3849916 w 12192185"/>
              <a:gd name="connsiteY10822" fmla="*/ 581212 h 6859062"/>
              <a:gd name="connsiteX10823" fmla="*/ 3838795 w 12192185"/>
              <a:gd name="connsiteY10823" fmla="*/ 579175 h 6859062"/>
              <a:gd name="connsiteX10824" fmla="*/ 3831263 w 12192185"/>
              <a:gd name="connsiteY10824" fmla="*/ 570968 h 6859062"/>
              <a:gd name="connsiteX10825" fmla="*/ 3829331 w 12192185"/>
              <a:gd name="connsiteY10825" fmla="*/ 557684 h 6859062"/>
              <a:gd name="connsiteX10826" fmla="*/ 3832233 w 12192185"/>
              <a:gd name="connsiteY10826" fmla="*/ 552946 h 6859062"/>
              <a:gd name="connsiteX10827" fmla="*/ 3834060 w 12192185"/>
              <a:gd name="connsiteY10827" fmla="*/ 543411 h 6859062"/>
              <a:gd name="connsiteX10828" fmla="*/ 3834134 w 12192185"/>
              <a:gd name="connsiteY10828" fmla="*/ 539441 h 6859062"/>
              <a:gd name="connsiteX10829" fmla="*/ 3838471 w 12192185"/>
              <a:gd name="connsiteY10829" fmla="*/ 527161 h 6859062"/>
              <a:gd name="connsiteX10830" fmla="*/ 3846383 w 12192185"/>
              <a:gd name="connsiteY10830" fmla="*/ 524445 h 6859062"/>
              <a:gd name="connsiteX10831" fmla="*/ 10304300 w 12192185"/>
              <a:gd name="connsiteY10831" fmla="*/ 513527 h 6859062"/>
              <a:gd name="connsiteX10832" fmla="*/ 10306681 w 12192185"/>
              <a:gd name="connsiteY10832" fmla="*/ 515845 h 6859062"/>
              <a:gd name="connsiteX10833" fmla="*/ 10318679 w 12192185"/>
              <a:gd name="connsiteY10833" fmla="*/ 524379 h 6859062"/>
              <a:gd name="connsiteX10834" fmla="*/ 10321029 w 12192185"/>
              <a:gd name="connsiteY10834" fmla="*/ 527717 h 6859062"/>
              <a:gd name="connsiteX10835" fmla="*/ 10328759 w 12192185"/>
              <a:gd name="connsiteY10835" fmla="*/ 535506 h 6859062"/>
              <a:gd name="connsiteX10836" fmla="*/ 10332501 w 12192185"/>
              <a:gd name="connsiteY10836" fmla="*/ 540112 h 6859062"/>
              <a:gd name="connsiteX10837" fmla="*/ 10332287 w 12192185"/>
              <a:gd name="connsiteY10837" fmla="*/ 547247 h 6859062"/>
              <a:gd name="connsiteX10838" fmla="*/ 10335355 w 12192185"/>
              <a:gd name="connsiteY10838" fmla="*/ 567544 h 6859062"/>
              <a:gd name="connsiteX10839" fmla="*/ 10334987 w 12192185"/>
              <a:gd name="connsiteY10839" fmla="*/ 579775 h 6859062"/>
              <a:gd name="connsiteX10840" fmla="*/ 10332392 w 12192185"/>
              <a:gd name="connsiteY10840" fmla="*/ 584593 h 6859062"/>
              <a:gd name="connsiteX10841" fmla="*/ 10322535 w 12192185"/>
              <a:gd name="connsiteY10841" fmla="*/ 593265 h 6859062"/>
              <a:gd name="connsiteX10842" fmla="*/ 10307393 w 12192185"/>
              <a:gd name="connsiteY10842" fmla="*/ 607895 h 6859062"/>
              <a:gd name="connsiteX10843" fmla="*/ 10299110 w 12192185"/>
              <a:gd name="connsiteY10843" fmla="*/ 611720 h 6859062"/>
              <a:gd name="connsiteX10844" fmla="*/ 10288014 w 12192185"/>
              <a:gd name="connsiteY10844" fmla="*/ 614029 h 6859062"/>
              <a:gd name="connsiteX10845" fmla="*/ 10279235 w 12192185"/>
              <a:gd name="connsiteY10845" fmla="*/ 613960 h 6859062"/>
              <a:gd name="connsiteX10846" fmla="*/ 10250887 w 12192185"/>
              <a:gd name="connsiteY10846" fmla="*/ 605940 h 6859062"/>
              <a:gd name="connsiteX10847" fmla="*/ 10238243 w 12192185"/>
              <a:gd name="connsiteY10847" fmla="*/ 598610 h 6859062"/>
              <a:gd name="connsiteX10848" fmla="*/ 10226580 w 12192185"/>
              <a:gd name="connsiteY10848" fmla="*/ 572129 h 6859062"/>
              <a:gd name="connsiteX10849" fmla="*/ 10230563 w 12192185"/>
              <a:gd name="connsiteY10849" fmla="*/ 561847 h 6859062"/>
              <a:gd name="connsiteX10850" fmla="*/ 10232324 w 12192185"/>
              <a:gd name="connsiteY10850" fmla="*/ 557616 h 6859062"/>
              <a:gd name="connsiteX10851" fmla="*/ 10236153 w 12192185"/>
              <a:gd name="connsiteY10851" fmla="*/ 545696 h 6859062"/>
              <a:gd name="connsiteX10852" fmla="*/ 10237759 w 12192185"/>
              <a:gd name="connsiteY10852" fmla="*/ 539827 h 6859062"/>
              <a:gd name="connsiteX10853" fmla="*/ 10241837 w 12192185"/>
              <a:gd name="connsiteY10853" fmla="*/ 533220 h 6859062"/>
              <a:gd name="connsiteX10854" fmla="*/ 10248326 w 12192185"/>
              <a:gd name="connsiteY10854" fmla="*/ 527911 h 6859062"/>
              <a:gd name="connsiteX10855" fmla="*/ 10266034 w 12192185"/>
              <a:gd name="connsiteY10855" fmla="*/ 516218 h 6859062"/>
              <a:gd name="connsiteX10856" fmla="*/ 10304300 w 12192185"/>
              <a:gd name="connsiteY10856" fmla="*/ 513527 h 6859062"/>
              <a:gd name="connsiteX10857" fmla="*/ 10773377 w 12192185"/>
              <a:gd name="connsiteY10857" fmla="*/ 512275 h 6859062"/>
              <a:gd name="connsiteX10858" fmla="*/ 10787266 w 12192185"/>
              <a:gd name="connsiteY10858" fmla="*/ 512978 h 6859062"/>
              <a:gd name="connsiteX10859" fmla="*/ 10792760 w 12192185"/>
              <a:gd name="connsiteY10859" fmla="*/ 514067 h 6859062"/>
              <a:gd name="connsiteX10860" fmla="*/ 10801713 w 12192185"/>
              <a:gd name="connsiteY10860" fmla="*/ 516552 h 6859062"/>
              <a:gd name="connsiteX10861" fmla="*/ 10810528 w 12192185"/>
              <a:gd name="connsiteY10861" fmla="*/ 514521 h 6859062"/>
              <a:gd name="connsiteX10862" fmla="*/ 10813771 w 12192185"/>
              <a:gd name="connsiteY10862" fmla="*/ 515012 h 6859062"/>
              <a:gd name="connsiteX10863" fmla="*/ 10814097 w 12192185"/>
              <a:gd name="connsiteY10863" fmla="*/ 518313 h 6859062"/>
              <a:gd name="connsiteX10864" fmla="*/ 10813469 w 12192185"/>
              <a:gd name="connsiteY10864" fmla="*/ 520781 h 6859062"/>
              <a:gd name="connsiteX10865" fmla="*/ 10813735 w 12192185"/>
              <a:gd name="connsiteY10865" fmla="*/ 524197 h 6859062"/>
              <a:gd name="connsiteX10866" fmla="*/ 10816969 w 12192185"/>
              <a:gd name="connsiteY10866" fmla="*/ 523836 h 6859062"/>
              <a:gd name="connsiteX10867" fmla="*/ 10821921 w 12192185"/>
              <a:gd name="connsiteY10867" fmla="*/ 527672 h 6859062"/>
              <a:gd name="connsiteX10868" fmla="*/ 10821739 w 12192185"/>
              <a:gd name="connsiteY10868" fmla="*/ 530613 h 6859062"/>
              <a:gd name="connsiteX10869" fmla="*/ 10824319 w 12192185"/>
              <a:gd name="connsiteY10869" fmla="*/ 533639 h 6859062"/>
              <a:gd name="connsiteX10870" fmla="*/ 10827248 w 12192185"/>
              <a:gd name="connsiteY10870" fmla="*/ 531243 h 6859062"/>
              <a:gd name="connsiteX10871" fmla="*/ 10828419 w 12192185"/>
              <a:gd name="connsiteY10871" fmla="*/ 528338 h 6859062"/>
              <a:gd name="connsiteX10872" fmla="*/ 10834997 w 12192185"/>
              <a:gd name="connsiteY10872" fmla="*/ 550063 h 6859062"/>
              <a:gd name="connsiteX10873" fmla="*/ 10833565 w 12192185"/>
              <a:gd name="connsiteY10873" fmla="*/ 550777 h 6859062"/>
              <a:gd name="connsiteX10874" fmla="*/ 10833343 w 12192185"/>
              <a:gd name="connsiteY10874" fmla="*/ 555098 h 6859062"/>
              <a:gd name="connsiteX10875" fmla="*/ 10835824 w 12192185"/>
              <a:gd name="connsiteY10875" fmla="*/ 558306 h 6859062"/>
              <a:gd name="connsiteX10876" fmla="*/ 10835658 w 12192185"/>
              <a:gd name="connsiteY10876" fmla="*/ 563826 h 6859062"/>
              <a:gd name="connsiteX10877" fmla="*/ 10835212 w 12192185"/>
              <a:gd name="connsiteY10877" fmla="*/ 581587 h 6859062"/>
              <a:gd name="connsiteX10878" fmla="*/ 10836677 w 12192185"/>
              <a:gd name="connsiteY10878" fmla="*/ 584948 h 6859062"/>
              <a:gd name="connsiteX10879" fmla="*/ 10832061 w 12192185"/>
              <a:gd name="connsiteY10879" fmla="*/ 585267 h 6859062"/>
              <a:gd name="connsiteX10880" fmla="*/ 10831516 w 12192185"/>
              <a:gd name="connsiteY10880" fmla="*/ 584974 h 6859062"/>
              <a:gd name="connsiteX10881" fmla="*/ 10824754 w 12192185"/>
              <a:gd name="connsiteY10881" fmla="*/ 589278 h 6859062"/>
              <a:gd name="connsiteX10882" fmla="*/ 10819802 w 12192185"/>
              <a:gd name="connsiteY10882" fmla="*/ 597599 h 6859062"/>
              <a:gd name="connsiteX10883" fmla="*/ 10810278 w 12192185"/>
              <a:gd name="connsiteY10883" fmla="*/ 607899 h 6859062"/>
              <a:gd name="connsiteX10884" fmla="*/ 10805802 w 12192185"/>
              <a:gd name="connsiteY10884" fmla="*/ 609696 h 6859062"/>
              <a:gd name="connsiteX10885" fmla="*/ 10793293 w 12192185"/>
              <a:gd name="connsiteY10885" fmla="*/ 615113 h 6859062"/>
              <a:gd name="connsiteX10886" fmla="*/ 10788064 w 12192185"/>
              <a:gd name="connsiteY10886" fmla="*/ 614401 h 6859062"/>
              <a:gd name="connsiteX10887" fmla="*/ 10767285 w 12192185"/>
              <a:gd name="connsiteY10887" fmla="*/ 609986 h 6859062"/>
              <a:gd name="connsiteX10888" fmla="*/ 10765138 w 12192185"/>
              <a:gd name="connsiteY10888" fmla="*/ 613973 h 6859062"/>
              <a:gd name="connsiteX10889" fmla="*/ 10769559 w 12192185"/>
              <a:gd name="connsiteY10889" fmla="*/ 617056 h 6859062"/>
              <a:gd name="connsiteX10890" fmla="*/ 10773993 w 12192185"/>
              <a:gd name="connsiteY10890" fmla="*/ 616639 h 6859062"/>
              <a:gd name="connsiteX10891" fmla="*/ 10777270 w 12192185"/>
              <a:gd name="connsiteY10891" fmla="*/ 617937 h 6859062"/>
              <a:gd name="connsiteX10892" fmla="*/ 10774970 w 12192185"/>
              <a:gd name="connsiteY10892" fmla="*/ 620906 h 6859062"/>
              <a:gd name="connsiteX10893" fmla="*/ 10771163 w 12192185"/>
              <a:gd name="connsiteY10893" fmla="*/ 621894 h 6859062"/>
              <a:gd name="connsiteX10894" fmla="*/ 10767230 w 12192185"/>
              <a:gd name="connsiteY10894" fmla="*/ 627023 h 6859062"/>
              <a:gd name="connsiteX10895" fmla="*/ 10772710 w 12192185"/>
              <a:gd name="connsiteY10895" fmla="*/ 628573 h 6859062"/>
              <a:gd name="connsiteX10896" fmla="*/ 10778178 w 12192185"/>
              <a:gd name="connsiteY10896" fmla="*/ 627543 h 6859062"/>
              <a:gd name="connsiteX10897" fmla="*/ 10780535 w 12192185"/>
              <a:gd name="connsiteY10897" fmla="*/ 631852 h 6859062"/>
              <a:gd name="connsiteX10898" fmla="*/ 10770981 w 12192185"/>
              <a:gd name="connsiteY10898" fmla="*/ 640032 h 6859062"/>
              <a:gd name="connsiteX10899" fmla="*/ 10765613 w 12192185"/>
              <a:gd name="connsiteY10899" fmla="*/ 649998 h 6859062"/>
              <a:gd name="connsiteX10900" fmla="*/ 10767091 w 12192185"/>
              <a:gd name="connsiteY10900" fmla="*/ 655937 h 6859062"/>
              <a:gd name="connsiteX10901" fmla="*/ 10767105 w 12192185"/>
              <a:gd name="connsiteY10901" fmla="*/ 658516 h 6859062"/>
              <a:gd name="connsiteX10902" fmla="*/ 10764525 w 12192185"/>
              <a:gd name="connsiteY10902" fmla="*/ 658529 h 6859062"/>
              <a:gd name="connsiteX10903" fmla="*/ 10758766 w 12192185"/>
              <a:gd name="connsiteY10903" fmla="*/ 660102 h 6859062"/>
              <a:gd name="connsiteX10904" fmla="*/ 10749661 w 12192185"/>
              <a:gd name="connsiteY10904" fmla="*/ 665717 h 6859062"/>
              <a:gd name="connsiteX10905" fmla="*/ 10747136 w 12192185"/>
              <a:gd name="connsiteY10905" fmla="*/ 669968 h 6859062"/>
              <a:gd name="connsiteX10906" fmla="*/ 10747024 w 12192185"/>
              <a:gd name="connsiteY10906" fmla="*/ 673649 h 6859062"/>
              <a:gd name="connsiteX10907" fmla="*/ 10742870 w 12192185"/>
              <a:gd name="connsiteY10907" fmla="*/ 673981 h 6859062"/>
              <a:gd name="connsiteX10908" fmla="*/ 10740135 w 12192185"/>
              <a:gd name="connsiteY10908" fmla="*/ 672976 h 6859062"/>
              <a:gd name="connsiteX10909" fmla="*/ 10733052 w 12192185"/>
              <a:gd name="connsiteY10909" fmla="*/ 678746 h 6859062"/>
              <a:gd name="connsiteX10910" fmla="*/ 10733177 w 12192185"/>
              <a:gd name="connsiteY10910" fmla="*/ 680683 h 6859062"/>
              <a:gd name="connsiteX10911" fmla="*/ 10731240 w 12192185"/>
              <a:gd name="connsiteY10911" fmla="*/ 683847 h 6859062"/>
              <a:gd name="connsiteX10912" fmla="*/ 10728728 w 12192185"/>
              <a:gd name="connsiteY10912" fmla="*/ 681560 h 6859062"/>
              <a:gd name="connsiteX10913" fmla="*/ 10728184 w 12192185"/>
              <a:gd name="connsiteY10913" fmla="*/ 678228 h 6859062"/>
              <a:gd name="connsiteX10914" fmla="*/ 10724852 w 12192185"/>
              <a:gd name="connsiteY10914" fmla="*/ 675730 h 6859062"/>
              <a:gd name="connsiteX10915" fmla="*/ 10712232 w 12192185"/>
              <a:gd name="connsiteY10915" fmla="*/ 672673 h 6859062"/>
              <a:gd name="connsiteX10916" fmla="*/ 10697966 w 12192185"/>
              <a:gd name="connsiteY10916" fmla="*/ 666157 h 6859062"/>
              <a:gd name="connsiteX10917" fmla="*/ 10695580 w 12192185"/>
              <a:gd name="connsiteY10917" fmla="*/ 662767 h 6859062"/>
              <a:gd name="connsiteX10918" fmla="*/ 10688497 w 12192185"/>
              <a:gd name="connsiteY10918" fmla="*/ 653341 h 6859062"/>
              <a:gd name="connsiteX10919" fmla="*/ 10687366 w 12192185"/>
              <a:gd name="connsiteY10919" fmla="*/ 651095 h 6859062"/>
              <a:gd name="connsiteX10920" fmla="*/ 10684563 w 12192185"/>
              <a:gd name="connsiteY10920" fmla="*/ 637195 h 6859062"/>
              <a:gd name="connsiteX10921" fmla="*/ 10688454 w 12192185"/>
              <a:gd name="connsiteY10921" fmla="*/ 618250 h 6859062"/>
              <a:gd name="connsiteX10922" fmla="*/ 10689122 w 12192185"/>
              <a:gd name="connsiteY10922" fmla="*/ 611364 h 6859062"/>
              <a:gd name="connsiteX10923" fmla="*/ 10693961 w 12192185"/>
              <a:gd name="connsiteY10923" fmla="*/ 603684 h 6859062"/>
              <a:gd name="connsiteX10924" fmla="*/ 10698299 w 12192185"/>
              <a:gd name="connsiteY10924" fmla="*/ 597371 h 6859062"/>
              <a:gd name="connsiteX10925" fmla="*/ 10699582 w 12192185"/>
              <a:gd name="connsiteY10925" fmla="*/ 594555 h 6859062"/>
              <a:gd name="connsiteX10926" fmla="*/ 10716915 w 12192185"/>
              <a:gd name="connsiteY10926" fmla="*/ 587995 h 6859062"/>
              <a:gd name="connsiteX10927" fmla="*/ 10730289 w 12192185"/>
              <a:gd name="connsiteY10927" fmla="*/ 587485 h 6859062"/>
              <a:gd name="connsiteX10928" fmla="*/ 10743272 w 12192185"/>
              <a:gd name="connsiteY10928" fmla="*/ 581621 h 6859062"/>
              <a:gd name="connsiteX10929" fmla="*/ 10743257 w 12192185"/>
              <a:gd name="connsiteY10929" fmla="*/ 579042 h 6859062"/>
              <a:gd name="connsiteX10930" fmla="*/ 10739395 w 12192185"/>
              <a:gd name="connsiteY10930" fmla="*/ 560596 h 6859062"/>
              <a:gd name="connsiteX10931" fmla="*/ 10739506 w 12192185"/>
              <a:gd name="connsiteY10931" fmla="*/ 556916 h 6859062"/>
              <a:gd name="connsiteX10932" fmla="*/ 10742935 w 12192185"/>
              <a:gd name="connsiteY10932" fmla="*/ 547074 h 6859062"/>
              <a:gd name="connsiteX10933" fmla="*/ 10746059 w 12192185"/>
              <a:gd name="connsiteY10933" fmla="*/ 535198 h 6859062"/>
              <a:gd name="connsiteX10934" fmla="*/ 10748584 w 12192185"/>
              <a:gd name="connsiteY10934" fmla="*/ 530947 h 6859062"/>
              <a:gd name="connsiteX10935" fmla="*/ 10770784 w 12192185"/>
              <a:gd name="connsiteY10935" fmla="*/ 512748 h 6859062"/>
              <a:gd name="connsiteX10936" fmla="*/ 10773377 w 12192185"/>
              <a:gd name="connsiteY10936" fmla="*/ 512275 h 6859062"/>
              <a:gd name="connsiteX10937" fmla="*/ 2685915 w 12192185"/>
              <a:gd name="connsiteY10937" fmla="*/ 486683 h 6859062"/>
              <a:gd name="connsiteX10938" fmla="*/ 2686114 w 12192185"/>
              <a:gd name="connsiteY10938" fmla="*/ 486878 h 6859062"/>
              <a:gd name="connsiteX10939" fmla="*/ 2685748 w 12192185"/>
              <a:gd name="connsiteY10939" fmla="*/ 486965 h 6859062"/>
              <a:gd name="connsiteX10940" fmla="*/ 11128309 w 12192185"/>
              <a:gd name="connsiteY10940" fmla="*/ 485923 h 6859062"/>
              <a:gd name="connsiteX10941" fmla="*/ 11134215 w 12192185"/>
              <a:gd name="connsiteY10941" fmla="*/ 486514 h 6859062"/>
              <a:gd name="connsiteX10942" fmla="*/ 11144971 w 12192185"/>
              <a:gd name="connsiteY10942" fmla="*/ 488683 h 6859062"/>
              <a:gd name="connsiteX10943" fmla="*/ 11149053 w 12192185"/>
              <a:gd name="connsiteY10943" fmla="*/ 488810 h 6859062"/>
              <a:gd name="connsiteX10944" fmla="*/ 11162779 w 12192185"/>
              <a:gd name="connsiteY10944" fmla="*/ 494133 h 6859062"/>
              <a:gd name="connsiteX10945" fmla="*/ 11166024 w 12192185"/>
              <a:gd name="connsiteY10945" fmla="*/ 494846 h 6859062"/>
              <a:gd name="connsiteX10946" fmla="*/ 11184829 w 12192185"/>
              <a:gd name="connsiteY10946" fmla="*/ 528282 h 6859062"/>
              <a:gd name="connsiteX10947" fmla="*/ 11184806 w 12192185"/>
              <a:gd name="connsiteY10947" fmla="*/ 549502 h 6859062"/>
              <a:gd name="connsiteX10948" fmla="*/ 11183944 w 12192185"/>
              <a:gd name="connsiteY10948" fmla="*/ 557843 h 6859062"/>
              <a:gd name="connsiteX10949" fmla="*/ 11180669 w 12192185"/>
              <a:gd name="connsiteY10949" fmla="*/ 564882 h 6859062"/>
              <a:gd name="connsiteX10950" fmla="*/ 11176652 w 12192185"/>
              <a:gd name="connsiteY10950" fmla="*/ 569451 h 6859062"/>
              <a:gd name="connsiteX10951" fmla="*/ 11168805 w 12192185"/>
              <a:gd name="connsiteY10951" fmla="*/ 579207 h 6859062"/>
              <a:gd name="connsiteX10952" fmla="*/ 11166240 w 12192185"/>
              <a:gd name="connsiteY10952" fmla="*/ 583004 h 6859062"/>
              <a:gd name="connsiteX10953" fmla="*/ 11159844 w 12192185"/>
              <a:gd name="connsiteY10953" fmla="*/ 591988 h 6859062"/>
              <a:gd name="connsiteX10954" fmla="*/ 11131315 w 12192185"/>
              <a:gd name="connsiteY10954" fmla="*/ 596818 h 6859062"/>
              <a:gd name="connsiteX10955" fmla="*/ 11118237 w 12192185"/>
              <a:gd name="connsiteY10955" fmla="*/ 590290 h 6859062"/>
              <a:gd name="connsiteX10956" fmla="*/ 11095944 w 12192185"/>
              <a:gd name="connsiteY10956" fmla="*/ 571030 h 6859062"/>
              <a:gd name="connsiteX10957" fmla="*/ 11091057 w 12192185"/>
              <a:gd name="connsiteY10957" fmla="*/ 563737 h 6859062"/>
              <a:gd name="connsiteX10958" fmla="*/ 11086882 w 12192185"/>
              <a:gd name="connsiteY10958" fmla="*/ 553201 h 6859062"/>
              <a:gd name="connsiteX10959" fmla="*/ 11085519 w 12192185"/>
              <a:gd name="connsiteY10959" fmla="*/ 544180 h 6859062"/>
              <a:gd name="connsiteX10960" fmla="*/ 11089405 w 12192185"/>
              <a:gd name="connsiteY10960" fmla="*/ 523488 h 6859062"/>
              <a:gd name="connsiteX10961" fmla="*/ 11091224 w 12192185"/>
              <a:gd name="connsiteY10961" fmla="*/ 510484 h 6859062"/>
              <a:gd name="connsiteX10962" fmla="*/ 11093819 w 12192185"/>
              <a:gd name="connsiteY10962" fmla="*/ 505667 h 6859062"/>
              <a:gd name="connsiteX10963" fmla="*/ 11103833 w 12192185"/>
              <a:gd name="connsiteY10963" fmla="*/ 498631 h 6859062"/>
              <a:gd name="connsiteX10964" fmla="*/ 11122470 w 12192185"/>
              <a:gd name="connsiteY10964" fmla="*/ 490027 h 6859062"/>
              <a:gd name="connsiteX10965" fmla="*/ 11128309 w 12192185"/>
              <a:gd name="connsiteY10965" fmla="*/ 485923 h 6859062"/>
              <a:gd name="connsiteX10966" fmla="*/ 7889440 w 12192185"/>
              <a:gd name="connsiteY10966" fmla="*/ 481512 h 6859062"/>
              <a:gd name="connsiteX10967" fmla="*/ 7914532 w 12192185"/>
              <a:gd name="connsiteY10967" fmla="*/ 497395 h 6859062"/>
              <a:gd name="connsiteX10968" fmla="*/ 7922307 w 12192185"/>
              <a:gd name="connsiteY10968" fmla="*/ 511867 h 6859062"/>
              <a:gd name="connsiteX10969" fmla="*/ 7924780 w 12192185"/>
              <a:gd name="connsiteY10969" fmla="*/ 517867 h 6859062"/>
              <a:gd name="connsiteX10970" fmla="*/ 7925134 w 12192185"/>
              <a:gd name="connsiteY10970" fmla="*/ 523868 h 6859062"/>
              <a:gd name="connsiteX10971" fmla="*/ 7924074 w 12192185"/>
              <a:gd name="connsiteY10971" fmla="*/ 528456 h 6859062"/>
              <a:gd name="connsiteX10972" fmla="*/ 7922307 w 12192185"/>
              <a:gd name="connsiteY10972" fmla="*/ 537987 h 6859062"/>
              <a:gd name="connsiteX10973" fmla="*/ 7921953 w 12192185"/>
              <a:gd name="connsiteY10973" fmla="*/ 541517 h 6859062"/>
              <a:gd name="connsiteX10974" fmla="*/ 7920893 w 12192185"/>
              <a:gd name="connsiteY10974" fmla="*/ 549988 h 6859062"/>
              <a:gd name="connsiteX10975" fmla="*/ 7903223 w 12192185"/>
              <a:gd name="connsiteY10975" fmla="*/ 563753 h 6859062"/>
              <a:gd name="connsiteX10976" fmla="*/ 7891913 w 12192185"/>
              <a:gd name="connsiteY10976" fmla="*/ 564106 h 6859062"/>
              <a:gd name="connsiteX10977" fmla="*/ 7869648 w 12192185"/>
              <a:gd name="connsiteY10977" fmla="*/ 559165 h 6859062"/>
              <a:gd name="connsiteX10978" fmla="*/ 7863640 w 12192185"/>
              <a:gd name="connsiteY10978" fmla="*/ 555988 h 6859062"/>
              <a:gd name="connsiteX10979" fmla="*/ 7856924 w 12192185"/>
              <a:gd name="connsiteY10979" fmla="*/ 550340 h 6859062"/>
              <a:gd name="connsiteX10980" fmla="*/ 7852684 w 12192185"/>
              <a:gd name="connsiteY10980" fmla="*/ 544693 h 6859062"/>
              <a:gd name="connsiteX10981" fmla="*/ 7847736 w 12192185"/>
              <a:gd name="connsiteY10981" fmla="*/ 529163 h 6859062"/>
              <a:gd name="connsiteX10982" fmla="*/ 7844201 w 12192185"/>
              <a:gd name="connsiteY10982" fmla="*/ 519633 h 6859062"/>
              <a:gd name="connsiteX10983" fmla="*/ 7844202 w 12192185"/>
              <a:gd name="connsiteY10983" fmla="*/ 515397 h 6859062"/>
              <a:gd name="connsiteX10984" fmla="*/ 7848442 w 12192185"/>
              <a:gd name="connsiteY10984" fmla="*/ 506926 h 6859062"/>
              <a:gd name="connsiteX10985" fmla="*/ 7857985 w 12192185"/>
              <a:gd name="connsiteY10985" fmla="*/ 494219 h 6859062"/>
              <a:gd name="connsiteX10986" fmla="*/ 7860458 w 12192185"/>
              <a:gd name="connsiteY10986" fmla="*/ 489278 h 6859062"/>
              <a:gd name="connsiteX10987" fmla="*/ 7864700 w 12192185"/>
              <a:gd name="connsiteY10987" fmla="*/ 487513 h 6859062"/>
              <a:gd name="connsiteX10988" fmla="*/ 7872829 w 12192185"/>
              <a:gd name="connsiteY10988" fmla="*/ 485042 h 6859062"/>
              <a:gd name="connsiteX10989" fmla="*/ 7875656 w 12192185"/>
              <a:gd name="connsiteY10989" fmla="*/ 483630 h 6859062"/>
              <a:gd name="connsiteX10990" fmla="*/ 7886965 w 12192185"/>
              <a:gd name="connsiteY10990" fmla="*/ 482218 h 6859062"/>
              <a:gd name="connsiteX10991" fmla="*/ 7889440 w 12192185"/>
              <a:gd name="connsiteY10991" fmla="*/ 481512 h 6859062"/>
              <a:gd name="connsiteX10992" fmla="*/ 4169942 w 12192185"/>
              <a:gd name="connsiteY10992" fmla="*/ 479857 h 6859062"/>
              <a:gd name="connsiteX10993" fmla="*/ 4174143 w 12192185"/>
              <a:gd name="connsiteY10993" fmla="*/ 479873 h 6859062"/>
              <a:gd name="connsiteX10994" fmla="*/ 4179444 w 12192185"/>
              <a:gd name="connsiteY10994" fmla="*/ 481039 h 6859062"/>
              <a:gd name="connsiteX10995" fmla="*/ 4183389 w 12192185"/>
              <a:gd name="connsiteY10995" fmla="*/ 482916 h 6859062"/>
              <a:gd name="connsiteX10996" fmla="*/ 4183391 w 12192185"/>
              <a:gd name="connsiteY10996" fmla="*/ 482917 h 6859062"/>
              <a:gd name="connsiteX10997" fmla="*/ 4190560 w 12192185"/>
              <a:gd name="connsiteY10997" fmla="*/ 490006 h 6859062"/>
              <a:gd name="connsiteX10998" fmla="*/ 4195226 w 12192185"/>
              <a:gd name="connsiteY10998" fmla="*/ 494212 h 6859062"/>
              <a:gd name="connsiteX10999" fmla="*/ 4196440 w 12192185"/>
              <a:gd name="connsiteY10999" fmla="*/ 496532 h 6859062"/>
              <a:gd name="connsiteX11000" fmla="*/ 4196549 w 12192185"/>
              <a:gd name="connsiteY11000" fmla="*/ 502391 h 6859062"/>
              <a:gd name="connsiteX11001" fmla="*/ 4194969 w 12192185"/>
              <a:gd name="connsiteY11001" fmla="*/ 512091 h 6859062"/>
              <a:gd name="connsiteX11002" fmla="*/ 4195026 w 12192185"/>
              <a:gd name="connsiteY11002" fmla="*/ 515451 h 6859062"/>
              <a:gd name="connsiteX11003" fmla="*/ 4195030 w 12192185"/>
              <a:gd name="connsiteY11003" fmla="*/ 515507 h 6859062"/>
              <a:gd name="connsiteX11004" fmla="*/ 4195029 w 12192185"/>
              <a:gd name="connsiteY11004" fmla="*/ 515508 h 6859062"/>
              <a:gd name="connsiteX11005" fmla="*/ 4193221 w 12192185"/>
              <a:gd name="connsiteY11005" fmla="*/ 517692 h 6859062"/>
              <a:gd name="connsiteX11006" fmla="*/ 4189475 w 12192185"/>
              <a:gd name="connsiteY11006" fmla="*/ 521379 h 6859062"/>
              <a:gd name="connsiteX11007" fmla="*/ 4188333 w 12192185"/>
              <a:gd name="connsiteY11007" fmla="*/ 522964 h 6859062"/>
              <a:gd name="connsiteX11008" fmla="*/ 4182542 w 12192185"/>
              <a:gd name="connsiteY11008" fmla="*/ 526984 h 6859062"/>
              <a:gd name="connsiteX11009" fmla="*/ 4181389 w 12192185"/>
              <a:gd name="connsiteY11009" fmla="*/ 528080 h 6859062"/>
              <a:gd name="connsiteX11010" fmla="*/ 4163081 w 12192185"/>
              <a:gd name="connsiteY11010" fmla="*/ 526580 h 6859062"/>
              <a:gd name="connsiteX11011" fmla="*/ 4161460 w 12192185"/>
              <a:gd name="connsiteY11011" fmla="*/ 525482 h 6859062"/>
              <a:gd name="connsiteX11012" fmla="*/ 4154668 w 12192185"/>
              <a:gd name="connsiteY11012" fmla="*/ 520884 h 6859062"/>
              <a:gd name="connsiteX11013" fmla="*/ 4151589 w 12192185"/>
              <a:gd name="connsiteY11013" fmla="*/ 518306 h 6859062"/>
              <a:gd name="connsiteX11014" fmla="*/ 4149674 w 12192185"/>
              <a:gd name="connsiteY11014" fmla="*/ 515120 h 6859062"/>
              <a:gd name="connsiteX11015" fmla="*/ 4148939 w 12192185"/>
              <a:gd name="connsiteY11015" fmla="*/ 512302 h 6859062"/>
              <a:gd name="connsiteX11016" fmla="*/ 4147170 w 12192185"/>
              <a:gd name="connsiteY11016" fmla="*/ 506573 h 6859062"/>
              <a:gd name="connsiteX11017" fmla="*/ 4146351 w 12192185"/>
              <a:gd name="connsiteY11017" fmla="*/ 504539 h 6859062"/>
              <a:gd name="connsiteX11018" fmla="*/ 4144502 w 12192185"/>
              <a:gd name="connsiteY11018" fmla="*/ 499594 h 6859062"/>
              <a:gd name="connsiteX11019" fmla="*/ 4150231 w 12192185"/>
              <a:gd name="connsiteY11019" fmla="*/ 486980 h 6859062"/>
              <a:gd name="connsiteX11020" fmla="*/ 4156325 w 12192185"/>
              <a:gd name="connsiteY11020" fmla="*/ 483540 h 6859062"/>
              <a:gd name="connsiteX11021" fmla="*/ 4169942 w 12192185"/>
              <a:gd name="connsiteY11021" fmla="*/ 479857 h 6859062"/>
              <a:gd name="connsiteX11022" fmla="*/ 1695890 w 12192185"/>
              <a:gd name="connsiteY11022" fmla="*/ 479776 h 6859062"/>
              <a:gd name="connsiteX11023" fmla="*/ 1716977 w 12192185"/>
              <a:gd name="connsiteY11023" fmla="*/ 488737 h 6859062"/>
              <a:gd name="connsiteX11024" fmla="*/ 1722217 w 12192185"/>
              <a:gd name="connsiteY11024" fmla="*/ 493357 h 6859062"/>
              <a:gd name="connsiteX11025" fmla="*/ 1736757 w 12192185"/>
              <a:gd name="connsiteY11025" fmla="*/ 502314 h 6859062"/>
              <a:gd name="connsiteX11026" fmla="*/ 1746353 w 12192185"/>
              <a:gd name="connsiteY11026" fmla="*/ 504175 h 6859062"/>
              <a:gd name="connsiteX11027" fmla="*/ 1761293 w 12192185"/>
              <a:gd name="connsiteY11027" fmla="*/ 522465 h 6859062"/>
              <a:gd name="connsiteX11028" fmla="*/ 1762995 w 12192185"/>
              <a:gd name="connsiteY11028" fmla="*/ 541984 h 6859062"/>
              <a:gd name="connsiteX11029" fmla="*/ 1752429 w 12192185"/>
              <a:gd name="connsiteY11029" fmla="*/ 558834 h 6859062"/>
              <a:gd name="connsiteX11030" fmla="*/ 1751607 w 12192185"/>
              <a:gd name="connsiteY11030" fmla="*/ 561498 h 6859062"/>
              <a:gd name="connsiteX11031" fmla="*/ 1741084 w 12192185"/>
              <a:gd name="connsiteY11031" fmla="*/ 565302 h 6859062"/>
              <a:gd name="connsiteX11032" fmla="*/ 1727426 w 12192185"/>
              <a:gd name="connsiteY11032" fmla="*/ 563725 h 6859062"/>
              <a:gd name="connsiteX11033" fmla="*/ 1716126 w 12192185"/>
              <a:gd name="connsiteY11033" fmla="*/ 557150 h 6859062"/>
              <a:gd name="connsiteX11034" fmla="*/ 1705226 w 12192185"/>
              <a:gd name="connsiteY11034" fmla="*/ 545100 h 6859062"/>
              <a:gd name="connsiteX11035" fmla="*/ 1692937 w 12192185"/>
              <a:gd name="connsiteY11035" fmla="*/ 534144 h 6859062"/>
              <a:gd name="connsiteX11036" fmla="*/ 1677196 w 12192185"/>
              <a:gd name="connsiteY11036" fmla="*/ 526806 h 6859062"/>
              <a:gd name="connsiteX11037" fmla="*/ 1670381 w 12192185"/>
              <a:gd name="connsiteY11037" fmla="*/ 507948 h 6859062"/>
              <a:gd name="connsiteX11038" fmla="*/ 1674044 w 12192185"/>
              <a:gd name="connsiteY11038" fmla="*/ 498334 h 6859062"/>
              <a:gd name="connsiteX11039" fmla="*/ 1682968 w 12192185"/>
              <a:gd name="connsiteY11039" fmla="*/ 486816 h 6859062"/>
              <a:gd name="connsiteX11040" fmla="*/ 1695890 w 12192185"/>
              <a:gd name="connsiteY11040" fmla="*/ 479776 h 6859062"/>
              <a:gd name="connsiteX11041" fmla="*/ 8968660 w 12192185"/>
              <a:gd name="connsiteY11041" fmla="*/ 473508 h 6859062"/>
              <a:gd name="connsiteX11042" fmla="*/ 8979043 w 12192185"/>
              <a:gd name="connsiteY11042" fmla="*/ 473782 h 6859062"/>
              <a:gd name="connsiteX11043" fmla="*/ 8989114 w 12192185"/>
              <a:gd name="connsiteY11043" fmla="*/ 474097 h 6859062"/>
              <a:gd name="connsiteX11044" fmla="*/ 9004848 w 12192185"/>
              <a:gd name="connsiteY11044" fmla="*/ 486354 h 6859062"/>
              <a:gd name="connsiteX11045" fmla="*/ 9005792 w 12192185"/>
              <a:gd name="connsiteY11045" fmla="*/ 493897 h 6859062"/>
              <a:gd name="connsiteX11046" fmla="*/ 9006108 w 12192185"/>
              <a:gd name="connsiteY11046" fmla="*/ 497040 h 6859062"/>
              <a:gd name="connsiteX11047" fmla="*/ 9007680 w 12192185"/>
              <a:gd name="connsiteY11047" fmla="*/ 505526 h 6859062"/>
              <a:gd name="connsiteX11048" fmla="*/ 9008624 w 12192185"/>
              <a:gd name="connsiteY11048" fmla="*/ 509611 h 6859062"/>
              <a:gd name="connsiteX11049" fmla="*/ 9008310 w 12192185"/>
              <a:gd name="connsiteY11049" fmla="*/ 514954 h 6859062"/>
              <a:gd name="connsiteX11050" fmla="*/ 9006107 w 12192185"/>
              <a:gd name="connsiteY11050" fmla="*/ 520297 h 6859062"/>
              <a:gd name="connsiteX11051" fmla="*/ 8999184 w 12192185"/>
              <a:gd name="connsiteY11051" fmla="*/ 533183 h 6859062"/>
              <a:gd name="connsiteX11052" fmla="*/ 8976841 w 12192185"/>
              <a:gd name="connsiteY11052" fmla="*/ 547327 h 6859062"/>
              <a:gd name="connsiteX11053" fmla="*/ 8974639 w 12192185"/>
              <a:gd name="connsiteY11053" fmla="*/ 546698 h 6859062"/>
              <a:gd name="connsiteX11054" fmla="*/ 8964569 w 12192185"/>
              <a:gd name="connsiteY11054" fmla="*/ 545441 h 6859062"/>
              <a:gd name="connsiteX11055" fmla="*/ 8962050 w 12192185"/>
              <a:gd name="connsiteY11055" fmla="*/ 544184 h 6859062"/>
              <a:gd name="connsiteX11056" fmla="*/ 8954813 w 12192185"/>
              <a:gd name="connsiteY11056" fmla="*/ 541983 h 6859062"/>
              <a:gd name="connsiteX11057" fmla="*/ 8951037 w 12192185"/>
              <a:gd name="connsiteY11057" fmla="*/ 540412 h 6859062"/>
              <a:gd name="connsiteX11058" fmla="*/ 8948833 w 12192185"/>
              <a:gd name="connsiteY11058" fmla="*/ 536012 h 6859062"/>
              <a:gd name="connsiteX11059" fmla="*/ 8940337 w 12192185"/>
              <a:gd name="connsiteY11059" fmla="*/ 524697 h 6859062"/>
              <a:gd name="connsiteX11060" fmla="*/ 8936560 w 12192185"/>
              <a:gd name="connsiteY11060" fmla="*/ 517155 h 6859062"/>
              <a:gd name="connsiteX11061" fmla="*/ 8936560 w 12192185"/>
              <a:gd name="connsiteY11061" fmla="*/ 513383 h 6859062"/>
              <a:gd name="connsiteX11062" fmla="*/ 8939708 w 12192185"/>
              <a:gd name="connsiteY11062" fmla="*/ 504897 h 6859062"/>
              <a:gd name="connsiteX11063" fmla="*/ 8944113 w 12192185"/>
              <a:gd name="connsiteY11063" fmla="*/ 491068 h 6859062"/>
              <a:gd name="connsiteX11064" fmla="*/ 8947890 w 12192185"/>
              <a:gd name="connsiteY11064" fmla="*/ 486039 h 6859062"/>
              <a:gd name="connsiteX11065" fmla="*/ 8953868 w 12192185"/>
              <a:gd name="connsiteY11065" fmla="*/ 481011 h 6859062"/>
              <a:gd name="connsiteX11066" fmla="*/ 8959219 w 12192185"/>
              <a:gd name="connsiteY11066" fmla="*/ 478182 h 6859062"/>
              <a:gd name="connsiteX11067" fmla="*/ 8968660 w 12192185"/>
              <a:gd name="connsiteY11067" fmla="*/ 473508 h 6859062"/>
              <a:gd name="connsiteX11068" fmla="*/ 9602462 w 12192185"/>
              <a:gd name="connsiteY11068" fmla="*/ 472780 h 6859062"/>
              <a:gd name="connsiteX11069" fmla="*/ 9609509 w 12192185"/>
              <a:gd name="connsiteY11069" fmla="*/ 476269 h 6859062"/>
              <a:gd name="connsiteX11070" fmla="*/ 9613501 w 12192185"/>
              <a:gd name="connsiteY11070" fmla="*/ 478380 h 6859062"/>
              <a:gd name="connsiteX11071" fmla="*/ 9617965 w 12192185"/>
              <a:gd name="connsiteY11071" fmla="*/ 482134 h 6859062"/>
              <a:gd name="connsiteX11072" fmla="*/ 9620784 w 12192185"/>
              <a:gd name="connsiteY11072" fmla="*/ 485888 h 6859062"/>
              <a:gd name="connsiteX11073" fmla="*/ 9624072 w 12192185"/>
              <a:gd name="connsiteY11073" fmla="*/ 496210 h 6859062"/>
              <a:gd name="connsiteX11074" fmla="*/ 9626420 w 12192185"/>
              <a:gd name="connsiteY11074" fmla="*/ 502544 h 6859062"/>
              <a:gd name="connsiteX11075" fmla="*/ 9626421 w 12192185"/>
              <a:gd name="connsiteY11075" fmla="*/ 505358 h 6859062"/>
              <a:gd name="connsiteX11076" fmla="*/ 9623602 w 12192185"/>
              <a:gd name="connsiteY11076" fmla="*/ 510988 h 6859062"/>
              <a:gd name="connsiteX11077" fmla="*/ 9617259 w 12192185"/>
              <a:gd name="connsiteY11077" fmla="*/ 519433 h 6859062"/>
              <a:gd name="connsiteX11078" fmla="*/ 9615616 w 12192185"/>
              <a:gd name="connsiteY11078" fmla="*/ 522718 h 6859062"/>
              <a:gd name="connsiteX11079" fmla="*/ 9612797 w 12192185"/>
              <a:gd name="connsiteY11079" fmla="*/ 523891 h 6859062"/>
              <a:gd name="connsiteX11080" fmla="*/ 9607394 w 12192185"/>
              <a:gd name="connsiteY11080" fmla="*/ 525533 h 6859062"/>
              <a:gd name="connsiteX11081" fmla="*/ 9605515 w 12192185"/>
              <a:gd name="connsiteY11081" fmla="*/ 526472 h 6859062"/>
              <a:gd name="connsiteX11082" fmla="*/ 9597999 w 12192185"/>
              <a:gd name="connsiteY11082" fmla="*/ 527410 h 6859062"/>
              <a:gd name="connsiteX11083" fmla="*/ 9596355 w 12192185"/>
              <a:gd name="connsiteY11083" fmla="*/ 527879 h 6859062"/>
              <a:gd name="connsiteX11084" fmla="*/ 9579677 w 12192185"/>
              <a:gd name="connsiteY11084" fmla="*/ 517323 h 6859062"/>
              <a:gd name="connsiteX11085" fmla="*/ 9574509 w 12192185"/>
              <a:gd name="connsiteY11085" fmla="*/ 507705 h 6859062"/>
              <a:gd name="connsiteX11086" fmla="*/ 9572865 w 12192185"/>
              <a:gd name="connsiteY11086" fmla="*/ 503716 h 6859062"/>
              <a:gd name="connsiteX11087" fmla="*/ 9572630 w 12192185"/>
              <a:gd name="connsiteY11087" fmla="*/ 499728 h 6859062"/>
              <a:gd name="connsiteX11088" fmla="*/ 9573336 w 12192185"/>
              <a:gd name="connsiteY11088" fmla="*/ 496679 h 6859062"/>
              <a:gd name="connsiteX11089" fmla="*/ 9574510 w 12192185"/>
              <a:gd name="connsiteY11089" fmla="*/ 490345 h 6859062"/>
              <a:gd name="connsiteX11090" fmla="*/ 9574745 w 12192185"/>
              <a:gd name="connsiteY11090" fmla="*/ 487999 h 6859062"/>
              <a:gd name="connsiteX11091" fmla="*/ 9575449 w 12192185"/>
              <a:gd name="connsiteY11091" fmla="*/ 482368 h 6859062"/>
              <a:gd name="connsiteX11092" fmla="*/ 9587193 w 12192185"/>
              <a:gd name="connsiteY11092" fmla="*/ 473220 h 6859062"/>
              <a:gd name="connsiteX11093" fmla="*/ 9594710 w 12192185"/>
              <a:gd name="connsiteY11093" fmla="*/ 472985 h 6859062"/>
              <a:gd name="connsiteX11094" fmla="*/ 9602462 w 12192185"/>
              <a:gd name="connsiteY11094" fmla="*/ 472780 h 6859062"/>
              <a:gd name="connsiteX11095" fmla="*/ 4719837 w 12192185"/>
              <a:gd name="connsiteY11095" fmla="*/ 469604 h 6859062"/>
              <a:gd name="connsiteX11096" fmla="*/ 4721555 w 12192185"/>
              <a:gd name="connsiteY11096" fmla="*/ 469825 h 6859062"/>
              <a:gd name="connsiteX11097" fmla="*/ 4730578 w 12192185"/>
              <a:gd name="connsiteY11097" fmla="*/ 473588 h 6859062"/>
              <a:gd name="connsiteX11098" fmla="*/ 4739899 w 12192185"/>
              <a:gd name="connsiteY11098" fmla="*/ 483119 h 6859062"/>
              <a:gd name="connsiteX11099" fmla="*/ 4743573 w 12192185"/>
              <a:gd name="connsiteY11099" fmla="*/ 486159 h 6859062"/>
              <a:gd name="connsiteX11100" fmla="*/ 4746092 w 12192185"/>
              <a:gd name="connsiteY11100" fmla="*/ 491886 h 6859062"/>
              <a:gd name="connsiteX11101" fmla="*/ 4748027 w 12192185"/>
              <a:gd name="connsiteY11101" fmla="*/ 496799 h 6859062"/>
              <a:gd name="connsiteX11102" fmla="*/ 4749141 w 12192185"/>
              <a:gd name="connsiteY11102" fmla="*/ 498618 h 6859062"/>
              <a:gd name="connsiteX11103" fmla="*/ 4746199 w 12192185"/>
              <a:gd name="connsiteY11103" fmla="*/ 511050 h 6859062"/>
              <a:gd name="connsiteX11104" fmla="*/ 4741327 w 12192185"/>
              <a:gd name="connsiteY11104" fmla="*/ 518887 h 6859062"/>
              <a:gd name="connsiteX11105" fmla="*/ 4739670 w 12192185"/>
              <a:gd name="connsiteY11105" fmla="*/ 528565 h 6859062"/>
              <a:gd name="connsiteX11106" fmla="*/ 4741150 w 12192185"/>
              <a:gd name="connsiteY11106" fmla="*/ 529551 h 6859062"/>
              <a:gd name="connsiteX11107" fmla="*/ 4753176 w 12192185"/>
              <a:gd name="connsiteY11107" fmla="*/ 534462 h 6859062"/>
              <a:gd name="connsiteX11108" fmla="*/ 4755237 w 12192185"/>
              <a:gd name="connsiteY11108" fmla="*/ 535946 h 6859062"/>
              <a:gd name="connsiteX11109" fmla="*/ 4759531 w 12192185"/>
              <a:gd name="connsiteY11109" fmla="*/ 541702 h 6859062"/>
              <a:gd name="connsiteX11110" fmla="*/ 4765112 w 12192185"/>
              <a:gd name="connsiteY11110" fmla="*/ 548069 h 6859062"/>
              <a:gd name="connsiteX11111" fmla="*/ 4766564 w 12192185"/>
              <a:gd name="connsiteY11111" fmla="*/ 551151 h 6859062"/>
              <a:gd name="connsiteX11112" fmla="*/ 4768396 w 12192185"/>
              <a:gd name="connsiteY11112" fmla="*/ 570854 h 6859062"/>
              <a:gd name="connsiteX11113" fmla="*/ 4767667 w 12192185"/>
              <a:gd name="connsiteY11113" fmla="*/ 572518 h 6859062"/>
              <a:gd name="connsiteX11114" fmla="*/ 4761905 w 12192185"/>
              <a:gd name="connsiteY11114" fmla="*/ 580181 h 6859062"/>
              <a:gd name="connsiteX11115" fmla="*/ 4759164 w 12192185"/>
              <a:gd name="connsiteY11115" fmla="*/ 582899 h 6859062"/>
              <a:gd name="connsiteX11116" fmla="*/ 4754288 w 12192185"/>
              <a:gd name="connsiteY11116" fmla="*/ 587054 h 6859062"/>
              <a:gd name="connsiteX11117" fmla="*/ 4752049 w 12192185"/>
              <a:gd name="connsiteY11117" fmla="*/ 592872 h 6859062"/>
              <a:gd name="connsiteX11118" fmla="*/ 4750514 w 12192185"/>
              <a:gd name="connsiteY11118" fmla="*/ 594535 h 6859062"/>
              <a:gd name="connsiteX11119" fmla="*/ 4748503 w 12192185"/>
              <a:gd name="connsiteY11119" fmla="*/ 593447 h 6859062"/>
              <a:gd name="connsiteX11120" fmla="*/ 4747338 w 12192185"/>
              <a:gd name="connsiteY11120" fmla="*/ 592137 h 6859062"/>
              <a:gd name="connsiteX11121" fmla="*/ 4745282 w 12192185"/>
              <a:gd name="connsiteY11121" fmla="*/ 590971 h 6859062"/>
              <a:gd name="connsiteX11122" fmla="*/ 4744242 w 12192185"/>
              <a:gd name="connsiteY11122" fmla="*/ 592958 h 6859062"/>
              <a:gd name="connsiteX11123" fmla="*/ 4740144 w 12192185"/>
              <a:gd name="connsiteY11123" fmla="*/ 594306 h 6859062"/>
              <a:gd name="connsiteX11124" fmla="*/ 4738529 w 12192185"/>
              <a:gd name="connsiteY11124" fmla="*/ 593068 h 6859062"/>
              <a:gd name="connsiteX11125" fmla="*/ 4735807 w 12192185"/>
              <a:gd name="connsiteY11125" fmla="*/ 593374 h 6859062"/>
              <a:gd name="connsiteX11126" fmla="*/ 4736047 w 12192185"/>
              <a:gd name="connsiteY11126" fmla="*/ 595971 h 6859062"/>
              <a:gd name="connsiteX11127" fmla="*/ 4737252 w 12192185"/>
              <a:gd name="connsiteY11127" fmla="*/ 597761 h 6859062"/>
              <a:gd name="connsiteX11128" fmla="*/ 4722306 w 12192185"/>
              <a:gd name="connsiteY11128" fmla="*/ 593136 h 6859062"/>
              <a:gd name="connsiteX11129" fmla="*/ 4722451 w 12192185"/>
              <a:gd name="connsiteY11129" fmla="*/ 592043 h 6859062"/>
              <a:gd name="connsiteX11130" fmla="*/ 4720067 w 12192185"/>
              <a:gd name="connsiteY11130" fmla="*/ 590247 h 6859062"/>
              <a:gd name="connsiteX11131" fmla="*/ 4717278 w 12192185"/>
              <a:gd name="connsiteY11131" fmla="*/ 590428 h 6859062"/>
              <a:gd name="connsiteX11132" fmla="*/ 4714190 w 12192185"/>
              <a:gd name="connsiteY11132" fmla="*/ 588203 h 6859062"/>
              <a:gd name="connsiteX11133" fmla="*/ 4704212 w 12192185"/>
              <a:gd name="connsiteY11133" fmla="*/ 581095 h 6859062"/>
              <a:gd name="connsiteX11134" fmla="*/ 4701730 w 12192185"/>
              <a:gd name="connsiteY11134" fmla="*/ 580635 h 6859062"/>
              <a:gd name="connsiteX11135" fmla="*/ 4703327 w 12192185"/>
              <a:gd name="connsiteY11135" fmla="*/ 577875 h 6859062"/>
              <a:gd name="connsiteX11136" fmla="*/ 4703707 w 12192185"/>
              <a:gd name="connsiteY11136" fmla="*/ 577678 h 6859062"/>
              <a:gd name="connsiteX11137" fmla="*/ 4703859 w 12192185"/>
              <a:gd name="connsiteY11137" fmla="*/ 572153 h 6859062"/>
              <a:gd name="connsiteX11138" fmla="*/ 4701014 w 12192185"/>
              <a:gd name="connsiteY11138" fmla="*/ 566115 h 6859062"/>
              <a:gd name="connsiteX11139" fmla="*/ 4698804 w 12192185"/>
              <a:gd name="connsiteY11139" fmla="*/ 556700 h 6859062"/>
              <a:gd name="connsiteX11140" fmla="*/ 4699507 w 12192185"/>
              <a:gd name="connsiteY11140" fmla="*/ 553451 h 6859062"/>
              <a:gd name="connsiteX11141" fmla="*/ 4701239 w 12192185"/>
              <a:gd name="connsiteY11141" fmla="*/ 544215 h 6859062"/>
              <a:gd name="connsiteX11142" fmla="*/ 4703664 w 12192185"/>
              <a:gd name="connsiteY11142" fmla="*/ 541503 h 6859062"/>
              <a:gd name="connsiteX11143" fmla="*/ 4714202 w 12192185"/>
              <a:gd name="connsiteY11143" fmla="*/ 531337 h 6859062"/>
              <a:gd name="connsiteX11144" fmla="*/ 4712751 w 12192185"/>
              <a:gd name="connsiteY11144" fmla="*/ 528572 h 6859062"/>
              <a:gd name="connsiteX11145" fmla="*/ 4709284 w 12192185"/>
              <a:gd name="connsiteY11145" fmla="*/ 529908 h 6859062"/>
              <a:gd name="connsiteX11146" fmla="*/ 4707812 w 12192185"/>
              <a:gd name="connsiteY11146" fmla="*/ 532601 h 6859062"/>
              <a:gd name="connsiteX11147" fmla="*/ 4705808 w 12192185"/>
              <a:gd name="connsiteY11147" fmla="*/ 533974 h 6859062"/>
              <a:gd name="connsiteX11148" fmla="*/ 4705000 w 12192185"/>
              <a:gd name="connsiteY11148" fmla="*/ 531513 h 6859062"/>
              <a:gd name="connsiteX11149" fmla="*/ 4705904 w 12192185"/>
              <a:gd name="connsiteY11149" fmla="*/ 528957 h 6859062"/>
              <a:gd name="connsiteX11150" fmla="*/ 4704492 w 12192185"/>
              <a:gd name="connsiteY11150" fmla="*/ 524732 h 6859062"/>
              <a:gd name="connsiteX11151" fmla="*/ 4701492 w 12192185"/>
              <a:gd name="connsiteY11151" fmla="*/ 527265 h 6859062"/>
              <a:gd name="connsiteX11152" fmla="*/ 4699970 w 12192185"/>
              <a:gd name="connsiteY11152" fmla="*/ 530785 h 6859062"/>
              <a:gd name="connsiteX11153" fmla="*/ 4696599 w 12192185"/>
              <a:gd name="connsiteY11153" fmla="*/ 530468 h 6859062"/>
              <a:gd name="connsiteX11154" fmla="*/ 4695615 w 12192185"/>
              <a:gd name="connsiteY11154" fmla="*/ 521856 h 6859062"/>
              <a:gd name="connsiteX11155" fmla="*/ 4691993 w 12192185"/>
              <a:gd name="connsiteY11155" fmla="*/ 514944 h 6859062"/>
              <a:gd name="connsiteX11156" fmla="*/ 4688028 w 12192185"/>
              <a:gd name="connsiteY11156" fmla="*/ 513496 h 6859062"/>
              <a:gd name="connsiteX11157" fmla="*/ 4686550 w 12192185"/>
              <a:gd name="connsiteY11157" fmla="*/ 512509 h 6859062"/>
              <a:gd name="connsiteX11158" fmla="*/ 4687539 w 12192185"/>
              <a:gd name="connsiteY11158" fmla="*/ 511031 h 6859062"/>
              <a:gd name="connsiteX11159" fmla="*/ 4688863 w 12192185"/>
              <a:gd name="connsiteY11159" fmla="*/ 507134 h 6859062"/>
              <a:gd name="connsiteX11160" fmla="*/ 4689169 w 12192185"/>
              <a:gd name="connsiteY11160" fmla="*/ 499767 h 6859062"/>
              <a:gd name="connsiteX11161" fmla="*/ 4687714 w 12192185"/>
              <a:gd name="connsiteY11161" fmla="*/ 496684 h 6859062"/>
              <a:gd name="connsiteX11162" fmla="*/ 4685654 w 12192185"/>
              <a:gd name="connsiteY11162" fmla="*/ 495201 h 6859062"/>
              <a:gd name="connsiteX11163" fmla="*/ 4687069 w 12192185"/>
              <a:gd name="connsiteY11163" fmla="*/ 492698 h 6859062"/>
              <a:gd name="connsiteX11164" fmla="*/ 4688697 w 12192185"/>
              <a:gd name="connsiteY11164" fmla="*/ 491525 h 6859062"/>
              <a:gd name="connsiteX11165" fmla="*/ 4688134 w 12192185"/>
              <a:gd name="connsiteY11165" fmla="*/ 485252 h 6859062"/>
              <a:gd name="connsiteX11166" fmla="*/ 4686980 w 12192185"/>
              <a:gd name="connsiteY11166" fmla="*/ 484576 h 6859062"/>
              <a:gd name="connsiteX11167" fmla="*/ 4685918 w 12192185"/>
              <a:gd name="connsiteY11167" fmla="*/ 482249 h 6859062"/>
              <a:gd name="connsiteX11168" fmla="*/ 4688194 w 12192185"/>
              <a:gd name="connsiteY11168" fmla="*/ 481697 h 6859062"/>
              <a:gd name="connsiteX11169" fmla="*/ 4690309 w 12192185"/>
              <a:gd name="connsiteY11169" fmla="*/ 482672 h 6859062"/>
              <a:gd name="connsiteX11170" fmla="*/ 4693021 w 12192185"/>
              <a:gd name="connsiteY11170" fmla="*/ 481732 h 6859062"/>
              <a:gd name="connsiteX11171" fmla="*/ 4699636 w 12192185"/>
              <a:gd name="connsiteY11171" fmla="*/ 475703 h 6859062"/>
              <a:gd name="connsiteX11172" fmla="*/ 4708863 w 12192185"/>
              <a:gd name="connsiteY11172" fmla="*/ 470068 h 6859062"/>
              <a:gd name="connsiteX11173" fmla="*/ 4711717 w 12192185"/>
              <a:gd name="connsiteY11173" fmla="*/ 470014 h 6859062"/>
              <a:gd name="connsiteX11174" fmla="*/ 4719837 w 12192185"/>
              <a:gd name="connsiteY11174" fmla="*/ 469604 h 6859062"/>
              <a:gd name="connsiteX11175" fmla="*/ 8794932 w 12192185"/>
              <a:gd name="connsiteY11175" fmla="*/ 459629 h 6859062"/>
              <a:gd name="connsiteX11176" fmla="*/ 8807590 w 12192185"/>
              <a:gd name="connsiteY11176" fmla="*/ 460461 h 6859062"/>
              <a:gd name="connsiteX11177" fmla="*/ 8817749 w 12192185"/>
              <a:gd name="connsiteY11177" fmla="*/ 463124 h 6859062"/>
              <a:gd name="connsiteX11178" fmla="*/ 8821080 w 12192185"/>
              <a:gd name="connsiteY11178" fmla="*/ 462625 h 6859062"/>
              <a:gd name="connsiteX11179" fmla="*/ 8822746 w 12192185"/>
              <a:gd name="connsiteY11179" fmla="*/ 460461 h 6859062"/>
              <a:gd name="connsiteX11180" fmla="*/ 8825411 w 12192185"/>
              <a:gd name="connsiteY11180" fmla="*/ 459796 h 6859062"/>
              <a:gd name="connsiteX11181" fmla="*/ 8825577 w 12192185"/>
              <a:gd name="connsiteY11181" fmla="*/ 462792 h 6859062"/>
              <a:gd name="connsiteX11182" fmla="*/ 8824744 w 12192185"/>
              <a:gd name="connsiteY11182" fmla="*/ 464123 h 6859062"/>
              <a:gd name="connsiteX11183" fmla="*/ 8827575 w 12192185"/>
              <a:gd name="connsiteY11183" fmla="*/ 470948 h 6859062"/>
              <a:gd name="connsiteX11184" fmla="*/ 8829908 w 12192185"/>
              <a:gd name="connsiteY11184" fmla="*/ 471281 h 6859062"/>
              <a:gd name="connsiteX11185" fmla="*/ 8832739 w 12192185"/>
              <a:gd name="connsiteY11185" fmla="*/ 473112 h 6859062"/>
              <a:gd name="connsiteX11186" fmla="*/ 8831405 w 12192185"/>
              <a:gd name="connsiteY11186" fmla="*/ 475775 h 6859062"/>
              <a:gd name="connsiteX11187" fmla="*/ 8831572 w 12192185"/>
              <a:gd name="connsiteY11187" fmla="*/ 479771 h 6859062"/>
              <a:gd name="connsiteX11188" fmla="*/ 8835902 w 12192185"/>
              <a:gd name="connsiteY11188" fmla="*/ 487261 h 6859062"/>
              <a:gd name="connsiteX11189" fmla="*/ 8839400 w 12192185"/>
              <a:gd name="connsiteY11189" fmla="*/ 490591 h 6859062"/>
              <a:gd name="connsiteX11190" fmla="*/ 8841233 w 12192185"/>
              <a:gd name="connsiteY11190" fmla="*/ 491590 h 6859062"/>
              <a:gd name="connsiteX11191" fmla="*/ 8840232 w 12192185"/>
              <a:gd name="connsiteY11191" fmla="*/ 493420 h 6859062"/>
              <a:gd name="connsiteX11192" fmla="*/ 8836902 w 12192185"/>
              <a:gd name="connsiteY11192" fmla="*/ 497083 h 6859062"/>
              <a:gd name="connsiteX11193" fmla="*/ 8836902 w 12192185"/>
              <a:gd name="connsiteY11193" fmla="*/ 506238 h 6859062"/>
              <a:gd name="connsiteX11194" fmla="*/ 8840567 w 12192185"/>
              <a:gd name="connsiteY11194" fmla="*/ 515726 h 6859062"/>
              <a:gd name="connsiteX11195" fmla="*/ 8837236 w 12192185"/>
              <a:gd name="connsiteY11195" fmla="*/ 517890 h 6859062"/>
              <a:gd name="connsiteX11196" fmla="*/ 8833737 w 12192185"/>
              <a:gd name="connsiteY11196" fmla="*/ 515061 h 6859062"/>
              <a:gd name="connsiteX11197" fmla="*/ 8829240 w 12192185"/>
              <a:gd name="connsiteY11197" fmla="*/ 514062 h 6859062"/>
              <a:gd name="connsiteX11198" fmla="*/ 8830073 w 12192185"/>
              <a:gd name="connsiteY11198" fmla="*/ 519222 h 6859062"/>
              <a:gd name="connsiteX11199" fmla="*/ 8832405 w 12192185"/>
              <a:gd name="connsiteY11199" fmla="*/ 521387 h 6859062"/>
              <a:gd name="connsiteX11200" fmla="*/ 8832905 w 12192185"/>
              <a:gd name="connsiteY11200" fmla="*/ 524383 h 6859062"/>
              <a:gd name="connsiteX11201" fmla="*/ 8830074 w 12192185"/>
              <a:gd name="connsiteY11201" fmla="*/ 524050 h 6859062"/>
              <a:gd name="connsiteX11202" fmla="*/ 8827075 w 12192185"/>
              <a:gd name="connsiteY11202" fmla="*/ 522052 h 6859062"/>
              <a:gd name="connsiteX11203" fmla="*/ 8822745 w 12192185"/>
              <a:gd name="connsiteY11203" fmla="*/ 522552 h 6859062"/>
              <a:gd name="connsiteX11204" fmla="*/ 8822745 w 12192185"/>
              <a:gd name="connsiteY11204" fmla="*/ 526213 h 6859062"/>
              <a:gd name="connsiteX11205" fmla="*/ 8839233 w 12192185"/>
              <a:gd name="connsiteY11205" fmla="*/ 531041 h 6859062"/>
              <a:gd name="connsiteX11206" fmla="*/ 8843231 w 12192185"/>
              <a:gd name="connsiteY11206" fmla="*/ 532539 h 6859062"/>
              <a:gd name="connsiteX11207" fmla="*/ 8850059 w 12192185"/>
              <a:gd name="connsiteY11207" fmla="*/ 541195 h 6859062"/>
              <a:gd name="connsiteX11208" fmla="*/ 8852558 w 12192185"/>
              <a:gd name="connsiteY11208" fmla="*/ 544191 h 6859062"/>
              <a:gd name="connsiteX11209" fmla="*/ 8855389 w 12192185"/>
              <a:gd name="connsiteY11209" fmla="*/ 555178 h 6859062"/>
              <a:gd name="connsiteX11210" fmla="*/ 8855721 w 12192185"/>
              <a:gd name="connsiteY11210" fmla="*/ 563002 h 6859062"/>
              <a:gd name="connsiteX11211" fmla="*/ 8858886 w 12192185"/>
              <a:gd name="connsiteY11211" fmla="*/ 568661 h 6859062"/>
              <a:gd name="connsiteX11212" fmla="*/ 8859386 w 12192185"/>
              <a:gd name="connsiteY11212" fmla="*/ 568661 h 6859062"/>
              <a:gd name="connsiteX11213" fmla="*/ 8862551 w 12192185"/>
              <a:gd name="connsiteY11213" fmla="*/ 570659 h 6859062"/>
              <a:gd name="connsiteX11214" fmla="*/ 8860218 w 12192185"/>
              <a:gd name="connsiteY11214" fmla="*/ 572490 h 6859062"/>
              <a:gd name="connsiteX11215" fmla="*/ 8853724 w 12192185"/>
              <a:gd name="connsiteY11215" fmla="*/ 585308 h 6859062"/>
              <a:gd name="connsiteX11216" fmla="*/ 8851724 w 12192185"/>
              <a:gd name="connsiteY11216" fmla="*/ 589303 h 6859062"/>
              <a:gd name="connsiteX11217" fmla="*/ 8848726 w 12192185"/>
              <a:gd name="connsiteY11217" fmla="*/ 590634 h 6859062"/>
              <a:gd name="connsiteX11218" fmla="*/ 8847228 w 12192185"/>
              <a:gd name="connsiteY11218" fmla="*/ 593797 h 6859062"/>
              <a:gd name="connsiteX11219" fmla="*/ 8847974 w 12192185"/>
              <a:gd name="connsiteY11219" fmla="*/ 594855 h 6859062"/>
              <a:gd name="connsiteX11220" fmla="*/ 8834956 w 12192185"/>
              <a:gd name="connsiteY11220" fmla="*/ 607801 h 6859062"/>
              <a:gd name="connsiteX11221" fmla="*/ 8835236 w 12192185"/>
              <a:gd name="connsiteY11221" fmla="*/ 605283 h 6859062"/>
              <a:gd name="connsiteX11222" fmla="*/ 8834071 w 12192185"/>
              <a:gd name="connsiteY11222" fmla="*/ 602453 h 6859062"/>
              <a:gd name="connsiteX11223" fmla="*/ 8831073 w 12192185"/>
              <a:gd name="connsiteY11223" fmla="*/ 603618 h 6859062"/>
              <a:gd name="connsiteX11224" fmla="*/ 8830073 w 12192185"/>
              <a:gd name="connsiteY11224" fmla="*/ 605782 h 6859062"/>
              <a:gd name="connsiteX11225" fmla="*/ 8825077 w 12192185"/>
              <a:gd name="connsiteY11225" fmla="*/ 606614 h 6859062"/>
              <a:gd name="connsiteX11226" fmla="*/ 8822913 w 12192185"/>
              <a:gd name="connsiteY11226" fmla="*/ 605117 h 6859062"/>
              <a:gd name="connsiteX11227" fmla="*/ 8821413 w 12192185"/>
              <a:gd name="connsiteY11227" fmla="*/ 607447 h 6859062"/>
              <a:gd name="connsiteX11228" fmla="*/ 8820914 w 12192185"/>
              <a:gd name="connsiteY11228" fmla="*/ 609445 h 6859062"/>
              <a:gd name="connsiteX11229" fmla="*/ 8819414 w 12192185"/>
              <a:gd name="connsiteY11229" fmla="*/ 611671 h 6859062"/>
              <a:gd name="connsiteX11230" fmla="*/ 8816916 w 12192185"/>
              <a:gd name="connsiteY11230" fmla="*/ 610776 h 6859062"/>
              <a:gd name="connsiteX11231" fmla="*/ 8811421 w 12192185"/>
              <a:gd name="connsiteY11231" fmla="*/ 605949 h 6859062"/>
              <a:gd name="connsiteX11232" fmla="*/ 8804092 w 12192185"/>
              <a:gd name="connsiteY11232" fmla="*/ 604284 h 6859062"/>
              <a:gd name="connsiteX11233" fmla="*/ 8799763 w 12192185"/>
              <a:gd name="connsiteY11233" fmla="*/ 602952 h 6859062"/>
              <a:gd name="connsiteX11234" fmla="*/ 8789603 w 12192185"/>
              <a:gd name="connsiteY11234" fmla="*/ 598125 h 6859062"/>
              <a:gd name="connsiteX11235" fmla="*/ 8787937 w 12192185"/>
              <a:gd name="connsiteY11235" fmla="*/ 596793 h 6859062"/>
              <a:gd name="connsiteX11236" fmla="*/ 8779110 w 12192185"/>
              <a:gd name="connsiteY11236" fmla="*/ 575320 h 6859062"/>
              <a:gd name="connsiteX11237" fmla="*/ 8778943 w 12192185"/>
              <a:gd name="connsiteY11237" fmla="*/ 571325 h 6859062"/>
              <a:gd name="connsiteX11238" fmla="*/ 8781276 w 12192185"/>
              <a:gd name="connsiteY11238" fmla="*/ 561670 h 6859062"/>
              <a:gd name="connsiteX11239" fmla="*/ 8782608 w 12192185"/>
              <a:gd name="connsiteY11239" fmla="*/ 553347 h 6859062"/>
              <a:gd name="connsiteX11240" fmla="*/ 8783940 w 12192185"/>
              <a:gd name="connsiteY11240" fmla="*/ 550683 h 6859062"/>
              <a:gd name="connsiteX11241" fmla="*/ 8793766 w 12192185"/>
              <a:gd name="connsiteY11241" fmla="*/ 539032 h 6859062"/>
              <a:gd name="connsiteX11242" fmla="*/ 8794765 w 12192185"/>
              <a:gd name="connsiteY11242" fmla="*/ 537200 h 6859062"/>
              <a:gd name="connsiteX11243" fmla="*/ 8787770 w 12192185"/>
              <a:gd name="connsiteY11243" fmla="*/ 528044 h 6859062"/>
              <a:gd name="connsiteX11244" fmla="*/ 8778444 w 12192185"/>
              <a:gd name="connsiteY11244" fmla="*/ 522551 h 6859062"/>
              <a:gd name="connsiteX11245" fmla="*/ 8768617 w 12192185"/>
              <a:gd name="connsiteY11245" fmla="*/ 511232 h 6859062"/>
              <a:gd name="connsiteX11246" fmla="*/ 8768785 w 12192185"/>
              <a:gd name="connsiteY11246" fmla="*/ 508735 h 6859062"/>
              <a:gd name="connsiteX11247" fmla="*/ 8768119 w 12192185"/>
              <a:gd name="connsiteY11247" fmla="*/ 502576 h 6859062"/>
              <a:gd name="connsiteX11248" fmla="*/ 8767618 w 12192185"/>
              <a:gd name="connsiteY11248" fmla="*/ 495252 h 6859062"/>
              <a:gd name="connsiteX11249" fmla="*/ 8769784 w 12192185"/>
              <a:gd name="connsiteY11249" fmla="*/ 490092 h 6859062"/>
              <a:gd name="connsiteX11250" fmla="*/ 8774281 w 12192185"/>
              <a:gd name="connsiteY11250" fmla="*/ 475110 h 6859062"/>
              <a:gd name="connsiteX11251" fmla="*/ 8781608 w 12192185"/>
              <a:gd name="connsiteY11251" fmla="*/ 466288 h 6859062"/>
              <a:gd name="connsiteX11252" fmla="*/ 8783275 w 12192185"/>
              <a:gd name="connsiteY11252" fmla="*/ 465122 h 6859062"/>
              <a:gd name="connsiteX11253" fmla="*/ 8791934 w 12192185"/>
              <a:gd name="connsiteY11253" fmla="*/ 461127 h 6859062"/>
              <a:gd name="connsiteX11254" fmla="*/ 8794932 w 12192185"/>
              <a:gd name="connsiteY11254" fmla="*/ 459629 h 6859062"/>
              <a:gd name="connsiteX11255" fmla="*/ 9211807 w 12192185"/>
              <a:gd name="connsiteY11255" fmla="*/ 455326 h 6859062"/>
              <a:gd name="connsiteX11256" fmla="*/ 9218363 w 12192185"/>
              <a:gd name="connsiteY11256" fmla="*/ 458574 h 6859062"/>
              <a:gd name="connsiteX11257" fmla="*/ 9222080 w 12192185"/>
              <a:gd name="connsiteY11257" fmla="*/ 460538 h 6859062"/>
              <a:gd name="connsiteX11258" fmla="*/ 9226232 w 12192185"/>
              <a:gd name="connsiteY11258" fmla="*/ 464031 h 6859062"/>
              <a:gd name="connsiteX11259" fmla="*/ 9228855 w 12192185"/>
              <a:gd name="connsiteY11259" fmla="*/ 467524 h 6859062"/>
              <a:gd name="connsiteX11260" fmla="*/ 9231915 w 12192185"/>
              <a:gd name="connsiteY11260" fmla="*/ 477129 h 6859062"/>
              <a:gd name="connsiteX11261" fmla="*/ 9234101 w 12192185"/>
              <a:gd name="connsiteY11261" fmla="*/ 483024 h 6859062"/>
              <a:gd name="connsiteX11262" fmla="*/ 9234101 w 12192185"/>
              <a:gd name="connsiteY11262" fmla="*/ 483025 h 6859062"/>
              <a:gd name="connsiteX11263" fmla="*/ 9234101 w 12192185"/>
              <a:gd name="connsiteY11263" fmla="*/ 485643 h 6859062"/>
              <a:gd name="connsiteX11264" fmla="*/ 9234102 w 12192185"/>
              <a:gd name="connsiteY11264" fmla="*/ 485644 h 6859062"/>
              <a:gd name="connsiteX11265" fmla="*/ 9231478 w 12192185"/>
              <a:gd name="connsiteY11265" fmla="*/ 490883 h 6859062"/>
              <a:gd name="connsiteX11266" fmla="*/ 9225576 w 12192185"/>
              <a:gd name="connsiteY11266" fmla="*/ 498742 h 6859062"/>
              <a:gd name="connsiteX11267" fmla="*/ 9224046 w 12192185"/>
              <a:gd name="connsiteY11267" fmla="*/ 501799 h 6859062"/>
              <a:gd name="connsiteX11268" fmla="*/ 9221423 w 12192185"/>
              <a:gd name="connsiteY11268" fmla="*/ 502890 h 6859062"/>
              <a:gd name="connsiteX11269" fmla="*/ 9216396 w 12192185"/>
              <a:gd name="connsiteY11269" fmla="*/ 504418 h 6859062"/>
              <a:gd name="connsiteX11270" fmla="*/ 9214647 w 12192185"/>
              <a:gd name="connsiteY11270" fmla="*/ 505292 h 6859062"/>
              <a:gd name="connsiteX11271" fmla="*/ 9207654 w 12192185"/>
              <a:gd name="connsiteY11271" fmla="*/ 506165 h 6859062"/>
              <a:gd name="connsiteX11272" fmla="*/ 9206123 w 12192185"/>
              <a:gd name="connsiteY11272" fmla="*/ 506601 h 6859062"/>
              <a:gd name="connsiteX11273" fmla="*/ 9190603 w 12192185"/>
              <a:gd name="connsiteY11273" fmla="*/ 496778 h 6859062"/>
              <a:gd name="connsiteX11274" fmla="*/ 9185794 w 12192185"/>
              <a:gd name="connsiteY11274" fmla="*/ 487827 h 6859062"/>
              <a:gd name="connsiteX11275" fmla="*/ 9184264 w 12192185"/>
              <a:gd name="connsiteY11275" fmla="*/ 484116 h 6859062"/>
              <a:gd name="connsiteX11276" fmla="*/ 9184047 w 12192185"/>
              <a:gd name="connsiteY11276" fmla="*/ 480405 h 6859062"/>
              <a:gd name="connsiteX11277" fmla="*/ 9184047 w 12192185"/>
              <a:gd name="connsiteY11277" fmla="*/ 480404 h 6859062"/>
              <a:gd name="connsiteX11278" fmla="*/ 9184701 w 12192185"/>
              <a:gd name="connsiteY11278" fmla="*/ 477566 h 6859062"/>
              <a:gd name="connsiteX11279" fmla="*/ 9185794 w 12192185"/>
              <a:gd name="connsiteY11279" fmla="*/ 471671 h 6859062"/>
              <a:gd name="connsiteX11280" fmla="*/ 9186014 w 12192185"/>
              <a:gd name="connsiteY11280" fmla="*/ 469489 h 6859062"/>
              <a:gd name="connsiteX11281" fmla="*/ 9186669 w 12192185"/>
              <a:gd name="connsiteY11281" fmla="*/ 464250 h 6859062"/>
              <a:gd name="connsiteX11282" fmla="*/ 9197599 w 12192185"/>
              <a:gd name="connsiteY11282" fmla="*/ 455736 h 6859062"/>
              <a:gd name="connsiteX11283" fmla="*/ 9204592 w 12192185"/>
              <a:gd name="connsiteY11283" fmla="*/ 455517 h 6859062"/>
              <a:gd name="connsiteX11284" fmla="*/ 9211807 w 12192185"/>
              <a:gd name="connsiteY11284" fmla="*/ 455326 h 6859062"/>
              <a:gd name="connsiteX11285" fmla="*/ 3531830 w 12192185"/>
              <a:gd name="connsiteY11285" fmla="*/ 447728 h 6859062"/>
              <a:gd name="connsiteX11286" fmla="*/ 3549259 w 12192185"/>
              <a:gd name="connsiteY11286" fmla="*/ 458760 h 6859062"/>
              <a:gd name="connsiteX11287" fmla="*/ 3554657 w 12192185"/>
              <a:gd name="connsiteY11287" fmla="*/ 468813 h 6859062"/>
              <a:gd name="connsiteX11288" fmla="*/ 3556376 w 12192185"/>
              <a:gd name="connsiteY11288" fmla="*/ 472980 h 6859062"/>
              <a:gd name="connsiteX11289" fmla="*/ 3556620 w 12192185"/>
              <a:gd name="connsiteY11289" fmla="*/ 477148 h 6859062"/>
              <a:gd name="connsiteX11290" fmla="*/ 3555887 w 12192185"/>
              <a:gd name="connsiteY11290" fmla="*/ 480335 h 6859062"/>
              <a:gd name="connsiteX11291" fmla="*/ 3554658 w 12192185"/>
              <a:gd name="connsiteY11291" fmla="*/ 486954 h 6859062"/>
              <a:gd name="connsiteX11292" fmla="*/ 3554413 w 12192185"/>
              <a:gd name="connsiteY11292" fmla="*/ 489406 h 6859062"/>
              <a:gd name="connsiteX11293" fmla="*/ 3553676 w 12192185"/>
              <a:gd name="connsiteY11293" fmla="*/ 495290 h 6859062"/>
              <a:gd name="connsiteX11294" fmla="*/ 3541403 w 12192185"/>
              <a:gd name="connsiteY11294" fmla="*/ 504852 h 6859062"/>
              <a:gd name="connsiteX11295" fmla="*/ 3533547 w 12192185"/>
              <a:gd name="connsiteY11295" fmla="*/ 505097 h 6859062"/>
              <a:gd name="connsiteX11296" fmla="*/ 3518084 w 12192185"/>
              <a:gd name="connsiteY11296" fmla="*/ 501665 h 6859062"/>
              <a:gd name="connsiteX11297" fmla="*/ 3513909 w 12192185"/>
              <a:gd name="connsiteY11297" fmla="*/ 499458 h 6859062"/>
              <a:gd name="connsiteX11298" fmla="*/ 3509247 w 12192185"/>
              <a:gd name="connsiteY11298" fmla="*/ 495535 h 6859062"/>
              <a:gd name="connsiteX11299" fmla="*/ 3506301 w 12192185"/>
              <a:gd name="connsiteY11299" fmla="*/ 491613 h 6859062"/>
              <a:gd name="connsiteX11300" fmla="*/ 3502865 w 12192185"/>
              <a:gd name="connsiteY11300" fmla="*/ 480826 h 6859062"/>
              <a:gd name="connsiteX11301" fmla="*/ 3500411 w 12192185"/>
              <a:gd name="connsiteY11301" fmla="*/ 474206 h 6859062"/>
              <a:gd name="connsiteX11302" fmla="*/ 3500411 w 12192185"/>
              <a:gd name="connsiteY11302" fmla="*/ 471264 h 6859062"/>
              <a:gd name="connsiteX11303" fmla="*/ 3503357 w 12192185"/>
              <a:gd name="connsiteY11303" fmla="*/ 465380 h 6859062"/>
              <a:gd name="connsiteX11304" fmla="*/ 3509984 w 12192185"/>
              <a:gd name="connsiteY11304" fmla="*/ 456554 h 6859062"/>
              <a:gd name="connsiteX11305" fmla="*/ 3511700 w 12192185"/>
              <a:gd name="connsiteY11305" fmla="*/ 453122 h 6859062"/>
              <a:gd name="connsiteX11306" fmla="*/ 3514647 w 12192185"/>
              <a:gd name="connsiteY11306" fmla="*/ 451896 h 6859062"/>
              <a:gd name="connsiteX11307" fmla="*/ 3520293 w 12192185"/>
              <a:gd name="connsiteY11307" fmla="*/ 450180 h 6859062"/>
              <a:gd name="connsiteX11308" fmla="*/ 3522256 w 12192185"/>
              <a:gd name="connsiteY11308" fmla="*/ 449199 h 6859062"/>
              <a:gd name="connsiteX11309" fmla="*/ 3530112 w 12192185"/>
              <a:gd name="connsiteY11309" fmla="*/ 448218 h 6859062"/>
              <a:gd name="connsiteX11310" fmla="*/ 3531830 w 12192185"/>
              <a:gd name="connsiteY11310" fmla="*/ 447728 h 6859062"/>
              <a:gd name="connsiteX11311" fmla="*/ 2626606 w 12192185"/>
              <a:gd name="connsiteY11311" fmla="*/ 438787 h 6859062"/>
              <a:gd name="connsiteX11312" fmla="*/ 2628038 w 12192185"/>
              <a:gd name="connsiteY11312" fmla="*/ 440918 h 6859062"/>
              <a:gd name="connsiteX11313" fmla="*/ 2628518 w 12192185"/>
              <a:gd name="connsiteY11313" fmla="*/ 442830 h 6859062"/>
              <a:gd name="connsiteX11314" fmla="*/ 2629954 w 12192185"/>
              <a:gd name="connsiteY11314" fmla="*/ 445060 h 6859062"/>
              <a:gd name="connsiteX11315" fmla="*/ 2632024 w 12192185"/>
              <a:gd name="connsiteY11315" fmla="*/ 443626 h 6859062"/>
              <a:gd name="connsiteX11316" fmla="*/ 2636807 w 12192185"/>
              <a:gd name="connsiteY11316" fmla="*/ 444423 h 6859062"/>
              <a:gd name="connsiteX11317" fmla="*/ 2637763 w 12192185"/>
              <a:gd name="connsiteY11317" fmla="*/ 446494 h 6859062"/>
              <a:gd name="connsiteX11318" fmla="*/ 2640635 w 12192185"/>
              <a:gd name="connsiteY11318" fmla="*/ 447609 h 6859062"/>
              <a:gd name="connsiteX11319" fmla="*/ 2641750 w 12192185"/>
              <a:gd name="connsiteY11319" fmla="*/ 444901 h 6859062"/>
              <a:gd name="connsiteX11320" fmla="*/ 2641481 w 12192185"/>
              <a:gd name="connsiteY11320" fmla="*/ 442491 h 6859062"/>
              <a:gd name="connsiteX11321" fmla="*/ 2653939 w 12192185"/>
              <a:gd name="connsiteY11321" fmla="*/ 454883 h 6859062"/>
              <a:gd name="connsiteX11322" fmla="*/ 2653226 w 12192185"/>
              <a:gd name="connsiteY11322" fmla="*/ 455895 h 6859062"/>
              <a:gd name="connsiteX11323" fmla="*/ 2654661 w 12192185"/>
              <a:gd name="connsiteY11323" fmla="*/ 458922 h 6859062"/>
              <a:gd name="connsiteX11324" fmla="*/ 2657531 w 12192185"/>
              <a:gd name="connsiteY11324" fmla="*/ 460197 h 6859062"/>
              <a:gd name="connsiteX11325" fmla="*/ 2659446 w 12192185"/>
              <a:gd name="connsiteY11325" fmla="*/ 464020 h 6859062"/>
              <a:gd name="connsiteX11326" fmla="*/ 2665661 w 12192185"/>
              <a:gd name="connsiteY11326" fmla="*/ 476289 h 6859062"/>
              <a:gd name="connsiteX11327" fmla="*/ 2667893 w 12192185"/>
              <a:gd name="connsiteY11327" fmla="*/ 478042 h 6859062"/>
              <a:gd name="connsiteX11328" fmla="*/ 2664865 w 12192185"/>
              <a:gd name="connsiteY11328" fmla="*/ 479954 h 6859062"/>
              <a:gd name="connsiteX11329" fmla="*/ 2664387 w 12192185"/>
              <a:gd name="connsiteY11329" fmla="*/ 479954 h 6859062"/>
              <a:gd name="connsiteX11330" fmla="*/ 2661357 w 12192185"/>
              <a:gd name="connsiteY11330" fmla="*/ 485371 h 6859062"/>
              <a:gd name="connsiteX11331" fmla="*/ 2661038 w 12192185"/>
              <a:gd name="connsiteY11331" fmla="*/ 492860 h 6859062"/>
              <a:gd name="connsiteX11332" fmla="*/ 2658329 w 12192185"/>
              <a:gd name="connsiteY11332" fmla="*/ 503376 h 6859062"/>
              <a:gd name="connsiteX11333" fmla="*/ 2655936 w 12192185"/>
              <a:gd name="connsiteY11333" fmla="*/ 506244 h 6859062"/>
              <a:gd name="connsiteX11334" fmla="*/ 2649401 w 12192185"/>
              <a:gd name="connsiteY11334" fmla="*/ 514528 h 6859062"/>
              <a:gd name="connsiteX11335" fmla="*/ 2645576 w 12192185"/>
              <a:gd name="connsiteY11335" fmla="*/ 515962 h 6859062"/>
              <a:gd name="connsiteX11336" fmla="*/ 2629794 w 12192185"/>
              <a:gd name="connsiteY11336" fmla="*/ 520583 h 6859062"/>
              <a:gd name="connsiteX11337" fmla="*/ 2629795 w 12192185"/>
              <a:gd name="connsiteY11337" fmla="*/ 524089 h 6859062"/>
              <a:gd name="connsiteX11338" fmla="*/ 2633938 w 12192185"/>
              <a:gd name="connsiteY11338" fmla="*/ 524567 h 6859062"/>
              <a:gd name="connsiteX11339" fmla="*/ 2636807 w 12192185"/>
              <a:gd name="connsiteY11339" fmla="*/ 522654 h 6859062"/>
              <a:gd name="connsiteX11340" fmla="*/ 2639516 w 12192185"/>
              <a:gd name="connsiteY11340" fmla="*/ 522336 h 6859062"/>
              <a:gd name="connsiteX11341" fmla="*/ 2639039 w 12192185"/>
              <a:gd name="connsiteY11341" fmla="*/ 525204 h 6859062"/>
              <a:gd name="connsiteX11342" fmla="*/ 2636807 w 12192185"/>
              <a:gd name="connsiteY11342" fmla="*/ 527275 h 6859062"/>
              <a:gd name="connsiteX11343" fmla="*/ 2636011 w 12192185"/>
              <a:gd name="connsiteY11343" fmla="*/ 532214 h 6859062"/>
              <a:gd name="connsiteX11344" fmla="*/ 2640314 w 12192185"/>
              <a:gd name="connsiteY11344" fmla="*/ 531258 h 6859062"/>
              <a:gd name="connsiteX11345" fmla="*/ 2643663 w 12192185"/>
              <a:gd name="connsiteY11345" fmla="*/ 528549 h 6859062"/>
              <a:gd name="connsiteX11346" fmla="*/ 2646850 w 12192185"/>
              <a:gd name="connsiteY11346" fmla="*/ 530621 h 6859062"/>
              <a:gd name="connsiteX11347" fmla="*/ 2643344 w 12192185"/>
              <a:gd name="connsiteY11347" fmla="*/ 539703 h 6859062"/>
              <a:gd name="connsiteX11348" fmla="*/ 2643344 w 12192185"/>
              <a:gd name="connsiteY11348" fmla="*/ 548466 h 6859062"/>
              <a:gd name="connsiteX11349" fmla="*/ 2646533 w 12192185"/>
              <a:gd name="connsiteY11349" fmla="*/ 551972 h 6859062"/>
              <a:gd name="connsiteX11350" fmla="*/ 2647489 w 12192185"/>
              <a:gd name="connsiteY11350" fmla="*/ 553724 h 6859062"/>
              <a:gd name="connsiteX11351" fmla="*/ 2645735 w 12192185"/>
              <a:gd name="connsiteY11351" fmla="*/ 554679 h 6859062"/>
              <a:gd name="connsiteX11352" fmla="*/ 2642387 w 12192185"/>
              <a:gd name="connsiteY11352" fmla="*/ 557866 h 6859062"/>
              <a:gd name="connsiteX11353" fmla="*/ 2638240 w 12192185"/>
              <a:gd name="connsiteY11353" fmla="*/ 565037 h 6859062"/>
              <a:gd name="connsiteX11354" fmla="*/ 2638082 w 12192185"/>
              <a:gd name="connsiteY11354" fmla="*/ 568861 h 6859062"/>
              <a:gd name="connsiteX11355" fmla="*/ 2639357 w 12192185"/>
              <a:gd name="connsiteY11355" fmla="*/ 571409 h 6859062"/>
              <a:gd name="connsiteX11356" fmla="*/ 2636646 w 12192185"/>
              <a:gd name="connsiteY11356" fmla="*/ 573162 h 6859062"/>
              <a:gd name="connsiteX11357" fmla="*/ 2634415 w 12192185"/>
              <a:gd name="connsiteY11357" fmla="*/ 573481 h 6859062"/>
              <a:gd name="connsiteX11358" fmla="*/ 2631706 w 12192185"/>
              <a:gd name="connsiteY11358" fmla="*/ 580014 h 6859062"/>
              <a:gd name="connsiteX11359" fmla="*/ 2632503 w 12192185"/>
              <a:gd name="connsiteY11359" fmla="*/ 581288 h 6859062"/>
              <a:gd name="connsiteX11360" fmla="*/ 2632343 w 12192185"/>
              <a:gd name="connsiteY11360" fmla="*/ 584156 h 6859062"/>
              <a:gd name="connsiteX11361" fmla="*/ 2629795 w 12192185"/>
              <a:gd name="connsiteY11361" fmla="*/ 583519 h 6859062"/>
              <a:gd name="connsiteX11362" fmla="*/ 2628198 w 12192185"/>
              <a:gd name="connsiteY11362" fmla="*/ 581447 h 6859062"/>
              <a:gd name="connsiteX11363" fmla="*/ 2625011 w 12192185"/>
              <a:gd name="connsiteY11363" fmla="*/ 580969 h 6859062"/>
              <a:gd name="connsiteX11364" fmla="*/ 2615286 w 12192185"/>
              <a:gd name="connsiteY11364" fmla="*/ 583518 h 6859062"/>
              <a:gd name="connsiteX11365" fmla="*/ 2603172 w 12192185"/>
              <a:gd name="connsiteY11365" fmla="*/ 584315 h 6859062"/>
              <a:gd name="connsiteX11366" fmla="*/ 2600301 w 12192185"/>
              <a:gd name="connsiteY11366" fmla="*/ 582882 h 6859062"/>
              <a:gd name="connsiteX11367" fmla="*/ 2592009 w 12192185"/>
              <a:gd name="connsiteY11367" fmla="*/ 579058 h 6859062"/>
              <a:gd name="connsiteX11368" fmla="*/ 2590420 w 12192185"/>
              <a:gd name="connsiteY11368" fmla="*/ 577942 h 6859062"/>
              <a:gd name="connsiteX11369" fmla="*/ 2583400 w 12192185"/>
              <a:gd name="connsiteY11369" fmla="*/ 569497 h 6859062"/>
              <a:gd name="connsiteX11370" fmla="*/ 2579097 w 12192185"/>
              <a:gd name="connsiteY11370" fmla="*/ 555158 h 6859062"/>
              <a:gd name="connsiteX11371" fmla="*/ 2577030 w 12192185"/>
              <a:gd name="connsiteY11371" fmla="*/ 550219 h 6859062"/>
              <a:gd name="connsiteX11372" fmla="*/ 2577506 w 12192185"/>
              <a:gd name="connsiteY11372" fmla="*/ 543208 h 6859062"/>
              <a:gd name="connsiteX11373" fmla="*/ 2578142 w 12192185"/>
              <a:gd name="connsiteY11373" fmla="*/ 537313 h 6859062"/>
              <a:gd name="connsiteX11374" fmla="*/ 2577983 w 12192185"/>
              <a:gd name="connsiteY11374" fmla="*/ 534923 h 6859062"/>
              <a:gd name="connsiteX11375" fmla="*/ 2587390 w 12192185"/>
              <a:gd name="connsiteY11375" fmla="*/ 524089 h 6859062"/>
              <a:gd name="connsiteX11376" fmla="*/ 2596315 w 12192185"/>
              <a:gd name="connsiteY11376" fmla="*/ 518831 h 6859062"/>
              <a:gd name="connsiteX11377" fmla="*/ 2603014 w 12192185"/>
              <a:gd name="connsiteY11377" fmla="*/ 510067 h 6859062"/>
              <a:gd name="connsiteX11378" fmla="*/ 2602055 w 12192185"/>
              <a:gd name="connsiteY11378" fmla="*/ 508315 h 6859062"/>
              <a:gd name="connsiteX11379" fmla="*/ 2592646 w 12192185"/>
              <a:gd name="connsiteY11379" fmla="*/ 497161 h 6859062"/>
              <a:gd name="connsiteX11380" fmla="*/ 2591374 w 12192185"/>
              <a:gd name="connsiteY11380" fmla="*/ 494613 h 6859062"/>
              <a:gd name="connsiteX11381" fmla="*/ 2590101 w 12192185"/>
              <a:gd name="connsiteY11381" fmla="*/ 486645 h 6859062"/>
              <a:gd name="connsiteX11382" fmla="*/ 2587864 w 12192185"/>
              <a:gd name="connsiteY11382" fmla="*/ 477405 h 6859062"/>
              <a:gd name="connsiteX11383" fmla="*/ 2588027 w 12192185"/>
              <a:gd name="connsiteY11383" fmla="*/ 473581 h 6859062"/>
              <a:gd name="connsiteX11384" fmla="*/ 2596473 w 12192185"/>
              <a:gd name="connsiteY11384" fmla="*/ 453027 h 6859062"/>
              <a:gd name="connsiteX11385" fmla="*/ 2598069 w 12192185"/>
              <a:gd name="connsiteY11385" fmla="*/ 451753 h 6859062"/>
              <a:gd name="connsiteX11386" fmla="*/ 2607795 w 12192185"/>
              <a:gd name="connsiteY11386" fmla="*/ 447132 h 6859062"/>
              <a:gd name="connsiteX11387" fmla="*/ 2611941 w 12192185"/>
              <a:gd name="connsiteY11387" fmla="*/ 445857 h 6859062"/>
              <a:gd name="connsiteX11388" fmla="*/ 2618952 w 12192185"/>
              <a:gd name="connsiteY11388" fmla="*/ 444264 h 6859062"/>
              <a:gd name="connsiteX11389" fmla="*/ 2624213 w 12192185"/>
              <a:gd name="connsiteY11389" fmla="*/ 439643 h 6859062"/>
              <a:gd name="connsiteX11390" fmla="*/ 2626606 w 12192185"/>
              <a:gd name="connsiteY11390" fmla="*/ 438787 h 6859062"/>
              <a:gd name="connsiteX11391" fmla="*/ 3092065 w 12192185"/>
              <a:gd name="connsiteY11391" fmla="*/ 390996 h 6859062"/>
              <a:gd name="connsiteX11392" fmla="*/ 3099208 w 12192185"/>
              <a:gd name="connsiteY11392" fmla="*/ 390996 h 6859062"/>
              <a:gd name="connsiteX11393" fmla="*/ 3107068 w 12192185"/>
              <a:gd name="connsiteY11393" fmla="*/ 394907 h 6859062"/>
              <a:gd name="connsiteX11394" fmla="*/ 3112425 w 12192185"/>
              <a:gd name="connsiteY11394" fmla="*/ 401307 h 6859062"/>
              <a:gd name="connsiteX11395" fmla="*/ 3116355 w 12192185"/>
              <a:gd name="connsiteY11395" fmla="*/ 410908 h 6859062"/>
              <a:gd name="connsiteX11396" fmla="*/ 3121355 w 12192185"/>
              <a:gd name="connsiteY11396" fmla="*/ 420153 h 6859062"/>
              <a:gd name="connsiteX11397" fmla="*/ 3129213 w 12192185"/>
              <a:gd name="connsiteY11397" fmla="*/ 427975 h 6859062"/>
              <a:gd name="connsiteX11398" fmla="*/ 3129214 w 12192185"/>
              <a:gd name="connsiteY11398" fmla="*/ 440775 h 6859062"/>
              <a:gd name="connsiteX11399" fmla="*/ 3124926 w 12192185"/>
              <a:gd name="connsiteY11399" fmla="*/ 445753 h 6859062"/>
              <a:gd name="connsiteX11400" fmla="*/ 3117069 w 12192185"/>
              <a:gd name="connsiteY11400" fmla="*/ 450731 h 6859062"/>
              <a:gd name="connsiteX11401" fmla="*/ 3107780 w 12192185"/>
              <a:gd name="connsiteY11401" fmla="*/ 452153 h 6859062"/>
              <a:gd name="connsiteX11402" fmla="*/ 3097066 w 12192185"/>
              <a:gd name="connsiteY11402" fmla="*/ 442197 h 6859062"/>
              <a:gd name="connsiteX11403" fmla="*/ 3094923 w 12192185"/>
              <a:gd name="connsiteY11403" fmla="*/ 438286 h 6859062"/>
              <a:gd name="connsiteX11404" fmla="*/ 3088136 w 12192185"/>
              <a:gd name="connsiteY11404" fmla="*/ 429753 h 6859062"/>
              <a:gd name="connsiteX11405" fmla="*/ 3082778 w 12192185"/>
              <a:gd name="connsiteY11405" fmla="*/ 426552 h 6859062"/>
              <a:gd name="connsiteX11406" fmla="*/ 3077777 w 12192185"/>
              <a:gd name="connsiteY11406" fmla="*/ 412330 h 6859062"/>
              <a:gd name="connsiteX11407" fmla="*/ 3080992 w 12192185"/>
              <a:gd name="connsiteY11407" fmla="*/ 400241 h 6859062"/>
              <a:gd name="connsiteX11408" fmla="*/ 3090993 w 12192185"/>
              <a:gd name="connsiteY11408" fmla="*/ 392418 h 6859062"/>
              <a:gd name="connsiteX11409" fmla="*/ 3092065 w 12192185"/>
              <a:gd name="connsiteY11409" fmla="*/ 390996 h 6859062"/>
              <a:gd name="connsiteX11410" fmla="*/ 3318977 w 12192185"/>
              <a:gd name="connsiteY11410" fmla="*/ 381838 h 6859062"/>
              <a:gd name="connsiteX11411" fmla="*/ 3336405 w 12192185"/>
              <a:gd name="connsiteY11411" fmla="*/ 392870 h 6859062"/>
              <a:gd name="connsiteX11412" fmla="*/ 3341806 w 12192185"/>
              <a:gd name="connsiteY11412" fmla="*/ 402922 h 6859062"/>
              <a:gd name="connsiteX11413" fmla="*/ 3343524 w 12192185"/>
              <a:gd name="connsiteY11413" fmla="*/ 407089 h 6859062"/>
              <a:gd name="connsiteX11414" fmla="*/ 3343769 w 12192185"/>
              <a:gd name="connsiteY11414" fmla="*/ 411257 h 6859062"/>
              <a:gd name="connsiteX11415" fmla="*/ 3343033 w 12192185"/>
              <a:gd name="connsiteY11415" fmla="*/ 414445 h 6859062"/>
              <a:gd name="connsiteX11416" fmla="*/ 3341805 w 12192185"/>
              <a:gd name="connsiteY11416" fmla="*/ 421064 h 6859062"/>
              <a:gd name="connsiteX11417" fmla="*/ 3341559 w 12192185"/>
              <a:gd name="connsiteY11417" fmla="*/ 423515 h 6859062"/>
              <a:gd name="connsiteX11418" fmla="*/ 3340824 w 12192185"/>
              <a:gd name="connsiteY11418" fmla="*/ 429400 h 6859062"/>
              <a:gd name="connsiteX11419" fmla="*/ 3328549 w 12192185"/>
              <a:gd name="connsiteY11419" fmla="*/ 438961 h 6859062"/>
              <a:gd name="connsiteX11420" fmla="*/ 3320693 w 12192185"/>
              <a:gd name="connsiteY11420" fmla="*/ 439207 h 6859062"/>
              <a:gd name="connsiteX11421" fmla="*/ 3305228 w 12192185"/>
              <a:gd name="connsiteY11421" fmla="*/ 435774 h 6859062"/>
              <a:gd name="connsiteX11422" fmla="*/ 3301055 w 12192185"/>
              <a:gd name="connsiteY11422" fmla="*/ 433568 h 6859062"/>
              <a:gd name="connsiteX11423" fmla="*/ 3296389 w 12192185"/>
              <a:gd name="connsiteY11423" fmla="*/ 429645 h 6859062"/>
              <a:gd name="connsiteX11424" fmla="*/ 3293444 w 12192185"/>
              <a:gd name="connsiteY11424" fmla="*/ 425723 h 6859062"/>
              <a:gd name="connsiteX11425" fmla="*/ 3290006 w 12192185"/>
              <a:gd name="connsiteY11425" fmla="*/ 414935 h 6859062"/>
              <a:gd name="connsiteX11426" fmla="*/ 3287550 w 12192185"/>
              <a:gd name="connsiteY11426" fmla="*/ 408316 h 6859062"/>
              <a:gd name="connsiteX11427" fmla="*/ 3287550 w 12192185"/>
              <a:gd name="connsiteY11427" fmla="*/ 405373 h 6859062"/>
              <a:gd name="connsiteX11428" fmla="*/ 3290497 w 12192185"/>
              <a:gd name="connsiteY11428" fmla="*/ 399489 h 6859062"/>
              <a:gd name="connsiteX11429" fmla="*/ 3297127 w 12192185"/>
              <a:gd name="connsiteY11429" fmla="*/ 390664 h 6859062"/>
              <a:gd name="connsiteX11430" fmla="*/ 3298845 w 12192185"/>
              <a:gd name="connsiteY11430" fmla="*/ 387231 h 6859062"/>
              <a:gd name="connsiteX11431" fmla="*/ 3301791 w 12192185"/>
              <a:gd name="connsiteY11431" fmla="*/ 386005 h 6859062"/>
              <a:gd name="connsiteX11432" fmla="*/ 3307437 w 12192185"/>
              <a:gd name="connsiteY11432" fmla="*/ 384289 h 6859062"/>
              <a:gd name="connsiteX11433" fmla="*/ 3309402 w 12192185"/>
              <a:gd name="connsiteY11433" fmla="*/ 383309 h 6859062"/>
              <a:gd name="connsiteX11434" fmla="*/ 3317257 w 12192185"/>
              <a:gd name="connsiteY11434" fmla="*/ 382328 h 6859062"/>
              <a:gd name="connsiteX11435" fmla="*/ 3318977 w 12192185"/>
              <a:gd name="connsiteY11435" fmla="*/ 381838 h 6859062"/>
              <a:gd name="connsiteX11436" fmla="*/ 10050735 w 12192185"/>
              <a:gd name="connsiteY11436" fmla="*/ 367822 h 6859062"/>
              <a:gd name="connsiteX11437" fmla="*/ 10050532 w 12192185"/>
              <a:gd name="connsiteY11437" fmla="*/ 368162 h 6859062"/>
              <a:gd name="connsiteX11438" fmla="*/ 10050294 w 12192185"/>
              <a:gd name="connsiteY11438" fmla="*/ 367927 h 6859062"/>
              <a:gd name="connsiteX11439" fmla="*/ 6887260 w 12192185"/>
              <a:gd name="connsiteY11439" fmla="*/ 351534 h 6859062"/>
              <a:gd name="connsiteX11440" fmla="*/ 6890120 w 12192185"/>
              <a:gd name="connsiteY11440" fmla="*/ 352616 h 6859062"/>
              <a:gd name="connsiteX11441" fmla="*/ 6903377 w 12192185"/>
              <a:gd name="connsiteY11441" fmla="*/ 355413 h 6859062"/>
              <a:gd name="connsiteX11442" fmla="*/ 6906585 w 12192185"/>
              <a:gd name="connsiteY11442" fmla="*/ 357366 h 6859062"/>
              <a:gd name="connsiteX11443" fmla="*/ 6915970 w 12192185"/>
              <a:gd name="connsiteY11443" fmla="*/ 361102 h 6859062"/>
              <a:gd name="connsiteX11444" fmla="*/ 6920818 w 12192185"/>
              <a:gd name="connsiteY11444" fmla="*/ 363614 h 6859062"/>
              <a:gd name="connsiteX11445" fmla="*/ 6923258 w 12192185"/>
              <a:gd name="connsiteY11445" fmla="*/ 369714 h 6859062"/>
              <a:gd name="connsiteX11446" fmla="*/ 6933298 w 12192185"/>
              <a:gd name="connsiteY11446" fmla="*/ 385716 h 6859062"/>
              <a:gd name="connsiteX11447" fmla="*/ 6937480 w 12192185"/>
              <a:gd name="connsiteY11447" fmla="*/ 396173 h 6859062"/>
              <a:gd name="connsiteX11448" fmla="*/ 6937058 w 12192185"/>
              <a:gd name="connsiteY11448" fmla="*/ 401191 h 6859062"/>
              <a:gd name="connsiteX11449" fmla="*/ 6931924 w 12192185"/>
              <a:gd name="connsiteY11449" fmla="*/ 412129 h 6859062"/>
              <a:gd name="connsiteX11450" fmla="*/ 6924519 w 12192185"/>
              <a:gd name="connsiteY11450" fmla="*/ 430035 h 6859062"/>
              <a:gd name="connsiteX11451" fmla="*/ 6918933 w 12192185"/>
              <a:gd name="connsiteY11451" fmla="*/ 436303 h 6859062"/>
              <a:gd name="connsiteX11452" fmla="*/ 6910416 w 12192185"/>
              <a:gd name="connsiteY11452" fmla="*/ 442326 h 6859062"/>
              <a:gd name="connsiteX11453" fmla="*/ 6902984 w 12192185"/>
              <a:gd name="connsiteY11453" fmla="*/ 445492 h 6859062"/>
              <a:gd name="connsiteX11454" fmla="*/ 6876116 w 12192185"/>
              <a:gd name="connsiteY11454" fmla="*/ 449132 h 6859062"/>
              <a:gd name="connsiteX11455" fmla="*/ 6862753 w 12192185"/>
              <a:gd name="connsiteY11455" fmla="*/ 447588 h 6859062"/>
              <a:gd name="connsiteX11456" fmla="*/ 6843189 w 12192185"/>
              <a:gd name="connsiteY11456" fmla="*/ 429525 h 6859062"/>
              <a:gd name="connsiteX11457" fmla="*/ 6842774 w 12192185"/>
              <a:gd name="connsiteY11457" fmla="*/ 419383 h 6859062"/>
              <a:gd name="connsiteX11458" fmla="*/ 6842707 w 12192185"/>
              <a:gd name="connsiteY11458" fmla="*/ 415167 h 6859062"/>
              <a:gd name="connsiteX11459" fmla="*/ 6841562 w 12192185"/>
              <a:gd name="connsiteY11459" fmla="*/ 403702 h 6859062"/>
              <a:gd name="connsiteX11460" fmla="*/ 6840761 w 12192185"/>
              <a:gd name="connsiteY11460" fmla="*/ 398161 h 6859062"/>
              <a:gd name="connsiteX11461" fmla="*/ 6841777 w 12192185"/>
              <a:gd name="connsiteY11461" fmla="*/ 391088 h 6859062"/>
              <a:gd name="connsiteX11462" fmla="*/ 6845304 w 12192185"/>
              <a:gd name="connsiteY11462" fmla="*/ 384225 h 6859062"/>
              <a:gd name="connsiteX11463" fmla="*/ 6855954 w 12192185"/>
              <a:gd name="connsiteY11463" fmla="*/ 367854 h 6859062"/>
              <a:gd name="connsiteX11464" fmla="*/ 6887260 w 12192185"/>
              <a:gd name="connsiteY11464" fmla="*/ 351534 h 6859062"/>
              <a:gd name="connsiteX11465" fmla="*/ 1867119 w 12192185"/>
              <a:gd name="connsiteY11465" fmla="*/ 348819 h 6859062"/>
              <a:gd name="connsiteX11466" fmla="*/ 1871917 w 12192185"/>
              <a:gd name="connsiteY11466" fmla="*/ 349381 h 6859062"/>
              <a:gd name="connsiteX11467" fmla="*/ 1885614 w 12192185"/>
              <a:gd name="connsiteY11467" fmla="*/ 350553 h 6859062"/>
              <a:gd name="connsiteX11468" fmla="*/ 1888443 w 12192185"/>
              <a:gd name="connsiteY11468" fmla="*/ 351316 h 6859062"/>
              <a:gd name="connsiteX11469" fmla="*/ 1902700 w 12192185"/>
              <a:gd name="connsiteY11469" fmla="*/ 359685 h 6859062"/>
              <a:gd name="connsiteX11470" fmla="*/ 1916138 w 12192185"/>
              <a:gd name="connsiteY11470" fmla="*/ 377791 h 6859062"/>
              <a:gd name="connsiteX11471" fmla="*/ 1921601 w 12192185"/>
              <a:gd name="connsiteY11471" fmla="*/ 383724 h 6859062"/>
              <a:gd name="connsiteX11472" fmla="*/ 1924513 w 12192185"/>
              <a:gd name="connsiteY11472" fmla="*/ 393899 h 6859062"/>
              <a:gd name="connsiteX11473" fmla="*/ 1926627 w 12192185"/>
              <a:gd name="connsiteY11473" fmla="*/ 402574 h 6859062"/>
              <a:gd name="connsiteX11474" fmla="*/ 1928078 w 12192185"/>
              <a:gd name="connsiteY11474" fmla="*/ 405877 h 6859062"/>
              <a:gd name="connsiteX11475" fmla="*/ 1920304 w 12192185"/>
              <a:gd name="connsiteY11475" fmla="*/ 426036 h 6859062"/>
              <a:gd name="connsiteX11476" fmla="*/ 1910352 w 12192185"/>
              <a:gd name="connsiteY11476" fmla="*/ 438053 h 6859062"/>
              <a:gd name="connsiteX11477" fmla="*/ 1905357 w 12192185"/>
              <a:gd name="connsiteY11477" fmla="*/ 453891 h 6859062"/>
              <a:gd name="connsiteX11478" fmla="*/ 1907609 w 12192185"/>
              <a:gd name="connsiteY11478" fmla="*/ 455885 h 6859062"/>
              <a:gd name="connsiteX11479" fmla="*/ 1926639 w 12192185"/>
              <a:gd name="connsiteY11479" fmla="*/ 466865 h 6859062"/>
              <a:gd name="connsiteX11480" fmla="*/ 1929749 w 12192185"/>
              <a:gd name="connsiteY11480" fmla="*/ 469823 h 6859062"/>
              <a:gd name="connsiteX11481" fmla="*/ 1935634 w 12192185"/>
              <a:gd name="connsiteY11481" fmla="*/ 480453 h 6859062"/>
              <a:gd name="connsiteX11482" fmla="*/ 1943526 w 12192185"/>
              <a:gd name="connsiteY11482" fmla="*/ 492398 h 6859062"/>
              <a:gd name="connsiteX11483" fmla="*/ 1945258 w 12192185"/>
              <a:gd name="connsiteY11483" fmla="*/ 497895 h 6859062"/>
              <a:gd name="connsiteX11484" fmla="*/ 1943815 w 12192185"/>
              <a:gd name="connsiteY11484" fmla="*/ 531330 h 6859062"/>
              <a:gd name="connsiteX11485" fmla="*/ 1942210 w 12192185"/>
              <a:gd name="connsiteY11485" fmla="*/ 533952 h 6859062"/>
              <a:gd name="connsiteX11486" fmla="*/ 1930802 w 12192185"/>
              <a:gd name="connsiteY11486" fmla="*/ 545474 h 6859062"/>
              <a:gd name="connsiteX11487" fmla="*/ 1925586 w 12192185"/>
              <a:gd name="connsiteY11487" fmla="*/ 549400 h 6859062"/>
              <a:gd name="connsiteX11488" fmla="*/ 1916468 w 12192185"/>
              <a:gd name="connsiteY11488" fmla="*/ 555248 h 6859062"/>
              <a:gd name="connsiteX11489" fmla="*/ 1911383 w 12192185"/>
              <a:gd name="connsiteY11489" fmla="*/ 564485 h 6859062"/>
              <a:gd name="connsiteX11490" fmla="*/ 1908435 w 12192185"/>
              <a:gd name="connsiteY11490" fmla="*/ 566922 h 6859062"/>
              <a:gd name="connsiteX11491" fmla="*/ 1905312 w 12192185"/>
              <a:gd name="connsiteY11491" fmla="*/ 564639 h 6859062"/>
              <a:gd name="connsiteX11492" fmla="*/ 1903655 w 12192185"/>
              <a:gd name="connsiteY11492" fmla="*/ 562176 h 6859062"/>
              <a:gd name="connsiteX11493" fmla="*/ 1900482 w 12192185"/>
              <a:gd name="connsiteY11493" fmla="*/ 559751 h 6859062"/>
              <a:gd name="connsiteX11494" fmla="*/ 1898281 w 12192185"/>
              <a:gd name="connsiteY11494" fmla="*/ 562842 h 6859062"/>
              <a:gd name="connsiteX11495" fmla="*/ 1891100 w 12192185"/>
              <a:gd name="connsiteY11495" fmla="*/ 564162 h 6859062"/>
              <a:gd name="connsiteX11496" fmla="*/ 1888685 w 12192185"/>
              <a:gd name="connsiteY11496" fmla="*/ 561719 h 6859062"/>
              <a:gd name="connsiteX11497" fmla="*/ 1884050 w 12192185"/>
              <a:gd name="connsiteY11497" fmla="*/ 561609 h 6859062"/>
              <a:gd name="connsiteX11498" fmla="*/ 1883857 w 12192185"/>
              <a:gd name="connsiteY11498" fmla="*/ 566016 h 6859062"/>
              <a:gd name="connsiteX11499" fmla="*/ 1885470 w 12192185"/>
              <a:gd name="connsiteY11499" fmla="*/ 569291 h 6859062"/>
              <a:gd name="connsiteX11500" fmla="*/ 1861481 w 12192185"/>
              <a:gd name="connsiteY11500" fmla="*/ 558121 h 6859062"/>
              <a:gd name="connsiteX11501" fmla="*/ 1861973 w 12192185"/>
              <a:gd name="connsiteY11501" fmla="*/ 556322 h 6859062"/>
              <a:gd name="connsiteX11502" fmla="*/ 1858391 w 12192185"/>
              <a:gd name="connsiteY11502" fmla="*/ 552769 h 6859062"/>
              <a:gd name="connsiteX11503" fmla="*/ 1853675 w 12192185"/>
              <a:gd name="connsiteY11503" fmla="*/ 552433 h 6859062"/>
              <a:gd name="connsiteX11504" fmla="*/ 1849008 w 12192185"/>
              <a:gd name="connsiteY11504" fmla="*/ 547996 h 6859062"/>
              <a:gd name="connsiteX11505" fmla="*/ 1833922 w 12192185"/>
              <a:gd name="connsiteY11505" fmla="*/ 533803 h 6859062"/>
              <a:gd name="connsiteX11506" fmla="*/ 1829864 w 12192185"/>
              <a:gd name="connsiteY11506" fmla="*/ 532463 h 6859062"/>
              <a:gd name="connsiteX11507" fmla="*/ 1833175 w 12192185"/>
              <a:gd name="connsiteY11507" fmla="*/ 528205 h 6859062"/>
              <a:gd name="connsiteX11508" fmla="*/ 1833853 w 12192185"/>
              <a:gd name="connsiteY11508" fmla="*/ 527960 h 6859062"/>
              <a:gd name="connsiteX11509" fmla="*/ 1835368 w 12192185"/>
              <a:gd name="connsiteY11509" fmla="*/ 518738 h 6859062"/>
              <a:gd name="connsiteX11510" fmla="*/ 1831986 w 12192185"/>
              <a:gd name="connsiteY11510" fmla="*/ 507969 h 6859062"/>
              <a:gd name="connsiteX11511" fmla="*/ 1830440 w 12192185"/>
              <a:gd name="connsiteY11511" fmla="*/ 491689 h 6859062"/>
              <a:gd name="connsiteX11512" fmla="*/ 1832359 w 12192185"/>
              <a:gd name="connsiteY11512" fmla="*/ 486403 h 6859062"/>
              <a:gd name="connsiteX11513" fmla="*/ 1837373 w 12192185"/>
              <a:gd name="connsiteY11513" fmla="*/ 471322 h 6859062"/>
              <a:gd name="connsiteX11514" fmla="*/ 1842058 w 12192185"/>
              <a:gd name="connsiteY11514" fmla="*/ 467333 h 6859062"/>
              <a:gd name="connsiteX11515" fmla="*/ 1862044 w 12192185"/>
              <a:gd name="connsiteY11515" fmla="*/ 452709 h 6859062"/>
              <a:gd name="connsiteX11516" fmla="*/ 1860250 w 12192185"/>
              <a:gd name="connsiteY11516" fmla="*/ 447745 h 6859062"/>
              <a:gd name="connsiteX11517" fmla="*/ 1854134 w 12192185"/>
              <a:gd name="connsiteY11517" fmla="*/ 449189 h 6859062"/>
              <a:gd name="connsiteX11518" fmla="*/ 1851050 w 12192185"/>
              <a:gd name="connsiteY11518" fmla="*/ 453366 h 6859062"/>
              <a:gd name="connsiteX11519" fmla="*/ 1847375 w 12192185"/>
              <a:gd name="connsiteY11519" fmla="*/ 455205 h 6859062"/>
              <a:gd name="connsiteX11520" fmla="*/ 1846584 w 12192185"/>
              <a:gd name="connsiteY11520" fmla="*/ 450899 h 6859062"/>
              <a:gd name="connsiteX11521" fmla="*/ 1848684 w 12192185"/>
              <a:gd name="connsiteY11521" fmla="*/ 446822 h 6859062"/>
              <a:gd name="connsiteX11522" fmla="*/ 1847285 w 12192185"/>
              <a:gd name="connsiteY11522" fmla="*/ 439419 h 6859062"/>
              <a:gd name="connsiteX11523" fmla="*/ 1841677 w 12192185"/>
              <a:gd name="connsiteY11523" fmla="*/ 442977 h 6859062"/>
              <a:gd name="connsiteX11524" fmla="*/ 1838323 w 12192185"/>
              <a:gd name="connsiteY11524" fmla="*/ 448527 h 6859062"/>
              <a:gd name="connsiteX11525" fmla="*/ 1832748 w 12192185"/>
              <a:gd name="connsiteY11525" fmla="*/ 447226 h 6859062"/>
              <a:gd name="connsiteX11526" fmla="*/ 1833065 w 12192185"/>
              <a:gd name="connsiteY11526" fmla="*/ 432568 h 6859062"/>
              <a:gd name="connsiteX11527" fmla="*/ 1828579 w 12192185"/>
              <a:gd name="connsiteY11527" fmla="*/ 420157 h 6859062"/>
              <a:gd name="connsiteX11528" fmla="*/ 1822269 w 12192185"/>
              <a:gd name="connsiteY11528" fmla="*/ 416825 h 6859062"/>
              <a:gd name="connsiteX11529" fmla="*/ 1820017 w 12192185"/>
              <a:gd name="connsiteY11529" fmla="*/ 414832 h 6859062"/>
              <a:gd name="connsiteX11530" fmla="*/ 1822011 w 12192185"/>
              <a:gd name="connsiteY11530" fmla="*/ 412580 h 6859062"/>
              <a:gd name="connsiteX11531" fmla="*/ 1825121 w 12192185"/>
              <a:gd name="connsiteY11531" fmla="*/ 406354 h 6859062"/>
              <a:gd name="connsiteX11532" fmla="*/ 1827320 w 12192185"/>
              <a:gd name="connsiteY11532" fmla="*/ 394076 h 6859062"/>
              <a:gd name="connsiteX11533" fmla="*/ 1825588 w 12192185"/>
              <a:gd name="connsiteY11533" fmla="*/ 388579 h 6859062"/>
              <a:gd name="connsiteX11534" fmla="*/ 1822477 w 12192185"/>
              <a:gd name="connsiteY11534" fmla="*/ 385622 h 6859062"/>
              <a:gd name="connsiteX11535" fmla="*/ 1825418 w 12192185"/>
              <a:gd name="connsiteY11535" fmla="*/ 381752 h 6859062"/>
              <a:gd name="connsiteX11536" fmla="*/ 1828415 w 12192185"/>
              <a:gd name="connsiteY11536" fmla="*/ 380158 h 6859062"/>
              <a:gd name="connsiteX11537" fmla="*/ 1828909 w 12192185"/>
              <a:gd name="connsiteY11537" fmla="*/ 369519 h 6859062"/>
              <a:gd name="connsiteX11538" fmla="*/ 1827127 w 12192185"/>
              <a:gd name="connsiteY11538" fmla="*/ 368122 h 6859062"/>
              <a:gd name="connsiteX11539" fmla="*/ 1825885 w 12192185"/>
              <a:gd name="connsiteY11539" fmla="*/ 363979 h 6859062"/>
              <a:gd name="connsiteX11540" fmla="*/ 1829824 w 12192185"/>
              <a:gd name="connsiteY11540" fmla="*/ 363576 h 6859062"/>
              <a:gd name="connsiteX11541" fmla="*/ 1833142 w 12192185"/>
              <a:gd name="connsiteY11541" fmla="*/ 365693 h 6859062"/>
              <a:gd name="connsiteX11542" fmla="*/ 1837902 w 12192185"/>
              <a:gd name="connsiteY11542" fmla="*/ 364738 h 6859062"/>
              <a:gd name="connsiteX11543" fmla="*/ 1850369 w 12192185"/>
              <a:gd name="connsiteY11543" fmla="*/ 356149 h 6859062"/>
              <a:gd name="connsiteX11544" fmla="*/ 1867119 w 12192185"/>
              <a:gd name="connsiteY11544" fmla="*/ 348819 h 6859062"/>
              <a:gd name="connsiteX11545" fmla="*/ 8902792 w 12192185"/>
              <a:gd name="connsiteY11545" fmla="*/ 346645 h 6859062"/>
              <a:gd name="connsiteX11546" fmla="*/ 8911061 w 12192185"/>
              <a:gd name="connsiteY11546" fmla="*/ 347911 h 6859062"/>
              <a:gd name="connsiteX11547" fmla="*/ 8918058 w 12192185"/>
              <a:gd name="connsiteY11547" fmla="*/ 352344 h 6859062"/>
              <a:gd name="connsiteX11548" fmla="*/ 8921875 w 12192185"/>
              <a:gd name="connsiteY11548" fmla="*/ 356775 h 6859062"/>
              <a:gd name="connsiteX11549" fmla="*/ 8921874 w 12192185"/>
              <a:gd name="connsiteY11549" fmla="*/ 368173 h 6859062"/>
              <a:gd name="connsiteX11550" fmla="*/ 8914877 w 12192185"/>
              <a:gd name="connsiteY11550" fmla="*/ 375139 h 6859062"/>
              <a:gd name="connsiteX11551" fmla="*/ 8910425 w 12192185"/>
              <a:gd name="connsiteY11551" fmla="*/ 383371 h 6859062"/>
              <a:gd name="connsiteX11552" fmla="*/ 8906927 w 12192185"/>
              <a:gd name="connsiteY11552" fmla="*/ 391919 h 6859062"/>
              <a:gd name="connsiteX11553" fmla="*/ 8902156 w 12192185"/>
              <a:gd name="connsiteY11553" fmla="*/ 397618 h 6859062"/>
              <a:gd name="connsiteX11554" fmla="*/ 8895160 w 12192185"/>
              <a:gd name="connsiteY11554" fmla="*/ 401101 h 6859062"/>
              <a:gd name="connsiteX11555" fmla="*/ 8888798 w 12192185"/>
              <a:gd name="connsiteY11555" fmla="*/ 401101 h 6859062"/>
              <a:gd name="connsiteX11556" fmla="*/ 8887844 w 12192185"/>
              <a:gd name="connsiteY11556" fmla="*/ 399835 h 6859062"/>
              <a:gd name="connsiteX11557" fmla="*/ 8878939 w 12192185"/>
              <a:gd name="connsiteY11557" fmla="*/ 392869 h 6859062"/>
              <a:gd name="connsiteX11558" fmla="*/ 8876078 w 12192185"/>
              <a:gd name="connsiteY11558" fmla="*/ 382104 h 6859062"/>
              <a:gd name="connsiteX11559" fmla="*/ 8880531 w 12192185"/>
              <a:gd name="connsiteY11559" fmla="*/ 369441 h 6859062"/>
              <a:gd name="connsiteX11560" fmla="*/ 8885301 w 12192185"/>
              <a:gd name="connsiteY11560" fmla="*/ 366590 h 6859062"/>
              <a:gd name="connsiteX11561" fmla="*/ 8891343 w 12192185"/>
              <a:gd name="connsiteY11561" fmla="*/ 358992 h 6859062"/>
              <a:gd name="connsiteX11562" fmla="*/ 8893251 w 12192185"/>
              <a:gd name="connsiteY11562" fmla="*/ 355510 h 6859062"/>
              <a:gd name="connsiteX11563" fmla="*/ 8902792 w 12192185"/>
              <a:gd name="connsiteY11563" fmla="*/ 346645 h 6859062"/>
              <a:gd name="connsiteX11564" fmla="*/ 7015858 w 12192185"/>
              <a:gd name="connsiteY11564" fmla="*/ 343164 h 6859062"/>
              <a:gd name="connsiteX11565" fmla="*/ 7016061 w 12192185"/>
              <a:gd name="connsiteY11565" fmla="*/ 343575 h 6859062"/>
              <a:gd name="connsiteX11566" fmla="*/ 7015563 w 12192185"/>
              <a:gd name="connsiteY11566" fmla="*/ 343413 h 6859062"/>
              <a:gd name="connsiteX11567" fmla="*/ 9757077 w 12192185"/>
              <a:gd name="connsiteY11567" fmla="*/ 342938 h 6859062"/>
              <a:gd name="connsiteX11568" fmla="*/ 9764124 w 12192185"/>
              <a:gd name="connsiteY11568" fmla="*/ 346428 h 6859062"/>
              <a:gd name="connsiteX11569" fmla="*/ 9768117 w 12192185"/>
              <a:gd name="connsiteY11569" fmla="*/ 348539 h 6859062"/>
              <a:gd name="connsiteX11570" fmla="*/ 9772580 w 12192185"/>
              <a:gd name="connsiteY11570" fmla="*/ 352291 h 6859062"/>
              <a:gd name="connsiteX11571" fmla="*/ 9775399 w 12192185"/>
              <a:gd name="connsiteY11571" fmla="*/ 356045 h 6859062"/>
              <a:gd name="connsiteX11572" fmla="*/ 9778687 w 12192185"/>
              <a:gd name="connsiteY11572" fmla="*/ 366368 h 6859062"/>
              <a:gd name="connsiteX11573" fmla="*/ 9781037 w 12192185"/>
              <a:gd name="connsiteY11573" fmla="*/ 372701 h 6859062"/>
              <a:gd name="connsiteX11574" fmla="*/ 9781036 w 12192185"/>
              <a:gd name="connsiteY11574" fmla="*/ 375516 h 6859062"/>
              <a:gd name="connsiteX11575" fmla="*/ 9778217 w 12192185"/>
              <a:gd name="connsiteY11575" fmla="*/ 381146 h 6859062"/>
              <a:gd name="connsiteX11576" fmla="*/ 9771876 w 12192185"/>
              <a:gd name="connsiteY11576" fmla="*/ 389591 h 6859062"/>
              <a:gd name="connsiteX11577" fmla="*/ 9770231 w 12192185"/>
              <a:gd name="connsiteY11577" fmla="*/ 392876 h 6859062"/>
              <a:gd name="connsiteX11578" fmla="*/ 9767412 w 12192185"/>
              <a:gd name="connsiteY11578" fmla="*/ 394049 h 6859062"/>
              <a:gd name="connsiteX11579" fmla="*/ 9762010 w 12192185"/>
              <a:gd name="connsiteY11579" fmla="*/ 395691 h 6859062"/>
              <a:gd name="connsiteX11580" fmla="*/ 9760132 w 12192185"/>
              <a:gd name="connsiteY11580" fmla="*/ 396630 h 6859062"/>
              <a:gd name="connsiteX11581" fmla="*/ 9752614 w 12192185"/>
              <a:gd name="connsiteY11581" fmla="*/ 397568 h 6859062"/>
              <a:gd name="connsiteX11582" fmla="*/ 9750970 w 12192185"/>
              <a:gd name="connsiteY11582" fmla="*/ 398037 h 6859062"/>
              <a:gd name="connsiteX11583" fmla="*/ 9734294 w 12192185"/>
              <a:gd name="connsiteY11583" fmla="*/ 387480 h 6859062"/>
              <a:gd name="connsiteX11584" fmla="*/ 9729125 w 12192185"/>
              <a:gd name="connsiteY11584" fmla="*/ 377862 h 6859062"/>
              <a:gd name="connsiteX11585" fmla="*/ 9727482 w 12192185"/>
              <a:gd name="connsiteY11585" fmla="*/ 373874 h 6859062"/>
              <a:gd name="connsiteX11586" fmla="*/ 9727246 w 12192185"/>
              <a:gd name="connsiteY11586" fmla="*/ 369886 h 6859062"/>
              <a:gd name="connsiteX11587" fmla="*/ 9727951 w 12192185"/>
              <a:gd name="connsiteY11587" fmla="*/ 366836 h 6859062"/>
              <a:gd name="connsiteX11588" fmla="*/ 9729125 w 12192185"/>
              <a:gd name="connsiteY11588" fmla="*/ 360502 h 6859062"/>
              <a:gd name="connsiteX11589" fmla="*/ 9729360 w 12192185"/>
              <a:gd name="connsiteY11589" fmla="*/ 358157 h 6859062"/>
              <a:gd name="connsiteX11590" fmla="*/ 9730065 w 12192185"/>
              <a:gd name="connsiteY11590" fmla="*/ 352526 h 6859062"/>
              <a:gd name="connsiteX11591" fmla="*/ 9741810 w 12192185"/>
              <a:gd name="connsiteY11591" fmla="*/ 343377 h 6859062"/>
              <a:gd name="connsiteX11592" fmla="*/ 9749327 w 12192185"/>
              <a:gd name="connsiteY11592" fmla="*/ 343142 h 6859062"/>
              <a:gd name="connsiteX11593" fmla="*/ 9757077 w 12192185"/>
              <a:gd name="connsiteY11593" fmla="*/ 342938 h 6859062"/>
              <a:gd name="connsiteX11594" fmla="*/ 4729966 w 12192185"/>
              <a:gd name="connsiteY11594" fmla="*/ 318578 h 6859062"/>
              <a:gd name="connsiteX11595" fmla="*/ 4734169 w 12192185"/>
              <a:gd name="connsiteY11595" fmla="*/ 318595 h 6859062"/>
              <a:gd name="connsiteX11596" fmla="*/ 4739467 w 12192185"/>
              <a:gd name="connsiteY11596" fmla="*/ 319761 h 6859062"/>
              <a:gd name="connsiteX11597" fmla="*/ 4743412 w 12192185"/>
              <a:gd name="connsiteY11597" fmla="*/ 321638 h 6859062"/>
              <a:gd name="connsiteX11598" fmla="*/ 4750578 w 12192185"/>
              <a:gd name="connsiteY11598" fmla="*/ 328726 h 6859062"/>
              <a:gd name="connsiteX11599" fmla="*/ 4755251 w 12192185"/>
              <a:gd name="connsiteY11599" fmla="*/ 332933 h 6859062"/>
              <a:gd name="connsiteX11600" fmla="*/ 4756468 w 12192185"/>
              <a:gd name="connsiteY11600" fmla="*/ 335254 h 6859062"/>
              <a:gd name="connsiteX11601" fmla="*/ 4756579 w 12192185"/>
              <a:gd name="connsiteY11601" fmla="*/ 341111 h 6859062"/>
              <a:gd name="connsiteX11602" fmla="*/ 4754998 w 12192185"/>
              <a:gd name="connsiteY11602" fmla="*/ 350811 h 6859062"/>
              <a:gd name="connsiteX11603" fmla="*/ 4755059 w 12192185"/>
              <a:gd name="connsiteY11603" fmla="*/ 354229 h 6859062"/>
              <a:gd name="connsiteX11604" fmla="*/ 4753240 w 12192185"/>
              <a:gd name="connsiteY11604" fmla="*/ 356413 h 6859062"/>
              <a:gd name="connsiteX11605" fmla="*/ 4749498 w 12192185"/>
              <a:gd name="connsiteY11605" fmla="*/ 360100 h 6859062"/>
              <a:gd name="connsiteX11606" fmla="*/ 4748356 w 12192185"/>
              <a:gd name="connsiteY11606" fmla="*/ 361684 h 6859062"/>
              <a:gd name="connsiteX11607" fmla="*/ 4742562 w 12192185"/>
              <a:gd name="connsiteY11607" fmla="*/ 365704 h 6859062"/>
              <a:gd name="connsiteX11608" fmla="*/ 4741410 w 12192185"/>
              <a:gd name="connsiteY11608" fmla="*/ 366801 h 6859062"/>
              <a:gd name="connsiteX11609" fmla="*/ 4723106 w 12192185"/>
              <a:gd name="connsiteY11609" fmla="*/ 365301 h 6859062"/>
              <a:gd name="connsiteX11610" fmla="*/ 4714692 w 12192185"/>
              <a:gd name="connsiteY11610" fmla="*/ 359604 h 6859062"/>
              <a:gd name="connsiteX11611" fmla="*/ 4711613 w 12192185"/>
              <a:gd name="connsiteY11611" fmla="*/ 357028 h 6859062"/>
              <a:gd name="connsiteX11612" fmla="*/ 4709699 w 12192185"/>
              <a:gd name="connsiteY11612" fmla="*/ 353842 h 6859062"/>
              <a:gd name="connsiteX11613" fmla="*/ 4708959 w 12192185"/>
              <a:gd name="connsiteY11613" fmla="*/ 351024 h 6859062"/>
              <a:gd name="connsiteX11614" fmla="*/ 4707196 w 12192185"/>
              <a:gd name="connsiteY11614" fmla="*/ 345295 h 6859062"/>
              <a:gd name="connsiteX11615" fmla="*/ 4706376 w 12192185"/>
              <a:gd name="connsiteY11615" fmla="*/ 343261 h 6859062"/>
              <a:gd name="connsiteX11616" fmla="*/ 4704523 w 12192185"/>
              <a:gd name="connsiteY11616" fmla="*/ 338315 h 6859062"/>
              <a:gd name="connsiteX11617" fmla="*/ 4710253 w 12192185"/>
              <a:gd name="connsiteY11617" fmla="*/ 325701 h 6859062"/>
              <a:gd name="connsiteX11618" fmla="*/ 4716348 w 12192185"/>
              <a:gd name="connsiteY11618" fmla="*/ 322262 h 6859062"/>
              <a:gd name="connsiteX11619" fmla="*/ 4729966 w 12192185"/>
              <a:gd name="connsiteY11619" fmla="*/ 318578 h 6859062"/>
              <a:gd name="connsiteX11620" fmla="*/ 4524628 w 12192185"/>
              <a:gd name="connsiteY11620" fmla="*/ 314011 h 6859062"/>
              <a:gd name="connsiteX11621" fmla="*/ 4529144 w 12192185"/>
              <a:gd name="connsiteY11621" fmla="*/ 314028 h 6859062"/>
              <a:gd name="connsiteX11622" fmla="*/ 4534840 w 12192185"/>
              <a:gd name="connsiteY11622" fmla="*/ 315282 h 6859062"/>
              <a:gd name="connsiteX11623" fmla="*/ 4539079 w 12192185"/>
              <a:gd name="connsiteY11623" fmla="*/ 317298 h 6859062"/>
              <a:gd name="connsiteX11624" fmla="*/ 4546784 w 12192185"/>
              <a:gd name="connsiteY11624" fmla="*/ 324915 h 6859062"/>
              <a:gd name="connsiteX11625" fmla="*/ 4551804 w 12192185"/>
              <a:gd name="connsiteY11625" fmla="*/ 329435 h 6859062"/>
              <a:gd name="connsiteX11626" fmla="*/ 4553106 w 12192185"/>
              <a:gd name="connsiteY11626" fmla="*/ 331929 h 6859062"/>
              <a:gd name="connsiteX11627" fmla="*/ 4553226 w 12192185"/>
              <a:gd name="connsiteY11627" fmla="*/ 338224 h 6859062"/>
              <a:gd name="connsiteX11628" fmla="*/ 4551529 w 12192185"/>
              <a:gd name="connsiteY11628" fmla="*/ 348648 h 6859062"/>
              <a:gd name="connsiteX11629" fmla="*/ 4551596 w 12192185"/>
              <a:gd name="connsiteY11629" fmla="*/ 352321 h 6859062"/>
              <a:gd name="connsiteX11630" fmla="*/ 4549642 w 12192185"/>
              <a:gd name="connsiteY11630" fmla="*/ 354668 h 6859062"/>
              <a:gd name="connsiteX11631" fmla="*/ 4545616 w 12192185"/>
              <a:gd name="connsiteY11631" fmla="*/ 358629 h 6859062"/>
              <a:gd name="connsiteX11632" fmla="*/ 4544390 w 12192185"/>
              <a:gd name="connsiteY11632" fmla="*/ 360332 h 6859062"/>
              <a:gd name="connsiteX11633" fmla="*/ 4538170 w 12192185"/>
              <a:gd name="connsiteY11633" fmla="*/ 364652 h 6859062"/>
              <a:gd name="connsiteX11634" fmla="*/ 4536929 w 12192185"/>
              <a:gd name="connsiteY11634" fmla="*/ 365830 h 6859062"/>
              <a:gd name="connsiteX11635" fmla="*/ 4517255 w 12192185"/>
              <a:gd name="connsiteY11635" fmla="*/ 364219 h 6859062"/>
              <a:gd name="connsiteX11636" fmla="*/ 4508215 w 12192185"/>
              <a:gd name="connsiteY11636" fmla="*/ 358098 h 6859062"/>
              <a:gd name="connsiteX11637" fmla="*/ 4504909 w 12192185"/>
              <a:gd name="connsiteY11637" fmla="*/ 355328 h 6859062"/>
              <a:gd name="connsiteX11638" fmla="*/ 4502848 w 12192185"/>
              <a:gd name="connsiteY11638" fmla="*/ 351905 h 6859062"/>
              <a:gd name="connsiteX11639" fmla="*/ 4502059 w 12192185"/>
              <a:gd name="connsiteY11639" fmla="*/ 348876 h 6859062"/>
              <a:gd name="connsiteX11640" fmla="*/ 4500156 w 12192185"/>
              <a:gd name="connsiteY11640" fmla="*/ 342721 h 6859062"/>
              <a:gd name="connsiteX11641" fmla="*/ 4499275 w 12192185"/>
              <a:gd name="connsiteY11641" fmla="*/ 340533 h 6859062"/>
              <a:gd name="connsiteX11642" fmla="*/ 4497287 w 12192185"/>
              <a:gd name="connsiteY11642" fmla="*/ 335219 h 6859062"/>
              <a:gd name="connsiteX11643" fmla="*/ 4503441 w 12192185"/>
              <a:gd name="connsiteY11643" fmla="*/ 321665 h 6859062"/>
              <a:gd name="connsiteX11644" fmla="*/ 4509995 w 12192185"/>
              <a:gd name="connsiteY11644" fmla="*/ 317969 h 6859062"/>
              <a:gd name="connsiteX11645" fmla="*/ 4524628 w 12192185"/>
              <a:gd name="connsiteY11645" fmla="*/ 314011 h 6859062"/>
              <a:gd name="connsiteX11646" fmla="*/ 6060879 w 12192185"/>
              <a:gd name="connsiteY11646" fmla="*/ 308223 h 6859062"/>
              <a:gd name="connsiteX11647" fmla="*/ 6081887 w 12192185"/>
              <a:gd name="connsiteY11647" fmla="*/ 324130 h 6859062"/>
              <a:gd name="connsiteX11648" fmla="*/ 6086113 w 12192185"/>
              <a:gd name="connsiteY11648" fmla="*/ 333868 h 6859062"/>
              <a:gd name="connsiteX11649" fmla="*/ 6218652 w 12192185"/>
              <a:gd name="connsiteY11649" fmla="*/ 338114 h 6859062"/>
              <a:gd name="connsiteX11650" fmla="*/ 6414834 w 12192185"/>
              <a:gd name="connsiteY11650" fmla="*/ 356272 h 6859062"/>
              <a:gd name="connsiteX11651" fmla="*/ 6573042 w 12192185"/>
              <a:gd name="connsiteY11651" fmla="*/ 381975 h 6859062"/>
              <a:gd name="connsiteX11652" fmla="*/ 6575588 w 12192185"/>
              <a:gd name="connsiteY11652" fmla="*/ 380522 h 6859062"/>
              <a:gd name="connsiteX11653" fmla="*/ 6577672 w 12192185"/>
              <a:gd name="connsiteY11653" fmla="*/ 380111 h 6859062"/>
              <a:gd name="connsiteX11654" fmla="*/ 6582070 w 12192185"/>
              <a:gd name="connsiteY11654" fmla="*/ 383441 h 6859062"/>
              <a:gd name="connsiteX11655" fmla="*/ 6609719 w 12192185"/>
              <a:gd name="connsiteY11655" fmla="*/ 387933 h 6859062"/>
              <a:gd name="connsiteX11656" fmla="*/ 6803148 w 12192185"/>
              <a:gd name="connsiteY11656" fmla="*/ 434762 h 6859062"/>
              <a:gd name="connsiteX11657" fmla="*/ 7866095 w 12192185"/>
              <a:gd name="connsiteY11657" fmla="*/ 1000776 h 6859062"/>
              <a:gd name="connsiteX11658" fmla="*/ 8188103 w 12192185"/>
              <a:gd name="connsiteY11658" fmla="*/ 1292160 h 6859062"/>
              <a:gd name="connsiteX11659" fmla="*/ 8218816 w 12192185"/>
              <a:gd name="connsiteY11659" fmla="*/ 1332902 h 6859062"/>
              <a:gd name="connsiteX11660" fmla="*/ 8217878 w 12192185"/>
              <a:gd name="connsiteY11660" fmla="*/ 1328842 h 6859062"/>
              <a:gd name="connsiteX11661" fmla="*/ 8218231 w 12192185"/>
              <a:gd name="connsiteY11661" fmla="*/ 1322841 h 6859062"/>
              <a:gd name="connsiteX11662" fmla="*/ 8220705 w 12192185"/>
              <a:gd name="connsiteY11662" fmla="*/ 1316841 h 6859062"/>
              <a:gd name="connsiteX11663" fmla="*/ 8228481 w 12192185"/>
              <a:gd name="connsiteY11663" fmla="*/ 1302368 h 6859062"/>
              <a:gd name="connsiteX11664" fmla="*/ 8253573 w 12192185"/>
              <a:gd name="connsiteY11664" fmla="*/ 1286486 h 6859062"/>
              <a:gd name="connsiteX11665" fmla="*/ 8256048 w 12192185"/>
              <a:gd name="connsiteY11665" fmla="*/ 1287191 h 6859062"/>
              <a:gd name="connsiteX11666" fmla="*/ 8267356 w 12192185"/>
              <a:gd name="connsiteY11666" fmla="*/ 1288604 h 6859062"/>
              <a:gd name="connsiteX11667" fmla="*/ 8270184 w 12192185"/>
              <a:gd name="connsiteY11667" fmla="*/ 1290015 h 6859062"/>
              <a:gd name="connsiteX11668" fmla="*/ 8278313 w 12192185"/>
              <a:gd name="connsiteY11668" fmla="*/ 1292486 h 6859062"/>
              <a:gd name="connsiteX11669" fmla="*/ 8282554 w 12192185"/>
              <a:gd name="connsiteY11669" fmla="*/ 1294251 h 6859062"/>
              <a:gd name="connsiteX11670" fmla="*/ 8285027 w 12192185"/>
              <a:gd name="connsiteY11670" fmla="*/ 1299193 h 6859062"/>
              <a:gd name="connsiteX11671" fmla="*/ 8294570 w 12192185"/>
              <a:gd name="connsiteY11671" fmla="*/ 1311899 h 6859062"/>
              <a:gd name="connsiteX11672" fmla="*/ 8297559 w 12192185"/>
              <a:gd name="connsiteY11672" fmla="*/ 1317871 h 6859062"/>
              <a:gd name="connsiteX11673" fmla="*/ 8328455 w 12192185"/>
              <a:gd name="connsiteY11673" fmla="*/ 1302330 h 6859062"/>
              <a:gd name="connsiteX11674" fmla="*/ 8520240 w 12192185"/>
              <a:gd name="connsiteY11674" fmla="*/ 1222239 h 6859062"/>
              <a:gd name="connsiteX11675" fmla="*/ 8946747 w 12192185"/>
              <a:gd name="connsiteY11675" fmla="*/ 1096021 h 6859062"/>
              <a:gd name="connsiteX11676" fmla="*/ 9011142 w 12192185"/>
              <a:gd name="connsiteY11676" fmla="*/ 1084407 h 6859062"/>
              <a:gd name="connsiteX11677" fmla="*/ 9011142 w 12192185"/>
              <a:gd name="connsiteY11677" fmla="*/ 1084338 h 6859062"/>
              <a:gd name="connsiteX11678" fmla="*/ 9014290 w 12192185"/>
              <a:gd name="connsiteY11678" fmla="*/ 1075852 h 6859062"/>
              <a:gd name="connsiteX11679" fmla="*/ 9018695 w 12192185"/>
              <a:gd name="connsiteY11679" fmla="*/ 1062023 h 6859062"/>
              <a:gd name="connsiteX11680" fmla="*/ 9022472 w 12192185"/>
              <a:gd name="connsiteY11680" fmla="*/ 1056995 h 6859062"/>
              <a:gd name="connsiteX11681" fmla="*/ 9028450 w 12192185"/>
              <a:gd name="connsiteY11681" fmla="*/ 1051966 h 6859062"/>
              <a:gd name="connsiteX11682" fmla="*/ 9033800 w 12192185"/>
              <a:gd name="connsiteY11682" fmla="*/ 1049135 h 6859062"/>
              <a:gd name="connsiteX11683" fmla="*/ 9053625 w 12192185"/>
              <a:gd name="connsiteY11683" fmla="*/ 1044735 h 6859062"/>
              <a:gd name="connsiteX11684" fmla="*/ 9063696 w 12192185"/>
              <a:gd name="connsiteY11684" fmla="*/ 1045050 h 6859062"/>
              <a:gd name="connsiteX11685" fmla="*/ 9079430 w 12192185"/>
              <a:gd name="connsiteY11685" fmla="*/ 1057309 h 6859062"/>
              <a:gd name="connsiteX11686" fmla="*/ 9080375 w 12192185"/>
              <a:gd name="connsiteY11686" fmla="*/ 1064852 h 6859062"/>
              <a:gd name="connsiteX11687" fmla="*/ 9080690 w 12192185"/>
              <a:gd name="connsiteY11687" fmla="*/ 1067995 h 6859062"/>
              <a:gd name="connsiteX11688" fmla="*/ 9081383 w 12192185"/>
              <a:gd name="connsiteY11688" fmla="*/ 1071738 h 6859062"/>
              <a:gd name="connsiteX11689" fmla="*/ 9092971 w 12192185"/>
              <a:gd name="connsiteY11689" fmla="*/ 1069648 h 6859062"/>
              <a:gd name="connsiteX11690" fmla="*/ 9465172 w 12192185"/>
              <a:gd name="connsiteY11690" fmla="*/ 1021390 h 6859062"/>
              <a:gd name="connsiteX11691" fmla="*/ 9492251 w 12192185"/>
              <a:gd name="connsiteY11691" fmla="*/ 1021239 h 6859062"/>
              <a:gd name="connsiteX11692" fmla="*/ 9514366 w 12192185"/>
              <a:gd name="connsiteY11692" fmla="*/ 1046197 h 6859062"/>
              <a:gd name="connsiteX11693" fmla="*/ 9490902 w 12192185"/>
              <a:gd name="connsiteY11693" fmla="*/ 1058325 h 6859062"/>
              <a:gd name="connsiteX11694" fmla="*/ 9294334 w 12192185"/>
              <a:gd name="connsiteY11694" fmla="*/ 1076070 h 6859062"/>
              <a:gd name="connsiteX11695" fmla="*/ 9262212 w 12192185"/>
              <a:gd name="connsiteY11695" fmla="*/ 1087792 h 6859062"/>
              <a:gd name="connsiteX11696" fmla="*/ 9257803 w 12192185"/>
              <a:gd name="connsiteY11696" fmla="*/ 1093140 h 6859062"/>
              <a:gd name="connsiteX11697" fmla="*/ 9264022 w 12192185"/>
              <a:gd name="connsiteY11697" fmla="*/ 1093773 h 6859062"/>
              <a:gd name="connsiteX11698" fmla="*/ 9630625 w 12192185"/>
              <a:gd name="connsiteY11698" fmla="*/ 1076855 h 6859062"/>
              <a:gd name="connsiteX11699" fmla="*/ 9745161 w 12192185"/>
              <a:gd name="connsiteY11699" fmla="*/ 1076880 h 6859062"/>
              <a:gd name="connsiteX11700" fmla="*/ 9775078 w 12192185"/>
              <a:gd name="connsiteY11700" fmla="*/ 1067835 h 6859062"/>
              <a:gd name="connsiteX11701" fmla="*/ 9593249 w 12192185"/>
              <a:gd name="connsiteY11701" fmla="*/ 1021341 h 6859062"/>
              <a:gd name="connsiteX11702" fmla="*/ 10371908 w 12192185"/>
              <a:gd name="connsiteY11702" fmla="*/ 1139530 h 6859062"/>
              <a:gd name="connsiteX11703" fmla="*/ 10314206 w 12192185"/>
              <a:gd name="connsiteY11703" fmla="*/ 1141407 h 6859062"/>
              <a:gd name="connsiteX11704" fmla="*/ 10254226 w 12192185"/>
              <a:gd name="connsiteY11704" fmla="*/ 1132418 h 6859062"/>
              <a:gd name="connsiteX11705" fmla="*/ 10097346 w 12192185"/>
              <a:gd name="connsiteY11705" fmla="*/ 1101995 h 6859062"/>
              <a:gd name="connsiteX11706" fmla="*/ 10094744 w 12192185"/>
              <a:gd name="connsiteY11706" fmla="*/ 1113332 h 6859062"/>
              <a:gd name="connsiteX11707" fmla="*/ 10253829 w 12192185"/>
              <a:gd name="connsiteY11707" fmla="*/ 1141078 h 6859062"/>
              <a:gd name="connsiteX11708" fmla="*/ 10686640 w 12192185"/>
              <a:gd name="connsiteY11708" fmla="*/ 1297419 h 6859062"/>
              <a:gd name="connsiteX11709" fmla="*/ 10729007 w 12192185"/>
              <a:gd name="connsiteY11709" fmla="*/ 1317382 h 6859062"/>
              <a:gd name="connsiteX11710" fmla="*/ 10728877 w 12192185"/>
              <a:gd name="connsiteY11710" fmla="*/ 1316792 h 6859062"/>
              <a:gd name="connsiteX11711" fmla="*/ 10739920 w 12192185"/>
              <a:gd name="connsiteY11711" fmla="*/ 1296292 h 6859062"/>
              <a:gd name="connsiteX11712" fmla="*/ 10759253 w 12192185"/>
              <a:gd name="connsiteY11712" fmla="*/ 1290544 h 6859062"/>
              <a:gd name="connsiteX11713" fmla="*/ 10775237 w 12192185"/>
              <a:gd name="connsiteY11713" fmla="*/ 1280052 h 6859062"/>
              <a:gd name="connsiteX11714" fmla="*/ 10789811 w 12192185"/>
              <a:gd name="connsiteY11714" fmla="*/ 1268067 h 6859062"/>
              <a:gd name="connsiteX11715" fmla="*/ 10803913 w 12192185"/>
              <a:gd name="connsiteY11715" fmla="*/ 1262439 h 6859062"/>
              <a:gd name="connsiteX11716" fmla="*/ 10819871 w 12192185"/>
              <a:gd name="connsiteY11716" fmla="*/ 1262955 h 6859062"/>
              <a:gd name="connsiteX11717" fmla="*/ 10831312 w 12192185"/>
              <a:gd name="connsiteY11717" fmla="*/ 1269117 h 6859062"/>
              <a:gd name="connsiteX11718" fmla="*/ 10831801 w 12192185"/>
              <a:gd name="connsiteY11718" fmla="*/ 1272320 h 6859062"/>
              <a:gd name="connsiteX11719" fmla="*/ 10841069 w 12192185"/>
              <a:gd name="connsiteY11719" fmla="*/ 1293475 h 6859062"/>
              <a:gd name="connsiteX11720" fmla="*/ 10835787 w 12192185"/>
              <a:gd name="connsiteY11720" fmla="*/ 1315610 h 6859062"/>
              <a:gd name="connsiteX11721" fmla="*/ 10815508 w 12192185"/>
              <a:gd name="connsiteY11721" fmla="*/ 1334073 h 6859062"/>
              <a:gd name="connsiteX11722" fmla="*/ 10804167 w 12192185"/>
              <a:gd name="connsiteY11722" fmla="*/ 1334576 h 6859062"/>
              <a:gd name="connsiteX11723" fmla="*/ 10785937 w 12192185"/>
              <a:gd name="connsiteY11723" fmla="*/ 1342388 h 6859062"/>
              <a:gd name="connsiteX11724" fmla="*/ 10784312 w 12192185"/>
              <a:gd name="connsiteY11724" fmla="*/ 1343442 h 6859062"/>
              <a:gd name="connsiteX11725" fmla="*/ 10825741 w 12192185"/>
              <a:gd name="connsiteY11725" fmla="*/ 1362963 h 6859062"/>
              <a:gd name="connsiteX11726" fmla="*/ 11562628 w 12192185"/>
              <a:gd name="connsiteY11726" fmla="*/ 1935390 h 6859062"/>
              <a:gd name="connsiteX11727" fmla="*/ 11569270 w 12192185"/>
              <a:gd name="connsiteY11727" fmla="*/ 1943702 h 6859062"/>
              <a:gd name="connsiteX11728" fmla="*/ 11572012 w 12192185"/>
              <a:gd name="connsiteY11728" fmla="*/ 1938431 h 6859062"/>
              <a:gd name="connsiteX11729" fmla="*/ 11574956 w 12192185"/>
              <a:gd name="connsiteY11729" fmla="*/ 1935054 h 6859062"/>
              <a:gd name="connsiteX11730" fmla="*/ 11585772 w 12192185"/>
              <a:gd name="connsiteY11730" fmla="*/ 1928436 h 6859062"/>
              <a:gd name="connsiteX11731" fmla="*/ 11597870 w 12192185"/>
              <a:gd name="connsiteY11731" fmla="*/ 1919667 h 6859062"/>
              <a:gd name="connsiteX11732" fmla="*/ 11603524 w 12192185"/>
              <a:gd name="connsiteY11732" fmla="*/ 1917611 h 6859062"/>
              <a:gd name="connsiteX11733" fmla="*/ 11638452 w 12192185"/>
              <a:gd name="connsiteY11733" fmla="*/ 1917603 h 6859062"/>
              <a:gd name="connsiteX11734" fmla="*/ 11641258 w 12192185"/>
              <a:gd name="connsiteY11734" fmla="*/ 1919158 h 6859062"/>
              <a:gd name="connsiteX11735" fmla="*/ 11653789 w 12192185"/>
              <a:gd name="connsiteY11735" fmla="*/ 1930529 h 6859062"/>
              <a:gd name="connsiteX11736" fmla="*/ 11658120 w 12192185"/>
              <a:gd name="connsiteY11736" fmla="*/ 1935792 h 6859062"/>
              <a:gd name="connsiteX11737" fmla="*/ 11664629 w 12192185"/>
              <a:gd name="connsiteY11737" fmla="*/ 1945035 h 6859062"/>
              <a:gd name="connsiteX11738" fmla="*/ 11674491 w 12192185"/>
              <a:gd name="connsiteY11738" fmla="*/ 1949918 h 6859062"/>
              <a:gd name="connsiteX11739" fmla="*/ 11677167 w 12192185"/>
              <a:gd name="connsiteY11739" fmla="*/ 1952882 h 6859062"/>
              <a:gd name="connsiteX11740" fmla="*/ 11674926 w 12192185"/>
              <a:gd name="connsiteY11740" fmla="*/ 1956241 h 6859062"/>
              <a:gd name="connsiteX11741" fmla="*/ 11672433 w 12192185"/>
              <a:gd name="connsiteY11741" fmla="*/ 1958079 h 6859062"/>
              <a:gd name="connsiteX11742" fmla="*/ 11670048 w 12192185"/>
              <a:gd name="connsiteY11742" fmla="*/ 1961498 h 6859062"/>
              <a:gd name="connsiteX11743" fmla="*/ 11673372 w 12192185"/>
              <a:gd name="connsiteY11743" fmla="*/ 1963654 h 6859062"/>
              <a:gd name="connsiteX11744" fmla="*/ 11675073 w 12192185"/>
              <a:gd name="connsiteY11744" fmla="*/ 1971081 h 6859062"/>
              <a:gd name="connsiteX11745" fmla="*/ 11672635 w 12192185"/>
              <a:gd name="connsiteY11745" fmla="*/ 1973710 h 6859062"/>
              <a:gd name="connsiteX11746" fmla="*/ 11672729 w 12192185"/>
              <a:gd name="connsiteY11746" fmla="*/ 1978548 h 6859062"/>
              <a:gd name="connsiteX11747" fmla="*/ 11677333 w 12192185"/>
              <a:gd name="connsiteY11747" fmla="*/ 1978551 h 6859062"/>
              <a:gd name="connsiteX11748" fmla="*/ 11680676 w 12192185"/>
              <a:gd name="connsiteY11748" fmla="*/ 1976719 h 6859062"/>
              <a:gd name="connsiteX11749" fmla="*/ 11670115 w 12192185"/>
              <a:gd name="connsiteY11749" fmla="*/ 2002238 h 6859062"/>
              <a:gd name="connsiteX11750" fmla="*/ 11668216 w 12192185"/>
              <a:gd name="connsiteY11750" fmla="*/ 2001807 h 6859062"/>
              <a:gd name="connsiteX11751" fmla="*/ 11664674 w 12192185"/>
              <a:gd name="connsiteY11751" fmla="*/ 2005702 h 6859062"/>
              <a:gd name="connsiteX11752" fmla="*/ 11664538 w 12192185"/>
              <a:gd name="connsiteY11752" fmla="*/ 2010636 h 6859062"/>
              <a:gd name="connsiteX11753" fmla="*/ 11660122 w 12192185"/>
              <a:gd name="connsiteY11753" fmla="*/ 2015702 h 6859062"/>
              <a:gd name="connsiteX11754" fmla="*/ 11646008 w 12192185"/>
              <a:gd name="connsiteY11754" fmla="*/ 2032075 h 6859062"/>
              <a:gd name="connsiteX11755" fmla="*/ 11644794 w 12192185"/>
              <a:gd name="connsiteY11755" fmla="*/ 2036368 h 6859062"/>
              <a:gd name="connsiteX11756" fmla="*/ 11641345 w 12192185"/>
              <a:gd name="connsiteY11756" fmla="*/ 2033918 h 6859062"/>
              <a:gd name="connsiteX11757" fmla="*/ 11759425 w 12192185"/>
              <a:gd name="connsiteY11757" fmla="*/ 2181713 h 6859062"/>
              <a:gd name="connsiteX11758" fmla="*/ 11893033 w 12192185"/>
              <a:gd name="connsiteY11758" fmla="*/ 2379406 h 6859062"/>
              <a:gd name="connsiteX11759" fmla="*/ 11897593 w 12192185"/>
              <a:gd name="connsiteY11759" fmla="*/ 2401132 h 6859062"/>
              <a:gd name="connsiteX11760" fmla="*/ 11884919 w 12192185"/>
              <a:gd name="connsiteY11760" fmla="*/ 2397431 h 6859062"/>
              <a:gd name="connsiteX11761" fmla="*/ 11776200 w 12192185"/>
              <a:gd name="connsiteY11761" fmla="*/ 2238705 h 6859062"/>
              <a:gd name="connsiteX11762" fmla="*/ 11679996 w 12192185"/>
              <a:gd name="connsiteY11762" fmla="*/ 2120016 h 6859062"/>
              <a:gd name="connsiteX11763" fmla="*/ 11683055 w 12192185"/>
              <a:gd name="connsiteY11763" fmla="*/ 2127452 h 6859062"/>
              <a:gd name="connsiteX11764" fmla="*/ 11682029 w 12192185"/>
              <a:gd name="connsiteY11764" fmla="*/ 2141765 h 6859062"/>
              <a:gd name="connsiteX11765" fmla="*/ 11675683 w 12192185"/>
              <a:gd name="connsiteY11765" fmla="*/ 2153846 h 6859062"/>
              <a:gd name="connsiteX11766" fmla="*/ 11671114 w 12192185"/>
              <a:gd name="connsiteY11766" fmla="*/ 2158355 h 6859062"/>
              <a:gd name="connsiteX11767" fmla="*/ 11709599 w 12192185"/>
              <a:gd name="connsiteY11767" fmla="*/ 2207766 h 6859062"/>
              <a:gd name="connsiteX11768" fmla="*/ 12044337 w 12192185"/>
              <a:gd name="connsiteY11768" fmla="*/ 2888221 h 6859062"/>
              <a:gd name="connsiteX11769" fmla="*/ 12047954 w 12192185"/>
              <a:gd name="connsiteY11769" fmla="*/ 2900188 h 6859062"/>
              <a:gd name="connsiteX11770" fmla="*/ 12042913 w 12192185"/>
              <a:gd name="connsiteY11770" fmla="*/ 2911756 h 6859062"/>
              <a:gd name="connsiteX11771" fmla="*/ 12000667 w 12192185"/>
              <a:gd name="connsiteY11771" fmla="*/ 2818540 h 6859062"/>
              <a:gd name="connsiteX11772" fmla="*/ 11836079 w 12192185"/>
              <a:gd name="connsiteY11772" fmla="*/ 2476812 h 6859062"/>
              <a:gd name="connsiteX11773" fmla="*/ 11817182 w 12192185"/>
              <a:gd name="connsiteY11773" fmla="*/ 2446720 h 6859062"/>
              <a:gd name="connsiteX11774" fmla="*/ 11814121 w 12192185"/>
              <a:gd name="connsiteY11774" fmla="*/ 2450446 h 6859062"/>
              <a:gd name="connsiteX11775" fmla="*/ 11810128 w 12192185"/>
              <a:gd name="connsiteY11775" fmla="*/ 2454406 h 6859062"/>
              <a:gd name="connsiteX11776" fmla="*/ 11805436 w 12192185"/>
              <a:gd name="connsiteY11776" fmla="*/ 2456667 h 6859062"/>
              <a:gd name="connsiteX11777" fmla="*/ 11801411 w 12192185"/>
              <a:gd name="connsiteY11777" fmla="*/ 2457331 h 6859062"/>
              <a:gd name="connsiteX11778" fmla="*/ 11793191 w 12192185"/>
              <a:gd name="connsiteY11778" fmla="*/ 2459055 h 6859062"/>
              <a:gd name="connsiteX11779" fmla="*/ 11790246 w 12192185"/>
              <a:gd name="connsiteY11779" fmla="*/ 2459936 h 6859062"/>
              <a:gd name="connsiteX11780" fmla="*/ 11783107 w 12192185"/>
              <a:gd name="connsiteY11780" fmla="*/ 2461879 h 6859062"/>
              <a:gd name="connsiteX11781" fmla="*/ 11766251 w 12192185"/>
              <a:gd name="connsiteY11781" fmla="*/ 2452256 h 6859062"/>
              <a:gd name="connsiteX11782" fmla="*/ 11762240 w 12192185"/>
              <a:gd name="connsiteY11782" fmla="*/ 2443310 h 6859062"/>
              <a:gd name="connsiteX11783" fmla="*/ 11758860 w 12192185"/>
              <a:gd name="connsiteY11783" fmla="*/ 2423838 h 6859062"/>
              <a:gd name="connsiteX11784" fmla="*/ 11759425 w 12192185"/>
              <a:gd name="connsiteY11784" fmla="*/ 2417977 h 6859062"/>
              <a:gd name="connsiteX11785" fmla="*/ 11761737 w 12192185"/>
              <a:gd name="connsiteY11785" fmla="*/ 2410734 h 6859062"/>
              <a:gd name="connsiteX11786" fmla="*/ 11764865 w 12192185"/>
              <a:gd name="connsiteY11786" fmla="*/ 2405474 h 6859062"/>
              <a:gd name="connsiteX11787" fmla="*/ 11775679 w 12192185"/>
              <a:gd name="connsiteY11787" fmla="*/ 2396390 h 6859062"/>
              <a:gd name="connsiteX11788" fmla="*/ 11781944 w 12192185"/>
              <a:gd name="connsiteY11788" fmla="*/ 2390608 h 6859062"/>
              <a:gd name="connsiteX11789" fmla="*/ 11651297 w 12192185"/>
              <a:gd name="connsiteY11789" fmla="*/ 2182563 h 6859062"/>
              <a:gd name="connsiteX11790" fmla="*/ 11645806 w 12192185"/>
              <a:gd name="connsiteY11790" fmla="*/ 2195811 h 6859062"/>
              <a:gd name="connsiteX11791" fmla="*/ 11626453 w 12192185"/>
              <a:gd name="connsiteY11791" fmla="*/ 2203772 h 6859062"/>
              <a:gd name="connsiteX11792" fmla="*/ 11616262 w 12192185"/>
              <a:gd name="connsiteY11792" fmla="*/ 2200389 h 6859062"/>
              <a:gd name="connsiteX11793" fmla="*/ 11603848 w 12192185"/>
              <a:gd name="connsiteY11793" fmla="*/ 2191605 h 6859062"/>
              <a:gd name="connsiteX11794" fmla="*/ 11595923 w 12192185"/>
              <a:gd name="connsiteY11794" fmla="*/ 2178449 h 6859062"/>
              <a:gd name="connsiteX11795" fmla="*/ 11604310 w 12192185"/>
              <a:gd name="connsiteY11795" fmla="*/ 2156057 h 6859062"/>
              <a:gd name="connsiteX11796" fmla="*/ 11608892 w 12192185"/>
              <a:gd name="connsiteY11796" fmla="*/ 2150384 h 6859062"/>
              <a:gd name="connsiteX11797" fmla="*/ 11616936 w 12192185"/>
              <a:gd name="connsiteY11797" fmla="*/ 2144155 h 6859062"/>
              <a:gd name="connsiteX11798" fmla="*/ 11617549 w 12192185"/>
              <a:gd name="connsiteY11798" fmla="*/ 2135149 h 6859062"/>
              <a:gd name="connsiteX11799" fmla="*/ 11605959 w 12192185"/>
              <a:gd name="connsiteY11799" fmla="*/ 2121248 h 6859062"/>
              <a:gd name="connsiteX11800" fmla="*/ 11575798 w 12192185"/>
              <a:gd name="connsiteY11800" fmla="*/ 2091064 h 6859062"/>
              <a:gd name="connsiteX11801" fmla="*/ 11556673 w 12192185"/>
              <a:gd name="connsiteY11801" fmla="*/ 2084291 h 6859062"/>
              <a:gd name="connsiteX11802" fmla="*/ 11553910 w 12192185"/>
              <a:gd name="connsiteY11802" fmla="*/ 2106722 h 6859062"/>
              <a:gd name="connsiteX11803" fmla="*/ 11561852 w 12192185"/>
              <a:gd name="connsiteY11803" fmla="*/ 2137978 h 6859062"/>
              <a:gd name="connsiteX11804" fmla="*/ 11526995 w 12192185"/>
              <a:gd name="connsiteY11804" fmla="*/ 2101679 h 6859062"/>
              <a:gd name="connsiteX11805" fmla="*/ 11572568 w 12192185"/>
              <a:gd name="connsiteY11805" fmla="*/ 2156388 h 6859062"/>
              <a:gd name="connsiteX11806" fmla="*/ 11811444 w 12192185"/>
              <a:gd name="connsiteY11806" fmla="*/ 2561214 h 6859062"/>
              <a:gd name="connsiteX11807" fmla="*/ 11827093 w 12192185"/>
              <a:gd name="connsiteY11807" fmla="*/ 2600710 h 6859062"/>
              <a:gd name="connsiteX11808" fmla="*/ 11856432 w 12192185"/>
              <a:gd name="connsiteY11808" fmla="*/ 2656661 h 6859062"/>
              <a:gd name="connsiteX11809" fmla="*/ 11913259 w 12192185"/>
              <a:gd name="connsiteY11809" fmla="*/ 2795418 h 6859062"/>
              <a:gd name="connsiteX11810" fmla="*/ 11920909 w 12192185"/>
              <a:gd name="connsiteY11810" fmla="*/ 2796228 h 6859062"/>
              <a:gd name="connsiteX11811" fmla="*/ 11937867 w 12192185"/>
              <a:gd name="connsiteY11811" fmla="*/ 2796197 h 6859062"/>
              <a:gd name="connsiteX11812" fmla="*/ 11950876 w 12192185"/>
              <a:gd name="connsiteY11812" fmla="*/ 2800317 h 6859062"/>
              <a:gd name="connsiteX11813" fmla="*/ 11961675 w 12192185"/>
              <a:gd name="connsiteY11813" fmla="*/ 2809763 h 6859062"/>
              <a:gd name="connsiteX11814" fmla="*/ 11966119 w 12192185"/>
              <a:gd name="connsiteY11814" fmla="*/ 2820564 h 6859062"/>
              <a:gd name="connsiteX11815" fmla="*/ 11964634 w 12192185"/>
              <a:gd name="connsiteY11815" fmla="*/ 2823068 h 6859062"/>
              <a:gd name="connsiteX11816" fmla="*/ 11959027 w 12192185"/>
              <a:gd name="connsiteY11816" fmla="*/ 2843054 h 6859062"/>
              <a:gd name="connsiteX11817" fmla="*/ 11942749 w 12192185"/>
              <a:gd name="connsiteY11817" fmla="*/ 2855432 h 6859062"/>
              <a:gd name="connsiteX11818" fmla="*/ 11938248 w 12192185"/>
              <a:gd name="connsiteY11818" fmla="*/ 2856435 h 6859062"/>
              <a:gd name="connsiteX11819" fmla="*/ 11944132 w 12192185"/>
              <a:gd name="connsiteY11819" fmla="*/ 2870803 h 6859062"/>
              <a:gd name="connsiteX11820" fmla="*/ 11943339 w 12192185"/>
              <a:gd name="connsiteY11820" fmla="*/ 2888120 h 6859062"/>
              <a:gd name="connsiteX11821" fmla="*/ 11929616 w 12192185"/>
              <a:gd name="connsiteY11821" fmla="*/ 2858036 h 6859062"/>
              <a:gd name="connsiteX11822" fmla="*/ 11919817 w 12192185"/>
              <a:gd name="connsiteY11822" fmla="*/ 2856910 h 6859062"/>
              <a:gd name="connsiteX11823" fmla="*/ 11962271 w 12192185"/>
              <a:gd name="connsiteY11823" fmla="*/ 3006579 h 6859062"/>
              <a:gd name="connsiteX11824" fmla="*/ 12023845 w 12192185"/>
              <a:gd name="connsiteY11824" fmla="*/ 3338182 h 6859062"/>
              <a:gd name="connsiteX11825" fmla="*/ 11953952 w 12192185"/>
              <a:gd name="connsiteY11825" fmla="*/ 4207696 h 6859062"/>
              <a:gd name="connsiteX11826" fmla="*/ 11934023 w 12192185"/>
              <a:gd name="connsiteY11826" fmla="*/ 4284231 h 6859062"/>
              <a:gd name="connsiteX11827" fmla="*/ 11933135 w 12192185"/>
              <a:gd name="connsiteY11827" fmla="*/ 4307813 h 6859062"/>
              <a:gd name="connsiteX11828" fmla="*/ 11924251 w 12192185"/>
              <a:gd name="connsiteY11828" fmla="*/ 4336996 h 6859062"/>
              <a:gd name="connsiteX11829" fmla="*/ 11830989 w 12192185"/>
              <a:gd name="connsiteY11829" fmla="*/ 4587425 h 6859062"/>
              <a:gd name="connsiteX11830" fmla="*/ 11819214 w 12192185"/>
              <a:gd name="connsiteY11830" fmla="*/ 4608817 h 6859062"/>
              <a:gd name="connsiteX11831" fmla="*/ 11805268 w 12192185"/>
              <a:gd name="connsiteY11831" fmla="*/ 4644467 h 6859062"/>
              <a:gd name="connsiteX11832" fmla="*/ 11795293 w 12192185"/>
              <a:gd name="connsiteY11832" fmla="*/ 4666396 h 6859062"/>
              <a:gd name="connsiteX11833" fmla="*/ 11799584 w 12192185"/>
              <a:gd name="connsiteY11833" fmla="*/ 4666217 h 6859062"/>
              <a:gd name="connsiteX11834" fmla="*/ 11830087 w 12192185"/>
              <a:gd name="connsiteY11834" fmla="*/ 4650282 h 6859062"/>
              <a:gd name="connsiteX11835" fmla="*/ 11781876 w 12192185"/>
              <a:gd name="connsiteY11835" fmla="*/ 4763315 h 6859062"/>
              <a:gd name="connsiteX11836" fmla="*/ 11287239 w 12192185"/>
              <a:gd name="connsiteY11836" fmla="*/ 5431777 h 6859062"/>
              <a:gd name="connsiteX11837" fmla="*/ 10813244 w 12192185"/>
              <a:gd name="connsiteY11837" fmla="*/ 5778041 h 6859062"/>
              <a:gd name="connsiteX11838" fmla="*/ 10657433 w 12192185"/>
              <a:gd name="connsiteY11838" fmla="*/ 5860819 h 6859062"/>
              <a:gd name="connsiteX11839" fmla="*/ 10642780 w 12192185"/>
              <a:gd name="connsiteY11839" fmla="*/ 5900413 h 6859062"/>
              <a:gd name="connsiteX11840" fmla="*/ 10682928 w 12192185"/>
              <a:gd name="connsiteY11840" fmla="*/ 5895305 h 6859062"/>
              <a:gd name="connsiteX11841" fmla="*/ 10740319 w 12192185"/>
              <a:gd name="connsiteY11841" fmla="*/ 5877450 h 6859062"/>
              <a:gd name="connsiteX11842" fmla="*/ 10471286 w 12192185"/>
              <a:gd name="connsiteY11842" fmla="*/ 6037664 h 6859062"/>
              <a:gd name="connsiteX11843" fmla="*/ 10296509 w 12192185"/>
              <a:gd name="connsiteY11843" fmla="*/ 6102567 h 6859062"/>
              <a:gd name="connsiteX11844" fmla="*/ 10471126 w 12192185"/>
              <a:gd name="connsiteY11844" fmla="*/ 6048764 h 6859062"/>
              <a:gd name="connsiteX11845" fmla="*/ 10590892 w 12192185"/>
              <a:gd name="connsiteY11845" fmla="*/ 6000868 h 6859062"/>
              <a:gd name="connsiteX11846" fmla="*/ 10677168 w 12192185"/>
              <a:gd name="connsiteY11846" fmla="*/ 5954092 h 6859062"/>
              <a:gd name="connsiteX11847" fmla="*/ 10677220 w 12192185"/>
              <a:gd name="connsiteY11847" fmla="*/ 5951483 h 6859062"/>
              <a:gd name="connsiteX11848" fmla="*/ 10682652 w 12192185"/>
              <a:gd name="connsiteY11848" fmla="*/ 5936148 h 6859062"/>
              <a:gd name="connsiteX11849" fmla="*/ 10692540 w 12192185"/>
              <a:gd name="connsiteY11849" fmla="*/ 5932765 h 6859062"/>
              <a:gd name="connsiteX11850" fmla="*/ 10702851 w 12192185"/>
              <a:gd name="connsiteY11850" fmla="*/ 5933625 h 6859062"/>
              <a:gd name="connsiteX11851" fmla="*/ 10709600 w 12192185"/>
              <a:gd name="connsiteY11851" fmla="*/ 5936307 h 6859062"/>
              <a:gd name="connsiteX11852" fmla="*/ 10858800 w 12192185"/>
              <a:gd name="connsiteY11852" fmla="*/ 5847941 h 6859062"/>
              <a:gd name="connsiteX11853" fmla="*/ 11289571 w 12192185"/>
              <a:gd name="connsiteY11853" fmla="*/ 5532541 h 6859062"/>
              <a:gd name="connsiteX11854" fmla="*/ 11353353 w 12192185"/>
              <a:gd name="connsiteY11854" fmla="*/ 5466036 h 6859062"/>
              <a:gd name="connsiteX11855" fmla="*/ 11323437 w 12192185"/>
              <a:gd name="connsiteY11855" fmla="*/ 5475082 h 6859062"/>
              <a:gd name="connsiteX11856" fmla="*/ 10838417 w 12192185"/>
              <a:gd name="connsiteY11856" fmla="*/ 5834725 h 6859062"/>
              <a:gd name="connsiteX11857" fmla="*/ 10807163 w 12192185"/>
              <a:gd name="connsiteY11857" fmla="*/ 5842670 h 6859062"/>
              <a:gd name="connsiteX11858" fmla="*/ 10824962 w 12192185"/>
              <a:gd name="connsiteY11858" fmla="*/ 5810163 h 6859062"/>
              <a:gd name="connsiteX11859" fmla="*/ 10991328 w 12192185"/>
              <a:gd name="connsiteY11859" fmla="*/ 5709123 h 6859062"/>
              <a:gd name="connsiteX11860" fmla="*/ 11598039 w 12192185"/>
              <a:gd name="connsiteY11860" fmla="*/ 5117280 h 6859062"/>
              <a:gd name="connsiteX11861" fmla="*/ 11907111 w 12192185"/>
              <a:gd name="connsiteY11861" fmla="*/ 4529543 h 6859062"/>
              <a:gd name="connsiteX11862" fmla="*/ 11965243 w 12192185"/>
              <a:gd name="connsiteY11862" fmla="*/ 4404469 h 6859062"/>
              <a:gd name="connsiteX11863" fmla="*/ 11478874 w 12192185"/>
              <a:gd name="connsiteY11863" fmla="*/ 5324603 h 6859062"/>
              <a:gd name="connsiteX11864" fmla="*/ 11534223 w 12192185"/>
              <a:gd name="connsiteY11864" fmla="*/ 5298323 h 6859062"/>
              <a:gd name="connsiteX11865" fmla="*/ 11423269 w 12192185"/>
              <a:gd name="connsiteY11865" fmla="*/ 5424802 h 6859062"/>
              <a:gd name="connsiteX11866" fmla="*/ 11274561 w 12192185"/>
              <a:gd name="connsiteY11866" fmla="*/ 5569510 h 6859062"/>
              <a:gd name="connsiteX11867" fmla="*/ 11281575 w 12192185"/>
              <a:gd name="connsiteY11867" fmla="*/ 5570095 h 6859062"/>
              <a:gd name="connsiteX11868" fmla="*/ 11291136 w 12192185"/>
              <a:gd name="connsiteY11868" fmla="*/ 5573895 h 6859062"/>
              <a:gd name="connsiteX11869" fmla="*/ 11293328 w 12192185"/>
              <a:gd name="connsiteY11869" fmla="*/ 5578089 h 6859062"/>
              <a:gd name="connsiteX11870" fmla="*/ 11376956 w 12192185"/>
              <a:gd name="connsiteY11870" fmla="*/ 5509633 h 6859062"/>
              <a:gd name="connsiteX11871" fmla="*/ 11476411 w 12192185"/>
              <a:gd name="connsiteY11871" fmla="*/ 5401199 h 6859062"/>
              <a:gd name="connsiteX11872" fmla="*/ 11530978 w 12192185"/>
              <a:gd name="connsiteY11872" fmla="*/ 5354057 h 6859062"/>
              <a:gd name="connsiteX11873" fmla="*/ 11711003 w 12192185"/>
              <a:gd name="connsiteY11873" fmla="*/ 5113764 h 6859062"/>
              <a:gd name="connsiteX11874" fmla="*/ 12019368 w 12192185"/>
              <a:gd name="connsiteY11874" fmla="*/ 4518706 h 6859062"/>
              <a:gd name="connsiteX11875" fmla="*/ 12025524 w 12192185"/>
              <a:gd name="connsiteY11875" fmla="*/ 4498888 h 6859062"/>
              <a:gd name="connsiteX11876" fmla="*/ 12017498 w 12192185"/>
              <a:gd name="connsiteY11876" fmla="*/ 4495324 h 6859062"/>
              <a:gd name="connsiteX11877" fmla="*/ 12009967 w 12192185"/>
              <a:gd name="connsiteY11877" fmla="*/ 4489942 h 6859062"/>
              <a:gd name="connsiteX11878" fmla="*/ 12006145 w 12192185"/>
              <a:gd name="connsiteY11878" fmla="*/ 4481417 h 6859062"/>
              <a:gd name="connsiteX11879" fmla="*/ 12002923 w 12192185"/>
              <a:gd name="connsiteY11879" fmla="*/ 4462862 h 6859062"/>
              <a:gd name="connsiteX11880" fmla="*/ 12003462 w 12192185"/>
              <a:gd name="connsiteY11880" fmla="*/ 4457276 h 6859062"/>
              <a:gd name="connsiteX11881" fmla="*/ 12005665 w 12192185"/>
              <a:gd name="connsiteY11881" fmla="*/ 4450375 h 6859062"/>
              <a:gd name="connsiteX11882" fmla="*/ 12008645 w 12192185"/>
              <a:gd name="connsiteY11882" fmla="*/ 4445362 h 6859062"/>
              <a:gd name="connsiteX11883" fmla="*/ 12018951 w 12192185"/>
              <a:gd name="connsiteY11883" fmla="*/ 4436704 h 6859062"/>
              <a:gd name="connsiteX11884" fmla="*/ 12025118 w 12192185"/>
              <a:gd name="connsiteY11884" fmla="*/ 4431012 h 6859062"/>
              <a:gd name="connsiteX11885" fmla="*/ 12028353 w 12192185"/>
              <a:gd name="connsiteY11885" fmla="*/ 4429682 h 6859062"/>
              <a:gd name="connsiteX11886" fmla="*/ 12036155 w 12192185"/>
              <a:gd name="connsiteY11886" fmla="*/ 4430259 h 6859062"/>
              <a:gd name="connsiteX11887" fmla="*/ 12046047 w 12192185"/>
              <a:gd name="connsiteY11887" fmla="*/ 4432826 h 6859062"/>
              <a:gd name="connsiteX11888" fmla="*/ 12081389 w 12192185"/>
              <a:gd name="connsiteY11888" fmla="*/ 4319055 h 6859062"/>
              <a:gd name="connsiteX11889" fmla="*/ 12131900 w 12192185"/>
              <a:gd name="connsiteY11889" fmla="*/ 4114972 h 6859062"/>
              <a:gd name="connsiteX11890" fmla="*/ 12144114 w 12192185"/>
              <a:gd name="connsiteY11890" fmla="*/ 4075615 h 6859062"/>
              <a:gd name="connsiteX11891" fmla="*/ 12157159 w 12192185"/>
              <a:gd name="connsiteY11891" fmla="*/ 4147017 h 6859062"/>
              <a:gd name="connsiteX11892" fmla="*/ 12064879 w 12192185"/>
              <a:gd name="connsiteY11892" fmla="*/ 4479827 h 6859062"/>
              <a:gd name="connsiteX11893" fmla="*/ 11515768 w 12192185"/>
              <a:gd name="connsiteY11893" fmla="*/ 5413410 h 6859062"/>
              <a:gd name="connsiteX11894" fmla="*/ 11349475 w 12192185"/>
              <a:gd name="connsiteY11894" fmla="*/ 5567860 h 6859062"/>
              <a:gd name="connsiteX11895" fmla="*/ 11295133 w 12192185"/>
              <a:gd name="connsiteY11895" fmla="*/ 5612203 h 6859062"/>
              <a:gd name="connsiteX11896" fmla="*/ 11294956 w 12192185"/>
              <a:gd name="connsiteY11896" fmla="*/ 5624687 h 6859062"/>
              <a:gd name="connsiteX11897" fmla="*/ 11296467 w 12192185"/>
              <a:gd name="connsiteY11897" fmla="*/ 5640865 h 6859062"/>
              <a:gd name="connsiteX11898" fmla="*/ 11293673 w 12192185"/>
              <a:gd name="connsiteY11898" fmla="*/ 5653637 h 6859062"/>
              <a:gd name="connsiteX11899" fmla="*/ 11285604 w 12192185"/>
              <a:gd name="connsiteY11899" fmla="*/ 5664768 h 6859062"/>
              <a:gd name="connsiteX11900" fmla="*/ 11275686 w 12192185"/>
              <a:gd name="connsiteY11900" fmla="*/ 5669952 h 6859062"/>
              <a:gd name="connsiteX11901" fmla="*/ 11273167 w 12192185"/>
              <a:gd name="connsiteY11901" fmla="*/ 5668755 h 6859062"/>
              <a:gd name="connsiteX11902" fmla="*/ 11253608 w 12192185"/>
              <a:gd name="connsiteY11902" fmla="*/ 5665151 h 6859062"/>
              <a:gd name="connsiteX11903" fmla="*/ 11243616 w 12192185"/>
              <a:gd name="connsiteY11903" fmla="*/ 5654241 h 6859062"/>
              <a:gd name="connsiteX11904" fmla="*/ 11173799 w 12192185"/>
              <a:gd name="connsiteY11904" fmla="*/ 5711211 h 6859062"/>
              <a:gd name="connsiteX11905" fmla="*/ 10688009 w 12192185"/>
              <a:gd name="connsiteY11905" fmla="*/ 6011813 h 6859062"/>
              <a:gd name="connsiteX11906" fmla="*/ 10640068 w 12192185"/>
              <a:gd name="connsiteY11906" fmla="*/ 6012747 h 6859062"/>
              <a:gd name="connsiteX11907" fmla="*/ 10621649 w 12192185"/>
              <a:gd name="connsiteY11907" fmla="*/ 6013295 h 6859062"/>
              <a:gd name="connsiteX11908" fmla="*/ 10295159 w 12192185"/>
              <a:gd name="connsiteY11908" fmla="*/ 6139645 h 6859062"/>
              <a:gd name="connsiteX11909" fmla="*/ 10287207 w 12192185"/>
              <a:gd name="connsiteY11909" fmla="*/ 6146570 h 6859062"/>
              <a:gd name="connsiteX11910" fmla="*/ 10338133 w 12192185"/>
              <a:gd name="connsiteY11910" fmla="*/ 6163823 h 6859062"/>
              <a:gd name="connsiteX11911" fmla="*/ 10845617 w 12192185"/>
              <a:gd name="connsiteY11911" fmla="*/ 5973197 h 6859062"/>
              <a:gd name="connsiteX11912" fmla="*/ 11533866 w 12192185"/>
              <a:gd name="connsiteY11912" fmla="*/ 5435061 h 6859062"/>
              <a:gd name="connsiteX11913" fmla="*/ 11835560 w 12192185"/>
              <a:gd name="connsiteY11913" fmla="*/ 5038928 h 6859062"/>
              <a:gd name="connsiteX11914" fmla="*/ 11956362 w 12192185"/>
              <a:gd name="connsiteY11914" fmla="*/ 4886869 h 6859062"/>
              <a:gd name="connsiteX11915" fmla="*/ 11599683 w 12192185"/>
              <a:gd name="connsiteY11915" fmla="*/ 5415160 h 6859062"/>
              <a:gd name="connsiteX11916" fmla="*/ 11131722 w 12192185"/>
              <a:gd name="connsiteY11916" fmla="*/ 5849513 h 6859062"/>
              <a:gd name="connsiteX11917" fmla="*/ 11593912 w 12192185"/>
              <a:gd name="connsiteY11917" fmla="*/ 5495768 h 6859062"/>
              <a:gd name="connsiteX11918" fmla="*/ 11599499 w 12192185"/>
              <a:gd name="connsiteY11918" fmla="*/ 5502619 h 6859062"/>
              <a:gd name="connsiteX11919" fmla="*/ 11482487 w 12192185"/>
              <a:gd name="connsiteY11919" fmla="*/ 5617368 h 6859062"/>
              <a:gd name="connsiteX11920" fmla="*/ 11156750 w 12192185"/>
              <a:gd name="connsiteY11920" fmla="*/ 5879815 h 6859062"/>
              <a:gd name="connsiteX11921" fmla="*/ 11129441 w 12192185"/>
              <a:gd name="connsiteY11921" fmla="*/ 5897504 h 6859062"/>
              <a:gd name="connsiteX11922" fmla="*/ 11129875 w 12192185"/>
              <a:gd name="connsiteY11922" fmla="*/ 5898335 h 6859062"/>
              <a:gd name="connsiteX11923" fmla="*/ 11130004 w 12192185"/>
              <a:gd name="connsiteY11923" fmla="*/ 5905652 h 6859062"/>
              <a:gd name="connsiteX11924" fmla="*/ 11128016 w 12192185"/>
              <a:gd name="connsiteY11924" fmla="*/ 5917769 h 6859062"/>
              <a:gd name="connsiteX11925" fmla="*/ 11128091 w 12192185"/>
              <a:gd name="connsiteY11925" fmla="*/ 5922037 h 6859062"/>
              <a:gd name="connsiteX11926" fmla="*/ 11125819 w 12192185"/>
              <a:gd name="connsiteY11926" fmla="*/ 5924763 h 6859062"/>
              <a:gd name="connsiteX11927" fmla="*/ 11121137 w 12192185"/>
              <a:gd name="connsiteY11927" fmla="*/ 5929364 h 6859062"/>
              <a:gd name="connsiteX11928" fmla="*/ 11119706 w 12192185"/>
              <a:gd name="connsiteY11928" fmla="*/ 5931343 h 6859062"/>
              <a:gd name="connsiteX11929" fmla="*/ 11112467 w 12192185"/>
              <a:gd name="connsiteY11929" fmla="*/ 5936356 h 6859062"/>
              <a:gd name="connsiteX11930" fmla="*/ 11111027 w 12192185"/>
              <a:gd name="connsiteY11930" fmla="*/ 5937726 h 6859062"/>
              <a:gd name="connsiteX11931" fmla="*/ 11088160 w 12192185"/>
              <a:gd name="connsiteY11931" fmla="*/ 5935829 h 6859062"/>
              <a:gd name="connsiteX11932" fmla="*/ 11079426 w 12192185"/>
              <a:gd name="connsiteY11932" fmla="*/ 5929902 h 6859062"/>
              <a:gd name="connsiteX11933" fmla="*/ 10982775 w 12192185"/>
              <a:gd name="connsiteY11933" fmla="*/ 5992509 h 6859062"/>
              <a:gd name="connsiteX11934" fmla="*/ 10886476 w 12192185"/>
              <a:gd name="connsiteY11934" fmla="*/ 6045961 h 6859062"/>
              <a:gd name="connsiteX11935" fmla="*/ 10890708 w 12192185"/>
              <a:gd name="connsiteY11935" fmla="*/ 6051358 h 6859062"/>
              <a:gd name="connsiteX11936" fmla="*/ 10894116 w 12192185"/>
              <a:gd name="connsiteY11936" fmla="*/ 6055335 h 6859062"/>
              <a:gd name="connsiteX11937" fmla="*/ 10896860 w 12192185"/>
              <a:gd name="connsiteY11937" fmla="*/ 6061433 h 6859062"/>
              <a:gd name="connsiteX11938" fmla="*/ 10897513 w 12192185"/>
              <a:gd name="connsiteY11938" fmla="*/ 6068622 h 6859062"/>
              <a:gd name="connsiteX11939" fmla="*/ 10897303 w 12192185"/>
              <a:gd name="connsiteY11939" fmla="*/ 6086895 h 6859062"/>
              <a:gd name="connsiteX11940" fmla="*/ 10880751 w 12192185"/>
              <a:gd name="connsiteY11940" fmla="*/ 6115480 h 6859062"/>
              <a:gd name="connsiteX11941" fmla="*/ 10877948 w 12192185"/>
              <a:gd name="connsiteY11941" fmla="*/ 6116059 h 6859062"/>
              <a:gd name="connsiteX11942" fmla="*/ 10866073 w 12192185"/>
              <a:gd name="connsiteY11942" fmla="*/ 6120494 h 6859062"/>
              <a:gd name="connsiteX11943" fmla="*/ 10862558 w 12192185"/>
              <a:gd name="connsiteY11943" fmla="*/ 6120559 h 6859062"/>
              <a:gd name="connsiteX11944" fmla="*/ 10853272 w 12192185"/>
              <a:gd name="connsiteY11944" fmla="*/ 6122312 h 6859062"/>
              <a:gd name="connsiteX11945" fmla="*/ 10848182 w 12192185"/>
              <a:gd name="connsiteY11945" fmla="*/ 6122756 h 6859062"/>
              <a:gd name="connsiteX11946" fmla="*/ 10843196 w 12192185"/>
              <a:gd name="connsiteY11946" fmla="*/ 6119160 h 6859062"/>
              <a:gd name="connsiteX11947" fmla="*/ 10827244 w 12192185"/>
              <a:gd name="connsiteY11947" fmla="*/ 6111550 h 6859062"/>
              <a:gd name="connsiteX11948" fmla="*/ 10818698 w 12192185"/>
              <a:gd name="connsiteY11948" fmla="*/ 6105383 h 6859062"/>
              <a:gd name="connsiteX11949" fmla="*/ 10816515 w 12192185"/>
              <a:gd name="connsiteY11949" fmla="*/ 6101208 h 6859062"/>
              <a:gd name="connsiteX11950" fmla="*/ 10815089 w 12192185"/>
              <a:gd name="connsiteY11950" fmla="*/ 6089993 h 6859062"/>
              <a:gd name="connsiteX11951" fmla="*/ 10814387 w 12192185"/>
              <a:gd name="connsiteY11951" fmla="*/ 6085976 h 6859062"/>
              <a:gd name="connsiteX11952" fmla="*/ 10801639 w 12192185"/>
              <a:gd name="connsiteY11952" fmla="*/ 6093051 h 6859062"/>
              <a:gd name="connsiteX11953" fmla="*/ 10697774 w 12192185"/>
              <a:gd name="connsiteY11953" fmla="*/ 6142780 h 6859062"/>
              <a:gd name="connsiteX11954" fmla="*/ 10702049 w 12192185"/>
              <a:gd name="connsiteY11954" fmla="*/ 6150961 h 6859062"/>
              <a:gd name="connsiteX11955" fmla="*/ 10711596 w 12192185"/>
              <a:gd name="connsiteY11955" fmla="*/ 6159346 h 6859062"/>
              <a:gd name="connsiteX11956" fmla="*/ 10709160 w 12192185"/>
              <a:gd name="connsiteY11956" fmla="*/ 6163668 h 6859062"/>
              <a:gd name="connsiteX11957" fmla="*/ 10703652 w 12192185"/>
              <a:gd name="connsiteY11957" fmla="*/ 6162560 h 6859062"/>
              <a:gd name="connsiteX11958" fmla="*/ 10698094 w 12192185"/>
              <a:gd name="connsiteY11958" fmla="*/ 6164056 h 6859062"/>
              <a:gd name="connsiteX11959" fmla="*/ 10702002 w 12192185"/>
              <a:gd name="connsiteY11959" fmla="*/ 6169287 h 6859062"/>
              <a:gd name="connsiteX11960" fmla="*/ 10705835 w 12192185"/>
              <a:gd name="connsiteY11960" fmla="*/ 6170334 h 6859062"/>
              <a:gd name="connsiteX11961" fmla="*/ 10708122 w 12192185"/>
              <a:gd name="connsiteY11961" fmla="*/ 6173362 h 6859062"/>
              <a:gd name="connsiteX11962" fmla="*/ 10704795 w 12192185"/>
              <a:gd name="connsiteY11962" fmla="*/ 6174632 h 6859062"/>
              <a:gd name="connsiteX11963" fmla="*/ 10700320 w 12192185"/>
              <a:gd name="connsiteY11963" fmla="*/ 6174155 h 6859062"/>
              <a:gd name="connsiteX11964" fmla="*/ 10695816 w 12192185"/>
              <a:gd name="connsiteY11964" fmla="*/ 6177214 h 6859062"/>
              <a:gd name="connsiteX11965" fmla="*/ 10697934 w 12192185"/>
              <a:gd name="connsiteY11965" fmla="*/ 6181268 h 6859062"/>
              <a:gd name="connsiteX11966" fmla="*/ 10718983 w 12192185"/>
              <a:gd name="connsiteY11966" fmla="*/ 6177072 h 6859062"/>
              <a:gd name="connsiteX11967" fmla="*/ 10724274 w 12192185"/>
              <a:gd name="connsiteY11967" fmla="*/ 6176417 h 6859062"/>
              <a:gd name="connsiteX11968" fmla="*/ 10736842 w 12192185"/>
              <a:gd name="connsiteY11968" fmla="*/ 6182049 h 6859062"/>
              <a:gd name="connsiteX11969" fmla="*/ 10741342 w 12192185"/>
              <a:gd name="connsiteY11969" fmla="*/ 6183921 h 6859062"/>
              <a:gd name="connsiteX11970" fmla="*/ 10750833 w 12192185"/>
              <a:gd name="connsiteY11970" fmla="*/ 6194446 h 6859062"/>
              <a:gd name="connsiteX11971" fmla="*/ 10755730 w 12192185"/>
              <a:gd name="connsiteY11971" fmla="*/ 6202915 h 6859062"/>
              <a:gd name="connsiteX11972" fmla="*/ 10762508 w 12192185"/>
              <a:gd name="connsiteY11972" fmla="*/ 6207351 h 6859062"/>
              <a:gd name="connsiteX11973" fmla="*/ 10763061 w 12192185"/>
              <a:gd name="connsiteY11973" fmla="*/ 6207061 h 6859062"/>
              <a:gd name="connsiteX11974" fmla="*/ 10767720 w 12192185"/>
              <a:gd name="connsiteY11974" fmla="*/ 6207442 h 6859062"/>
              <a:gd name="connsiteX11975" fmla="*/ 10766198 w 12192185"/>
              <a:gd name="connsiteY11975" fmla="*/ 6210819 h 6859062"/>
              <a:gd name="connsiteX11976" fmla="*/ 10766423 w 12192185"/>
              <a:gd name="connsiteY11976" fmla="*/ 6228767 h 6859062"/>
              <a:gd name="connsiteX11977" fmla="*/ 10766523 w 12192185"/>
              <a:gd name="connsiteY11977" fmla="*/ 6234346 h 6859062"/>
              <a:gd name="connsiteX11978" fmla="*/ 10763974 w 12192185"/>
              <a:gd name="connsiteY11978" fmla="*/ 6237555 h 6859062"/>
              <a:gd name="connsiteX11979" fmla="*/ 10764144 w 12192185"/>
              <a:gd name="connsiteY11979" fmla="*/ 6241924 h 6859062"/>
              <a:gd name="connsiteX11980" fmla="*/ 10765582 w 12192185"/>
              <a:gd name="connsiteY11980" fmla="*/ 6242665 h 6859062"/>
              <a:gd name="connsiteX11981" fmla="*/ 10758661 w 12192185"/>
              <a:gd name="connsiteY11981" fmla="*/ 6264528 h 6859062"/>
              <a:gd name="connsiteX11982" fmla="*/ 10757515 w 12192185"/>
              <a:gd name="connsiteY11982" fmla="*/ 6261579 h 6859062"/>
              <a:gd name="connsiteX11983" fmla="*/ 10754587 w 12192185"/>
              <a:gd name="connsiteY11983" fmla="*/ 6259121 h 6859062"/>
              <a:gd name="connsiteX11984" fmla="*/ 10751942 w 12192185"/>
              <a:gd name="connsiteY11984" fmla="*/ 6262145 h 6859062"/>
              <a:gd name="connsiteX11985" fmla="*/ 10752087 w 12192185"/>
              <a:gd name="connsiteY11985" fmla="*/ 6265120 h 6859062"/>
              <a:gd name="connsiteX11986" fmla="*/ 10747038 w 12192185"/>
              <a:gd name="connsiteY11986" fmla="*/ 6268932 h 6859062"/>
              <a:gd name="connsiteX11987" fmla="*/ 10743774 w 12192185"/>
              <a:gd name="connsiteY11987" fmla="*/ 6268526 h 6859062"/>
              <a:gd name="connsiteX11988" fmla="*/ 10743463 w 12192185"/>
              <a:gd name="connsiteY11988" fmla="*/ 6271973 h 6859062"/>
              <a:gd name="connsiteX11989" fmla="*/ 10744065 w 12192185"/>
              <a:gd name="connsiteY11989" fmla="*/ 6274473 h 6859062"/>
              <a:gd name="connsiteX11990" fmla="*/ 10743694 w 12192185"/>
              <a:gd name="connsiteY11990" fmla="*/ 6277806 h 6859062"/>
              <a:gd name="connsiteX11991" fmla="*/ 10740411 w 12192185"/>
              <a:gd name="connsiteY11991" fmla="*/ 6278261 h 6859062"/>
              <a:gd name="connsiteX11992" fmla="*/ 10731534 w 12192185"/>
              <a:gd name="connsiteY11992" fmla="*/ 6276097 h 6859062"/>
              <a:gd name="connsiteX11993" fmla="*/ 10722456 w 12192185"/>
              <a:gd name="connsiteY11993" fmla="*/ 6278494 h 6859062"/>
              <a:gd name="connsiteX11994" fmla="*/ 10716893 w 12192185"/>
              <a:gd name="connsiteY11994" fmla="*/ 6279525 h 6859062"/>
              <a:gd name="connsiteX11995" fmla="*/ 10702851 w 12192185"/>
              <a:gd name="connsiteY11995" fmla="*/ 6280059 h 6859062"/>
              <a:gd name="connsiteX11996" fmla="*/ 10700237 w 12192185"/>
              <a:gd name="connsiteY11996" fmla="*/ 6279548 h 6859062"/>
              <a:gd name="connsiteX11997" fmla="*/ 10678039 w 12192185"/>
              <a:gd name="connsiteY11997" fmla="*/ 6260882 h 6859062"/>
              <a:gd name="connsiteX11998" fmla="*/ 10675543 w 12192185"/>
              <a:gd name="connsiteY11998" fmla="*/ 6256555 h 6859062"/>
              <a:gd name="connsiteX11999" fmla="*/ 10672538 w 12192185"/>
              <a:gd name="connsiteY11999" fmla="*/ 6244518 h 6859062"/>
              <a:gd name="connsiteX12000" fmla="*/ 10669197 w 12192185"/>
              <a:gd name="connsiteY12000" fmla="*/ 6234532 h 6859062"/>
              <a:gd name="connsiteX12001" fmla="*/ 10669131 w 12192185"/>
              <a:gd name="connsiteY12001" fmla="*/ 6230812 h 6859062"/>
              <a:gd name="connsiteX12002" fmla="*/ 10673268 w 12192185"/>
              <a:gd name="connsiteY12002" fmla="*/ 6212225 h 6859062"/>
              <a:gd name="connsiteX12003" fmla="*/ 10673315 w 12192185"/>
              <a:gd name="connsiteY12003" fmla="*/ 6209620 h 6859062"/>
              <a:gd name="connsiteX12004" fmla="*/ 10660274 w 12192185"/>
              <a:gd name="connsiteY12004" fmla="*/ 6203532 h 6859062"/>
              <a:gd name="connsiteX12005" fmla="*/ 10646770 w 12192185"/>
              <a:gd name="connsiteY12005" fmla="*/ 6202847 h 6859062"/>
              <a:gd name="connsiteX12006" fmla="*/ 10629340 w 12192185"/>
              <a:gd name="connsiteY12006" fmla="*/ 6196000 h 6859062"/>
              <a:gd name="connsiteX12007" fmla="*/ 10628080 w 12192185"/>
              <a:gd name="connsiteY12007" fmla="*/ 6193140 h 6859062"/>
              <a:gd name="connsiteX12008" fmla="*/ 10623779 w 12192185"/>
              <a:gd name="connsiteY12008" fmla="*/ 6186706 h 6859062"/>
              <a:gd name="connsiteX12009" fmla="*/ 10618987 w 12192185"/>
              <a:gd name="connsiteY12009" fmla="*/ 6178886 h 6859062"/>
              <a:gd name="connsiteX12010" fmla="*/ 10618951 w 12192185"/>
              <a:gd name="connsiteY12010" fmla="*/ 6178460 h 6859062"/>
              <a:gd name="connsiteX12011" fmla="*/ 10497392 w 12192185"/>
              <a:gd name="connsiteY12011" fmla="*/ 6229022 h 6859062"/>
              <a:gd name="connsiteX12012" fmla="*/ 10388605 w 12192185"/>
              <a:gd name="connsiteY12012" fmla="*/ 6267890 h 6859062"/>
              <a:gd name="connsiteX12013" fmla="*/ 10398358 w 12192185"/>
              <a:gd name="connsiteY12013" fmla="*/ 6270428 h 6859062"/>
              <a:gd name="connsiteX12014" fmla="*/ 10406714 w 12192185"/>
              <a:gd name="connsiteY12014" fmla="*/ 6278068 h 6859062"/>
              <a:gd name="connsiteX12015" fmla="*/ 10411394 w 12192185"/>
              <a:gd name="connsiteY12015" fmla="*/ 6282584 h 6859062"/>
              <a:gd name="connsiteX12016" fmla="*/ 10416069 w 12192185"/>
              <a:gd name="connsiteY12016" fmla="*/ 6289558 h 6859062"/>
              <a:gd name="connsiteX12017" fmla="*/ 10418470 w 12192185"/>
              <a:gd name="connsiteY12017" fmla="*/ 6295876 h 6859062"/>
              <a:gd name="connsiteX12018" fmla="*/ 10418898 w 12192185"/>
              <a:gd name="connsiteY12018" fmla="*/ 6311467 h 6859062"/>
              <a:gd name="connsiteX12019" fmla="*/ 10419619 w 12192185"/>
              <a:gd name="connsiteY12019" fmla="*/ 6321168 h 6859062"/>
              <a:gd name="connsiteX12020" fmla="*/ 10418494 w 12192185"/>
              <a:gd name="connsiteY12020" fmla="*/ 6325062 h 6859062"/>
              <a:gd name="connsiteX12021" fmla="*/ 10412346 w 12192185"/>
              <a:gd name="connsiteY12021" fmla="*/ 6331725 h 6859062"/>
              <a:gd name="connsiteX12022" fmla="*/ 10400201 w 12192185"/>
              <a:gd name="connsiteY12022" fmla="*/ 6340877 h 6859062"/>
              <a:gd name="connsiteX12023" fmla="*/ 10396616 w 12192185"/>
              <a:gd name="connsiteY12023" fmla="*/ 6344763 h 6859062"/>
              <a:gd name="connsiteX12024" fmla="*/ 10392248 w 12192185"/>
              <a:gd name="connsiteY12024" fmla="*/ 6345260 h 6859062"/>
              <a:gd name="connsiteX12025" fmla="*/ 10384119 w 12192185"/>
              <a:gd name="connsiteY12025" fmla="*/ 6345374 h 6859062"/>
              <a:gd name="connsiteX12026" fmla="*/ 10381144 w 12192185"/>
              <a:gd name="connsiteY12026" fmla="*/ 6345922 h 6859062"/>
              <a:gd name="connsiteX12027" fmla="*/ 10370371 w 12192185"/>
              <a:gd name="connsiteY12027" fmla="*/ 6344219 h 6859062"/>
              <a:gd name="connsiteX12028" fmla="*/ 10367909 w 12192185"/>
              <a:gd name="connsiteY12028" fmla="*/ 6344212 h 6859062"/>
              <a:gd name="connsiteX12029" fmla="*/ 10349055 w 12192185"/>
              <a:gd name="connsiteY12029" fmla="*/ 6322949 h 6859062"/>
              <a:gd name="connsiteX12030" fmla="*/ 10345746 w 12192185"/>
              <a:gd name="connsiteY12030" fmla="*/ 6307580 h 6859062"/>
              <a:gd name="connsiteX12031" fmla="*/ 10345064 w 12192185"/>
              <a:gd name="connsiteY12031" fmla="*/ 6301406 h 6859062"/>
              <a:gd name="connsiteX12032" fmla="*/ 10346331 w 12192185"/>
              <a:gd name="connsiteY12032" fmla="*/ 6295796 h 6859062"/>
              <a:gd name="connsiteX12033" fmla="*/ 10348524 w 12192185"/>
              <a:gd name="connsiteY12033" fmla="*/ 6291858 h 6859062"/>
              <a:gd name="connsiteX12034" fmla="*/ 10352677 w 12192185"/>
              <a:gd name="connsiteY12034" fmla="*/ 6283565 h 6859062"/>
              <a:gd name="connsiteX12035" fmla="*/ 10353940 w 12192185"/>
              <a:gd name="connsiteY12035" fmla="*/ 6280413 h 6859062"/>
              <a:gd name="connsiteX12036" fmla="*/ 10354009 w 12192185"/>
              <a:gd name="connsiteY12036" fmla="*/ 6280250 h 6859062"/>
              <a:gd name="connsiteX12037" fmla="*/ 10338807 w 12192185"/>
              <a:gd name="connsiteY12037" fmla="*/ 6285682 h 6859062"/>
              <a:gd name="connsiteX12038" fmla="*/ 9547170 w 12192185"/>
              <a:gd name="connsiteY12038" fmla="*/ 6390436 h 6859062"/>
              <a:gd name="connsiteX12039" fmla="*/ 9235048 w 12192185"/>
              <a:gd name="connsiteY12039" fmla="*/ 6384855 h 6859062"/>
              <a:gd name="connsiteX12040" fmla="*/ 9090371 w 12192185"/>
              <a:gd name="connsiteY12040" fmla="*/ 6353255 h 6859062"/>
              <a:gd name="connsiteX12041" fmla="*/ 8817627 w 12192185"/>
              <a:gd name="connsiteY12041" fmla="*/ 6283525 h 6859062"/>
              <a:gd name="connsiteX12042" fmla="*/ 8924275 w 12192185"/>
              <a:gd name="connsiteY12042" fmla="*/ 6342196 h 6859062"/>
              <a:gd name="connsiteX12043" fmla="*/ 8530949 w 12192185"/>
              <a:gd name="connsiteY12043" fmla="*/ 6222529 h 6859062"/>
              <a:gd name="connsiteX12044" fmla="*/ 8594795 w 12192185"/>
              <a:gd name="connsiteY12044" fmla="*/ 6207745 h 6859062"/>
              <a:gd name="connsiteX12045" fmla="*/ 8483973 w 12192185"/>
              <a:gd name="connsiteY12045" fmla="*/ 6156866 h 6859062"/>
              <a:gd name="connsiteX12046" fmla="*/ 8470037 w 12192185"/>
              <a:gd name="connsiteY12046" fmla="*/ 6165601 h 6859062"/>
              <a:gd name="connsiteX12047" fmla="*/ 8426184 w 12192185"/>
              <a:gd name="connsiteY12047" fmla="*/ 6183382 h 6859062"/>
              <a:gd name="connsiteX12048" fmla="*/ 8147953 w 12192185"/>
              <a:gd name="connsiteY12048" fmla="*/ 6043983 h 6859062"/>
              <a:gd name="connsiteX12049" fmla="*/ 8035867 w 12192185"/>
              <a:gd name="connsiteY12049" fmla="*/ 5975215 h 6859062"/>
              <a:gd name="connsiteX12050" fmla="*/ 8031316 w 12192185"/>
              <a:gd name="connsiteY12050" fmla="*/ 5971612 h 6859062"/>
              <a:gd name="connsiteX12051" fmla="*/ 8018132 w 12192185"/>
              <a:gd name="connsiteY12051" fmla="*/ 5979863 h 6859062"/>
              <a:gd name="connsiteX12052" fmla="*/ 8007278 w 12192185"/>
              <a:gd name="connsiteY12052" fmla="*/ 5992241 h 6859062"/>
              <a:gd name="connsiteX12053" fmla="*/ 7997937 w 12192185"/>
              <a:gd name="connsiteY12053" fmla="*/ 6005535 h 6859062"/>
              <a:gd name="connsiteX12054" fmla="*/ 7987527 w 12192185"/>
              <a:gd name="connsiteY12054" fmla="*/ 6013446 h 6859062"/>
              <a:gd name="connsiteX12055" fmla="*/ 7974165 w 12192185"/>
              <a:gd name="connsiteY12055" fmla="*/ 6016685 h 6859062"/>
              <a:gd name="connsiteX12056" fmla="*/ 7963255 w 12192185"/>
              <a:gd name="connsiteY12056" fmla="*/ 6014199 h 6859062"/>
              <a:gd name="connsiteX12057" fmla="*/ 7962113 w 12192185"/>
              <a:gd name="connsiteY12057" fmla="*/ 6011653 h 6859062"/>
              <a:gd name="connsiteX12058" fmla="*/ 7949562 w 12192185"/>
              <a:gd name="connsiteY12058" fmla="*/ 5996226 h 6859062"/>
              <a:gd name="connsiteX12059" fmla="*/ 7948860 w 12192185"/>
              <a:gd name="connsiteY12059" fmla="*/ 5976645 h 6859062"/>
              <a:gd name="connsiteX12060" fmla="*/ 7961447 w 12192185"/>
              <a:gd name="connsiteY12060" fmla="*/ 5956663 h 6859062"/>
              <a:gd name="connsiteX12061" fmla="*/ 7970743 w 12192185"/>
              <a:gd name="connsiteY12061" fmla="*/ 5953640 h 6859062"/>
              <a:gd name="connsiteX12062" fmla="*/ 7984076 w 12192185"/>
              <a:gd name="connsiteY12062" fmla="*/ 5942969 h 6859062"/>
              <a:gd name="connsiteX12063" fmla="*/ 7988629 w 12192185"/>
              <a:gd name="connsiteY12063" fmla="*/ 5937833 h 6859062"/>
              <a:gd name="connsiteX12064" fmla="*/ 7932700 w 12192185"/>
              <a:gd name="connsiteY12064" fmla="*/ 5893576 h 6859062"/>
              <a:gd name="connsiteX12065" fmla="*/ 7917747 w 12192185"/>
              <a:gd name="connsiteY12065" fmla="*/ 5879010 h 6859062"/>
              <a:gd name="connsiteX12066" fmla="*/ 7911615 w 12192185"/>
              <a:gd name="connsiteY12066" fmla="*/ 5853740 h 6859062"/>
              <a:gd name="connsiteX12067" fmla="*/ 7938458 w 12192185"/>
              <a:gd name="connsiteY12067" fmla="*/ 5851148 h 6859062"/>
              <a:gd name="connsiteX12068" fmla="*/ 8000162 w 12192185"/>
              <a:gd name="connsiteY12068" fmla="*/ 5890758 h 6859062"/>
              <a:gd name="connsiteX12069" fmla="*/ 8026847 w 12192185"/>
              <a:gd name="connsiteY12069" fmla="*/ 5899266 h 6859062"/>
              <a:gd name="connsiteX12070" fmla="*/ 7961922 w 12192185"/>
              <a:gd name="connsiteY12070" fmla="*/ 5839030 h 6859062"/>
              <a:gd name="connsiteX12071" fmla="*/ 7859328 w 12192185"/>
              <a:gd name="connsiteY12071" fmla="*/ 5774142 h 6859062"/>
              <a:gd name="connsiteX12072" fmla="*/ 7796908 w 12192185"/>
              <a:gd name="connsiteY12072" fmla="*/ 5826606 h 6859062"/>
              <a:gd name="connsiteX12073" fmla="*/ 7656674 w 12192185"/>
              <a:gd name="connsiteY12073" fmla="*/ 5930748 h 6859062"/>
              <a:gd name="connsiteX12074" fmla="*/ 7504317 w 12192185"/>
              <a:gd name="connsiteY12074" fmla="*/ 6027505 h 6859062"/>
              <a:gd name="connsiteX12075" fmla="*/ 7412996 w 12192185"/>
              <a:gd name="connsiteY12075" fmla="*/ 6078278 h 6859062"/>
              <a:gd name="connsiteX12076" fmla="*/ 7411442 w 12192185"/>
              <a:gd name="connsiteY12076" fmla="*/ 6080646 h 6859062"/>
              <a:gd name="connsiteX12077" fmla="*/ 7404837 w 12192185"/>
              <a:gd name="connsiteY12077" fmla="*/ 6086187 h 6859062"/>
              <a:gd name="connsiteX12078" fmla="*/ 7388133 w 12192185"/>
              <a:gd name="connsiteY12078" fmla="*/ 6092102 h 6859062"/>
              <a:gd name="connsiteX12079" fmla="*/ 7348375 w 12192185"/>
              <a:gd name="connsiteY12079" fmla="*/ 6114207 h 6859062"/>
              <a:gd name="connsiteX12080" fmla="*/ 6336067 w 12192185"/>
              <a:gd name="connsiteY12080" fmla="*/ 6426635 h 6859062"/>
              <a:gd name="connsiteX12081" fmla="*/ 6066457 w 12192185"/>
              <a:gd name="connsiteY12081" fmla="*/ 6454405 h 6859062"/>
              <a:gd name="connsiteX12082" fmla="*/ 6042256 w 12192185"/>
              <a:gd name="connsiteY12082" fmla="*/ 6447317 h 6859062"/>
              <a:gd name="connsiteX12083" fmla="*/ 6052760 w 12192185"/>
              <a:gd name="connsiteY12083" fmla="*/ 6436612 h 6859062"/>
              <a:gd name="connsiteX12084" fmla="*/ 6903130 w 12192185"/>
              <a:gd name="connsiteY12084" fmla="*/ 6257467 h 6859062"/>
              <a:gd name="connsiteX12085" fmla="*/ 7320884 w 12192185"/>
              <a:gd name="connsiteY12085" fmla="*/ 6077265 h 6859062"/>
              <a:gd name="connsiteX12086" fmla="*/ 7339645 w 12192185"/>
              <a:gd name="connsiteY12086" fmla="*/ 6068760 h 6859062"/>
              <a:gd name="connsiteX12087" fmla="*/ 7335518 w 12192185"/>
              <a:gd name="connsiteY12087" fmla="*/ 6059520 h 6859062"/>
              <a:gd name="connsiteX12088" fmla="*/ 7333012 w 12192185"/>
              <a:gd name="connsiteY12088" fmla="*/ 6049285 h 6859062"/>
              <a:gd name="connsiteX12089" fmla="*/ 7334059 w 12192185"/>
              <a:gd name="connsiteY12089" fmla="*/ 6044691 h 6859062"/>
              <a:gd name="connsiteX12090" fmla="*/ 7336570 w 12192185"/>
              <a:gd name="connsiteY12090" fmla="*/ 6040851 h 6859062"/>
              <a:gd name="connsiteX12091" fmla="*/ 7222909 w 12192185"/>
              <a:gd name="connsiteY12091" fmla="*/ 6097617 h 6859062"/>
              <a:gd name="connsiteX12092" fmla="*/ 7213203 w 12192185"/>
              <a:gd name="connsiteY12092" fmla="*/ 6109304 h 6859062"/>
              <a:gd name="connsiteX12093" fmla="*/ 7209660 w 12192185"/>
              <a:gd name="connsiteY12093" fmla="*/ 6113616 h 6859062"/>
              <a:gd name="connsiteX12094" fmla="*/ 7205640 w 12192185"/>
              <a:gd name="connsiteY12094" fmla="*/ 6114405 h 6859062"/>
              <a:gd name="connsiteX12095" fmla="*/ 7202936 w 12192185"/>
              <a:gd name="connsiteY12095" fmla="*/ 6117841 h 6859062"/>
              <a:gd name="connsiteX12096" fmla="*/ 7203550 w 12192185"/>
              <a:gd name="connsiteY12096" fmla="*/ 6119337 h 6859062"/>
              <a:gd name="connsiteX12097" fmla="*/ 7184103 w 12192185"/>
              <a:gd name="connsiteY12097" fmla="*/ 6131492 h 6859062"/>
              <a:gd name="connsiteX12098" fmla="*/ 7185143 w 12192185"/>
              <a:gd name="connsiteY12098" fmla="*/ 6128503 h 6859062"/>
              <a:gd name="connsiteX12099" fmla="*/ 7184509 w 12192185"/>
              <a:gd name="connsiteY12099" fmla="*/ 6124733 h 6859062"/>
              <a:gd name="connsiteX12100" fmla="*/ 7180534 w 12192185"/>
              <a:gd name="connsiteY12100" fmla="*/ 6125320 h 6859062"/>
              <a:gd name="connsiteX12101" fmla="*/ 7178716 w 12192185"/>
              <a:gd name="connsiteY12101" fmla="*/ 6127679 h 6859062"/>
              <a:gd name="connsiteX12102" fmla="*/ 7172399 w 12192185"/>
              <a:gd name="connsiteY12102" fmla="*/ 6127305 h 6859062"/>
              <a:gd name="connsiteX12103" fmla="*/ 7170178 w 12192185"/>
              <a:gd name="connsiteY12103" fmla="*/ 6124880 h 6859062"/>
              <a:gd name="connsiteX12104" fmla="*/ 7167706 w 12192185"/>
              <a:gd name="connsiteY12104" fmla="*/ 6127302 h 6859062"/>
              <a:gd name="connsiteX12105" fmla="*/ 7166543 w 12192185"/>
              <a:gd name="connsiteY12105" fmla="*/ 6129597 h 6859062"/>
              <a:gd name="connsiteX12106" fmla="*/ 7164099 w 12192185"/>
              <a:gd name="connsiteY12106" fmla="*/ 6131893 h 6859062"/>
              <a:gd name="connsiteX12107" fmla="*/ 7161305 w 12192185"/>
              <a:gd name="connsiteY12107" fmla="*/ 6130109 h 6859062"/>
              <a:gd name="connsiteX12108" fmla="*/ 7160055 w 12192185"/>
              <a:gd name="connsiteY12108" fmla="*/ 6128381 h 6859062"/>
              <a:gd name="connsiteX12109" fmla="*/ 6961547 w 12192185"/>
              <a:gd name="connsiteY12109" fmla="*/ 6207513 h 6859062"/>
              <a:gd name="connsiteX12110" fmla="*/ 5475866 w 12192185"/>
              <a:gd name="connsiteY12110" fmla="*/ 6333050 h 6859062"/>
              <a:gd name="connsiteX12111" fmla="*/ 5461944 w 12192185"/>
              <a:gd name="connsiteY12111" fmla="*/ 6330254 h 6859062"/>
              <a:gd name="connsiteX12112" fmla="*/ 5453061 w 12192185"/>
              <a:gd name="connsiteY12112" fmla="*/ 6319001 h 6859062"/>
              <a:gd name="connsiteX12113" fmla="*/ 5569045 w 12192185"/>
              <a:gd name="connsiteY12113" fmla="*/ 6326687 h 6859062"/>
              <a:gd name="connsiteX12114" fmla="*/ 6430830 w 12192185"/>
              <a:gd name="connsiteY12114" fmla="*/ 6315299 h 6859062"/>
              <a:gd name="connsiteX12115" fmla="*/ 6525320 w 12192185"/>
              <a:gd name="connsiteY12115" fmla="*/ 6291370 h 6859062"/>
              <a:gd name="connsiteX12116" fmla="*/ 6542358 w 12192185"/>
              <a:gd name="connsiteY12116" fmla="*/ 6275850 h 6859062"/>
              <a:gd name="connsiteX12117" fmla="*/ 6521376 w 12192185"/>
              <a:gd name="connsiteY12117" fmla="*/ 6261052 h 6859062"/>
              <a:gd name="connsiteX12118" fmla="*/ 6485820 w 12192185"/>
              <a:gd name="connsiteY12118" fmla="*/ 6252245 h 6859062"/>
              <a:gd name="connsiteX12119" fmla="*/ 6540860 w 12192185"/>
              <a:gd name="connsiteY12119" fmla="*/ 6236804 h 6859062"/>
              <a:gd name="connsiteX12120" fmla="*/ 6461633 w 12192185"/>
              <a:gd name="connsiteY12120" fmla="*/ 6253101 h 6859062"/>
              <a:gd name="connsiteX12121" fmla="*/ 5928161 w 12192185"/>
              <a:gd name="connsiteY12121" fmla="*/ 6275201 h 6859062"/>
              <a:gd name="connsiteX12122" fmla="*/ 5880223 w 12192185"/>
              <a:gd name="connsiteY12122" fmla="*/ 6269693 h 6859062"/>
              <a:gd name="connsiteX12123" fmla="*/ 5808464 w 12192185"/>
              <a:gd name="connsiteY12123" fmla="*/ 6269066 h 6859062"/>
              <a:gd name="connsiteX12124" fmla="*/ 5547045 w 12192185"/>
              <a:gd name="connsiteY12124" fmla="*/ 6242048 h 6859062"/>
              <a:gd name="connsiteX12125" fmla="*/ 5530128 w 12192185"/>
              <a:gd name="connsiteY12125" fmla="*/ 6231967 h 6859062"/>
              <a:gd name="connsiteX12126" fmla="*/ 5636074 w 12192185"/>
              <a:gd name="connsiteY12126" fmla="*/ 6238728 h 6859062"/>
              <a:gd name="connsiteX12127" fmla="*/ 5401349 w 12192185"/>
              <a:gd name="connsiteY12127" fmla="*/ 6187392 h 6859062"/>
              <a:gd name="connsiteX12128" fmla="*/ 5262211 w 12192185"/>
              <a:gd name="connsiteY12128" fmla="*/ 6151496 h 6859062"/>
              <a:gd name="connsiteX12129" fmla="*/ 5249410 w 12192185"/>
              <a:gd name="connsiteY12129" fmla="*/ 6147635 h 6859062"/>
              <a:gd name="connsiteX12130" fmla="*/ 5249474 w 12192185"/>
              <a:gd name="connsiteY12130" fmla="*/ 6153116 h 6859062"/>
              <a:gd name="connsiteX12131" fmla="*/ 5248019 w 12192185"/>
              <a:gd name="connsiteY12131" fmla="*/ 6160253 h 6859062"/>
              <a:gd name="connsiteX12132" fmla="*/ 5245581 w 12192185"/>
              <a:gd name="connsiteY12132" fmla="*/ 6165585 h 6859062"/>
              <a:gd name="connsiteX12133" fmla="*/ 5236208 w 12192185"/>
              <a:gd name="connsiteY12133" fmla="*/ 6175350 h 6859062"/>
              <a:gd name="connsiteX12134" fmla="*/ 5230651 w 12192185"/>
              <a:gd name="connsiteY12134" fmla="*/ 6181706 h 6859062"/>
              <a:gd name="connsiteX12135" fmla="*/ 5227555 w 12192185"/>
              <a:gd name="connsiteY12135" fmla="*/ 6183384 h 6859062"/>
              <a:gd name="connsiteX12136" fmla="*/ 5219694 w 12192185"/>
              <a:gd name="connsiteY12136" fmla="*/ 6183649 h 6859062"/>
              <a:gd name="connsiteX12137" fmla="*/ 5206650 w 12192185"/>
              <a:gd name="connsiteY12137" fmla="*/ 6181724 h 6859062"/>
              <a:gd name="connsiteX12138" fmla="*/ 5202058 w 12192185"/>
              <a:gd name="connsiteY12138" fmla="*/ 6181878 h 6859062"/>
              <a:gd name="connsiteX12139" fmla="*/ 5199091 w 12192185"/>
              <a:gd name="connsiteY12139" fmla="*/ 6179484 h 6859062"/>
              <a:gd name="connsiteX12140" fmla="*/ 5194070 w 12192185"/>
              <a:gd name="connsiteY12140" fmla="*/ 6174533 h 6859062"/>
              <a:gd name="connsiteX12141" fmla="*/ 5191923 w 12192185"/>
              <a:gd name="connsiteY12141" fmla="*/ 6173031 h 6859062"/>
              <a:gd name="connsiteX12142" fmla="*/ 5186411 w 12192185"/>
              <a:gd name="connsiteY12142" fmla="*/ 6165340 h 6859062"/>
              <a:gd name="connsiteX12143" fmla="*/ 5184919 w 12192185"/>
              <a:gd name="connsiteY12143" fmla="*/ 6163814 h 6859062"/>
              <a:gd name="connsiteX12144" fmla="*/ 5186555 w 12192185"/>
              <a:gd name="connsiteY12144" fmla="*/ 6139213 h 6859062"/>
              <a:gd name="connsiteX12145" fmla="*/ 5192317 w 12192185"/>
              <a:gd name="connsiteY12145" fmla="*/ 6130414 h 6859062"/>
              <a:gd name="connsiteX12146" fmla="*/ 5124569 w 12192185"/>
              <a:gd name="connsiteY12146" fmla="*/ 6109979 h 6859062"/>
              <a:gd name="connsiteX12147" fmla="*/ 5119902 w 12192185"/>
              <a:gd name="connsiteY12147" fmla="*/ 6107931 h 6859062"/>
              <a:gd name="connsiteX12148" fmla="*/ 5114111 w 12192185"/>
              <a:gd name="connsiteY12148" fmla="*/ 6111988 h 6859062"/>
              <a:gd name="connsiteX12149" fmla="*/ 5033293 w 12192185"/>
              <a:gd name="connsiteY12149" fmla="*/ 6156713 h 6859062"/>
              <a:gd name="connsiteX12150" fmla="*/ 4816214 w 12192185"/>
              <a:gd name="connsiteY12150" fmla="*/ 6254081 h 6859062"/>
              <a:gd name="connsiteX12151" fmla="*/ 4710048 w 12192185"/>
              <a:gd name="connsiteY12151" fmla="*/ 6297422 h 6859062"/>
              <a:gd name="connsiteX12152" fmla="*/ 4708599 w 12192185"/>
              <a:gd name="connsiteY12152" fmla="*/ 6298932 h 6859062"/>
              <a:gd name="connsiteX12153" fmla="*/ 4701156 w 12192185"/>
              <a:gd name="connsiteY12153" fmla="*/ 6307448 h 6859062"/>
              <a:gd name="connsiteX12154" fmla="*/ 4697017 w 12192185"/>
              <a:gd name="connsiteY12154" fmla="*/ 6309697 h 6859062"/>
              <a:gd name="connsiteX12155" fmla="*/ 4686486 w 12192185"/>
              <a:gd name="connsiteY12155" fmla="*/ 6310051 h 6859062"/>
              <a:gd name="connsiteX12156" fmla="*/ 4677410 w 12192185"/>
              <a:gd name="connsiteY12156" fmla="*/ 6312466 h 6859062"/>
              <a:gd name="connsiteX12157" fmla="*/ 4675693 w 12192185"/>
              <a:gd name="connsiteY12157" fmla="*/ 6311446 h 6859062"/>
              <a:gd name="connsiteX12158" fmla="*/ 4596300 w 12192185"/>
              <a:gd name="connsiteY12158" fmla="*/ 6343857 h 6859062"/>
              <a:gd name="connsiteX12159" fmla="*/ 4140645 w 12192185"/>
              <a:gd name="connsiteY12159" fmla="*/ 6479712 h 6859062"/>
              <a:gd name="connsiteX12160" fmla="*/ 4055861 w 12192185"/>
              <a:gd name="connsiteY12160" fmla="*/ 6494497 h 6859062"/>
              <a:gd name="connsiteX12161" fmla="*/ 4032110 w 12192185"/>
              <a:gd name="connsiteY12161" fmla="*/ 6504253 h 6859062"/>
              <a:gd name="connsiteX12162" fmla="*/ 3999198 w 12192185"/>
              <a:gd name="connsiteY12162" fmla="*/ 6508618 h 6859062"/>
              <a:gd name="connsiteX12163" fmla="*/ 3855035 w 12192185"/>
              <a:gd name="connsiteY12163" fmla="*/ 6521828 h 6859062"/>
              <a:gd name="connsiteX12164" fmla="*/ 3786789 w 12192185"/>
              <a:gd name="connsiteY12164" fmla="*/ 6525283 h 6859062"/>
              <a:gd name="connsiteX12165" fmla="*/ 3784056 w 12192185"/>
              <a:gd name="connsiteY12165" fmla="*/ 6527055 h 6859062"/>
              <a:gd name="connsiteX12166" fmla="*/ 3766635 w 12192185"/>
              <a:gd name="connsiteY12166" fmla="*/ 6531526 h 6859062"/>
              <a:gd name="connsiteX12167" fmla="*/ 3751251 w 12192185"/>
              <a:gd name="connsiteY12167" fmla="*/ 6542917 h 6859062"/>
              <a:gd name="connsiteX12168" fmla="*/ 3752002 w 12192185"/>
              <a:gd name="connsiteY12168" fmla="*/ 6546301 h 6859062"/>
              <a:gd name="connsiteX12169" fmla="*/ 3762318 w 12192185"/>
              <a:gd name="connsiteY12169" fmla="*/ 6569429 h 6859062"/>
              <a:gd name="connsiteX12170" fmla="*/ 3763218 w 12192185"/>
              <a:gd name="connsiteY12170" fmla="*/ 6574294 h 6859062"/>
              <a:gd name="connsiteX12171" fmla="*/ 3762579 w 12192185"/>
              <a:gd name="connsiteY12171" fmla="*/ 6579478 h 6859062"/>
              <a:gd name="connsiteX12172" fmla="*/ 3800787 w 12192185"/>
              <a:gd name="connsiteY12172" fmla="*/ 6578493 h 6859062"/>
              <a:gd name="connsiteX12173" fmla="*/ 3950871 w 12192185"/>
              <a:gd name="connsiteY12173" fmla="*/ 6579646 h 6859062"/>
              <a:gd name="connsiteX12174" fmla="*/ 3761062 w 12192185"/>
              <a:gd name="connsiteY12174" fmla="*/ 6598346 h 6859062"/>
              <a:gd name="connsiteX12175" fmla="*/ 3760783 w 12192185"/>
              <a:gd name="connsiteY12175" fmla="*/ 6604679 h 6859062"/>
              <a:gd name="connsiteX12176" fmla="*/ 3758677 w 12192185"/>
              <a:gd name="connsiteY12176" fmla="*/ 6610980 h 6859062"/>
              <a:gd name="connsiteX12177" fmla="*/ 3734695 w 12192185"/>
              <a:gd name="connsiteY12177" fmla="*/ 6641191 h 6859062"/>
              <a:gd name="connsiteX12178" fmla="*/ 3731422 w 12192185"/>
              <a:gd name="connsiteY12178" fmla="*/ 6642550 h 6859062"/>
              <a:gd name="connsiteX12179" fmla="*/ 3712981 w 12192185"/>
              <a:gd name="connsiteY12179" fmla="*/ 6645575 h 6859062"/>
              <a:gd name="connsiteX12180" fmla="*/ 3705455 w 12192185"/>
              <a:gd name="connsiteY12180" fmla="*/ 6645705 h 6859062"/>
              <a:gd name="connsiteX12181" fmla="*/ 3692991 w 12192185"/>
              <a:gd name="connsiteY12181" fmla="*/ 6644986 h 6859062"/>
              <a:gd name="connsiteX12182" fmla="*/ 3681993 w 12192185"/>
              <a:gd name="connsiteY12182" fmla="*/ 6650159 h 6859062"/>
              <a:gd name="connsiteX12183" fmla="*/ 3677595 w 12192185"/>
              <a:gd name="connsiteY12183" fmla="*/ 6650437 h 6859062"/>
              <a:gd name="connsiteX12184" fmla="*/ 3676226 w 12192185"/>
              <a:gd name="connsiteY12184" fmla="*/ 6646192 h 6859062"/>
              <a:gd name="connsiteX12185" fmla="*/ 3676350 w 12192185"/>
              <a:gd name="connsiteY12185" fmla="*/ 6642773 h 6859062"/>
              <a:gd name="connsiteX12186" fmla="*/ 3675029 w 12192185"/>
              <a:gd name="connsiteY12186" fmla="*/ 6638362 h 6859062"/>
              <a:gd name="connsiteX12187" fmla="*/ 3670884 w 12192185"/>
              <a:gd name="connsiteY12187" fmla="*/ 6639757 h 6859062"/>
              <a:gd name="connsiteX12188" fmla="*/ 3663294 w 12192185"/>
              <a:gd name="connsiteY12188" fmla="*/ 6636126 h 6859062"/>
              <a:gd name="connsiteX12189" fmla="*/ 3662695 w 12192185"/>
              <a:gd name="connsiteY12189" fmla="*/ 6632211 h 6859062"/>
              <a:gd name="connsiteX12190" fmla="*/ 3658446 w 12192185"/>
              <a:gd name="connsiteY12190" fmla="*/ 6628970 h 6859062"/>
              <a:gd name="connsiteX12191" fmla="*/ 3655282 w 12192185"/>
              <a:gd name="connsiteY12191" fmla="*/ 6632951 h 6859062"/>
              <a:gd name="connsiteX12192" fmla="*/ 3654569 w 12192185"/>
              <a:gd name="connsiteY12192" fmla="*/ 6637099 h 6859062"/>
              <a:gd name="connsiteX12193" fmla="*/ 3639753 w 12192185"/>
              <a:gd name="connsiteY12193" fmla="*/ 6610436 h 6859062"/>
              <a:gd name="connsiteX12194" fmla="*/ 3641433 w 12192185"/>
              <a:gd name="connsiteY12194" fmla="*/ 6609091 h 6859062"/>
              <a:gd name="connsiteX12195" fmla="*/ 3641164 w 12192185"/>
              <a:gd name="connsiteY12195" fmla="*/ 6607444 h 6859062"/>
              <a:gd name="connsiteX12196" fmla="*/ 3384236 w 12192185"/>
              <a:gd name="connsiteY12196" fmla="*/ 6606026 h 6859062"/>
              <a:gd name="connsiteX12197" fmla="*/ 2960986 w 12192185"/>
              <a:gd name="connsiteY12197" fmla="*/ 6547613 h 6859062"/>
              <a:gd name="connsiteX12198" fmla="*/ 2960621 w 12192185"/>
              <a:gd name="connsiteY12198" fmla="*/ 6547523 h 6859062"/>
              <a:gd name="connsiteX12199" fmla="*/ 2960658 w 12192185"/>
              <a:gd name="connsiteY12199" fmla="*/ 6548866 h 6859062"/>
              <a:gd name="connsiteX12200" fmla="*/ 2961377 w 12192185"/>
              <a:gd name="connsiteY12200" fmla="*/ 6558566 h 6859062"/>
              <a:gd name="connsiteX12201" fmla="*/ 2960254 w 12192185"/>
              <a:gd name="connsiteY12201" fmla="*/ 6562460 h 6859062"/>
              <a:gd name="connsiteX12202" fmla="*/ 2954106 w 12192185"/>
              <a:gd name="connsiteY12202" fmla="*/ 6569124 h 6859062"/>
              <a:gd name="connsiteX12203" fmla="*/ 2941962 w 12192185"/>
              <a:gd name="connsiteY12203" fmla="*/ 6578274 h 6859062"/>
              <a:gd name="connsiteX12204" fmla="*/ 2938376 w 12192185"/>
              <a:gd name="connsiteY12204" fmla="*/ 6582161 h 6859062"/>
              <a:gd name="connsiteX12205" fmla="*/ 2934006 w 12192185"/>
              <a:gd name="connsiteY12205" fmla="*/ 6582658 h 6859062"/>
              <a:gd name="connsiteX12206" fmla="*/ 2925880 w 12192185"/>
              <a:gd name="connsiteY12206" fmla="*/ 6582772 h 6859062"/>
              <a:gd name="connsiteX12207" fmla="*/ 2922905 w 12192185"/>
              <a:gd name="connsiteY12207" fmla="*/ 6583321 h 6859062"/>
              <a:gd name="connsiteX12208" fmla="*/ 2912133 w 12192185"/>
              <a:gd name="connsiteY12208" fmla="*/ 6581618 h 6859062"/>
              <a:gd name="connsiteX12209" fmla="*/ 2909673 w 12192185"/>
              <a:gd name="connsiteY12209" fmla="*/ 6581610 h 6859062"/>
              <a:gd name="connsiteX12210" fmla="*/ 2890817 w 12192185"/>
              <a:gd name="connsiteY12210" fmla="*/ 6560347 h 6859062"/>
              <a:gd name="connsiteX12211" fmla="*/ 2887508 w 12192185"/>
              <a:gd name="connsiteY12211" fmla="*/ 6544978 h 6859062"/>
              <a:gd name="connsiteX12212" fmla="*/ 2886827 w 12192185"/>
              <a:gd name="connsiteY12212" fmla="*/ 6538805 h 6859062"/>
              <a:gd name="connsiteX12213" fmla="*/ 2888092 w 12192185"/>
              <a:gd name="connsiteY12213" fmla="*/ 6533194 h 6859062"/>
              <a:gd name="connsiteX12214" fmla="*/ 2889810 w 12192185"/>
              <a:gd name="connsiteY12214" fmla="*/ 6530111 h 6859062"/>
              <a:gd name="connsiteX12215" fmla="*/ 2820292 w 12192185"/>
              <a:gd name="connsiteY12215" fmla="*/ 6513018 h 6859062"/>
              <a:gd name="connsiteX12216" fmla="*/ 2871284 w 12192185"/>
              <a:gd name="connsiteY12216" fmla="*/ 6555976 h 6859062"/>
              <a:gd name="connsiteX12217" fmla="*/ 2695986 w 12192185"/>
              <a:gd name="connsiteY12217" fmla="*/ 6503147 h 6859062"/>
              <a:gd name="connsiteX12218" fmla="*/ 2536934 w 12192185"/>
              <a:gd name="connsiteY12218" fmla="*/ 6441155 h 6859062"/>
              <a:gd name="connsiteX12219" fmla="*/ 2526786 w 12192185"/>
              <a:gd name="connsiteY12219" fmla="*/ 6443760 h 6859062"/>
              <a:gd name="connsiteX12220" fmla="*/ 2511401 w 12192185"/>
              <a:gd name="connsiteY12220" fmla="*/ 6455151 h 6859062"/>
              <a:gd name="connsiteX12221" fmla="*/ 2511692 w 12192185"/>
              <a:gd name="connsiteY12221" fmla="*/ 6456460 h 6859062"/>
              <a:gd name="connsiteX12222" fmla="*/ 2591088 w 12192185"/>
              <a:gd name="connsiteY12222" fmla="*/ 6495545 h 6859062"/>
              <a:gd name="connsiteX12223" fmla="*/ 2743330 w 12192185"/>
              <a:gd name="connsiteY12223" fmla="*/ 6545127 h 6859062"/>
              <a:gd name="connsiteX12224" fmla="*/ 2814627 w 12192185"/>
              <a:gd name="connsiteY12224" fmla="*/ 6577902 h 6859062"/>
              <a:gd name="connsiteX12225" fmla="*/ 3133792 w 12192185"/>
              <a:gd name="connsiteY12225" fmla="*/ 6647797 h 6859062"/>
              <a:gd name="connsiteX12226" fmla="*/ 3315594 w 12192185"/>
              <a:gd name="connsiteY12226" fmla="*/ 6670421 h 6859062"/>
              <a:gd name="connsiteX12227" fmla="*/ 3406809 w 12192185"/>
              <a:gd name="connsiteY12227" fmla="*/ 6677463 h 6859062"/>
              <a:gd name="connsiteX12228" fmla="*/ 3413963 w 12192185"/>
              <a:gd name="connsiteY12228" fmla="*/ 6667422 h 6859062"/>
              <a:gd name="connsiteX12229" fmla="*/ 3421702 w 12192185"/>
              <a:gd name="connsiteY12229" fmla="*/ 6665386 h 6859062"/>
              <a:gd name="connsiteX12230" fmla="*/ 3433093 w 12192185"/>
              <a:gd name="connsiteY12230" fmla="*/ 6657287 h 6859062"/>
              <a:gd name="connsiteX12231" fmla="*/ 3437125 w 12192185"/>
              <a:gd name="connsiteY12231" fmla="*/ 6653231 h 6859062"/>
              <a:gd name="connsiteX12232" fmla="*/ 3453863 w 12192185"/>
              <a:gd name="connsiteY12232" fmla="*/ 6644777 h 6859062"/>
              <a:gd name="connsiteX12233" fmla="*/ 3464793 w 12192185"/>
              <a:gd name="connsiteY12233" fmla="*/ 6649831 h 6859062"/>
              <a:gd name="connsiteX12234" fmla="*/ 3472704 w 12192185"/>
              <a:gd name="connsiteY12234" fmla="*/ 6658756 h 6859062"/>
              <a:gd name="connsiteX12235" fmla="*/ 3476214 w 12192185"/>
              <a:gd name="connsiteY12235" fmla="*/ 6666412 h 6859062"/>
              <a:gd name="connsiteX12236" fmla="*/ 3471663 w 12192185"/>
              <a:gd name="connsiteY12236" fmla="*/ 6682180 h 6859062"/>
              <a:gd name="connsiteX12237" fmla="*/ 3471197 w 12192185"/>
              <a:gd name="connsiteY12237" fmla="*/ 6682435 h 6859062"/>
              <a:gd name="connsiteX12238" fmla="*/ 3497495 w 12192185"/>
              <a:gd name="connsiteY12238" fmla="*/ 6684466 h 6859062"/>
              <a:gd name="connsiteX12239" fmla="*/ 3638852 w 12192185"/>
              <a:gd name="connsiteY12239" fmla="*/ 6688311 h 6859062"/>
              <a:gd name="connsiteX12240" fmla="*/ 3638763 w 12192185"/>
              <a:gd name="connsiteY12240" fmla="*/ 6687484 h 6859062"/>
              <a:gd name="connsiteX12241" fmla="*/ 3640029 w 12192185"/>
              <a:gd name="connsiteY12241" fmla="*/ 6681873 h 6859062"/>
              <a:gd name="connsiteX12242" fmla="*/ 3642222 w 12192185"/>
              <a:gd name="connsiteY12242" fmla="*/ 6677936 h 6859062"/>
              <a:gd name="connsiteX12243" fmla="*/ 3646377 w 12192185"/>
              <a:gd name="connsiteY12243" fmla="*/ 6669642 h 6859062"/>
              <a:gd name="connsiteX12244" fmla="*/ 3647636 w 12192185"/>
              <a:gd name="connsiteY12244" fmla="*/ 6666491 h 6859062"/>
              <a:gd name="connsiteX12245" fmla="*/ 3650860 w 12192185"/>
              <a:gd name="connsiteY12245" fmla="*/ 6658984 h 6859062"/>
              <a:gd name="connsiteX12246" fmla="*/ 3670762 w 12192185"/>
              <a:gd name="connsiteY12246" fmla="*/ 6651017 h 6859062"/>
              <a:gd name="connsiteX12247" fmla="*/ 3681250 w 12192185"/>
              <a:gd name="connsiteY12247" fmla="*/ 6653693 h 6859062"/>
              <a:gd name="connsiteX12248" fmla="*/ 3700413 w 12192185"/>
              <a:gd name="connsiteY12248" fmla="*/ 6664145 h 6859062"/>
              <a:gd name="connsiteX12249" fmla="*/ 3705092 w 12192185"/>
              <a:gd name="connsiteY12249" fmla="*/ 6668660 h 6859062"/>
              <a:gd name="connsiteX12250" fmla="*/ 3709765 w 12192185"/>
              <a:gd name="connsiteY12250" fmla="*/ 6675635 h 6859062"/>
              <a:gd name="connsiteX12251" fmla="*/ 3712166 w 12192185"/>
              <a:gd name="connsiteY12251" fmla="*/ 6681952 h 6859062"/>
              <a:gd name="connsiteX12252" fmla="*/ 3712349 w 12192185"/>
              <a:gd name="connsiteY12252" fmla="*/ 6688587 h 6859062"/>
              <a:gd name="connsiteX12253" fmla="*/ 3862152 w 12192185"/>
              <a:gd name="connsiteY12253" fmla="*/ 6684772 h 6859062"/>
              <a:gd name="connsiteX12254" fmla="*/ 4087841 w 12192185"/>
              <a:gd name="connsiteY12254" fmla="*/ 6656140 h 6859062"/>
              <a:gd name="connsiteX12255" fmla="*/ 4130686 w 12192185"/>
              <a:gd name="connsiteY12255" fmla="*/ 6648133 h 6859062"/>
              <a:gd name="connsiteX12256" fmla="*/ 4130668 w 12192185"/>
              <a:gd name="connsiteY12256" fmla="*/ 6648113 h 6859062"/>
              <a:gd name="connsiteX12257" fmla="*/ 4127358 w 12192185"/>
              <a:gd name="connsiteY12257" fmla="*/ 6632745 h 6859062"/>
              <a:gd name="connsiteX12258" fmla="*/ 4126676 w 12192185"/>
              <a:gd name="connsiteY12258" fmla="*/ 6626571 h 6859062"/>
              <a:gd name="connsiteX12259" fmla="*/ 4127943 w 12192185"/>
              <a:gd name="connsiteY12259" fmla="*/ 6620960 h 6859062"/>
              <a:gd name="connsiteX12260" fmla="*/ 4130137 w 12192185"/>
              <a:gd name="connsiteY12260" fmla="*/ 6617023 h 6859062"/>
              <a:gd name="connsiteX12261" fmla="*/ 4134290 w 12192185"/>
              <a:gd name="connsiteY12261" fmla="*/ 6608729 h 6859062"/>
              <a:gd name="connsiteX12262" fmla="*/ 4135552 w 12192185"/>
              <a:gd name="connsiteY12262" fmla="*/ 6605578 h 6859062"/>
              <a:gd name="connsiteX12263" fmla="*/ 4138775 w 12192185"/>
              <a:gd name="connsiteY12263" fmla="*/ 6598071 h 6859062"/>
              <a:gd name="connsiteX12264" fmla="*/ 4158676 w 12192185"/>
              <a:gd name="connsiteY12264" fmla="*/ 6590104 h 6859062"/>
              <a:gd name="connsiteX12265" fmla="*/ 4169167 w 12192185"/>
              <a:gd name="connsiteY12265" fmla="*/ 6592781 h 6859062"/>
              <a:gd name="connsiteX12266" fmla="*/ 4188326 w 12192185"/>
              <a:gd name="connsiteY12266" fmla="*/ 6603232 h 6859062"/>
              <a:gd name="connsiteX12267" fmla="*/ 4193007 w 12192185"/>
              <a:gd name="connsiteY12267" fmla="*/ 6607747 h 6859062"/>
              <a:gd name="connsiteX12268" fmla="*/ 4197662 w 12192185"/>
              <a:gd name="connsiteY12268" fmla="*/ 6614722 h 6859062"/>
              <a:gd name="connsiteX12269" fmla="*/ 4200063 w 12192185"/>
              <a:gd name="connsiteY12269" fmla="*/ 6621040 h 6859062"/>
              <a:gd name="connsiteX12270" fmla="*/ 4200444 w 12192185"/>
              <a:gd name="connsiteY12270" fmla="*/ 6635089 h 6859062"/>
              <a:gd name="connsiteX12271" fmla="*/ 4312688 w 12192185"/>
              <a:gd name="connsiteY12271" fmla="*/ 6614111 h 6859062"/>
              <a:gd name="connsiteX12272" fmla="*/ 4357172 w 12192185"/>
              <a:gd name="connsiteY12272" fmla="*/ 6608455 h 6859062"/>
              <a:gd name="connsiteX12273" fmla="*/ 4292346 w 12192185"/>
              <a:gd name="connsiteY12273" fmla="*/ 6653579 h 6859062"/>
              <a:gd name="connsiteX12274" fmla="*/ 4198774 w 12192185"/>
              <a:gd name="connsiteY12274" fmla="*/ 6662285 h 6859062"/>
              <a:gd name="connsiteX12275" fmla="*/ 4182963 w 12192185"/>
              <a:gd name="connsiteY12275" fmla="*/ 6665174 h 6859062"/>
              <a:gd name="connsiteX12276" fmla="*/ 4181814 w 12192185"/>
              <a:gd name="connsiteY12276" fmla="*/ 6666040 h 6859062"/>
              <a:gd name="connsiteX12277" fmla="*/ 4178229 w 12192185"/>
              <a:gd name="connsiteY12277" fmla="*/ 6669927 h 6859062"/>
              <a:gd name="connsiteX12278" fmla="*/ 4173859 w 12192185"/>
              <a:gd name="connsiteY12278" fmla="*/ 6670424 h 6859062"/>
              <a:gd name="connsiteX12279" fmla="*/ 4170356 w 12192185"/>
              <a:gd name="connsiteY12279" fmla="*/ 6667475 h 6859062"/>
              <a:gd name="connsiteX12280" fmla="*/ 4168682 w 12192185"/>
              <a:gd name="connsiteY12280" fmla="*/ 6667781 h 6859062"/>
              <a:gd name="connsiteX12281" fmla="*/ 4165729 w 12192185"/>
              <a:gd name="connsiteY12281" fmla="*/ 6670539 h 6859062"/>
              <a:gd name="connsiteX12282" fmla="*/ 4162756 w 12192185"/>
              <a:gd name="connsiteY12282" fmla="*/ 6671087 h 6859062"/>
              <a:gd name="connsiteX12283" fmla="*/ 4160318 w 12192185"/>
              <a:gd name="connsiteY12283" fmla="*/ 6669308 h 6859062"/>
              <a:gd name="connsiteX12284" fmla="*/ 4106331 w 12192185"/>
              <a:gd name="connsiteY12284" fmla="*/ 6679159 h 6859062"/>
              <a:gd name="connsiteX12285" fmla="*/ 3921185 w 12192185"/>
              <a:gd name="connsiteY12285" fmla="*/ 6712306 h 6859062"/>
              <a:gd name="connsiteX12286" fmla="*/ 3698517 w 12192185"/>
              <a:gd name="connsiteY12286" fmla="*/ 6723473 h 6859062"/>
              <a:gd name="connsiteX12287" fmla="*/ 3693898 w 12192185"/>
              <a:gd name="connsiteY12287" fmla="*/ 6726953 h 6859062"/>
              <a:gd name="connsiteX12288" fmla="*/ 3690314 w 12192185"/>
              <a:gd name="connsiteY12288" fmla="*/ 6730840 h 6859062"/>
              <a:gd name="connsiteX12289" fmla="*/ 3685944 w 12192185"/>
              <a:gd name="connsiteY12289" fmla="*/ 6731337 h 6859062"/>
              <a:gd name="connsiteX12290" fmla="*/ 3677817 w 12192185"/>
              <a:gd name="connsiteY12290" fmla="*/ 6731452 h 6859062"/>
              <a:gd name="connsiteX12291" fmla="*/ 3674842 w 12192185"/>
              <a:gd name="connsiteY12291" fmla="*/ 6732000 h 6859062"/>
              <a:gd name="connsiteX12292" fmla="*/ 3664070 w 12192185"/>
              <a:gd name="connsiteY12292" fmla="*/ 6730296 h 6859062"/>
              <a:gd name="connsiteX12293" fmla="*/ 3661609 w 12192185"/>
              <a:gd name="connsiteY12293" fmla="*/ 6730289 h 6859062"/>
              <a:gd name="connsiteX12294" fmla="*/ 3657395 w 12192185"/>
              <a:gd name="connsiteY12294" fmla="*/ 6725536 h 6859062"/>
              <a:gd name="connsiteX12295" fmla="*/ 3623421 w 12192185"/>
              <a:gd name="connsiteY12295" fmla="*/ 6727240 h 6859062"/>
              <a:gd name="connsiteX12296" fmla="*/ 2748989 w 12192185"/>
              <a:gd name="connsiteY12296" fmla="*/ 6589609 h 6859062"/>
              <a:gd name="connsiteX12297" fmla="*/ 2633126 w 12192185"/>
              <a:gd name="connsiteY12297" fmla="*/ 6545716 h 6859062"/>
              <a:gd name="connsiteX12298" fmla="*/ 2522306 w 12192185"/>
              <a:gd name="connsiteY12298" fmla="*/ 6495176 h 6859062"/>
              <a:gd name="connsiteX12299" fmla="*/ 2521662 w 12192185"/>
              <a:gd name="connsiteY12299" fmla="*/ 6500428 h 6859062"/>
              <a:gd name="connsiteX12300" fmla="*/ 2520934 w 12192185"/>
              <a:gd name="connsiteY12300" fmla="*/ 6516914 h 6859062"/>
              <a:gd name="connsiteX12301" fmla="*/ 2518827 w 12192185"/>
              <a:gd name="connsiteY12301" fmla="*/ 6523214 h 6859062"/>
              <a:gd name="connsiteX12302" fmla="*/ 2507197 w 12192185"/>
              <a:gd name="connsiteY12302" fmla="*/ 6537863 h 6859062"/>
              <a:gd name="connsiteX12303" fmla="*/ 2508865 w 12192185"/>
              <a:gd name="connsiteY12303" fmla="*/ 6538633 h 6859062"/>
              <a:gd name="connsiteX12304" fmla="*/ 2735710 w 12192185"/>
              <a:gd name="connsiteY12304" fmla="*/ 6617298 h 6859062"/>
              <a:gd name="connsiteX12305" fmla="*/ 2997465 w 12192185"/>
              <a:gd name="connsiteY12305" fmla="*/ 6689144 h 6859062"/>
              <a:gd name="connsiteX12306" fmla="*/ 3119702 w 12192185"/>
              <a:gd name="connsiteY12306" fmla="*/ 6715502 h 6859062"/>
              <a:gd name="connsiteX12307" fmla="*/ 3120297 w 12192185"/>
              <a:gd name="connsiteY12307" fmla="*/ 6715191 h 6859062"/>
              <a:gd name="connsiteX12308" fmla="*/ 3129892 w 12192185"/>
              <a:gd name="connsiteY12308" fmla="*/ 6712441 h 6859062"/>
              <a:gd name="connsiteX12309" fmla="*/ 3139656 w 12192185"/>
              <a:gd name="connsiteY12309" fmla="*/ 6714932 h 6859062"/>
              <a:gd name="connsiteX12310" fmla="*/ 3149711 w 12192185"/>
              <a:gd name="connsiteY12310" fmla="*/ 6717548 h 6859062"/>
              <a:gd name="connsiteX12311" fmla="*/ 3153694 w 12192185"/>
              <a:gd name="connsiteY12311" fmla="*/ 6721190 h 6859062"/>
              <a:gd name="connsiteX12312" fmla="*/ 3264080 w 12192185"/>
              <a:gd name="connsiteY12312" fmla="*/ 6737391 h 6859062"/>
              <a:gd name="connsiteX12313" fmla="*/ 3469151 w 12192185"/>
              <a:gd name="connsiteY12313" fmla="*/ 6788436 h 6859062"/>
              <a:gd name="connsiteX12314" fmla="*/ 3296235 w 12192185"/>
              <a:gd name="connsiteY12314" fmla="*/ 6770909 h 6859062"/>
              <a:gd name="connsiteX12315" fmla="*/ 3168741 w 12192185"/>
              <a:gd name="connsiteY12315" fmla="*/ 6752692 h 6859062"/>
              <a:gd name="connsiteX12316" fmla="*/ 3168825 w 12192185"/>
              <a:gd name="connsiteY12316" fmla="*/ 6755740 h 6859062"/>
              <a:gd name="connsiteX12317" fmla="*/ 3169495 w 12192185"/>
              <a:gd name="connsiteY12317" fmla="*/ 6764766 h 6859062"/>
              <a:gd name="connsiteX12318" fmla="*/ 3168451 w 12192185"/>
              <a:gd name="connsiteY12318" fmla="*/ 6768391 h 6859062"/>
              <a:gd name="connsiteX12319" fmla="*/ 3162727 w 12192185"/>
              <a:gd name="connsiteY12319" fmla="*/ 6774591 h 6859062"/>
              <a:gd name="connsiteX12320" fmla="*/ 3151426 w 12192185"/>
              <a:gd name="connsiteY12320" fmla="*/ 6783106 h 6859062"/>
              <a:gd name="connsiteX12321" fmla="*/ 3148090 w 12192185"/>
              <a:gd name="connsiteY12321" fmla="*/ 6786723 h 6859062"/>
              <a:gd name="connsiteX12322" fmla="*/ 3144025 w 12192185"/>
              <a:gd name="connsiteY12322" fmla="*/ 6787185 h 6859062"/>
              <a:gd name="connsiteX12323" fmla="*/ 3136461 w 12192185"/>
              <a:gd name="connsiteY12323" fmla="*/ 6787292 h 6859062"/>
              <a:gd name="connsiteX12324" fmla="*/ 3133691 w 12192185"/>
              <a:gd name="connsiteY12324" fmla="*/ 6787802 h 6859062"/>
              <a:gd name="connsiteX12325" fmla="*/ 3123668 w 12192185"/>
              <a:gd name="connsiteY12325" fmla="*/ 6786217 h 6859062"/>
              <a:gd name="connsiteX12326" fmla="*/ 3121375 w 12192185"/>
              <a:gd name="connsiteY12326" fmla="*/ 6786210 h 6859062"/>
              <a:gd name="connsiteX12327" fmla="*/ 3103829 w 12192185"/>
              <a:gd name="connsiteY12327" fmla="*/ 6766423 h 6859062"/>
              <a:gd name="connsiteX12328" fmla="*/ 3100750 w 12192185"/>
              <a:gd name="connsiteY12328" fmla="*/ 6752122 h 6859062"/>
              <a:gd name="connsiteX12329" fmla="*/ 3100116 w 12192185"/>
              <a:gd name="connsiteY12329" fmla="*/ 6746377 h 6859062"/>
              <a:gd name="connsiteX12330" fmla="*/ 3101115 w 12192185"/>
              <a:gd name="connsiteY12330" fmla="*/ 6741949 h 6859062"/>
              <a:gd name="connsiteX12331" fmla="*/ 3077372 w 12192185"/>
              <a:gd name="connsiteY12331" fmla="*/ 6737457 h 6859062"/>
              <a:gd name="connsiteX12332" fmla="*/ 3079124 w 12192185"/>
              <a:gd name="connsiteY12332" fmla="*/ 6742065 h 6859062"/>
              <a:gd name="connsiteX12333" fmla="*/ 3079523 w 12192185"/>
              <a:gd name="connsiteY12333" fmla="*/ 6756574 h 6859062"/>
              <a:gd name="connsiteX12334" fmla="*/ 3080192 w 12192185"/>
              <a:gd name="connsiteY12334" fmla="*/ 6765601 h 6859062"/>
              <a:gd name="connsiteX12335" fmla="*/ 3079146 w 12192185"/>
              <a:gd name="connsiteY12335" fmla="*/ 6769226 h 6859062"/>
              <a:gd name="connsiteX12336" fmla="*/ 3073425 w 12192185"/>
              <a:gd name="connsiteY12336" fmla="*/ 6775426 h 6859062"/>
              <a:gd name="connsiteX12337" fmla="*/ 3062123 w 12192185"/>
              <a:gd name="connsiteY12337" fmla="*/ 6783940 h 6859062"/>
              <a:gd name="connsiteX12338" fmla="*/ 3058786 w 12192185"/>
              <a:gd name="connsiteY12338" fmla="*/ 6787558 h 6859062"/>
              <a:gd name="connsiteX12339" fmla="*/ 3054721 w 12192185"/>
              <a:gd name="connsiteY12339" fmla="*/ 6788021 h 6859062"/>
              <a:gd name="connsiteX12340" fmla="*/ 3047156 w 12192185"/>
              <a:gd name="connsiteY12340" fmla="*/ 6788127 h 6859062"/>
              <a:gd name="connsiteX12341" fmla="*/ 3044388 w 12192185"/>
              <a:gd name="connsiteY12341" fmla="*/ 6788636 h 6859062"/>
              <a:gd name="connsiteX12342" fmla="*/ 3034363 w 12192185"/>
              <a:gd name="connsiteY12342" fmla="*/ 6787052 h 6859062"/>
              <a:gd name="connsiteX12343" fmla="*/ 3032073 w 12192185"/>
              <a:gd name="connsiteY12343" fmla="*/ 6787045 h 6859062"/>
              <a:gd name="connsiteX12344" fmla="*/ 3014528 w 12192185"/>
              <a:gd name="connsiteY12344" fmla="*/ 6767259 h 6859062"/>
              <a:gd name="connsiteX12345" fmla="*/ 3011450 w 12192185"/>
              <a:gd name="connsiteY12345" fmla="*/ 6752956 h 6859062"/>
              <a:gd name="connsiteX12346" fmla="*/ 3010815 w 12192185"/>
              <a:gd name="connsiteY12346" fmla="*/ 6747212 h 6859062"/>
              <a:gd name="connsiteX12347" fmla="*/ 3011994 w 12192185"/>
              <a:gd name="connsiteY12347" fmla="*/ 6741990 h 6859062"/>
              <a:gd name="connsiteX12348" fmla="*/ 3014032 w 12192185"/>
              <a:gd name="connsiteY12348" fmla="*/ 6738326 h 6859062"/>
              <a:gd name="connsiteX12349" fmla="*/ 3017899 w 12192185"/>
              <a:gd name="connsiteY12349" fmla="*/ 6730608 h 6859062"/>
              <a:gd name="connsiteX12350" fmla="*/ 3019073 w 12192185"/>
              <a:gd name="connsiteY12350" fmla="*/ 6727676 h 6859062"/>
              <a:gd name="connsiteX12351" fmla="*/ 3019568 w 12192185"/>
              <a:gd name="connsiteY12351" fmla="*/ 6726522 h 6859062"/>
              <a:gd name="connsiteX12352" fmla="*/ 2954030 w 12192185"/>
              <a:gd name="connsiteY12352" fmla="*/ 6714123 h 6859062"/>
              <a:gd name="connsiteX12353" fmla="*/ 2785106 w 12192185"/>
              <a:gd name="connsiteY12353" fmla="*/ 6673498 h 6859062"/>
              <a:gd name="connsiteX12354" fmla="*/ 2455908 w 12192185"/>
              <a:gd name="connsiteY12354" fmla="*/ 6560878 h 6859062"/>
              <a:gd name="connsiteX12355" fmla="*/ 2450543 w 12192185"/>
              <a:gd name="connsiteY12355" fmla="*/ 6558442 h 6859062"/>
              <a:gd name="connsiteX12356" fmla="*/ 2442141 w 12192185"/>
              <a:gd name="connsiteY12356" fmla="*/ 6562394 h 6859062"/>
              <a:gd name="connsiteX12357" fmla="*/ 2437742 w 12192185"/>
              <a:gd name="connsiteY12357" fmla="*/ 6562671 h 6859062"/>
              <a:gd name="connsiteX12358" fmla="*/ 2436376 w 12192185"/>
              <a:gd name="connsiteY12358" fmla="*/ 6558426 h 6859062"/>
              <a:gd name="connsiteX12359" fmla="*/ 2436498 w 12192185"/>
              <a:gd name="connsiteY12359" fmla="*/ 6555008 h 6859062"/>
              <a:gd name="connsiteX12360" fmla="*/ 2435480 w 12192185"/>
              <a:gd name="connsiteY12360" fmla="*/ 6551603 h 6859062"/>
              <a:gd name="connsiteX12361" fmla="*/ 2434077 w 12192185"/>
              <a:gd name="connsiteY12361" fmla="*/ 6550966 h 6859062"/>
              <a:gd name="connsiteX12362" fmla="*/ 2431033 w 12192185"/>
              <a:gd name="connsiteY12362" fmla="*/ 6551990 h 6859062"/>
              <a:gd name="connsiteX12363" fmla="*/ 2423440 w 12192185"/>
              <a:gd name="connsiteY12363" fmla="*/ 6548361 h 6859062"/>
              <a:gd name="connsiteX12364" fmla="*/ 2423076 w 12192185"/>
              <a:gd name="connsiteY12364" fmla="*/ 6545971 h 6859062"/>
              <a:gd name="connsiteX12365" fmla="*/ 2416998 w 12192185"/>
              <a:gd name="connsiteY12365" fmla="*/ 6543212 h 6859062"/>
              <a:gd name="connsiteX12366" fmla="*/ 2415429 w 12192185"/>
              <a:gd name="connsiteY12366" fmla="*/ 6545184 h 6859062"/>
              <a:gd name="connsiteX12367" fmla="*/ 2414718 w 12192185"/>
              <a:gd name="connsiteY12367" fmla="*/ 6549332 h 6859062"/>
              <a:gd name="connsiteX12368" fmla="*/ 2409399 w 12192185"/>
              <a:gd name="connsiteY12368" fmla="*/ 6539761 h 6859062"/>
              <a:gd name="connsiteX12369" fmla="*/ 2297832 w 12192185"/>
              <a:gd name="connsiteY12369" fmla="*/ 6489105 h 6859062"/>
              <a:gd name="connsiteX12370" fmla="*/ 2143893 w 12192185"/>
              <a:gd name="connsiteY12370" fmla="*/ 6405991 h 6859062"/>
              <a:gd name="connsiteX12371" fmla="*/ 2418673 w 12192185"/>
              <a:gd name="connsiteY12371" fmla="*/ 6564084 h 6859062"/>
              <a:gd name="connsiteX12372" fmla="*/ 2422102 w 12192185"/>
              <a:gd name="connsiteY12372" fmla="*/ 6565775 h 6859062"/>
              <a:gd name="connsiteX12373" fmla="*/ 2430910 w 12192185"/>
              <a:gd name="connsiteY12373" fmla="*/ 6563250 h 6859062"/>
              <a:gd name="connsiteX12374" fmla="*/ 2441401 w 12192185"/>
              <a:gd name="connsiteY12374" fmla="*/ 6565927 h 6859062"/>
              <a:gd name="connsiteX12375" fmla="*/ 2460561 w 12192185"/>
              <a:gd name="connsiteY12375" fmla="*/ 6576380 h 6859062"/>
              <a:gd name="connsiteX12376" fmla="*/ 2465241 w 12192185"/>
              <a:gd name="connsiteY12376" fmla="*/ 6580894 h 6859062"/>
              <a:gd name="connsiteX12377" fmla="*/ 2469917 w 12192185"/>
              <a:gd name="connsiteY12377" fmla="*/ 6587868 h 6859062"/>
              <a:gd name="connsiteX12378" fmla="*/ 2470611 w 12192185"/>
              <a:gd name="connsiteY12378" fmla="*/ 6589698 h 6859062"/>
              <a:gd name="connsiteX12379" fmla="*/ 2702676 w 12192185"/>
              <a:gd name="connsiteY12379" fmla="*/ 6704143 h 6859062"/>
              <a:gd name="connsiteX12380" fmla="*/ 2698411 w 12192185"/>
              <a:gd name="connsiteY12380" fmla="*/ 6712765 h 6859062"/>
              <a:gd name="connsiteX12381" fmla="*/ 2532002 w 12192185"/>
              <a:gd name="connsiteY12381" fmla="*/ 6648645 h 6859062"/>
              <a:gd name="connsiteX12382" fmla="*/ 2472765 w 12192185"/>
              <a:gd name="connsiteY12382" fmla="*/ 6621906 h 6859062"/>
              <a:gd name="connsiteX12383" fmla="*/ 2472340 w 12192185"/>
              <a:gd name="connsiteY12383" fmla="*/ 6623374 h 6859062"/>
              <a:gd name="connsiteX12384" fmla="*/ 2466194 w 12192185"/>
              <a:gd name="connsiteY12384" fmla="*/ 6630037 h 6859062"/>
              <a:gd name="connsiteX12385" fmla="*/ 2454049 w 12192185"/>
              <a:gd name="connsiteY12385" fmla="*/ 6639187 h 6859062"/>
              <a:gd name="connsiteX12386" fmla="*/ 2450463 w 12192185"/>
              <a:gd name="connsiteY12386" fmla="*/ 6643075 h 6859062"/>
              <a:gd name="connsiteX12387" fmla="*/ 2446095 w 12192185"/>
              <a:gd name="connsiteY12387" fmla="*/ 6643571 h 6859062"/>
              <a:gd name="connsiteX12388" fmla="*/ 2437965 w 12192185"/>
              <a:gd name="connsiteY12388" fmla="*/ 6643685 h 6859062"/>
              <a:gd name="connsiteX12389" fmla="*/ 2434991 w 12192185"/>
              <a:gd name="connsiteY12389" fmla="*/ 6644234 h 6859062"/>
              <a:gd name="connsiteX12390" fmla="*/ 2424219 w 12192185"/>
              <a:gd name="connsiteY12390" fmla="*/ 6642531 h 6859062"/>
              <a:gd name="connsiteX12391" fmla="*/ 2421756 w 12192185"/>
              <a:gd name="connsiteY12391" fmla="*/ 6642524 h 6859062"/>
              <a:gd name="connsiteX12392" fmla="*/ 2402902 w 12192185"/>
              <a:gd name="connsiteY12392" fmla="*/ 6621260 h 6859062"/>
              <a:gd name="connsiteX12393" fmla="*/ 2399594 w 12192185"/>
              <a:gd name="connsiteY12393" fmla="*/ 6605891 h 6859062"/>
              <a:gd name="connsiteX12394" fmla="*/ 2398912 w 12192185"/>
              <a:gd name="connsiteY12394" fmla="*/ 6599718 h 6859062"/>
              <a:gd name="connsiteX12395" fmla="*/ 2400178 w 12192185"/>
              <a:gd name="connsiteY12395" fmla="*/ 6594107 h 6859062"/>
              <a:gd name="connsiteX12396" fmla="*/ 2402370 w 12192185"/>
              <a:gd name="connsiteY12396" fmla="*/ 6590170 h 6859062"/>
              <a:gd name="connsiteX12397" fmla="*/ 2402387 w 12192185"/>
              <a:gd name="connsiteY12397" fmla="*/ 6590136 h 6859062"/>
              <a:gd name="connsiteX12398" fmla="*/ 2364974 w 12192185"/>
              <a:gd name="connsiteY12398" fmla="*/ 6573247 h 6859062"/>
              <a:gd name="connsiteX12399" fmla="*/ 2125168 w 12192185"/>
              <a:gd name="connsiteY12399" fmla="*/ 6444444 h 6859062"/>
              <a:gd name="connsiteX12400" fmla="*/ 1986745 w 12192185"/>
              <a:gd name="connsiteY12400" fmla="*/ 6354661 h 6859062"/>
              <a:gd name="connsiteX12401" fmla="*/ 1986124 w 12192185"/>
              <a:gd name="connsiteY12401" fmla="*/ 6356810 h 6859062"/>
              <a:gd name="connsiteX12402" fmla="*/ 1979977 w 12192185"/>
              <a:gd name="connsiteY12402" fmla="*/ 6363473 h 6859062"/>
              <a:gd name="connsiteX12403" fmla="*/ 1967831 w 12192185"/>
              <a:gd name="connsiteY12403" fmla="*/ 6372624 h 6859062"/>
              <a:gd name="connsiteX12404" fmla="*/ 1964245 w 12192185"/>
              <a:gd name="connsiteY12404" fmla="*/ 6376511 h 6859062"/>
              <a:gd name="connsiteX12405" fmla="*/ 1959877 w 12192185"/>
              <a:gd name="connsiteY12405" fmla="*/ 6377009 h 6859062"/>
              <a:gd name="connsiteX12406" fmla="*/ 1951748 w 12192185"/>
              <a:gd name="connsiteY12406" fmla="*/ 6377123 h 6859062"/>
              <a:gd name="connsiteX12407" fmla="*/ 1948775 w 12192185"/>
              <a:gd name="connsiteY12407" fmla="*/ 6377671 h 6859062"/>
              <a:gd name="connsiteX12408" fmla="*/ 1938002 w 12192185"/>
              <a:gd name="connsiteY12408" fmla="*/ 6375967 h 6859062"/>
              <a:gd name="connsiteX12409" fmla="*/ 1935540 w 12192185"/>
              <a:gd name="connsiteY12409" fmla="*/ 6375960 h 6859062"/>
              <a:gd name="connsiteX12410" fmla="*/ 1916684 w 12192185"/>
              <a:gd name="connsiteY12410" fmla="*/ 6354697 h 6859062"/>
              <a:gd name="connsiteX12411" fmla="*/ 1913376 w 12192185"/>
              <a:gd name="connsiteY12411" fmla="*/ 6339328 h 6859062"/>
              <a:gd name="connsiteX12412" fmla="*/ 1912694 w 12192185"/>
              <a:gd name="connsiteY12412" fmla="*/ 6333154 h 6859062"/>
              <a:gd name="connsiteX12413" fmla="*/ 1913961 w 12192185"/>
              <a:gd name="connsiteY12413" fmla="*/ 6327545 h 6859062"/>
              <a:gd name="connsiteX12414" fmla="*/ 1916154 w 12192185"/>
              <a:gd name="connsiteY12414" fmla="*/ 6323607 h 6859062"/>
              <a:gd name="connsiteX12415" fmla="*/ 1920307 w 12192185"/>
              <a:gd name="connsiteY12415" fmla="*/ 6315314 h 6859062"/>
              <a:gd name="connsiteX12416" fmla="*/ 1921499 w 12192185"/>
              <a:gd name="connsiteY12416" fmla="*/ 6312337 h 6859062"/>
              <a:gd name="connsiteX12417" fmla="*/ 1898129 w 12192185"/>
              <a:gd name="connsiteY12417" fmla="*/ 6297178 h 6859062"/>
              <a:gd name="connsiteX12418" fmla="*/ 1853097 w 12192185"/>
              <a:gd name="connsiteY12418" fmla="*/ 6263408 h 6859062"/>
              <a:gd name="connsiteX12419" fmla="*/ 1853066 w 12192185"/>
              <a:gd name="connsiteY12419" fmla="*/ 6263665 h 6859062"/>
              <a:gd name="connsiteX12420" fmla="*/ 1855428 w 12192185"/>
              <a:gd name="connsiteY12420" fmla="*/ 6267589 h 6859062"/>
              <a:gd name="connsiteX12421" fmla="*/ 1854922 w 12192185"/>
              <a:gd name="connsiteY12421" fmla="*/ 6271934 h 6859062"/>
              <a:gd name="connsiteX12422" fmla="*/ 1851138 w 12192185"/>
              <a:gd name="connsiteY12422" fmla="*/ 6270343 h 6859062"/>
              <a:gd name="connsiteX12423" fmla="*/ 1847789 w 12192185"/>
              <a:gd name="connsiteY12423" fmla="*/ 6266382 h 6859062"/>
              <a:gd name="connsiteX12424" fmla="*/ 1841599 w 12192185"/>
              <a:gd name="connsiteY12424" fmla="*/ 6265345 h 6859062"/>
              <a:gd name="connsiteX12425" fmla="*/ 1840137 w 12192185"/>
              <a:gd name="connsiteY12425" fmla="*/ 6270410 h 6859062"/>
              <a:gd name="connsiteX12426" fmla="*/ 1861018 w 12192185"/>
              <a:gd name="connsiteY12426" fmla="*/ 6283672 h 6859062"/>
              <a:gd name="connsiteX12427" fmla="*/ 1865950 w 12192185"/>
              <a:gd name="connsiteY12427" fmla="*/ 6287341 h 6859062"/>
              <a:gd name="connsiteX12428" fmla="*/ 1871940 w 12192185"/>
              <a:gd name="connsiteY12428" fmla="*/ 6302042 h 6859062"/>
              <a:gd name="connsiteX12429" fmla="*/ 1874200 w 12192185"/>
              <a:gd name="connsiteY12429" fmla="*/ 6307184 h 6859062"/>
              <a:gd name="connsiteX12430" fmla="*/ 1873729 w 12192185"/>
              <a:gd name="connsiteY12430" fmla="*/ 6323513 h 6859062"/>
              <a:gd name="connsiteX12431" fmla="*/ 1871066 w 12192185"/>
              <a:gd name="connsiteY12431" fmla="*/ 6334470 h 6859062"/>
              <a:gd name="connsiteX12432" fmla="*/ 1873184 w 12192185"/>
              <a:gd name="connsiteY12432" fmla="*/ 6343563 h 6859062"/>
              <a:gd name="connsiteX12433" fmla="*/ 1873875 w 12192185"/>
              <a:gd name="connsiteY12433" fmla="*/ 6343762 h 6859062"/>
              <a:gd name="connsiteX12434" fmla="*/ 1877455 w 12192185"/>
              <a:gd name="connsiteY12434" fmla="*/ 6347789 h 6859062"/>
              <a:gd name="connsiteX12435" fmla="*/ 1873499 w 12192185"/>
              <a:gd name="connsiteY12435" fmla="*/ 6349392 h 6859062"/>
              <a:gd name="connsiteX12436" fmla="*/ 1859395 w 12192185"/>
              <a:gd name="connsiteY12436" fmla="*/ 6364530 h 6859062"/>
              <a:gd name="connsiteX12437" fmla="*/ 1855035 w 12192185"/>
              <a:gd name="connsiteY12437" fmla="*/ 6369258 h 6859062"/>
              <a:gd name="connsiteX12438" fmla="*/ 1850356 w 12192185"/>
              <a:gd name="connsiteY12438" fmla="*/ 6369904 h 6859062"/>
              <a:gd name="connsiteX12439" fmla="*/ 1847019 w 12192185"/>
              <a:gd name="connsiteY12439" fmla="*/ 6373680 h 6859062"/>
              <a:gd name="connsiteX12440" fmla="*/ 1847628 w 12192185"/>
              <a:gd name="connsiteY12440" fmla="*/ 6375441 h 6859062"/>
              <a:gd name="connsiteX12441" fmla="*/ 1824452 w 12192185"/>
              <a:gd name="connsiteY12441" fmla="*/ 6388152 h 6859062"/>
              <a:gd name="connsiteX12442" fmla="*/ 1825845 w 12192185"/>
              <a:gd name="connsiteY12442" fmla="*/ 6384782 h 6859062"/>
              <a:gd name="connsiteX12443" fmla="*/ 1825362 w 12192185"/>
              <a:gd name="connsiteY12443" fmla="*/ 6380401 h 6859062"/>
              <a:gd name="connsiteX12444" fmla="*/ 1820749 w 12192185"/>
              <a:gd name="connsiteY12444" fmla="*/ 6380817 h 6859062"/>
              <a:gd name="connsiteX12445" fmla="*/ 1818504 w 12192185"/>
              <a:gd name="connsiteY12445" fmla="*/ 6383411 h 6859062"/>
              <a:gd name="connsiteX12446" fmla="*/ 1811259 w 12192185"/>
              <a:gd name="connsiteY12446" fmla="*/ 6382567 h 6859062"/>
              <a:gd name="connsiteX12447" fmla="*/ 1808862 w 12192185"/>
              <a:gd name="connsiteY12447" fmla="*/ 6379630 h 6859062"/>
              <a:gd name="connsiteX12448" fmla="*/ 1805858 w 12192185"/>
              <a:gd name="connsiteY12448" fmla="*/ 6382256 h 6859062"/>
              <a:gd name="connsiteX12449" fmla="*/ 1804369 w 12192185"/>
              <a:gd name="connsiteY12449" fmla="*/ 6384819 h 6859062"/>
              <a:gd name="connsiteX12450" fmla="*/ 1801406 w 12192185"/>
              <a:gd name="connsiteY12450" fmla="*/ 6387301 h 6859062"/>
              <a:gd name="connsiteX12451" fmla="*/ 1798307 w 12192185"/>
              <a:gd name="connsiteY12451" fmla="*/ 6385065 h 6859062"/>
              <a:gd name="connsiteX12452" fmla="*/ 1792633 w 12192185"/>
              <a:gd name="connsiteY12452" fmla="*/ 6376194 h 6859062"/>
              <a:gd name="connsiteX12453" fmla="*/ 1783160 w 12192185"/>
              <a:gd name="connsiteY12453" fmla="*/ 6370964 h 6859062"/>
              <a:gd name="connsiteX12454" fmla="*/ 1777701 w 12192185"/>
              <a:gd name="connsiteY12454" fmla="*/ 6367393 h 6859062"/>
              <a:gd name="connsiteX12455" fmla="*/ 1765575 w 12192185"/>
              <a:gd name="connsiteY12455" fmla="*/ 6356658 h 6859062"/>
              <a:gd name="connsiteX12456" fmla="*/ 1763802 w 12192185"/>
              <a:gd name="connsiteY12456" fmla="*/ 6354151 h 6859062"/>
              <a:gd name="connsiteX12457" fmla="*/ 1760165 w 12192185"/>
              <a:gd name="connsiteY12457" fmla="*/ 6320920 h 6859062"/>
              <a:gd name="connsiteX12458" fmla="*/ 1761530 w 12192185"/>
              <a:gd name="connsiteY12458" fmla="*/ 6315327 h 6859062"/>
              <a:gd name="connsiteX12459" fmla="*/ 1768611 w 12192185"/>
              <a:gd name="connsiteY12459" fmla="*/ 6302901 h 6859062"/>
              <a:gd name="connsiteX12460" fmla="*/ 1773777 w 12192185"/>
              <a:gd name="connsiteY12460" fmla="*/ 6291920 h 6859062"/>
              <a:gd name="connsiteX12461" fmla="*/ 1776684 w 12192185"/>
              <a:gd name="connsiteY12461" fmla="*/ 6288767 h 6859062"/>
              <a:gd name="connsiteX12462" fmla="*/ 1794929 w 12192185"/>
              <a:gd name="connsiteY12462" fmla="*/ 6276572 h 6859062"/>
              <a:gd name="connsiteX12463" fmla="*/ 1797043 w 12192185"/>
              <a:gd name="connsiteY12463" fmla="*/ 6274437 h 6859062"/>
              <a:gd name="connsiteX12464" fmla="*/ 1791023 w 12192185"/>
              <a:gd name="connsiteY12464" fmla="*/ 6258979 h 6859062"/>
              <a:gd name="connsiteX12465" fmla="*/ 1780314 w 12192185"/>
              <a:gd name="connsiteY12465" fmla="*/ 6247655 h 6859062"/>
              <a:gd name="connsiteX12466" fmla="*/ 1771240 w 12192185"/>
              <a:gd name="connsiteY12466" fmla="*/ 6228073 h 6859062"/>
              <a:gd name="connsiteX12467" fmla="*/ 1772468 w 12192185"/>
              <a:gd name="connsiteY12467" fmla="*/ 6224685 h 6859062"/>
              <a:gd name="connsiteX12468" fmla="*/ 1774005 w 12192185"/>
              <a:gd name="connsiteY12468" fmla="*/ 6215899 h 6859062"/>
              <a:gd name="connsiteX12469" fmla="*/ 1776200 w 12192185"/>
              <a:gd name="connsiteY12469" fmla="*/ 6205743 h 6859062"/>
              <a:gd name="connsiteX12470" fmla="*/ 1753818 w 12192185"/>
              <a:gd name="connsiteY12470" fmla="*/ 6188958 h 6859062"/>
              <a:gd name="connsiteX12471" fmla="*/ 1354299 w 12192185"/>
              <a:gd name="connsiteY12471" fmla="*/ 5817500 h 6859062"/>
              <a:gd name="connsiteX12472" fmla="*/ 893501 w 12192185"/>
              <a:gd name="connsiteY12472" fmla="*/ 5080792 h 6859062"/>
              <a:gd name="connsiteX12473" fmla="*/ 758247 w 12192185"/>
              <a:gd name="connsiteY12473" fmla="*/ 4769179 h 6859062"/>
              <a:gd name="connsiteX12474" fmla="*/ 754716 w 12192185"/>
              <a:gd name="connsiteY12474" fmla="*/ 4752800 h 6859062"/>
              <a:gd name="connsiteX12475" fmla="*/ 753992 w 12192185"/>
              <a:gd name="connsiteY12475" fmla="*/ 4758541 h 6859062"/>
              <a:gd name="connsiteX12476" fmla="*/ 752871 w 12192185"/>
              <a:gd name="connsiteY12476" fmla="*/ 4761245 h 6859062"/>
              <a:gd name="connsiteX12477" fmla="*/ 745449 w 12192185"/>
              <a:gd name="connsiteY12477" fmla="*/ 4772799 h 6859062"/>
              <a:gd name="connsiteX12478" fmla="*/ 742969 w 12192185"/>
              <a:gd name="connsiteY12478" fmla="*/ 4776939 h 6859062"/>
              <a:gd name="connsiteX12479" fmla="*/ 726957 w 12192185"/>
              <a:gd name="connsiteY12479" fmla="*/ 4785725 h 6859062"/>
              <a:gd name="connsiteX12480" fmla="*/ 712561 w 12192185"/>
              <a:gd name="connsiteY12480" fmla="*/ 4790355 h 6859062"/>
              <a:gd name="connsiteX12481" fmla="*/ 708903 w 12192185"/>
              <a:gd name="connsiteY12481" fmla="*/ 4793539 h 6859062"/>
              <a:gd name="connsiteX12482" fmla="*/ 708556 w 12192185"/>
              <a:gd name="connsiteY12482" fmla="*/ 4797456 h 6859062"/>
              <a:gd name="connsiteX12483" fmla="*/ 705837 w 12192185"/>
              <a:gd name="connsiteY12483" fmla="*/ 4800327 h 6859062"/>
              <a:gd name="connsiteX12484" fmla="*/ 703315 w 12192185"/>
              <a:gd name="connsiteY12484" fmla="*/ 4796817 h 6859062"/>
              <a:gd name="connsiteX12485" fmla="*/ 703295 w 12192185"/>
              <a:gd name="connsiteY12485" fmla="*/ 4794556 h 6859062"/>
              <a:gd name="connsiteX12486" fmla="*/ 694574 w 12192185"/>
              <a:gd name="connsiteY12486" fmla="*/ 4788462 h 6859062"/>
              <a:gd name="connsiteX12487" fmla="*/ 691487 w 12192185"/>
              <a:gd name="connsiteY12487" fmla="*/ 4789863 h 6859062"/>
              <a:gd name="connsiteX12488" fmla="*/ 686632 w 12192185"/>
              <a:gd name="connsiteY12488" fmla="*/ 4789831 h 6859062"/>
              <a:gd name="connsiteX12489" fmla="*/ 686187 w 12192185"/>
              <a:gd name="connsiteY12489" fmla="*/ 4785565 h 6859062"/>
              <a:gd name="connsiteX12490" fmla="*/ 682893 w 12192185"/>
              <a:gd name="connsiteY12490" fmla="*/ 4780844 h 6859062"/>
              <a:gd name="connsiteX12491" fmla="*/ 671837 w 12192185"/>
              <a:gd name="connsiteY12491" fmla="*/ 4775101 h 6859062"/>
              <a:gd name="connsiteX12492" fmla="*/ 665014 w 12192185"/>
              <a:gd name="connsiteY12492" fmla="*/ 4773766 h 6859062"/>
              <a:gd name="connsiteX12493" fmla="*/ 662017 w 12192185"/>
              <a:gd name="connsiteY12493" fmla="*/ 4773972 h 6859062"/>
              <a:gd name="connsiteX12494" fmla="*/ 661813 w 12192185"/>
              <a:gd name="connsiteY12494" fmla="*/ 4770974 h 6859062"/>
              <a:gd name="connsiteX12495" fmla="*/ 663022 w 12192185"/>
              <a:gd name="connsiteY12495" fmla="*/ 4763950 h 6859062"/>
              <a:gd name="connsiteX12496" fmla="*/ 655936 w 12192185"/>
              <a:gd name="connsiteY12496" fmla="*/ 4752834 h 6859062"/>
              <a:gd name="connsiteX12497" fmla="*/ 644143 w 12192185"/>
              <a:gd name="connsiteY12497" fmla="*/ 4744151 h 6859062"/>
              <a:gd name="connsiteX12498" fmla="*/ 646512 w 12192185"/>
              <a:gd name="connsiteY12498" fmla="*/ 4738945 h 6859062"/>
              <a:gd name="connsiteX12499" fmla="*/ 652950 w 12192185"/>
              <a:gd name="connsiteY12499" fmla="*/ 4739674 h 6859062"/>
              <a:gd name="connsiteX12500" fmla="*/ 659182 w 12192185"/>
              <a:gd name="connsiteY12500" fmla="*/ 4737406 h 6859062"/>
              <a:gd name="connsiteX12501" fmla="*/ 654177 w 12192185"/>
              <a:gd name="connsiteY12501" fmla="*/ 4731785 h 6859062"/>
              <a:gd name="connsiteX12502" fmla="*/ 649671 w 12192185"/>
              <a:gd name="connsiteY12502" fmla="*/ 4730963 h 6859062"/>
              <a:gd name="connsiteX12503" fmla="*/ 646745 w 12192185"/>
              <a:gd name="connsiteY12503" fmla="*/ 4727712 h 6859062"/>
              <a:gd name="connsiteX12504" fmla="*/ 650440 w 12192185"/>
              <a:gd name="connsiteY12504" fmla="*/ 4725924 h 6859062"/>
              <a:gd name="connsiteX12505" fmla="*/ 655626 w 12192185"/>
              <a:gd name="connsiteY12505" fmla="*/ 4726029 h 6859062"/>
              <a:gd name="connsiteX12506" fmla="*/ 660496 w 12192185"/>
              <a:gd name="connsiteY12506" fmla="*/ 4722071 h 6859062"/>
              <a:gd name="connsiteX12507" fmla="*/ 657662 w 12192185"/>
              <a:gd name="connsiteY12507" fmla="*/ 4717624 h 6859062"/>
              <a:gd name="connsiteX12508" fmla="*/ 633908 w 12192185"/>
              <a:gd name="connsiteY12508" fmla="*/ 4724527 h 6859062"/>
              <a:gd name="connsiteX12509" fmla="*/ 627894 w 12192185"/>
              <a:gd name="connsiteY12509" fmla="*/ 4725801 h 6859062"/>
              <a:gd name="connsiteX12510" fmla="*/ 612905 w 12192185"/>
              <a:gd name="connsiteY12510" fmla="*/ 4720577 h 6859062"/>
              <a:gd name="connsiteX12511" fmla="*/ 607552 w 12192185"/>
              <a:gd name="connsiteY12511" fmla="*/ 4718872 h 6859062"/>
              <a:gd name="connsiteX12512" fmla="*/ 595611 w 12192185"/>
              <a:gd name="connsiteY12512" fmla="*/ 4707725 h 6859062"/>
              <a:gd name="connsiteX12513" fmla="*/ 589151 w 12192185"/>
              <a:gd name="connsiteY12513" fmla="*/ 4698485 h 6859062"/>
              <a:gd name="connsiteX12514" fmla="*/ 580928 w 12192185"/>
              <a:gd name="connsiteY12514" fmla="*/ 4694062 h 6859062"/>
              <a:gd name="connsiteX12515" fmla="*/ 580322 w 12192185"/>
              <a:gd name="connsiteY12515" fmla="*/ 4694449 h 6859062"/>
              <a:gd name="connsiteX12516" fmla="*/ 574934 w 12192185"/>
              <a:gd name="connsiteY12516" fmla="*/ 4694473 h 6859062"/>
              <a:gd name="connsiteX12517" fmla="*/ 576347 w 12192185"/>
              <a:gd name="connsiteY12517" fmla="*/ 4690446 h 6859062"/>
              <a:gd name="connsiteX12518" fmla="*/ 574312 w 12192185"/>
              <a:gd name="connsiteY12518" fmla="*/ 4669856 h 6859062"/>
              <a:gd name="connsiteX12519" fmla="*/ 573646 w 12192185"/>
              <a:gd name="connsiteY12519" fmla="*/ 4663458 h 6859062"/>
              <a:gd name="connsiteX12520" fmla="*/ 576255 w 12192185"/>
              <a:gd name="connsiteY12520" fmla="*/ 4659521 h 6859062"/>
              <a:gd name="connsiteX12521" fmla="*/ 575627 w 12192185"/>
              <a:gd name="connsiteY12521" fmla="*/ 4654520 h 6859062"/>
              <a:gd name="connsiteX12522" fmla="*/ 573903 w 12192185"/>
              <a:gd name="connsiteY12522" fmla="*/ 4653814 h 6859062"/>
              <a:gd name="connsiteX12523" fmla="*/ 579687 w 12192185"/>
              <a:gd name="connsiteY12523" fmla="*/ 4628020 h 6859062"/>
              <a:gd name="connsiteX12524" fmla="*/ 581296 w 12192185"/>
              <a:gd name="connsiteY12524" fmla="*/ 4631294 h 6859062"/>
              <a:gd name="connsiteX12525" fmla="*/ 584901 w 12192185"/>
              <a:gd name="connsiteY12525" fmla="*/ 4633828 h 6859062"/>
              <a:gd name="connsiteX12526" fmla="*/ 587640 w 12192185"/>
              <a:gd name="connsiteY12526" fmla="*/ 4630093 h 6859062"/>
              <a:gd name="connsiteX12527" fmla="*/ 587177 w 12192185"/>
              <a:gd name="connsiteY12527" fmla="*/ 4626692 h 6859062"/>
              <a:gd name="connsiteX12528" fmla="*/ 592598 w 12192185"/>
              <a:gd name="connsiteY12528" fmla="*/ 4621813 h 6859062"/>
              <a:gd name="connsiteX12529" fmla="*/ 596388 w 12192185"/>
              <a:gd name="connsiteY12529" fmla="*/ 4621957 h 6859062"/>
              <a:gd name="connsiteX12530" fmla="*/ 596404 w 12192185"/>
              <a:gd name="connsiteY12530" fmla="*/ 4617967 h 6859062"/>
              <a:gd name="connsiteX12531" fmla="*/ 595463 w 12192185"/>
              <a:gd name="connsiteY12531" fmla="*/ 4615155 h 6859062"/>
              <a:gd name="connsiteX12532" fmla="*/ 595560 w 12192185"/>
              <a:gd name="connsiteY12532" fmla="*/ 4611291 h 6859062"/>
              <a:gd name="connsiteX12533" fmla="*/ 599286 w 12192185"/>
              <a:gd name="connsiteY12533" fmla="*/ 4610445 h 6859062"/>
              <a:gd name="connsiteX12534" fmla="*/ 609695 w 12192185"/>
              <a:gd name="connsiteY12534" fmla="*/ 4612052 h 6859062"/>
              <a:gd name="connsiteX12535" fmla="*/ 619881 w 12192185"/>
              <a:gd name="connsiteY12535" fmla="*/ 4608400 h 6859062"/>
              <a:gd name="connsiteX12536" fmla="*/ 626169 w 12192185"/>
              <a:gd name="connsiteY12536" fmla="*/ 4606665 h 6859062"/>
              <a:gd name="connsiteX12537" fmla="*/ 642240 w 12192185"/>
              <a:gd name="connsiteY12537" fmla="*/ 4604662 h 6859062"/>
              <a:gd name="connsiteX12538" fmla="*/ 645292 w 12192185"/>
              <a:gd name="connsiteY12538" fmla="*/ 4604991 h 6859062"/>
              <a:gd name="connsiteX12539" fmla="*/ 672631 w 12192185"/>
              <a:gd name="connsiteY12539" fmla="*/ 4624230 h 6859062"/>
              <a:gd name="connsiteX12540" fmla="*/ 675926 w 12192185"/>
              <a:gd name="connsiteY12540" fmla="*/ 4628951 h 6859062"/>
              <a:gd name="connsiteX12541" fmla="*/ 680567 w 12192185"/>
              <a:gd name="connsiteY12541" fmla="*/ 4642478 h 6859062"/>
              <a:gd name="connsiteX12542" fmla="*/ 685392 w 12192185"/>
              <a:gd name="connsiteY12542" fmla="*/ 4653614 h 6859062"/>
              <a:gd name="connsiteX12543" fmla="*/ 685835 w 12192185"/>
              <a:gd name="connsiteY12543" fmla="*/ 4657880 h 6859062"/>
              <a:gd name="connsiteX12544" fmla="*/ 682925 w 12192185"/>
              <a:gd name="connsiteY12544" fmla="*/ 4679632 h 6859062"/>
              <a:gd name="connsiteX12545" fmla="*/ 683129 w 12192185"/>
              <a:gd name="connsiteY12545" fmla="*/ 4682629 h 6859062"/>
              <a:gd name="connsiteX12546" fmla="*/ 698708 w 12192185"/>
              <a:gd name="connsiteY12546" fmla="*/ 4688330 h 6859062"/>
              <a:gd name="connsiteX12547" fmla="*/ 714283 w 12192185"/>
              <a:gd name="connsiteY12547" fmla="*/ 4687781 h 6859062"/>
              <a:gd name="connsiteX12548" fmla="*/ 734975 w 12192185"/>
              <a:gd name="connsiteY12548" fmla="*/ 4693918 h 6859062"/>
              <a:gd name="connsiteX12549" fmla="*/ 736706 w 12192185"/>
              <a:gd name="connsiteY12549" fmla="*/ 4697079 h 6859062"/>
              <a:gd name="connsiteX12550" fmla="*/ 742281 w 12192185"/>
              <a:gd name="connsiteY12550" fmla="*/ 4704041 h 6859062"/>
              <a:gd name="connsiteX12551" fmla="*/ 744998 w 12192185"/>
              <a:gd name="connsiteY12551" fmla="*/ 4707722 h 6859062"/>
              <a:gd name="connsiteX12552" fmla="*/ 724286 w 12192185"/>
              <a:gd name="connsiteY12552" fmla="*/ 4611654 h 6859062"/>
              <a:gd name="connsiteX12553" fmla="*/ 670320 w 12192185"/>
              <a:gd name="connsiteY12553" fmla="*/ 4310105 h 6859062"/>
              <a:gd name="connsiteX12554" fmla="*/ 660321 w 12192185"/>
              <a:gd name="connsiteY12554" fmla="*/ 4442180 h 6859062"/>
              <a:gd name="connsiteX12555" fmla="*/ 602159 w 12192185"/>
              <a:gd name="connsiteY12555" fmla="*/ 4172499 h 6859062"/>
              <a:gd name="connsiteX12556" fmla="*/ 601758 w 12192185"/>
              <a:gd name="connsiteY12556" fmla="*/ 4166530 h 6859062"/>
              <a:gd name="connsiteX12557" fmla="*/ 598443 w 12192185"/>
              <a:gd name="connsiteY12557" fmla="*/ 4166555 h 6859062"/>
              <a:gd name="connsiteX12558" fmla="*/ 584226 w 12192185"/>
              <a:gd name="connsiteY12558" fmla="*/ 4163745 h 6859062"/>
              <a:gd name="connsiteX12559" fmla="*/ 577240 w 12192185"/>
              <a:gd name="connsiteY12559" fmla="*/ 4155318 h 6859062"/>
              <a:gd name="connsiteX12560" fmla="*/ 574426 w 12192185"/>
              <a:gd name="connsiteY12560" fmla="*/ 4151746 h 6859062"/>
              <a:gd name="connsiteX12561" fmla="*/ 565948 w 12192185"/>
              <a:gd name="connsiteY12561" fmla="*/ 4142661 h 6859062"/>
              <a:gd name="connsiteX12562" fmla="*/ 561639 w 12192185"/>
              <a:gd name="connsiteY12562" fmla="*/ 4138431 h 6859062"/>
              <a:gd name="connsiteX12563" fmla="*/ 557885 w 12192185"/>
              <a:gd name="connsiteY12563" fmla="*/ 4131700 h 6859062"/>
              <a:gd name="connsiteX12564" fmla="*/ 556424 w 12192185"/>
              <a:gd name="connsiteY12564" fmla="*/ 4123508 h 6859062"/>
              <a:gd name="connsiteX12565" fmla="*/ 554856 w 12192185"/>
              <a:gd name="connsiteY12565" fmla="*/ 4102505 h 6859062"/>
              <a:gd name="connsiteX12566" fmla="*/ 571036 w 12192185"/>
              <a:gd name="connsiteY12566" fmla="*/ 4068040 h 6859062"/>
              <a:gd name="connsiteX12567" fmla="*/ 574197 w 12192185"/>
              <a:gd name="connsiteY12567" fmla="*/ 4067098 h 6859062"/>
              <a:gd name="connsiteX12568" fmla="*/ 587397 w 12192185"/>
              <a:gd name="connsiteY12568" fmla="*/ 4060829 h 6859062"/>
              <a:gd name="connsiteX12569" fmla="*/ 591426 w 12192185"/>
              <a:gd name="connsiteY12569" fmla="*/ 4060408 h 6859062"/>
              <a:gd name="connsiteX12570" fmla="*/ 597255 w 12192185"/>
              <a:gd name="connsiteY12570" fmla="*/ 4063332 h 6859062"/>
              <a:gd name="connsiteX12571" fmla="*/ 597100 w 12192185"/>
              <a:gd name="connsiteY12571" fmla="*/ 4044514 h 6859062"/>
              <a:gd name="connsiteX12572" fmla="*/ 601419 w 12192185"/>
              <a:gd name="connsiteY12572" fmla="*/ 3998696 h 6859062"/>
              <a:gd name="connsiteX12573" fmla="*/ 644857 w 12192185"/>
              <a:gd name="connsiteY12573" fmla="*/ 4055255 h 6859062"/>
              <a:gd name="connsiteX12574" fmla="*/ 645257 w 12192185"/>
              <a:gd name="connsiteY12574" fmla="*/ 3922558 h 6859062"/>
              <a:gd name="connsiteX12575" fmla="*/ 630321 w 12192185"/>
              <a:gd name="connsiteY12575" fmla="*/ 3912698 h 6859062"/>
              <a:gd name="connsiteX12576" fmla="*/ 592934 w 12192185"/>
              <a:gd name="connsiteY12576" fmla="*/ 3877290 h 6859062"/>
              <a:gd name="connsiteX12577" fmla="*/ 601361 w 12192185"/>
              <a:gd name="connsiteY12577" fmla="*/ 3650094 h 6859062"/>
              <a:gd name="connsiteX12578" fmla="*/ 595373 w 12192185"/>
              <a:gd name="connsiteY12578" fmla="*/ 3653691 h 6859062"/>
              <a:gd name="connsiteX12579" fmla="*/ 582904 w 12192185"/>
              <a:gd name="connsiteY12579" fmla="*/ 3661104 h 6859062"/>
              <a:gd name="connsiteX12580" fmla="*/ 554313 w 12192185"/>
              <a:gd name="connsiteY12580" fmla="*/ 3658402 h 6859062"/>
              <a:gd name="connsiteX12581" fmla="*/ 547329 w 12192185"/>
              <a:gd name="connsiteY12581" fmla="*/ 3649974 h 6859062"/>
              <a:gd name="connsiteX12582" fmla="*/ 544514 w 12192185"/>
              <a:gd name="connsiteY12582" fmla="*/ 3646402 h 6859062"/>
              <a:gd name="connsiteX12583" fmla="*/ 536035 w 12192185"/>
              <a:gd name="connsiteY12583" fmla="*/ 3637317 h 6859062"/>
              <a:gd name="connsiteX12584" fmla="*/ 531727 w 12192185"/>
              <a:gd name="connsiteY12584" fmla="*/ 3633087 h 6859062"/>
              <a:gd name="connsiteX12585" fmla="*/ 527973 w 12192185"/>
              <a:gd name="connsiteY12585" fmla="*/ 3626357 h 6859062"/>
              <a:gd name="connsiteX12586" fmla="*/ 526512 w 12192185"/>
              <a:gd name="connsiteY12586" fmla="*/ 3618166 h 6859062"/>
              <a:gd name="connsiteX12587" fmla="*/ 524944 w 12192185"/>
              <a:gd name="connsiteY12587" fmla="*/ 3597164 h 6859062"/>
              <a:gd name="connsiteX12588" fmla="*/ 541124 w 12192185"/>
              <a:gd name="connsiteY12588" fmla="*/ 3562714 h 6859062"/>
              <a:gd name="connsiteX12589" fmla="*/ 544285 w 12192185"/>
              <a:gd name="connsiteY12589" fmla="*/ 3561774 h 6859062"/>
              <a:gd name="connsiteX12590" fmla="*/ 557484 w 12192185"/>
              <a:gd name="connsiteY12590" fmla="*/ 3555506 h 6859062"/>
              <a:gd name="connsiteX12591" fmla="*/ 561514 w 12192185"/>
              <a:gd name="connsiteY12591" fmla="*/ 3555083 h 6859062"/>
              <a:gd name="connsiteX12592" fmla="*/ 572004 w 12192185"/>
              <a:gd name="connsiteY12592" fmla="*/ 3552151 h 6859062"/>
              <a:gd name="connsiteX12593" fmla="*/ 577805 w 12192185"/>
              <a:gd name="connsiteY12593" fmla="*/ 3551137 h 6859062"/>
              <a:gd name="connsiteX12594" fmla="*/ 583885 w 12192185"/>
              <a:gd name="connsiteY12594" fmla="*/ 3554775 h 6859062"/>
              <a:gd name="connsiteX12595" fmla="*/ 602959 w 12192185"/>
              <a:gd name="connsiteY12595" fmla="*/ 3561935 h 6859062"/>
              <a:gd name="connsiteX12596" fmla="*/ 604595 w 12192185"/>
              <a:gd name="connsiteY12596" fmla="*/ 3562912 h 6859062"/>
              <a:gd name="connsiteX12597" fmla="*/ 605485 w 12192185"/>
              <a:gd name="connsiteY12597" fmla="*/ 3538904 h 6859062"/>
              <a:gd name="connsiteX12598" fmla="*/ 657343 w 12192185"/>
              <a:gd name="connsiteY12598" fmla="*/ 3257940 h 6859062"/>
              <a:gd name="connsiteX12599" fmla="*/ 665024 w 12192185"/>
              <a:gd name="connsiteY12599" fmla="*/ 3236565 h 6859062"/>
              <a:gd name="connsiteX12600" fmla="*/ 672969 w 12192185"/>
              <a:gd name="connsiteY12600" fmla="*/ 3223312 h 6859062"/>
              <a:gd name="connsiteX12601" fmla="*/ 676691 w 12192185"/>
              <a:gd name="connsiteY12601" fmla="*/ 3222213 h 6859062"/>
              <a:gd name="connsiteX12602" fmla="*/ 670256 w 12192185"/>
              <a:gd name="connsiteY12602" fmla="*/ 3222657 h 6859062"/>
              <a:gd name="connsiteX12603" fmla="*/ 667276 w 12192185"/>
              <a:gd name="connsiteY12603" fmla="*/ 3219909 h 6859062"/>
              <a:gd name="connsiteX12604" fmla="*/ 658142 w 12192185"/>
              <a:gd name="connsiteY12604" fmla="*/ 3213980 h 6859062"/>
              <a:gd name="connsiteX12605" fmla="*/ 653545 w 12192185"/>
              <a:gd name="connsiteY12605" fmla="*/ 3210298 h 6859062"/>
              <a:gd name="connsiteX12606" fmla="*/ 652254 w 12192185"/>
              <a:gd name="connsiteY12606" fmla="*/ 3203333 h 6859062"/>
              <a:gd name="connsiteX12607" fmla="*/ 645018 w 12192185"/>
              <a:gd name="connsiteY12607" fmla="*/ 3184281 h 6859062"/>
              <a:gd name="connsiteX12608" fmla="*/ 642806 w 12192185"/>
              <a:gd name="connsiteY12608" fmla="*/ 3172342 h 6859062"/>
              <a:gd name="connsiteX12609" fmla="*/ 644312 w 12192185"/>
              <a:gd name="connsiteY12609" fmla="*/ 3167122 h 6859062"/>
              <a:gd name="connsiteX12610" fmla="*/ 652054 w 12192185"/>
              <a:gd name="connsiteY12610" fmla="*/ 3156638 h 6859062"/>
              <a:gd name="connsiteX12611" fmla="*/ 663670 w 12192185"/>
              <a:gd name="connsiteY12611" fmla="*/ 3139269 h 6859062"/>
              <a:gd name="connsiteX12612" fmla="*/ 670901 w 12192185"/>
              <a:gd name="connsiteY12612" fmla="*/ 3133820 h 6859062"/>
              <a:gd name="connsiteX12613" fmla="*/ 681180 w 12192185"/>
              <a:gd name="connsiteY12613" fmla="*/ 3129252 h 6859062"/>
              <a:gd name="connsiteX12614" fmla="*/ 689711 w 12192185"/>
              <a:gd name="connsiteY12614" fmla="*/ 3127474 h 6859062"/>
              <a:gd name="connsiteX12615" fmla="*/ 718894 w 12192185"/>
              <a:gd name="connsiteY12615" fmla="*/ 3129305 h 6859062"/>
              <a:gd name="connsiteX12616" fmla="*/ 732700 w 12192185"/>
              <a:gd name="connsiteY12616" fmla="*/ 3133759 h 6859062"/>
              <a:gd name="connsiteX12617" fmla="*/ 740935 w 12192185"/>
              <a:gd name="connsiteY12617" fmla="*/ 3142970 h 6859062"/>
              <a:gd name="connsiteX12618" fmla="*/ 756929 w 12192185"/>
              <a:gd name="connsiteY12618" fmla="*/ 3026576 h 6859062"/>
              <a:gd name="connsiteX12619" fmla="*/ 789321 w 12192185"/>
              <a:gd name="connsiteY12619" fmla="*/ 2896426 h 6859062"/>
              <a:gd name="connsiteX12620" fmla="*/ 779838 w 12192185"/>
              <a:gd name="connsiteY12620" fmla="*/ 2885732 h 6859062"/>
              <a:gd name="connsiteX12621" fmla="*/ 776760 w 12192185"/>
              <a:gd name="connsiteY12621" fmla="*/ 2871430 h 6859062"/>
              <a:gd name="connsiteX12622" fmla="*/ 776124 w 12192185"/>
              <a:gd name="connsiteY12622" fmla="*/ 2865684 h 6859062"/>
              <a:gd name="connsiteX12623" fmla="*/ 777304 w 12192185"/>
              <a:gd name="connsiteY12623" fmla="*/ 2860463 h 6859062"/>
              <a:gd name="connsiteX12624" fmla="*/ 779344 w 12192185"/>
              <a:gd name="connsiteY12624" fmla="*/ 2856801 h 6859062"/>
              <a:gd name="connsiteX12625" fmla="*/ 783209 w 12192185"/>
              <a:gd name="connsiteY12625" fmla="*/ 2849084 h 6859062"/>
              <a:gd name="connsiteX12626" fmla="*/ 784384 w 12192185"/>
              <a:gd name="connsiteY12626" fmla="*/ 2846151 h 6859062"/>
              <a:gd name="connsiteX12627" fmla="*/ 787383 w 12192185"/>
              <a:gd name="connsiteY12627" fmla="*/ 2839164 h 6859062"/>
              <a:gd name="connsiteX12628" fmla="*/ 796304 w 12192185"/>
              <a:gd name="connsiteY12628" fmla="*/ 2834500 h 6859062"/>
              <a:gd name="connsiteX12629" fmla="*/ 805382 w 12192185"/>
              <a:gd name="connsiteY12629" fmla="*/ 2831897 h 6859062"/>
              <a:gd name="connsiteX12630" fmla="*/ 814287 w 12192185"/>
              <a:gd name="connsiteY12630" fmla="*/ 2796114 h 6859062"/>
              <a:gd name="connsiteX12631" fmla="*/ 1086140 w 12192185"/>
              <a:gd name="connsiteY12631" fmla="*/ 2277190 h 6859062"/>
              <a:gd name="connsiteX12632" fmla="*/ 1767180 w 12192185"/>
              <a:gd name="connsiteY12632" fmla="*/ 1535930 h 6859062"/>
              <a:gd name="connsiteX12633" fmla="*/ 2815911 w 12192185"/>
              <a:gd name="connsiteY12633" fmla="*/ 1055268 h 6859062"/>
              <a:gd name="connsiteX12634" fmla="*/ 3224930 w 12192185"/>
              <a:gd name="connsiteY12634" fmla="*/ 979323 h 6859062"/>
              <a:gd name="connsiteX12635" fmla="*/ 3494594 w 12192185"/>
              <a:gd name="connsiteY12635" fmla="*/ 980875 h 6859062"/>
              <a:gd name="connsiteX12636" fmla="*/ 3497819 w 12192185"/>
              <a:gd name="connsiteY12636" fmla="*/ 981003 h 6859062"/>
              <a:gd name="connsiteX12637" fmla="*/ 3489499 w 12192185"/>
              <a:gd name="connsiteY12637" fmla="*/ 979729 h 6859062"/>
              <a:gd name="connsiteX12638" fmla="*/ 3481643 w 12192185"/>
              <a:gd name="connsiteY12638" fmla="*/ 974751 h 6859062"/>
              <a:gd name="connsiteX12639" fmla="*/ 3477358 w 12192185"/>
              <a:gd name="connsiteY12639" fmla="*/ 969773 h 6859062"/>
              <a:gd name="connsiteX12640" fmla="*/ 3477357 w 12192185"/>
              <a:gd name="connsiteY12640" fmla="*/ 956974 h 6859062"/>
              <a:gd name="connsiteX12641" fmla="*/ 3485214 w 12192185"/>
              <a:gd name="connsiteY12641" fmla="*/ 949150 h 6859062"/>
              <a:gd name="connsiteX12642" fmla="*/ 3490215 w 12192185"/>
              <a:gd name="connsiteY12642" fmla="*/ 939906 h 6859062"/>
              <a:gd name="connsiteX12643" fmla="*/ 3494144 w 12192185"/>
              <a:gd name="connsiteY12643" fmla="*/ 930305 h 6859062"/>
              <a:gd name="connsiteX12644" fmla="*/ 3499499 w 12192185"/>
              <a:gd name="connsiteY12644" fmla="*/ 923905 h 6859062"/>
              <a:gd name="connsiteX12645" fmla="*/ 3507358 w 12192185"/>
              <a:gd name="connsiteY12645" fmla="*/ 919993 h 6859062"/>
              <a:gd name="connsiteX12646" fmla="*/ 3514500 w 12192185"/>
              <a:gd name="connsiteY12646" fmla="*/ 919994 h 6859062"/>
              <a:gd name="connsiteX12647" fmla="*/ 3515572 w 12192185"/>
              <a:gd name="connsiteY12647" fmla="*/ 921416 h 6859062"/>
              <a:gd name="connsiteX12648" fmla="*/ 3525570 w 12192185"/>
              <a:gd name="connsiteY12648" fmla="*/ 929238 h 6859062"/>
              <a:gd name="connsiteX12649" fmla="*/ 3528786 w 12192185"/>
              <a:gd name="connsiteY12649" fmla="*/ 941329 h 6859062"/>
              <a:gd name="connsiteX12650" fmla="*/ 3523787 w 12192185"/>
              <a:gd name="connsiteY12650" fmla="*/ 955551 h 6859062"/>
              <a:gd name="connsiteX12651" fmla="*/ 3518427 w 12192185"/>
              <a:gd name="connsiteY12651" fmla="*/ 958751 h 6859062"/>
              <a:gd name="connsiteX12652" fmla="*/ 3511643 w 12192185"/>
              <a:gd name="connsiteY12652" fmla="*/ 967285 h 6859062"/>
              <a:gd name="connsiteX12653" fmla="*/ 3509500 w 12192185"/>
              <a:gd name="connsiteY12653" fmla="*/ 971196 h 6859062"/>
              <a:gd name="connsiteX12654" fmla="*/ 3498899 w 12192185"/>
              <a:gd name="connsiteY12654" fmla="*/ 981047 h 6859062"/>
              <a:gd name="connsiteX12655" fmla="*/ 3533107 w 12192185"/>
              <a:gd name="connsiteY12655" fmla="*/ 982410 h 6859062"/>
              <a:gd name="connsiteX12656" fmla="*/ 3537928 w 12192185"/>
              <a:gd name="connsiteY12656" fmla="*/ 976449 h 6859062"/>
              <a:gd name="connsiteX12657" fmla="*/ 3604814 w 12192185"/>
              <a:gd name="connsiteY12657" fmla="*/ 910353 h 6859062"/>
              <a:gd name="connsiteX12658" fmla="*/ 3608834 w 12192185"/>
              <a:gd name="connsiteY12658" fmla="*/ 909626 h 6859062"/>
              <a:gd name="connsiteX12659" fmla="*/ 3612123 w 12192185"/>
              <a:gd name="connsiteY12659" fmla="*/ 904878 h 6859062"/>
              <a:gd name="connsiteX12660" fmla="*/ 3619433 w 12192185"/>
              <a:gd name="connsiteY12660" fmla="*/ 899401 h 6859062"/>
              <a:gd name="connsiteX12661" fmla="*/ 3616141 w 12192185"/>
              <a:gd name="connsiteY12661" fmla="*/ 904148 h 6859062"/>
              <a:gd name="connsiteX12662" fmla="*/ 3612852 w 12192185"/>
              <a:gd name="connsiteY12662" fmla="*/ 908897 h 6859062"/>
              <a:gd name="connsiteX12663" fmla="*/ 3651961 w 12192185"/>
              <a:gd name="connsiteY12663" fmla="*/ 872745 h 6859062"/>
              <a:gd name="connsiteX12664" fmla="*/ 3672787 w 12192185"/>
              <a:gd name="connsiteY12664" fmla="*/ 873118 h 6859062"/>
              <a:gd name="connsiteX12665" fmla="*/ 3805766 w 12192185"/>
              <a:gd name="connsiteY12665" fmla="*/ 753267 h 6859062"/>
              <a:gd name="connsiteX12666" fmla="*/ 3816255 w 12192185"/>
              <a:gd name="connsiteY12666" fmla="*/ 740998 h 6859062"/>
              <a:gd name="connsiteX12667" fmla="*/ 3809960 w 12192185"/>
              <a:gd name="connsiteY12667" fmla="*/ 740685 h 6859062"/>
              <a:gd name="connsiteX12668" fmla="*/ 3796002 w 12192185"/>
              <a:gd name="connsiteY12668" fmla="*/ 735218 h 6859062"/>
              <a:gd name="connsiteX12669" fmla="*/ 3794989 w 12192185"/>
              <a:gd name="connsiteY12669" fmla="*/ 732930 h 6859062"/>
              <a:gd name="connsiteX12670" fmla="*/ 3791542 w 12192185"/>
              <a:gd name="connsiteY12670" fmla="*/ 727783 h 6859062"/>
              <a:gd name="connsiteX12671" fmla="*/ 3787700 w 12192185"/>
              <a:gd name="connsiteY12671" fmla="*/ 721527 h 6859062"/>
              <a:gd name="connsiteX12672" fmla="*/ 3787224 w 12192185"/>
              <a:gd name="connsiteY12672" fmla="*/ 715952 h 6859062"/>
              <a:gd name="connsiteX12673" fmla="*/ 3784254 w 12192185"/>
              <a:gd name="connsiteY12673" fmla="*/ 700594 h 6859062"/>
              <a:gd name="connsiteX12674" fmla="*/ 3786651 w 12192185"/>
              <a:gd name="connsiteY12674" fmla="*/ 689379 h 6859062"/>
              <a:gd name="connsiteX12675" fmla="*/ 3787585 w 12192185"/>
              <a:gd name="connsiteY12675" fmla="*/ 687573 h 6859062"/>
              <a:gd name="connsiteX12676" fmla="*/ 3793404 w 12192185"/>
              <a:gd name="connsiteY12676" fmla="*/ 680015 h 6859062"/>
              <a:gd name="connsiteX12677" fmla="*/ 3795361 w 12192185"/>
              <a:gd name="connsiteY12677" fmla="*/ 677297 h 6859062"/>
              <a:gd name="connsiteX12678" fmla="*/ 3806963 w 12192185"/>
              <a:gd name="connsiteY12678" fmla="*/ 672160 h 6859062"/>
              <a:gd name="connsiteX12679" fmla="*/ 3817197 w 12192185"/>
              <a:gd name="connsiteY12679" fmla="*/ 669805 h 6859062"/>
              <a:gd name="connsiteX12680" fmla="*/ 3819916 w 12192185"/>
              <a:gd name="connsiteY12680" fmla="*/ 667817 h 6859062"/>
              <a:gd name="connsiteX12681" fmla="*/ 3820387 w 12192185"/>
              <a:gd name="connsiteY12681" fmla="*/ 665126 h 6859062"/>
              <a:gd name="connsiteX12682" fmla="*/ 3822438 w 12192185"/>
              <a:gd name="connsiteY12682" fmla="*/ 663301 h 6859062"/>
              <a:gd name="connsiteX12683" fmla="*/ 3823977 w 12192185"/>
              <a:gd name="connsiteY12683" fmla="*/ 665877 h 6859062"/>
              <a:gd name="connsiteX12684" fmla="*/ 3823857 w 12192185"/>
              <a:gd name="connsiteY12684" fmla="*/ 667443 h 6859062"/>
              <a:gd name="connsiteX12685" fmla="*/ 3829532 w 12192185"/>
              <a:gd name="connsiteY12685" fmla="*/ 672174 h 6859062"/>
              <a:gd name="connsiteX12686" fmla="*/ 3831751 w 12192185"/>
              <a:gd name="connsiteY12686" fmla="*/ 671387 h 6859062"/>
              <a:gd name="connsiteX12687" fmla="*/ 3835110 w 12192185"/>
              <a:gd name="connsiteY12687" fmla="*/ 671695 h 6859062"/>
              <a:gd name="connsiteX12688" fmla="*/ 3835165 w 12192185"/>
              <a:gd name="connsiteY12688" fmla="*/ 674673 h 6859062"/>
              <a:gd name="connsiteX12689" fmla="*/ 3837168 w 12192185"/>
              <a:gd name="connsiteY12689" fmla="*/ 678135 h 6859062"/>
              <a:gd name="connsiteX12690" fmla="*/ 3844479 w 12192185"/>
              <a:gd name="connsiteY12690" fmla="*/ 682760 h 6859062"/>
              <a:gd name="connsiteX12691" fmla="*/ 3849123 w 12192185"/>
              <a:gd name="connsiteY12691" fmla="*/ 684086 h 6859062"/>
              <a:gd name="connsiteX12692" fmla="*/ 3851209 w 12192185"/>
              <a:gd name="connsiteY12692" fmla="*/ 684120 h 6859062"/>
              <a:gd name="connsiteX12693" fmla="*/ 3851173 w 12192185"/>
              <a:gd name="connsiteY12693" fmla="*/ 686206 h 6859062"/>
              <a:gd name="connsiteX12694" fmla="*/ 3849922 w 12192185"/>
              <a:gd name="connsiteY12694" fmla="*/ 690997 h 6859062"/>
              <a:gd name="connsiteX12695" fmla="*/ 3854170 w 12192185"/>
              <a:gd name="connsiteY12695" fmla="*/ 699105 h 6859062"/>
              <a:gd name="connsiteX12696" fmla="*/ 3858072 w 12192185"/>
              <a:gd name="connsiteY12696" fmla="*/ 702525 h 6859062"/>
              <a:gd name="connsiteX12697" fmla="*/ 3873165 w 12192185"/>
              <a:gd name="connsiteY12697" fmla="*/ 693176 h 6859062"/>
              <a:gd name="connsiteX12698" fmla="*/ 3920526 w 12192185"/>
              <a:gd name="connsiteY12698" fmla="*/ 667804 h 6859062"/>
              <a:gd name="connsiteX12699" fmla="*/ 3944641 w 12192185"/>
              <a:gd name="connsiteY12699" fmla="*/ 650445 h 6859062"/>
              <a:gd name="connsiteX12700" fmla="*/ 3944611 w 12192185"/>
              <a:gd name="connsiteY12700" fmla="*/ 650209 h 6859062"/>
              <a:gd name="connsiteX12701" fmla="*/ 3942097 w 12192185"/>
              <a:gd name="connsiteY12701" fmla="*/ 635914 h 6859062"/>
              <a:gd name="connsiteX12702" fmla="*/ 3943106 w 12192185"/>
              <a:gd name="connsiteY12702" fmla="*/ 629707 h 6859062"/>
              <a:gd name="connsiteX12703" fmla="*/ 3946070 w 12192185"/>
              <a:gd name="connsiteY12703" fmla="*/ 622479 h 6859062"/>
              <a:gd name="connsiteX12704" fmla="*/ 3949495 w 12192185"/>
              <a:gd name="connsiteY12704" fmla="*/ 617490 h 6859062"/>
              <a:gd name="connsiteX12705" fmla="*/ 3965014 w 12192185"/>
              <a:gd name="connsiteY12705" fmla="*/ 604392 h 6859062"/>
              <a:gd name="connsiteX12706" fmla="*/ 3974080 w 12192185"/>
              <a:gd name="connsiteY12706" fmla="*/ 599997 h 6859062"/>
              <a:gd name="connsiteX12707" fmla="*/ 3993707 w 12192185"/>
              <a:gd name="connsiteY12707" fmla="*/ 603553 h 6859062"/>
              <a:gd name="connsiteX12708" fmla="*/ 3998044 w 12192185"/>
              <a:gd name="connsiteY12708" fmla="*/ 609796 h 6859062"/>
              <a:gd name="connsiteX12709" fmla="*/ 3999693 w 12192185"/>
              <a:gd name="connsiteY12709" fmla="*/ 612301 h 6859062"/>
              <a:gd name="connsiteX12710" fmla="*/ 4025276 w 12192185"/>
              <a:gd name="connsiteY12710" fmla="*/ 593333 h 6859062"/>
              <a:gd name="connsiteX12711" fmla="*/ 4065343 w 12192185"/>
              <a:gd name="connsiteY12711" fmla="*/ 565311 h 6859062"/>
              <a:gd name="connsiteX12712" fmla="*/ 4138071 w 12192185"/>
              <a:gd name="connsiteY12712" fmla="*/ 531364 h 6859062"/>
              <a:gd name="connsiteX12713" fmla="*/ 4102244 w 12192185"/>
              <a:gd name="connsiteY12713" fmla="*/ 562767 h 6859062"/>
              <a:gd name="connsiteX12714" fmla="*/ 4057658 w 12192185"/>
              <a:gd name="connsiteY12714" fmla="*/ 591610 h 6859062"/>
              <a:gd name="connsiteX12715" fmla="*/ 4026229 w 12192185"/>
              <a:gd name="connsiteY12715" fmla="*/ 601461 h 6859062"/>
              <a:gd name="connsiteX12716" fmla="*/ 4003987 w 12192185"/>
              <a:gd name="connsiteY12716" fmla="*/ 617789 h 6859062"/>
              <a:gd name="connsiteX12717" fmla="*/ 4005112 w 12192185"/>
              <a:gd name="connsiteY12717" fmla="*/ 619220 h 6859062"/>
              <a:gd name="connsiteX12718" fmla="*/ 4007845 w 12192185"/>
              <a:gd name="connsiteY12718" fmla="*/ 622402 h 6859062"/>
              <a:gd name="connsiteX12719" fmla="*/ 4010045 w 12192185"/>
              <a:gd name="connsiteY12719" fmla="*/ 627280 h 6859062"/>
              <a:gd name="connsiteX12720" fmla="*/ 4010574 w 12192185"/>
              <a:gd name="connsiteY12720" fmla="*/ 633035 h 6859062"/>
              <a:gd name="connsiteX12721" fmla="*/ 4010422 w 12192185"/>
              <a:gd name="connsiteY12721" fmla="*/ 647663 h 6859062"/>
              <a:gd name="connsiteX12722" fmla="*/ 3997193 w 12192185"/>
              <a:gd name="connsiteY12722" fmla="*/ 670559 h 6859062"/>
              <a:gd name="connsiteX12723" fmla="*/ 3994950 w 12192185"/>
              <a:gd name="connsiteY12723" fmla="*/ 671024 h 6859062"/>
              <a:gd name="connsiteX12724" fmla="*/ 3985447 w 12192185"/>
              <a:gd name="connsiteY12724" fmla="*/ 674584 h 6859062"/>
              <a:gd name="connsiteX12725" fmla="*/ 3982634 w 12192185"/>
              <a:gd name="connsiteY12725" fmla="*/ 674639 h 6859062"/>
              <a:gd name="connsiteX12726" fmla="*/ 3975201 w 12192185"/>
              <a:gd name="connsiteY12726" fmla="*/ 676049 h 6859062"/>
              <a:gd name="connsiteX12727" fmla="*/ 3971126 w 12192185"/>
              <a:gd name="connsiteY12727" fmla="*/ 676410 h 6859062"/>
              <a:gd name="connsiteX12728" fmla="*/ 3967134 w 12192185"/>
              <a:gd name="connsiteY12728" fmla="*/ 673534 h 6859062"/>
              <a:gd name="connsiteX12729" fmla="*/ 3954358 w 12192185"/>
              <a:gd name="connsiteY12729" fmla="*/ 667456 h 6859062"/>
              <a:gd name="connsiteX12730" fmla="*/ 3947511 w 12192185"/>
              <a:gd name="connsiteY12730" fmla="*/ 662527 h 6859062"/>
              <a:gd name="connsiteX12731" fmla="*/ 3945761 w 12192185"/>
              <a:gd name="connsiteY12731" fmla="*/ 659185 h 6859062"/>
              <a:gd name="connsiteX12732" fmla="*/ 3945691 w 12192185"/>
              <a:gd name="connsiteY12732" fmla="*/ 658645 h 6859062"/>
              <a:gd name="connsiteX12733" fmla="*/ 3930473 w 12192185"/>
              <a:gd name="connsiteY12733" fmla="*/ 668642 h 6859062"/>
              <a:gd name="connsiteX12734" fmla="*/ 3931929 w 12192185"/>
              <a:gd name="connsiteY12734" fmla="*/ 676680 h 6859062"/>
              <a:gd name="connsiteX12735" fmla="*/ 3889029 w 12192185"/>
              <a:gd name="connsiteY12735" fmla="*/ 711962 h 6859062"/>
              <a:gd name="connsiteX12736" fmla="*/ 3876671 w 12192185"/>
              <a:gd name="connsiteY12736" fmla="*/ 721562 h 6859062"/>
              <a:gd name="connsiteX12737" fmla="*/ 3882048 w 12192185"/>
              <a:gd name="connsiteY12737" fmla="*/ 723964 h 6859062"/>
              <a:gd name="connsiteX12738" fmla="*/ 3885651 w 12192185"/>
              <a:gd name="connsiteY12738" fmla="*/ 725459 h 6859062"/>
              <a:gd name="connsiteX12739" fmla="*/ 3893260 w 12192185"/>
              <a:gd name="connsiteY12739" fmla="*/ 733877 h 6859062"/>
              <a:gd name="connsiteX12740" fmla="*/ 3897185 w 12192185"/>
              <a:gd name="connsiteY12740" fmla="*/ 740653 h 6859062"/>
              <a:gd name="connsiteX12741" fmla="*/ 3902614 w 12192185"/>
              <a:gd name="connsiteY12741" fmla="*/ 744197 h 6859062"/>
              <a:gd name="connsiteX12742" fmla="*/ 3903057 w 12192185"/>
              <a:gd name="connsiteY12742" fmla="*/ 743966 h 6859062"/>
              <a:gd name="connsiteX12743" fmla="*/ 3906786 w 12192185"/>
              <a:gd name="connsiteY12743" fmla="*/ 744267 h 6859062"/>
              <a:gd name="connsiteX12744" fmla="*/ 3905572 w 12192185"/>
              <a:gd name="connsiteY12744" fmla="*/ 746970 h 6859062"/>
              <a:gd name="connsiteX12745" fmla="*/ 3905765 w 12192185"/>
              <a:gd name="connsiteY12745" fmla="*/ 761339 h 6859062"/>
              <a:gd name="connsiteX12746" fmla="*/ 3905849 w 12192185"/>
              <a:gd name="connsiteY12746" fmla="*/ 765805 h 6859062"/>
              <a:gd name="connsiteX12747" fmla="*/ 3903812 w 12192185"/>
              <a:gd name="connsiteY12747" fmla="*/ 768376 h 6859062"/>
              <a:gd name="connsiteX12748" fmla="*/ 3903952 w 12192185"/>
              <a:gd name="connsiteY12748" fmla="*/ 771873 h 6859062"/>
              <a:gd name="connsiteX12749" fmla="*/ 3905103 w 12192185"/>
              <a:gd name="connsiteY12749" fmla="*/ 772465 h 6859062"/>
              <a:gd name="connsiteX12750" fmla="*/ 3899579 w 12192185"/>
              <a:gd name="connsiteY12750" fmla="*/ 789972 h 6859062"/>
              <a:gd name="connsiteX12751" fmla="*/ 3898661 w 12192185"/>
              <a:gd name="connsiteY12751" fmla="*/ 787612 h 6859062"/>
              <a:gd name="connsiteX12752" fmla="*/ 3896314 w 12192185"/>
              <a:gd name="connsiteY12752" fmla="*/ 785647 h 6859062"/>
              <a:gd name="connsiteX12753" fmla="*/ 3894199 w 12192185"/>
              <a:gd name="connsiteY12753" fmla="*/ 788070 h 6859062"/>
              <a:gd name="connsiteX12754" fmla="*/ 3894318 w 12192185"/>
              <a:gd name="connsiteY12754" fmla="*/ 790451 h 6859062"/>
              <a:gd name="connsiteX12755" fmla="*/ 3890280 w 12192185"/>
              <a:gd name="connsiteY12755" fmla="*/ 793506 h 6859062"/>
              <a:gd name="connsiteX12756" fmla="*/ 3887666 w 12192185"/>
              <a:gd name="connsiteY12756" fmla="*/ 793184 h 6859062"/>
              <a:gd name="connsiteX12757" fmla="*/ 3887419 w 12192185"/>
              <a:gd name="connsiteY12757" fmla="*/ 795944 h 6859062"/>
              <a:gd name="connsiteX12758" fmla="*/ 3887904 w 12192185"/>
              <a:gd name="connsiteY12758" fmla="*/ 797945 h 6859062"/>
              <a:gd name="connsiteX12759" fmla="*/ 3887609 w 12192185"/>
              <a:gd name="connsiteY12759" fmla="*/ 800613 h 6859062"/>
              <a:gd name="connsiteX12760" fmla="*/ 3884983 w 12192185"/>
              <a:gd name="connsiteY12760" fmla="*/ 800980 h 6859062"/>
              <a:gd name="connsiteX12761" fmla="*/ 3877872 w 12192185"/>
              <a:gd name="connsiteY12761" fmla="*/ 799255 h 6859062"/>
              <a:gd name="connsiteX12762" fmla="*/ 3870609 w 12192185"/>
              <a:gd name="connsiteY12762" fmla="*/ 801181 h 6859062"/>
              <a:gd name="connsiteX12763" fmla="*/ 3866155 w 12192185"/>
              <a:gd name="connsiteY12763" fmla="*/ 802010 h 6859062"/>
              <a:gd name="connsiteX12764" fmla="*/ 3854917 w 12192185"/>
              <a:gd name="connsiteY12764" fmla="*/ 802449 h 6859062"/>
              <a:gd name="connsiteX12765" fmla="*/ 3852822 w 12192185"/>
              <a:gd name="connsiteY12765" fmla="*/ 802042 h 6859062"/>
              <a:gd name="connsiteX12766" fmla="*/ 3835038 w 12192185"/>
              <a:gd name="connsiteY12766" fmla="*/ 787117 h 6859062"/>
              <a:gd name="connsiteX12767" fmla="*/ 3833038 w 12192185"/>
              <a:gd name="connsiteY12767" fmla="*/ 783656 h 6859062"/>
              <a:gd name="connsiteX12768" fmla="*/ 3830623 w 12192185"/>
              <a:gd name="connsiteY12768" fmla="*/ 774022 h 6859062"/>
              <a:gd name="connsiteX12769" fmla="*/ 3827939 w 12192185"/>
              <a:gd name="connsiteY12769" fmla="*/ 766031 h 6859062"/>
              <a:gd name="connsiteX12770" fmla="*/ 3827884 w 12192185"/>
              <a:gd name="connsiteY12770" fmla="*/ 763054 h 6859062"/>
              <a:gd name="connsiteX12771" fmla="*/ 3828883 w 12192185"/>
              <a:gd name="connsiteY12771" fmla="*/ 758548 h 6859062"/>
              <a:gd name="connsiteX12772" fmla="*/ 3786547 w 12192185"/>
              <a:gd name="connsiteY12772" fmla="*/ 790738 h 6859062"/>
              <a:gd name="connsiteX12773" fmla="*/ 3736011 w 12192185"/>
              <a:gd name="connsiteY12773" fmla="*/ 832593 h 6859062"/>
              <a:gd name="connsiteX12774" fmla="*/ 3727244 w 12192185"/>
              <a:gd name="connsiteY12774" fmla="*/ 830032 h 6859062"/>
              <a:gd name="connsiteX12775" fmla="*/ 3654501 w 12192185"/>
              <a:gd name="connsiteY12775" fmla="*/ 909642 h 6859062"/>
              <a:gd name="connsiteX12776" fmla="*/ 3608086 w 12192185"/>
              <a:gd name="connsiteY12776" fmla="*/ 951270 h 6859062"/>
              <a:gd name="connsiteX12777" fmla="*/ 3612834 w 12192185"/>
              <a:gd name="connsiteY12777" fmla="*/ 954559 h 6859062"/>
              <a:gd name="connsiteX12778" fmla="*/ 3585074 w 12192185"/>
              <a:gd name="connsiteY12778" fmla="*/ 984481 h 6859062"/>
              <a:gd name="connsiteX12779" fmla="*/ 3763620 w 12192185"/>
              <a:gd name="connsiteY12779" fmla="*/ 991597 h 6859062"/>
              <a:gd name="connsiteX12780" fmla="*/ 4031465 w 12192185"/>
              <a:gd name="connsiteY12780" fmla="*/ 1017743 h 6859062"/>
              <a:gd name="connsiteX12781" fmla="*/ 4096608 w 12192185"/>
              <a:gd name="connsiteY12781" fmla="*/ 1029452 h 6859062"/>
              <a:gd name="connsiteX12782" fmla="*/ 4112058 w 12192185"/>
              <a:gd name="connsiteY12782" fmla="*/ 1014839 h 6859062"/>
              <a:gd name="connsiteX12783" fmla="*/ 4110781 w 12192185"/>
              <a:gd name="connsiteY12783" fmla="*/ 996200 h 6859062"/>
              <a:gd name="connsiteX12784" fmla="*/ 4116497 w 12192185"/>
              <a:gd name="connsiteY12784" fmla="*/ 942750 h 6859062"/>
              <a:gd name="connsiteX12785" fmla="*/ 4195706 w 12192185"/>
              <a:gd name="connsiteY12785" fmla="*/ 886832 h 6859062"/>
              <a:gd name="connsiteX12786" fmla="*/ 4196782 w 12192185"/>
              <a:gd name="connsiteY12786" fmla="*/ 884457 h 6859062"/>
              <a:gd name="connsiteX12787" fmla="*/ 4202876 w 12192185"/>
              <a:gd name="connsiteY12787" fmla="*/ 881017 h 6859062"/>
              <a:gd name="connsiteX12788" fmla="*/ 4207952 w 12192185"/>
              <a:gd name="connsiteY12788" fmla="*/ 878186 h 6859062"/>
              <a:gd name="connsiteX12789" fmla="*/ 4405262 w 12192185"/>
              <a:gd name="connsiteY12789" fmla="*/ 738895 h 6859062"/>
              <a:gd name="connsiteX12790" fmla="*/ 4671331 w 12192185"/>
              <a:gd name="connsiteY12790" fmla="*/ 604005 h 6859062"/>
              <a:gd name="connsiteX12791" fmla="*/ 4693938 w 12192185"/>
              <a:gd name="connsiteY12791" fmla="*/ 596844 h 6859062"/>
              <a:gd name="connsiteX12792" fmla="*/ 4722531 w 12192185"/>
              <a:gd name="connsiteY12792" fmla="*/ 604255 h 6859062"/>
              <a:gd name="connsiteX12793" fmla="*/ 4710731 w 12192185"/>
              <a:gd name="connsiteY12793" fmla="*/ 632526 h 6859062"/>
              <a:gd name="connsiteX12794" fmla="*/ 4637974 w 12192185"/>
              <a:gd name="connsiteY12794" fmla="*/ 673072 h 6859062"/>
              <a:gd name="connsiteX12795" fmla="*/ 4615136 w 12192185"/>
              <a:gd name="connsiteY12795" fmla="*/ 695230 h 6859062"/>
              <a:gd name="connsiteX12796" fmla="*/ 4710281 w 12192185"/>
              <a:gd name="connsiteY12796" fmla="*/ 662519 h 6859062"/>
              <a:gd name="connsiteX12797" fmla="*/ 5153994 w 12192185"/>
              <a:gd name="connsiteY12797" fmla="*/ 441847 h 6859062"/>
              <a:gd name="connsiteX12798" fmla="*/ 5301185 w 12192185"/>
              <a:gd name="connsiteY12798" fmla="*/ 397389 h 6859062"/>
              <a:gd name="connsiteX12799" fmla="*/ 5341799 w 12192185"/>
              <a:gd name="connsiteY12799" fmla="*/ 389478 h 6859062"/>
              <a:gd name="connsiteX12800" fmla="*/ 5346175 w 12192185"/>
              <a:gd name="connsiteY12800" fmla="*/ 386241 h 6859062"/>
              <a:gd name="connsiteX12801" fmla="*/ 5350126 w 12192185"/>
              <a:gd name="connsiteY12801" fmla="*/ 385190 h 6859062"/>
              <a:gd name="connsiteX12802" fmla="*/ 5351467 w 12192185"/>
              <a:gd name="connsiteY12802" fmla="*/ 387595 h 6859062"/>
              <a:gd name="connsiteX12803" fmla="*/ 5451055 w 12192185"/>
              <a:gd name="connsiteY12803" fmla="*/ 368198 h 6859062"/>
              <a:gd name="connsiteX12804" fmla="*/ 5756740 w 12192185"/>
              <a:gd name="connsiteY12804" fmla="*/ 338903 h 6859062"/>
              <a:gd name="connsiteX12805" fmla="*/ 6020199 w 12192185"/>
              <a:gd name="connsiteY12805" fmla="*/ 331824 h 6859062"/>
              <a:gd name="connsiteX12806" fmla="*/ 6022744 w 12192185"/>
              <a:gd name="connsiteY12806" fmla="*/ 327651 h 6859062"/>
              <a:gd name="connsiteX12807" fmla="*/ 6032125 w 12192185"/>
              <a:gd name="connsiteY12807" fmla="*/ 317124 h 6859062"/>
              <a:gd name="connsiteX12808" fmla="*/ 6034680 w 12192185"/>
              <a:gd name="connsiteY12808" fmla="*/ 312938 h 6859062"/>
              <a:gd name="connsiteX12809" fmla="*/ 6038560 w 12192185"/>
              <a:gd name="connsiteY12809" fmla="*/ 311692 h 6859062"/>
              <a:gd name="connsiteX12810" fmla="*/ 6045932 w 12192185"/>
              <a:gd name="connsiteY12810" fmla="*/ 310111 h 6859062"/>
              <a:gd name="connsiteX12811" fmla="*/ 6048536 w 12192185"/>
              <a:gd name="connsiteY12811" fmla="*/ 309072 h 6859062"/>
              <a:gd name="connsiteX12812" fmla="*/ 6058641 w 12192185"/>
              <a:gd name="connsiteY12812" fmla="*/ 308663 h 6859062"/>
              <a:gd name="connsiteX12813" fmla="*/ 6060879 w 12192185"/>
              <a:gd name="connsiteY12813" fmla="*/ 308223 h 6859062"/>
              <a:gd name="connsiteX12814" fmla="*/ 9985735 w 12192185"/>
              <a:gd name="connsiteY12814" fmla="*/ 302455 h 6859062"/>
              <a:gd name="connsiteX12815" fmla="*/ 9999170 w 12192185"/>
              <a:gd name="connsiteY12815" fmla="*/ 314939 h 6859062"/>
              <a:gd name="connsiteX12816" fmla="*/ 10001858 w 12192185"/>
              <a:gd name="connsiteY12816" fmla="*/ 319843 h 6859062"/>
              <a:gd name="connsiteX12817" fmla="*/ 10010366 w 12192185"/>
              <a:gd name="connsiteY12817" fmla="*/ 330544 h 6859062"/>
              <a:gd name="connsiteX12818" fmla="*/ 10017084 w 12192185"/>
              <a:gd name="connsiteY12818" fmla="*/ 334556 h 6859062"/>
              <a:gd name="connsiteX12819" fmla="*/ 10023355 w 12192185"/>
              <a:gd name="connsiteY12819" fmla="*/ 352390 h 6859062"/>
              <a:gd name="connsiteX12820" fmla="*/ 10019325 w 12192185"/>
              <a:gd name="connsiteY12820" fmla="*/ 367549 h 6859062"/>
              <a:gd name="connsiteX12821" fmla="*/ 10006783 w 12192185"/>
              <a:gd name="connsiteY12821" fmla="*/ 377358 h 6859062"/>
              <a:gd name="connsiteX12822" fmla="*/ 10005440 w 12192185"/>
              <a:gd name="connsiteY12822" fmla="*/ 379141 h 6859062"/>
              <a:gd name="connsiteX12823" fmla="*/ 9996483 w 12192185"/>
              <a:gd name="connsiteY12823" fmla="*/ 379142 h 6859062"/>
              <a:gd name="connsiteX12824" fmla="*/ 9986630 w 12192185"/>
              <a:gd name="connsiteY12824" fmla="*/ 374238 h 6859062"/>
              <a:gd name="connsiteX12825" fmla="*/ 9979912 w 12192185"/>
              <a:gd name="connsiteY12825" fmla="*/ 366211 h 6859062"/>
              <a:gd name="connsiteX12826" fmla="*/ 9974985 w 12192185"/>
              <a:gd name="connsiteY12826" fmla="*/ 354173 h 6859062"/>
              <a:gd name="connsiteX12827" fmla="*/ 9968716 w 12192185"/>
              <a:gd name="connsiteY12827" fmla="*/ 342581 h 6859062"/>
              <a:gd name="connsiteX12828" fmla="*/ 9958862 w 12192185"/>
              <a:gd name="connsiteY12828" fmla="*/ 332773 h 6859062"/>
              <a:gd name="connsiteX12829" fmla="*/ 9958862 w 12192185"/>
              <a:gd name="connsiteY12829" fmla="*/ 316722 h 6859062"/>
              <a:gd name="connsiteX12830" fmla="*/ 9964236 w 12192185"/>
              <a:gd name="connsiteY12830" fmla="*/ 310480 h 6859062"/>
              <a:gd name="connsiteX12831" fmla="*/ 9974090 w 12192185"/>
              <a:gd name="connsiteY12831" fmla="*/ 304238 h 6859062"/>
              <a:gd name="connsiteX12832" fmla="*/ 9985735 w 12192185"/>
              <a:gd name="connsiteY12832" fmla="*/ 302455 h 6859062"/>
              <a:gd name="connsiteX12833" fmla="*/ 9441937 w 12192185"/>
              <a:gd name="connsiteY12833" fmla="*/ 300993 h 6859062"/>
              <a:gd name="connsiteX12834" fmla="*/ 9453583 w 12192185"/>
              <a:gd name="connsiteY12834" fmla="*/ 302777 h 6859062"/>
              <a:gd name="connsiteX12835" fmla="*/ 9463435 w 12192185"/>
              <a:gd name="connsiteY12835" fmla="*/ 309019 h 6859062"/>
              <a:gd name="connsiteX12836" fmla="*/ 9468809 w 12192185"/>
              <a:gd name="connsiteY12836" fmla="*/ 315260 h 6859062"/>
              <a:gd name="connsiteX12837" fmla="*/ 9468809 w 12192185"/>
              <a:gd name="connsiteY12837" fmla="*/ 331311 h 6859062"/>
              <a:gd name="connsiteX12838" fmla="*/ 9458956 w 12192185"/>
              <a:gd name="connsiteY12838" fmla="*/ 341119 h 6859062"/>
              <a:gd name="connsiteX12839" fmla="*/ 9452686 w 12192185"/>
              <a:gd name="connsiteY12839" fmla="*/ 352712 h 6859062"/>
              <a:gd name="connsiteX12840" fmla="*/ 9447760 w 12192185"/>
              <a:gd name="connsiteY12840" fmla="*/ 364750 h 6859062"/>
              <a:gd name="connsiteX12841" fmla="*/ 9441041 w 12192185"/>
              <a:gd name="connsiteY12841" fmla="*/ 372776 h 6859062"/>
              <a:gd name="connsiteX12842" fmla="*/ 9431189 w 12192185"/>
              <a:gd name="connsiteY12842" fmla="*/ 377680 h 6859062"/>
              <a:gd name="connsiteX12843" fmla="*/ 9422232 w 12192185"/>
              <a:gd name="connsiteY12843" fmla="*/ 377680 h 6859062"/>
              <a:gd name="connsiteX12844" fmla="*/ 9420888 w 12192185"/>
              <a:gd name="connsiteY12844" fmla="*/ 375896 h 6859062"/>
              <a:gd name="connsiteX12845" fmla="*/ 9408348 w 12192185"/>
              <a:gd name="connsiteY12845" fmla="*/ 366088 h 6859062"/>
              <a:gd name="connsiteX12846" fmla="*/ 9404318 w 12192185"/>
              <a:gd name="connsiteY12846" fmla="*/ 350929 h 6859062"/>
              <a:gd name="connsiteX12847" fmla="*/ 9410587 w 12192185"/>
              <a:gd name="connsiteY12847" fmla="*/ 333094 h 6859062"/>
              <a:gd name="connsiteX12848" fmla="*/ 9417305 w 12192185"/>
              <a:gd name="connsiteY12848" fmla="*/ 329081 h 6859062"/>
              <a:gd name="connsiteX12849" fmla="*/ 9425814 w 12192185"/>
              <a:gd name="connsiteY12849" fmla="*/ 318382 h 6859062"/>
              <a:gd name="connsiteX12850" fmla="*/ 9428501 w 12192185"/>
              <a:gd name="connsiteY12850" fmla="*/ 313477 h 6859062"/>
              <a:gd name="connsiteX12851" fmla="*/ 9441937 w 12192185"/>
              <a:gd name="connsiteY12851" fmla="*/ 300993 h 6859062"/>
              <a:gd name="connsiteX12852" fmla="*/ 8362030 w 12192185"/>
              <a:gd name="connsiteY12852" fmla="*/ 300363 h 6859062"/>
              <a:gd name="connsiteX12853" fmla="*/ 8364504 w 12192185"/>
              <a:gd name="connsiteY12853" fmla="*/ 301069 h 6859062"/>
              <a:gd name="connsiteX12854" fmla="*/ 8375814 w 12192185"/>
              <a:gd name="connsiteY12854" fmla="*/ 302481 h 6859062"/>
              <a:gd name="connsiteX12855" fmla="*/ 8378641 w 12192185"/>
              <a:gd name="connsiteY12855" fmla="*/ 303892 h 6859062"/>
              <a:gd name="connsiteX12856" fmla="*/ 8386770 w 12192185"/>
              <a:gd name="connsiteY12856" fmla="*/ 306363 h 6859062"/>
              <a:gd name="connsiteX12857" fmla="*/ 8391011 w 12192185"/>
              <a:gd name="connsiteY12857" fmla="*/ 308128 h 6859062"/>
              <a:gd name="connsiteX12858" fmla="*/ 8393484 w 12192185"/>
              <a:gd name="connsiteY12858" fmla="*/ 313069 h 6859062"/>
              <a:gd name="connsiteX12859" fmla="*/ 8403027 w 12192185"/>
              <a:gd name="connsiteY12859" fmla="*/ 325776 h 6859062"/>
              <a:gd name="connsiteX12860" fmla="*/ 8407268 w 12192185"/>
              <a:gd name="connsiteY12860" fmla="*/ 334247 h 6859062"/>
              <a:gd name="connsiteX12861" fmla="*/ 8407268 w 12192185"/>
              <a:gd name="connsiteY12861" fmla="*/ 338483 h 6859062"/>
              <a:gd name="connsiteX12862" fmla="*/ 8403733 w 12192185"/>
              <a:gd name="connsiteY12862" fmla="*/ 348013 h 6859062"/>
              <a:gd name="connsiteX12863" fmla="*/ 8398786 w 12192185"/>
              <a:gd name="connsiteY12863" fmla="*/ 363543 h 6859062"/>
              <a:gd name="connsiteX12864" fmla="*/ 8394544 w 12192185"/>
              <a:gd name="connsiteY12864" fmla="*/ 369191 h 6859062"/>
              <a:gd name="connsiteX12865" fmla="*/ 8387830 w 12192185"/>
              <a:gd name="connsiteY12865" fmla="*/ 374839 h 6859062"/>
              <a:gd name="connsiteX12866" fmla="*/ 8381822 w 12192185"/>
              <a:gd name="connsiteY12866" fmla="*/ 378015 h 6859062"/>
              <a:gd name="connsiteX12867" fmla="*/ 8359556 w 12192185"/>
              <a:gd name="connsiteY12867" fmla="*/ 382956 h 6859062"/>
              <a:gd name="connsiteX12868" fmla="*/ 8348247 w 12192185"/>
              <a:gd name="connsiteY12868" fmla="*/ 382603 h 6859062"/>
              <a:gd name="connsiteX12869" fmla="*/ 8330576 w 12192185"/>
              <a:gd name="connsiteY12869" fmla="*/ 368838 h 6859062"/>
              <a:gd name="connsiteX12870" fmla="*/ 8329516 w 12192185"/>
              <a:gd name="connsiteY12870" fmla="*/ 360366 h 6859062"/>
              <a:gd name="connsiteX12871" fmla="*/ 8329162 w 12192185"/>
              <a:gd name="connsiteY12871" fmla="*/ 356837 h 6859062"/>
              <a:gd name="connsiteX12872" fmla="*/ 8327395 w 12192185"/>
              <a:gd name="connsiteY12872" fmla="*/ 347307 h 6859062"/>
              <a:gd name="connsiteX12873" fmla="*/ 8326335 w 12192185"/>
              <a:gd name="connsiteY12873" fmla="*/ 342718 h 6859062"/>
              <a:gd name="connsiteX12874" fmla="*/ 8326689 w 12192185"/>
              <a:gd name="connsiteY12874" fmla="*/ 336718 h 6859062"/>
              <a:gd name="connsiteX12875" fmla="*/ 8329162 w 12192185"/>
              <a:gd name="connsiteY12875" fmla="*/ 330718 h 6859062"/>
              <a:gd name="connsiteX12876" fmla="*/ 8336937 w 12192185"/>
              <a:gd name="connsiteY12876" fmla="*/ 316246 h 6859062"/>
              <a:gd name="connsiteX12877" fmla="*/ 8362030 w 12192185"/>
              <a:gd name="connsiteY12877" fmla="*/ 300363 h 6859062"/>
              <a:gd name="connsiteX12878" fmla="*/ 2859275 w 12192185"/>
              <a:gd name="connsiteY12878" fmla="*/ 295714 h 6859062"/>
              <a:gd name="connsiteX12879" fmla="*/ 2884369 w 12192185"/>
              <a:gd name="connsiteY12879" fmla="*/ 311598 h 6859062"/>
              <a:gd name="connsiteX12880" fmla="*/ 2892143 w 12192185"/>
              <a:gd name="connsiteY12880" fmla="*/ 326070 h 6859062"/>
              <a:gd name="connsiteX12881" fmla="*/ 2894617 w 12192185"/>
              <a:gd name="connsiteY12881" fmla="*/ 332070 h 6859062"/>
              <a:gd name="connsiteX12882" fmla="*/ 2894968 w 12192185"/>
              <a:gd name="connsiteY12882" fmla="*/ 338070 h 6859062"/>
              <a:gd name="connsiteX12883" fmla="*/ 2893910 w 12192185"/>
              <a:gd name="connsiteY12883" fmla="*/ 342659 h 6859062"/>
              <a:gd name="connsiteX12884" fmla="*/ 2892143 w 12192185"/>
              <a:gd name="connsiteY12884" fmla="*/ 352188 h 6859062"/>
              <a:gd name="connsiteX12885" fmla="*/ 2891790 w 12192185"/>
              <a:gd name="connsiteY12885" fmla="*/ 355718 h 6859062"/>
              <a:gd name="connsiteX12886" fmla="*/ 2890728 w 12192185"/>
              <a:gd name="connsiteY12886" fmla="*/ 364190 h 6859062"/>
              <a:gd name="connsiteX12887" fmla="*/ 2873057 w 12192185"/>
              <a:gd name="connsiteY12887" fmla="*/ 377955 h 6859062"/>
              <a:gd name="connsiteX12888" fmla="*/ 2861747 w 12192185"/>
              <a:gd name="connsiteY12888" fmla="*/ 378308 h 6859062"/>
              <a:gd name="connsiteX12889" fmla="*/ 2839483 w 12192185"/>
              <a:gd name="connsiteY12889" fmla="*/ 373367 h 6859062"/>
              <a:gd name="connsiteX12890" fmla="*/ 2833474 w 12192185"/>
              <a:gd name="connsiteY12890" fmla="*/ 370190 h 6859062"/>
              <a:gd name="connsiteX12891" fmla="*/ 2826758 w 12192185"/>
              <a:gd name="connsiteY12891" fmla="*/ 364543 h 6859062"/>
              <a:gd name="connsiteX12892" fmla="*/ 2822518 w 12192185"/>
              <a:gd name="connsiteY12892" fmla="*/ 358895 h 6859062"/>
              <a:gd name="connsiteX12893" fmla="*/ 2817570 w 12192185"/>
              <a:gd name="connsiteY12893" fmla="*/ 343365 h 6859062"/>
              <a:gd name="connsiteX12894" fmla="*/ 2814036 w 12192185"/>
              <a:gd name="connsiteY12894" fmla="*/ 333835 h 6859062"/>
              <a:gd name="connsiteX12895" fmla="*/ 2814036 w 12192185"/>
              <a:gd name="connsiteY12895" fmla="*/ 329599 h 6859062"/>
              <a:gd name="connsiteX12896" fmla="*/ 2818277 w 12192185"/>
              <a:gd name="connsiteY12896" fmla="*/ 321128 h 6859062"/>
              <a:gd name="connsiteX12897" fmla="*/ 2827819 w 12192185"/>
              <a:gd name="connsiteY12897" fmla="*/ 308422 h 6859062"/>
              <a:gd name="connsiteX12898" fmla="*/ 2830293 w 12192185"/>
              <a:gd name="connsiteY12898" fmla="*/ 303480 h 6859062"/>
              <a:gd name="connsiteX12899" fmla="*/ 2834534 w 12192185"/>
              <a:gd name="connsiteY12899" fmla="*/ 301715 h 6859062"/>
              <a:gd name="connsiteX12900" fmla="*/ 2842663 w 12192185"/>
              <a:gd name="connsiteY12900" fmla="*/ 299244 h 6859062"/>
              <a:gd name="connsiteX12901" fmla="*/ 2845491 w 12192185"/>
              <a:gd name="connsiteY12901" fmla="*/ 297833 h 6859062"/>
              <a:gd name="connsiteX12902" fmla="*/ 2856800 w 12192185"/>
              <a:gd name="connsiteY12902" fmla="*/ 296421 h 6859062"/>
              <a:gd name="connsiteX12903" fmla="*/ 2859275 w 12192185"/>
              <a:gd name="connsiteY12903" fmla="*/ 295714 h 6859062"/>
              <a:gd name="connsiteX12904" fmla="*/ 10150282 w 12192185"/>
              <a:gd name="connsiteY12904" fmla="*/ 250461 h 6859062"/>
              <a:gd name="connsiteX12905" fmla="*/ 10153742 w 12192185"/>
              <a:gd name="connsiteY12905" fmla="*/ 252191 h 6859062"/>
              <a:gd name="connsiteX12906" fmla="*/ 10163734 w 12192185"/>
              <a:gd name="connsiteY12906" fmla="*/ 256801 h 6859062"/>
              <a:gd name="connsiteX12907" fmla="*/ 10165656 w 12192185"/>
              <a:gd name="connsiteY12907" fmla="*/ 258145 h 6859062"/>
              <a:gd name="connsiteX12908" fmla="*/ 10174112 w 12192185"/>
              <a:gd name="connsiteY12908" fmla="*/ 268325 h 6859062"/>
              <a:gd name="connsiteX12909" fmla="*/ 10179302 w 12192185"/>
              <a:gd name="connsiteY12909" fmla="*/ 285613 h 6859062"/>
              <a:gd name="connsiteX12910" fmla="*/ 10181799 w 12192185"/>
              <a:gd name="connsiteY12910" fmla="*/ 291567 h 6859062"/>
              <a:gd name="connsiteX12911" fmla="*/ 10181223 w 12192185"/>
              <a:gd name="connsiteY12911" fmla="*/ 300018 h 6859062"/>
              <a:gd name="connsiteX12912" fmla="*/ 10180454 w 12192185"/>
              <a:gd name="connsiteY12912" fmla="*/ 307125 h 6859062"/>
              <a:gd name="connsiteX12913" fmla="*/ 10180646 w 12192185"/>
              <a:gd name="connsiteY12913" fmla="*/ 310007 h 6859062"/>
              <a:gd name="connsiteX12914" fmla="*/ 10169309 w 12192185"/>
              <a:gd name="connsiteY12914" fmla="*/ 323068 h 6859062"/>
              <a:gd name="connsiteX12915" fmla="*/ 10158547 w 12192185"/>
              <a:gd name="connsiteY12915" fmla="*/ 329406 h 6859062"/>
              <a:gd name="connsiteX12916" fmla="*/ 10150474 w 12192185"/>
              <a:gd name="connsiteY12916" fmla="*/ 339971 h 6859062"/>
              <a:gd name="connsiteX12917" fmla="*/ 10151627 w 12192185"/>
              <a:gd name="connsiteY12917" fmla="*/ 342084 h 6859062"/>
              <a:gd name="connsiteX12918" fmla="*/ 10162966 w 12192185"/>
              <a:gd name="connsiteY12918" fmla="*/ 355529 h 6859062"/>
              <a:gd name="connsiteX12919" fmla="*/ 10164504 w 12192185"/>
              <a:gd name="connsiteY12919" fmla="*/ 358603 h 6859062"/>
              <a:gd name="connsiteX12920" fmla="*/ 10166042 w 12192185"/>
              <a:gd name="connsiteY12920" fmla="*/ 368206 h 6859062"/>
              <a:gd name="connsiteX12921" fmla="*/ 10168731 w 12192185"/>
              <a:gd name="connsiteY12921" fmla="*/ 379347 h 6859062"/>
              <a:gd name="connsiteX12922" fmla="*/ 10168539 w 12192185"/>
              <a:gd name="connsiteY12922" fmla="*/ 383957 h 6859062"/>
              <a:gd name="connsiteX12923" fmla="*/ 10158354 w 12192185"/>
              <a:gd name="connsiteY12923" fmla="*/ 408735 h 6859062"/>
              <a:gd name="connsiteX12924" fmla="*/ 10156432 w 12192185"/>
              <a:gd name="connsiteY12924" fmla="*/ 410272 h 6859062"/>
              <a:gd name="connsiteX12925" fmla="*/ 10144709 w 12192185"/>
              <a:gd name="connsiteY12925" fmla="*/ 415842 h 6859062"/>
              <a:gd name="connsiteX12926" fmla="*/ 10139712 w 12192185"/>
              <a:gd name="connsiteY12926" fmla="*/ 417379 h 6859062"/>
              <a:gd name="connsiteX12927" fmla="*/ 10131256 w 12192185"/>
              <a:gd name="connsiteY12927" fmla="*/ 419300 h 6859062"/>
              <a:gd name="connsiteX12928" fmla="*/ 10124914 w 12192185"/>
              <a:gd name="connsiteY12928" fmla="*/ 424870 h 6859062"/>
              <a:gd name="connsiteX12929" fmla="*/ 10122033 w 12192185"/>
              <a:gd name="connsiteY12929" fmla="*/ 425902 h 6859062"/>
              <a:gd name="connsiteX12930" fmla="*/ 10120302 w 12192185"/>
              <a:gd name="connsiteY12930" fmla="*/ 423333 h 6859062"/>
              <a:gd name="connsiteX12931" fmla="*/ 10119726 w 12192185"/>
              <a:gd name="connsiteY12931" fmla="*/ 421028 h 6859062"/>
              <a:gd name="connsiteX12932" fmla="*/ 10117996 w 12192185"/>
              <a:gd name="connsiteY12932" fmla="*/ 418339 h 6859062"/>
              <a:gd name="connsiteX12933" fmla="*/ 10115499 w 12192185"/>
              <a:gd name="connsiteY12933" fmla="*/ 420068 h 6859062"/>
              <a:gd name="connsiteX12934" fmla="*/ 10109733 w 12192185"/>
              <a:gd name="connsiteY12934" fmla="*/ 419108 h 6859062"/>
              <a:gd name="connsiteX12935" fmla="*/ 10108580 w 12192185"/>
              <a:gd name="connsiteY12935" fmla="*/ 416610 h 6859062"/>
              <a:gd name="connsiteX12936" fmla="*/ 10105120 w 12192185"/>
              <a:gd name="connsiteY12936" fmla="*/ 415265 h 6859062"/>
              <a:gd name="connsiteX12937" fmla="*/ 10103775 w 12192185"/>
              <a:gd name="connsiteY12937" fmla="*/ 418531 h 6859062"/>
              <a:gd name="connsiteX12938" fmla="*/ 10104099 w 12192185"/>
              <a:gd name="connsiteY12938" fmla="*/ 421436 h 6859062"/>
              <a:gd name="connsiteX12939" fmla="*/ 10089078 w 12192185"/>
              <a:gd name="connsiteY12939" fmla="*/ 406498 h 6859062"/>
              <a:gd name="connsiteX12940" fmla="*/ 10089938 w 12192185"/>
              <a:gd name="connsiteY12940" fmla="*/ 405277 h 6859062"/>
              <a:gd name="connsiteX12941" fmla="*/ 10088208 w 12192185"/>
              <a:gd name="connsiteY12941" fmla="*/ 401628 h 6859062"/>
              <a:gd name="connsiteX12942" fmla="*/ 10084750 w 12192185"/>
              <a:gd name="connsiteY12942" fmla="*/ 400091 h 6859062"/>
              <a:gd name="connsiteX12943" fmla="*/ 10082443 w 12192185"/>
              <a:gd name="connsiteY12943" fmla="*/ 395482 h 6859062"/>
              <a:gd name="connsiteX12944" fmla="*/ 10074948 w 12192185"/>
              <a:gd name="connsiteY12944" fmla="*/ 380691 h 6859062"/>
              <a:gd name="connsiteX12945" fmla="*/ 10072258 w 12192185"/>
              <a:gd name="connsiteY12945" fmla="*/ 378579 h 6859062"/>
              <a:gd name="connsiteX12946" fmla="*/ 10075909 w 12192185"/>
              <a:gd name="connsiteY12946" fmla="*/ 376273 h 6859062"/>
              <a:gd name="connsiteX12947" fmla="*/ 10076486 w 12192185"/>
              <a:gd name="connsiteY12947" fmla="*/ 376274 h 6859062"/>
              <a:gd name="connsiteX12948" fmla="*/ 10080137 w 12192185"/>
              <a:gd name="connsiteY12948" fmla="*/ 369743 h 6859062"/>
              <a:gd name="connsiteX12949" fmla="*/ 10080522 w 12192185"/>
              <a:gd name="connsiteY12949" fmla="*/ 360716 h 6859062"/>
              <a:gd name="connsiteX12950" fmla="*/ 10083788 w 12192185"/>
              <a:gd name="connsiteY12950" fmla="*/ 348038 h 6859062"/>
              <a:gd name="connsiteX12951" fmla="*/ 10086672 w 12192185"/>
              <a:gd name="connsiteY12951" fmla="*/ 344580 h 6859062"/>
              <a:gd name="connsiteX12952" fmla="*/ 10094551 w 12192185"/>
              <a:gd name="connsiteY12952" fmla="*/ 334593 h 6859062"/>
              <a:gd name="connsiteX12953" fmla="*/ 10099163 w 12192185"/>
              <a:gd name="connsiteY12953" fmla="*/ 332864 h 6859062"/>
              <a:gd name="connsiteX12954" fmla="*/ 10118188 w 12192185"/>
              <a:gd name="connsiteY12954" fmla="*/ 327293 h 6859062"/>
              <a:gd name="connsiteX12955" fmla="*/ 10118189 w 12192185"/>
              <a:gd name="connsiteY12955" fmla="*/ 323067 h 6859062"/>
              <a:gd name="connsiteX12956" fmla="*/ 10113192 w 12192185"/>
              <a:gd name="connsiteY12956" fmla="*/ 322491 h 6859062"/>
              <a:gd name="connsiteX12957" fmla="*/ 10109732 w 12192185"/>
              <a:gd name="connsiteY12957" fmla="*/ 324796 h 6859062"/>
              <a:gd name="connsiteX12958" fmla="*/ 10106466 w 12192185"/>
              <a:gd name="connsiteY12958" fmla="*/ 325180 h 6859062"/>
              <a:gd name="connsiteX12959" fmla="*/ 10107042 w 12192185"/>
              <a:gd name="connsiteY12959" fmla="*/ 321723 h 6859062"/>
              <a:gd name="connsiteX12960" fmla="*/ 10109732 w 12192185"/>
              <a:gd name="connsiteY12960" fmla="*/ 319227 h 6859062"/>
              <a:gd name="connsiteX12961" fmla="*/ 10110694 w 12192185"/>
              <a:gd name="connsiteY12961" fmla="*/ 313272 h 6859062"/>
              <a:gd name="connsiteX12962" fmla="*/ 10105504 w 12192185"/>
              <a:gd name="connsiteY12962" fmla="*/ 314424 h 6859062"/>
              <a:gd name="connsiteX12963" fmla="*/ 10101469 w 12192185"/>
              <a:gd name="connsiteY12963" fmla="*/ 317690 h 6859062"/>
              <a:gd name="connsiteX12964" fmla="*/ 10097625 w 12192185"/>
              <a:gd name="connsiteY12964" fmla="*/ 315193 h 6859062"/>
              <a:gd name="connsiteX12965" fmla="*/ 10101853 w 12192185"/>
              <a:gd name="connsiteY12965" fmla="*/ 304244 h 6859062"/>
              <a:gd name="connsiteX12966" fmla="*/ 10101853 w 12192185"/>
              <a:gd name="connsiteY12966" fmla="*/ 293680 h 6859062"/>
              <a:gd name="connsiteX12967" fmla="*/ 10098009 w 12192185"/>
              <a:gd name="connsiteY12967" fmla="*/ 289454 h 6859062"/>
              <a:gd name="connsiteX12968" fmla="*/ 10096856 w 12192185"/>
              <a:gd name="connsiteY12968" fmla="*/ 287341 h 6859062"/>
              <a:gd name="connsiteX12969" fmla="*/ 10098970 w 12192185"/>
              <a:gd name="connsiteY12969" fmla="*/ 286189 h 6859062"/>
              <a:gd name="connsiteX12970" fmla="*/ 10103006 w 12192185"/>
              <a:gd name="connsiteY12970" fmla="*/ 282347 h 6859062"/>
              <a:gd name="connsiteX12971" fmla="*/ 10108003 w 12192185"/>
              <a:gd name="connsiteY12971" fmla="*/ 273703 h 6859062"/>
              <a:gd name="connsiteX12972" fmla="*/ 10108195 w 12192185"/>
              <a:gd name="connsiteY12972" fmla="*/ 269093 h 6859062"/>
              <a:gd name="connsiteX12973" fmla="*/ 10106657 w 12192185"/>
              <a:gd name="connsiteY12973" fmla="*/ 266020 h 6859062"/>
              <a:gd name="connsiteX12974" fmla="*/ 10109925 w 12192185"/>
              <a:gd name="connsiteY12974" fmla="*/ 263907 h 6859062"/>
              <a:gd name="connsiteX12975" fmla="*/ 10112616 w 12192185"/>
              <a:gd name="connsiteY12975" fmla="*/ 263523 h 6859062"/>
              <a:gd name="connsiteX12976" fmla="*/ 10115883 w 12192185"/>
              <a:gd name="connsiteY12976" fmla="*/ 255648 h 6859062"/>
              <a:gd name="connsiteX12977" fmla="*/ 10114921 w 12192185"/>
              <a:gd name="connsiteY12977" fmla="*/ 254111 h 6859062"/>
              <a:gd name="connsiteX12978" fmla="*/ 10115114 w 12192185"/>
              <a:gd name="connsiteY12978" fmla="*/ 250654 h 6859062"/>
              <a:gd name="connsiteX12979" fmla="*/ 10118188 w 12192185"/>
              <a:gd name="connsiteY12979" fmla="*/ 251422 h 6859062"/>
              <a:gd name="connsiteX12980" fmla="*/ 10120110 w 12192185"/>
              <a:gd name="connsiteY12980" fmla="*/ 253919 h 6859062"/>
              <a:gd name="connsiteX12981" fmla="*/ 10123954 w 12192185"/>
              <a:gd name="connsiteY12981" fmla="*/ 254495 h 6859062"/>
              <a:gd name="connsiteX12982" fmla="*/ 10135677 w 12192185"/>
              <a:gd name="connsiteY12982" fmla="*/ 251422 h 6859062"/>
              <a:gd name="connsiteX12983" fmla="*/ 10150282 w 12192185"/>
              <a:gd name="connsiteY12983" fmla="*/ 250461 h 6859062"/>
              <a:gd name="connsiteX12984" fmla="*/ 3983166 w 12192185"/>
              <a:gd name="connsiteY12984" fmla="*/ 248530 h 6859062"/>
              <a:gd name="connsiteX12985" fmla="*/ 4002792 w 12192185"/>
              <a:gd name="connsiteY12985" fmla="*/ 252086 h 6859062"/>
              <a:gd name="connsiteX12986" fmla="*/ 4007129 w 12192185"/>
              <a:gd name="connsiteY12986" fmla="*/ 258329 h 6859062"/>
              <a:gd name="connsiteX12987" fmla="*/ 4008865 w 12192185"/>
              <a:gd name="connsiteY12987" fmla="*/ 260967 h 6859062"/>
              <a:gd name="connsiteX12988" fmla="*/ 4014197 w 12192185"/>
              <a:gd name="connsiteY12988" fmla="*/ 267753 h 6859062"/>
              <a:gd name="connsiteX12989" fmla="*/ 4016929 w 12192185"/>
              <a:gd name="connsiteY12989" fmla="*/ 270935 h 6859062"/>
              <a:gd name="connsiteX12990" fmla="*/ 4019130 w 12192185"/>
              <a:gd name="connsiteY12990" fmla="*/ 275813 h 6859062"/>
              <a:gd name="connsiteX12991" fmla="*/ 4019659 w 12192185"/>
              <a:gd name="connsiteY12991" fmla="*/ 281568 h 6859062"/>
              <a:gd name="connsiteX12992" fmla="*/ 4019507 w 12192185"/>
              <a:gd name="connsiteY12992" fmla="*/ 296196 h 6859062"/>
              <a:gd name="connsiteX12993" fmla="*/ 4006277 w 12192185"/>
              <a:gd name="connsiteY12993" fmla="*/ 319092 h 6859062"/>
              <a:gd name="connsiteX12994" fmla="*/ 4004035 w 12192185"/>
              <a:gd name="connsiteY12994" fmla="*/ 319558 h 6859062"/>
              <a:gd name="connsiteX12995" fmla="*/ 3994532 w 12192185"/>
              <a:gd name="connsiteY12995" fmla="*/ 323118 h 6859062"/>
              <a:gd name="connsiteX12996" fmla="*/ 3991719 w 12192185"/>
              <a:gd name="connsiteY12996" fmla="*/ 323172 h 6859062"/>
              <a:gd name="connsiteX12997" fmla="*/ 3984287 w 12192185"/>
              <a:gd name="connsiteY12997" fmla="*/ 324582 h 6859062"/>
              <a:gd name="connsiteX12998" fmla="*/ 3980212 w 12192185"/>
              <a:gd name="connsiteY12998" fmla="*/ 324943 h 6859062"/>
              <a:gd name="connsiteX12999" fmla="*/ 3976220 w 12192185"/>
              <a:gd name="connsiteY12999" fmla="*/ 322068 h 6859062"/>
              <a:gd name="connsiteX13000" fmla="*/ 3963443 w 12192185"/>
              <a:gd name="connsiteY13000" fmla="*/ 315989 h 6859062"/>
              <a:gd name="connsiteX13001" fmla="*/ 3956597 w 12192185"/>
              <a:gd name="connsiteY13001" fmla="*/ 311060 h 6859062"/>
              <a:gd name="connsiteX13002" fmla="*/ 3954846 w 12192185"/>
              <a:gd name="connsiteY13002" fmla="*/ 307719 h 6859062"/>
              <a:gd name="connsiteX13003" fmla="*/ 3953697 w 12192185"/>
              <a:gd name="connsiteY13003" fmla="*/ 298742 h 6859062"/>
              <a:gd name="connsiteX13004" fmla="*/ 3951181 w 12192185"/>
              <a:gd name="connsiteY13004" fmla="*/ 284448 h 6859062"/>
              <a:gd name="connsiteX13005" fmla="*/ 3952192 w 12192185"/>
              <a:gd name="connsiteY13005" fmla="*/ 278241 h 6859062"/>
              <a:gd name="connsiteX13006" fmla="*/ 3955155 w 12192185"/>
              <a:gd name="connsiteY13006" fmla="*/ 271012 h 6859062"/>
              <a:gd name="connsiteX13007" fmla="*/ 3958581 w 12192185"/>
              <a:gd name="connsiteY13007" fmla="*/ 266023 h 6859062"/>
              <a:gd name="connsiteX13008" fmla="*/ 3974100 w 12192185"/>
              <a:gd name="connsiteY13008" fmla="*/ 252925 h 6859062"/>
              <a:gd name="connsiteX13009" fmla="*/ 3983166 w 12192185"/>
              <a:gd name="connsiteY13009" fmla="*/ 248530 h 6859062"/>
              <a:gd name="connsiteX13010" fmla="*/ 4924823 w 12192185"/>
              <a:gd name="connsiteY13010" fmla="*/ 233531 h 6859062"/>
              <a:gd name="connsiteX13011" fmla="*/ 4944450 w 12192185"/>
              <a:gd name="connsiteY13011" fmla="*/ 237086 h 6859062"/>
              <a:gd name="connsiteX13012" fmla="*/ 4948789 w 12192185"/>
              <a:gd name="connsiteY13012" fmla="*/ 243330 h 6859062"/>
              <a:gd name="connsiteX13013" fmla="*/ 4950522 w 12192185"/>
              <a:gd name="connsiteY13013" fmla="*/ 245968 h 6859062"/>
              <a:gd name="connsiteX13014" fmla="*/ 4955855 w 12192185"/>
              <a:gd name="connsiteY13014" fmla="*/ 252754 h 6859062"/>
              <a:gd name="connsiteX13015" fmla="*/ 4958589 w 12192185"/>
              <a:gd name="connsiteY13015" fmla="*/ 255936 h 6859062"/>
              <a:gd name="connsiteX13016" fmla="*/ 4960788 w 12192185"/>
              <a:gd name="connsiteY13016" fmla="*/ 260814 h 6859062"/>
              <a:gd name="connsiteX13017" fmla="*/ 4961312 w 12192185"/>
              <a:gd name="connsiteY13017" fmla="*/ 266569 h 6859062"/>
              <a:gd name="connsiteX13018" fmla="*/ 4961163 w 12192185"/>
              <a:gd name="connsiteY13018" fmla="*/ 281196 h 6859062"/>
              <a:gd name="connsiteX13019" fmla="*/ 4947938 w 12192185"/>
              <a:gd name="connsiteY13019" fmla="*/ 304093 h 6859062"/>
              <a:gd name="connsiteX13020" fmla="*/ 4945694 w 12192185"/>
              <a:gd name="connsiteY13020" fmla="*/ 304559 h 6859062"/>
              <a:gd name="connsiteX13021" fmla="*/ 4936188 w 12192185"/>
              <a:gd name="connsiteY13021" fmla="*/ 308118 h 6859062"/>
              <a:gd name="connsiteX13022" fmla="*/ 4933376 w 12192185"/>
              <a:gd name="connsiteY13022" fmla="*/ 308173 h 6859062"/>
              <a:gd name="connsiteX13023" fmla="*/ 4925946 w 12192185"/>
              <a:gd name="connsiteY13023" fmla="*/ 309584 h 6859062"/>
              <a:gd name="connsiteX13024" fmla="*/ 4921866 w 12192185"/>
              <a:gd name="connsiteY13024" fmla="*/ 309943 h 6859062"/>
              <a:gd name="connsiteX13025" fmla="*/ 4917878 w 12192185"/>
              <a:gd name="connsiteY13025" fmla="*/ 307069 h 6859062"/>
              <a:gd name="connsiteX13026" fmla="*/ 4905101 w 12192185"/>
              <a:gd name="connsiteY13026" fmla="*/ 300989 h 6859062"/>
              <a:gd name="connsiteX13027" fmla="*/ 4898255 w 12192185"/>
              <a:gd name="connsiteY13027" fmla="*/ 296060 h 6859062"/>
              <a:gd name="connsiteX13028" fmla="*/ 4896509 w 12192185"/>
              <a:gd name="connsiteY13028" fmla="*/ 292719 h 6859062"/>
              <a:gd name="connsiteX13029" fmla="*/ 4895358 w 12192185"/>
              <a:gd name="connsiteY13029" fmla="*/ 283742 h 6859062"/>
              <a:gd name="connsiteX13030" fmla="*/ 4892839 w 12192185"/>
              <a:gd name="connsiteY13030" fmla="*/ 269449 h 6859062"/>
              <a:gd name="connsiteX13031" fmla="*/ 4893850 w 12192185"/>
              <a:gd name="connsiteY13031" fmla="*/ 263241 h 6859062"/>
              <a:gd name="connsiteX13032" fmla="*/ 4896812 w 12192185"/>
              <a:gd name="connsiteY13032" fmla="*/ 256013 h 6859062"/>
              <a:gd name="connsiteX13033" fmla="*/ 4900240 w 12192185"/>
              <a:gd name="connsiteY13033" fmla="*/ 251024 h 6859062"/>
              <a:gd name="connsiteX13034" fmla="*/ 4915756 w 12192185"/>
              <a:gd name="connsiteY13034" fmla="*/ 237926 h 6859062"/>
              <a:gd name="connsiteX13035" fmla="*/ 4924823 w 12192185"/>
              <a:gd name="connsiteY13035" fmla="*/ 233531 h 6859062"/>
              <a:gd name="connsiteX13036" fmla="*/ 4305991 w 12192185"/>
              <a:gd name="connsiteY13036" fmla="*/ 232693 h 6859062"/>
              <a:gd name="connsiteX13037" fmla="*/ 4317615 w 12192185"/>
              <a:gd name="connsiteY13037" fmla="*/ 233650 h 6859062"/>
              <a:gd name="connsiteX13038" fmla="*/ 4325271 w 12192185"/>
              <a:gd name="connsiteY13038" fmla="*/ 236685 h 6859062"/>
              <a:gd name="connsiteX13039" fmla="*/ 4332720 w 12192185"/>
              <a:gd name="connsiteY13039" fmla="*/ 250903 h 6859062"/>
              <a:gd name="connsiteX13040" fmla="*/ 4328547 w 12192185"/>
              <a:gd name="connsiteY13040" fmla="*/ 264163 h 6859062"/>
              <a:gd name="connsiteX13041" fmla="*/ 4328372 w 12192185"/>
              <a:gd name="connsiteY13041" fmla="*/ 277342 h 6859062"/>
              <a:gd name="connsiteX13042" fmla="*/ 4329595 w 12192185"/>
              <a:gd name="connsiteY13042" fmla="*/ 290291 h 6859062"/>
              <a:gd name="connsiteX13043" fmla="*/ 4327368 w 12192185"/>
              <a:gd name="connsiteY13043" fmla="*/ 300518 h 6859062"/>
              <a:gd name="connsiteX13044" fmla="*/ 4320912 w 12192185"/>
              <a:gd name="connsiteY13044" fmla="*/ 309434 h 6859062"/>
              <a:gd name="connsiteX13045" fmla="*/ 4312983 w 12192185"/>
              <a:gd name="connsiteY13045" fmla="*/ 313591 h 6859062"/>
              <a:gd name="connsiteX13046" fmla="*/ 4310965 w 12192185"/>
              <a:gd name="connsiteY13046" fmla="*/ 312635 h 6859062"/>
              <a:gd name="connsiteX13047" fmla="*/ 4295305 w 12192185"/>
              <a:gd name="connsiteY13047" fmla="*/ 309766 h 6859062"/>
              <a:gd name="connsiteX13048" fmla="*/ 4284700 w 12192185"/>
              <a:gd name="connsiteY13048" fmla="*/ 298209 h 6859062"/>
              <a:gd name="connsiteX13049" fmla="*/ 4281977 w 12192185"/>
              <a:gd name="connsiteY13049" fmla="*/ 279502 h 6859062"/>
              <a:gd name="connsiteX13050" fmla="*/ 4286065 w 12192185"/>
              <a:gd name="connsiteY13050" fmla="*/ 272830 h 6859062"/>
              <a:gd name="connsiteX13051" fmla="*/ 4288636 w 12192185"/>
              <a:gd name="connsiteY13051" fmla="*/ 259402 h 6859062"/>
              <a:gd name="connsiteX13052" fmla="*/ 4288740 w 12192185"/>
              <a:gd name="connsiteY13052" fmla="*/ 253811 h 6859062"/>
              <a:gd name="connsiteX13053" fmla="*/ 4294847 w 12192185"/>
              <a:gd name="connsiteY13053" fmla="*/ 236517 h 6859062"/>
              <a:gd name="connsiteX13054" fmla="*/ 4305991 w 12192185"/>
              <a:gd name="connsiteY13054" fmla="*/ 232693 h 6859062"/>
              <a:gd name="connsiteX13055" fmla="*/ 6694336 w 12192185"/>
              <a:gd name="connsiteY13055" fmla="*/ 218355 h 6859062"/>
              <a:gd name="connsiteX13056" fmla="*/ 6699318 w 12192185"/>
              <a:gd name="connsiteY13056" fmla="*/ 220475 h 6859062"/>
              <a:gd name="connsiteX13057" fmla="*/ 6695739 w 12192185"/>
              <a:gd name="connsiteY13057" fmla="*/ 221947 h 6859062"/>
              <a:gd name="connsiteX13058" fmla="*/ 6692161 w 12192185"/>
              <a:gd name="connsiteY13058" fmla="*/ 223417 h 6859062"/>
              <a:gd name="connsiteX13059" fmla="*/ 6694267 w 12192185"/>
              <a:gd name="connsiteY13059" fmla="*/ 218365 h 6859062"/>
              <a:gd name="connsiteX13060" fmla="*/ 9139815 w 12192185"/>
              <a:gd name="connsiteY13060" fmla="*/ 166396 h 6859062"/>
              <a:gd name="connsiteX13061" fmla="*/ 9150198 w 12192185"/>
              <a:gd name="connsiteY13061" fmla="*/ 166671 h 6859062"/>
              <a:gd name="connsiteX13062" fmla="*/ 9160269 w 12192185"/>
              <a:gd name="connsiteY13062" fmla="*/ 166985 h 6859062"/>
              <a:gd name="connsiteX13063" fmla="*/ 9176003 w 12192185"/>
              <a:gd name="connsiteY13063" fmla="*/ 179243 h 6859062"/>
              <a:gd name="connsiteX13064" fmla="*/ 9176947 w 12192185"/>
              <a:gd name="connsiteY13064" fmla="*/ 186785 h 6859062"/>
              <a:gd name="connsiteX13065" fmla="*/ 9177263 w 12192185"/>
              <a:gd name="connsiteY13065" fmla="*/ 189928 h 6859062"/>
              <a:gd name="connsiteX13066" fmla="*/ 9178835 w 12192185"/>
              <a:gd name="connsiteY13066" fmla="*/ 198414 h 6859062"/>
              <a:gd name="connsiteX13067" fmla="*/ 9179779 w 12192185"/>
              <a:gd name="connsiteY13067" fmla="*/ 202500 h 6859062"/>
              <a:gd name="connsiteX13068" fmla="*/ 9179465 w 12192185"/>
              <a:gd name="connsiteY13068" fmla="*/ 207842 h 6859062"/>
              <a:gd name="connsiteX13069" fmla="*/ 9177262 w 12192185"/>
              <a:gd name="connsiteY13069" fmla="*/ 213186 h 6859062"/>
              <a:gd name="connsiteX13070" fmla="*/ 9170339 w 12192185"/>
              <a:gd name="connsiteY13070" fmla="*/ 226072 h 6859062"/>
              <a:gd name="connsiteX13071" fmla="*/ 9147996 w 12192185"/>
              <a:gd name="connsiteY13071" fmla="*/ 240215 h 6859062"/>
              <a:gd name="connsiteX13072" fmla="*/ 9145794 w 12192185"/>
              <a:gd name="connsiteY13072" fmla="*/ 239586 h 6859062"/>
              <a:gd name="connsiteX13073" fmla="*/ 9135724 w 12192185"/>
              <a:gd name="connsiteY13073" fmla="*/ 238329 h 6859062"/>
              <a:gd name="connsiteX13074" fmla="*/ 9133205 w 12192185"/>
              <a:gd name="connsiteY13074" fmla="*/ 237071 h 6859062"/>
              <a:gd name="connsiteX13075" fmla="*/ 9125968 w 12192185"/>
              <a:gd name="connsiteY13075" fmla="*/ 234871 h 6859062"/>
              <a:gd name="connsiteX13076" fmla="*/ 9122192 w 12192185"/>
              <a:gd name="connsiteY13076" fmla="*/ 233300 h 6859062"/>
              <a:gd name="connsiteX13077" fmla="*/ 9119988 w 12192185"/>
              <a:gd name="connsiteY13077" fmla="*/ 228900 h 6859062"/>
              <a:gd name="connsiteX13078" fmla="*/ 9111492 w 12192185"/>
              <a:gd name="connsiteY13078" fmla="*/ 217586 h 6859062"/>
              <a:gd name="connsiteX13079" fmla="*/ 9107715 w 12192185"/>
              <a:gd name="connsiteY13079" fmla="*/ 210043 h 6859062"/>
              <a:gd name="connsiteX13080" fmla="*/ 9107715 w 12192185"/>
              <a:gd name="connsiteY13080" fmla="*/ 206271 h 6859062"/>
              <a:gd name="connsiteX13081" fmla="*/ 9110863 w 12192185"/>
              <a:gd name="connsiteY13081" fmla="*/ 197786 h 6859062"/>
              <a:gd name="connsiteX13082" fmla="*/ 9115268 w 12192185"/>
              <a:gd name="connsiteY13082" fmla="*/ 183957 h 6859062"/>
              <a:gd name="connsiteX13083" fmla="*/ 9119045 w 12192185"/>
              <a:gd name="connsiteY13083" fmla="*/ 178928 h 6859062"/>
              <a:gd name="connsiteX13084" fmla="*/ 9125023 w 12192185"/>
              <a:gd name="connsiteY13084" fmla="*/ 173900 h 6859062"/>
              <a:gd name="connsiteX13085" fmla="*/ 9130374 w 12192185"/>
              <a:gd name="connsiteY13085" fmla="*/ 171070 h 6859062"/>
              <a:gd name="connsiteX13086" fmla="*/ 9139815 w 12192185"/>
              <a:gd name="connsiteY13086" fmla="*/ 166396 h 6859062"/>
              <a:gd name="connsiteX13087" fmla="*/ 5831207 w 12192185"/>
              <a:gd name="connsiteY13087" fmla="*/ 160660 h 6859062"/>
              <a:gd name="connsiteX13088" fmla="*/ 5850755 w 12192185"/>
              <a:gd name="connsiteY13088" fmla="*/ 175462 h 6859062"/>
              <a:gd name="connsiteX13089" fmla="*/ 5856154 w 12192185"/>
              <a:gd name="connsiteY13089" fmla="*/ 187907 h 6859062"/>
              <a:gd name="connsiteX13090" fmla="*/ 5857775 w 12192185"/>
              <a:gd name="connsiteY13090" fmla="*/ 193015 h 6859062"/>
              <a:gd name="connsiteX13091" fmla="*/ 5857652 w 12192185"/>
              <a:gd name="connsiteY13091" fmla="*/ 197976 h 6859062"/>
              <a:gd name="connsiteX13092" fmla="*/ 5856462 w 12192185"/>
              <a:gd name="connsiteY13092" fmla="*/ 201679 h 6859062"/>
              <a:gd name="connsiteX13093" fmla="*/ 5854349 w 12192185"/>
              <a:gd name="connsiteY13093" fmla="*/ 209399 h 6859062"/>
              <a:gd name="connsiteX13094" fmla="*/ 5853816 w 12192185"/>
              <a:gd name="connsiteY13094" fmla="*/ 212279 h 6859062"/>
              <a:gd name="connsiteX13095" fmla="*/ 5852359 w 12192185"/>
              <a:gd name="connsiteY13095" fmla="*/ 219176 h 6859062"/>
              <a:gd name="connsiteX13096" fmla="*/ 5836868 w 12192185"/>
              <a:gd name="connsiteY13096" fmla="*/ 229283 h 6859062"/>
              <a:gd name="connsiteX13097" fmla="*/ 5827537 w 12192185"/>
              <a:gd name="connsiteY13097" fmla="*/ 228791 h 6859062"/>
              <a:gd name="connsiteX13098" fmla="*/ 5809556 w 12192185"/>
              <a:gd name="connsiteY13098" fmla="*/ 223188 h 6859062"/>
              <a:gd name="connsiteX13099" fmla="*/ 5804833 w 12192185"/>
              <a:gd name="connsiteY13099" fmla="*/ 220159 h 6859062"/>
              <a:gd name="connsiteX13100" fmla="*/ 5799699 w 12192185"/>
              <a:gd name="connsiteY13100" fmla="*/ 215049 h 6859062"/>
              <a:gd name="connsiteX13101" fmla="*/ 5796598 w 12192185"/>
              <a:gd name="connsiteY13101" fmla="*/ 210108 h 6859062"/>
              <a:gd name="connsiteX13102" fmla="*/ 5793601 w 12192185"/>
              <a:gd name="connsiteY13102" fmla="*/ 196987 h 6859062"/>
              <a:gd name="connsiteX13103" fmla="*/ 5791350 w 12192185"/>
              <a:gd name="connsiteY13103" fmla="*/ 188902 h 6859062"/>
              <a:gd name="connsiteX13104" fmla="*/ 5791641 w 12192185"/>
              <a:gd name="connsiteY13104" fmla="*/ 185417 h 6859062"/>
              <a:gd name="connsiteX13105" fmla="*/ 5795718 w 12192185"/>
              <a:gd name="connsiteY13105" fmla="*/ 178740 h 6859062"/>
              <a:gd name="connsiteX13106" fmla="*/ 5804447 w 12192185"/>
              <a:gd name="connsiteY13106" fmla="*/ 168942 h 6859062"/>
              <a:gd name="connsiteX13107" fmla="*/ 5806824 w 12192185"/>
              <a:gd name="connsiteY13107" fmla="*/ 165048 h 6859062"/>
              <a:gd name="connsiteX13108" fmla="*/ 5810437 w 12192185"/>
              <a:gd name="connsiteY13108" fmla="*/ 163888 h 6859062"/>
              <a:gd name="connsiteX13109" fmla="*/ 5817294 w 12192185"/>
              <a:gd name="connsiteY13109" fmla="*/ 162417 h 6859062"/>
              <a:gd name="connsiteX13110" fmla="*/ 5819718 w 12192185"/>
              <a:gd name="connsiteY13110" fmla="*/ 161450 h 6859062"/>
              <a:gd name="connsiteX13111" fmla="*/ 5829121 w 12192185"/>
              <a:gd name="connsiteY13111" fmla="*/ 161070 h 6859062"/>
              <a:gd name="connsiteX13112" fmla="*/ 5831207 w 12192185"/>
              <a:gd name="connsiteY13112" fmla="*/ 160660 h 6859062"/>
              <a:gd name="connsiteX13113" fmla="*/ 6357103 w 12192185"/>
              <a:gd name="connsiteY13113" fmla="*/ 130850 h 6859062"/>
              <a:gd name="connsiteX13114" fmla="*/ 6379414 w 12192185"/>
              <a:gd name="connsiteY13114" fmla="*/ 134241 h 6859062"/>
              <a:gd name="connsiteX13115" fmla="*/ 6384464 w 12192185"/>
              <a:gd name="connsiteY13115" fmla="*/ 136351 h 6859062"/>
              <a:gd name="connsiteX13116" fmla="*/ 6393094 w 12192185"/>
              <a:gd name="connsiteY13116" fmla="*/ 136991 h 6859062"/>
              <a:gd name="connsiteX13117" fmla="*/ 6398145 w 12192185"/>
              <a:gd name="connsiteY13117" fmla="*/ 139102 h 6859062"/>
              <a:gd name="connsiteX13118" fmla="*/ 6389516 w 12192185"/>
              <a:gd name="connsiteY13118" fmla="*/ 138462 h 6859062"/>
              <a:gd name="connsiteX13119" fmla="*/ 6380885 w 12192185"/>
              <a:gd name="connsiteY13119" fmla="*/ 137822 h 6859062"/>
              <a:gd name="connsiteX13120" fmla="*/ 6406139 w 12192185"/>
              <a:gd name="connsiteY13120" fmla="*/ 148377 h 6859062"/>
              <a:gd name="connsiteX13121" fmla="*/ 6399820 w 12192185"/>
              <a:gd name="connsiteY13121" fmla="*/ 163534 h 6859062"/>
              <a:gd name="connsiteX13122" fmla="*/ 6477439 w 12192185"/>
              <a:gd name="connsiteY13122" fmla="*/ 167593 h 6859062"/>
              <a:gd name="connsiteX13123" fmla="*/ 6478503 w 12192185"/>
              <a:gd name="connsiteY13123" fmla="*/ 166108 h 6859062"/>
              <a:gd name="connsiteX13124" fmla="*/ 6481108 w 12192185"/>
              <a:gd name="connsiteY13124" fmla="*/ 165070 h 6859062"/>
              <a:gd name="connsiteX13125" fmla="*/ 6491213 w 12192185"/>
              <a:gd name="connsiteY13125" fmla="*/ 164661 h 6859062"/>
              <a:gd name="connsiteX13126" fmla="*/ 6493452 w 12192185"/>
              <a:gd name="connsiteY13126" fmla="*/ 164220 h 6859062"/>
              <a:gd name="connsiteX13127" fmla="*/ 6501170 w 12192185"/>
              <a:gd name="connsiteY13127" fmla="*/ 170064 h 6859062"/>
              <a:gd name="connsiteX13128" fmla="*/ 6578935 w 12192185"/>
              <a:gd name="connsiteY13128" fmla="*/ 182030 h 6859062"/>
              <a:gd name="connsiteX13129" fmla="*/ 6587565 w 12192185"/>
              <a:gd name="connsiteY13129" fmla="*/ 182670 h 6859062"/>
              <a:gd name="connsiteX13130" fmla="*/ 6592616 w 12192185"/>
              <a:gd name="connsiteY13130" fmla="*/ 184781 h 6859062"/>
              <a:gd name="connsiteX13131" fmla="*/ 6664597 w 12192185"/>
              <a:gd name="connsiteY13131" fmla="*/ 197066 h 6859062"/>
              <a:gd name="connsiteX13132" fmla="*/ 6682597 w 12192185"/>
              <a:gd name="connsiteY13132" fmla="*/ 198204 h 6859062"/>
              <a:gd name="connsiteX13133" fmla="*/ 6678219 w 12192185"/>
              <a:gd name="connsiteY13133" fmla="*/ 194887 h 6859062"/>
              <a:gd name="connsiteX13134" fmla="*/ 6673637 w 12192185"/>
              <a:gd name="connsiteY13134" fmla="*/ 188563 h 6859062"/>
              <a:gd name="connsiteX13135" fmla="*/ 6674908 w 12192185"/>
              <a:gd name="connsiteY13135" fmla="*/ 173399 h 6859062"/>
              <a:gd name="connsiteX13136" fmla="*/ 6684995 w 12192185"/>
              <a:gd name="connsiteY13136" fmla="*/ 164913 h 6859062"/>
              <a:gd name="connsiteX13137" fmla="*/ 6691838 w 12192185"/>
              <a:gd name="connsiteY13137" fmla="*/ 154459 h 6859062"/>
              <a:gd name="connsiteX13138" fmla="*/ 6697447 w 12192185"/>
              <a:gd name="connsiteY13138" fmla="*/ 143477 h 6859062"/>
              <a:gd name="connsiteX13139" fmla="*/ 6704430 w 12192185"/>
              <a:gd name="connsiteY13139" fmla="*/ 136428 h 6859062"/>
              <a:gd name="connsiteX13140" fmla="*/ 6714127 w 12192185"/>
              <a:gd name="connsiteY13140" fmla="*/ 132576 h 6859062"/>
              <a:gd name="connsiteX13141" fmla="*/ 6722590 w 12192185"/>
              <a:gd name="connsiteY13141" fmla="*/ 133286 h 6859062"/>
              <a:gd name="connsiteX13142" fmla="*/ 6723718 w 12192185"/>
              <a:gd name="connsiteY13142" fmla="*/ 135078 h 6859062"/>
              <a:gd name="connsiteX13143" fmla="*/ 6734787 w 12192185"/>
              <a:gd name="connsiteY13143" fmla="*/ 145339 h 6859062"/>
              <a:gd name="connsiteX13144" fmla="*/ 6737393 w 12192185"/>
              <a:gd name="connsiteY13144" fmla="*/ 159980 h 6859062"/>
              <a:gd name="connsiteX13145" fmla="*/ 6730055 w 12192185"/>
              <a:gd name="connsiteY13145" fmla="*/ 176331 h 6859062"/>
              <a:gd name="connsiteX13146" fmla="*/ 6723390 w 12192185"/>
              <a:gd name="connsiteY13146" fmla="*/ 179589 h 6859062"/>
              <a:gd name="connsiteX13147" fmla="*/ 6714502 w 12192185"/>
              <a:gd name="connsiteY13147" fmla="*/ 189024 h 6859062"/>
              <a:gd name="connsiteX13148" fmla="*/ 6711575 w 12192185"/>
              <a:gd name="connsiteY13148" fmla="*/ 193445 h 6859062"/>
              <a:gd name="connsiteX13149" fmla="*/ 6703795 w 12192185"/>
              <a:gd name="connsiteY13149" fmla="*/ 199545 h 6859062"/>
              <a:gd name="connsiteX13150" fmla="*/ 6704325 w 12192185"/>
              <a:gd name="connsiteY13150" fmla="*/ 199579 h 6859062"/>
              <a:gd name="connsiteX13151" fmla="*/ 6753838 w 12192185"/>
              <a:gd name="connsiteY13151" fmla="*/ 210630 h 6859062"/>
              <a:gd name="connsiteX13152" fmla="*/ 6843916 w 12192185"/>
              <a:gd name="connsiteY13152" fmla="*/ 236411 h 6859062"/>
              <a:gd name="connsiteX13153" fmla="*/ 6976507 w 12192185"/>
              <a:gd name="connsiteY13153" fmla="*/ 274027 h 6859062"/>
              <a:gd name="connsiteX13154" fmla="*/ 7030883 w 12192185"/>
              <a:gd name="connsiteY13154" fmla="*/ 295640 h 6859062"/>
              <a:gd name="connsiteX13155" fmla="*/ 7056575 w 12192185"/>
              <a:gd name="connsiteY13155" fmla="*/ 312658 h 6859062"/>
              <a:gd name="connsiteX13156" fmla="*/ 7058402 w 12192185"/>
              <a:gd name="connsiteY13156" fmla="*/ 309661 h 6859062"/>
              <a:gd name="connsiteX13157" fmla="*/ 7062539 w 12192185"/>
              <a:gd name="connsiteY13157" fmla="*/ 308224 h 6859062"/>
              <a:gd name="connsiteX13158" fmla="*/ 7064887 w 12192185"/>
              <a:gd name="connsiteY13158" fmla="*/ 304184 h 6859062"/>
              <a:gd name="connsiteX13159" fmla="*/ 7064013 w 12192185"/>
              <a:gd name="connsiteY13159" fmla="*/ 302694 h 6859062"/>
              <a:gd name="connsiteX13160" fmla="*/ 7082777 w 12192185"/>
              <a:gd name="connsiteY13160" fmla="*/ 286924 h 6859062"/>
              <a:gd name="connsiteX13161" fmla="*/ 7082122 w 12192185"/>
              <a:gd name="connsiteY13161" fmla="*/ 290242 h 6859062"/>
              <a:gd name="connsiteX13162" fmla="*/ 7083358 w 12192185"/>
              <a:gd name="connsiteY13162" fmla="*/ 294137 h 6859062"/>
              <a:gd name="connsiteX13163" fmla="*/ 7087476 w 12192185"/>
              <a:gd name="connsiteY13163" fmla="*/ 292921 h 6859062"/>
              <a:gd name="connsiteX13164" fmla="*/ 7089048 w 12192185"/>
              <a:gd name="connsiteY13164" fmla="*/ 290154 h 6859062"/>
              <a:gd name="connsiteX13165" fmla="*/ 7095787 w 12192185"/>
              <a:gd name="connsiteY13165" fmla="*/ 289605 h 6859062"/>
              <a:gd name="connsiteX13166" fmla="*/ 7098501 w 12192185"/>
              <a:gd name="connsiteY13166" fmla="*/ 291840 h 6859062"/>
              <a:gd name="connsiteX13167" fmla="*/ 7100755 w 12192185"/>
              <a:gd name="connsiteY13167" fmla="*/ 288907 h 6859062"/>
              <a:gd name="connsiteX13168" fmla="*/ 7101643 w 12192185"/>
              <a:gd name="connsiteY13168" fmla="*/ 286305 h 6859062"/>
              <a:gd name="connsiteX13169" fmla="*/ 7103886 w 12192185"/>
              <a:gd name="connsiteY13169" fmla="*/ 283510 h 6859062"/>
              <a:gd name="connsiteX13170" fmla="*/ 7107110 w 12192185"/>
              <a:gd name="connsiteY13170" fmla="*/ 284980 h 6859062"/>
              <a:gd name="connsiteX13171" fmla="*/ 7113883 w 12192185"/>
              <a:gd name="connsiteY13171" fmla="*/ 292016 h 6859062"/>
              <a:gd name="connsiteX13172" fmla="*/ 7123446 w 12192185"/>
              <a:gd name="connsiteY13172" fmla="*/ 295048 h 6859062"/>
              <a:gd name="connsiteX13173" fmla="*/ 7129058 w 12192185"/>
              <a:gd name="connsiteY13173" fmla="*/ 297304 h 6859062"/>
              <a:gd name="connsiteX13174" fmla="*/ 7142035 w 12192185"/>
              <a:gd name="connsiteY13174" fmla="*/ 304861 h 6859062"/>
              <a:gd name="connsiteX13175" fmla="*/ 7144102 w 12192185"/>
              <a:gd name="connsiteY13175" fmla="*/ 306818 h 6859062"/>
              <a:gd name="connsiteX13176" fmla="*/ 7153448 w 12192185"/>
              <a:gd name="connsiteY13176" fmla="*/ 336374 h 6859062"/>
              <a:gd name="connsiteX13177" fmla="*/ 7153224 w 12192185"/>
              <a:gd name="connsiteY13177" fmla="*/ 341707 h 6859062"/>
              <a:gd name="connsiteX13178" fmla="*/ 7149043 w 12192185"/>
              <a:gd name="connsiteY13178" fmla="*/ 354291 h 6859062"/>
              <a:gd name="connsiteX13179" fmla="*/ 7147775 w 12192185"/>
              <a:gd name="connsiteY13179" fmla="*/ 359417 h 6859062"/>
              <a:gd name="connsiteX13180" fmla="*/ 7169275 w 12192185"/>
              <a:gd name="connsiteY13180" fmla="*/ 366458 h 6859062"/>
              <a:gd name="connsiteX13181" fmla="*/ 7270495 w 12192185"/>
              <a:gd name="connsiteY13181" fmla="*/ 429527 h 6859062"/>
              <a:gd name="connsiteX13182" fmla="*/ 7180185 w 12192185"/>
              <a:gd name="connsiteY13182" fmla="*/ 389188 h 6859062"/>
              <a:gd name="connsiteX13183" fmla="*/ 7140461 w 12192185"/>
              <a:gd name="connsiteY13183" fmla="*/ 372428 h 6859062"/>
              <a:gd name="connsiteX13184" fmla="*/ 7129896 w 12192185"/>
              <a:gd name="connsiteY13184" fmla="*/ 383016 h 6859062"/>
              <a:gd name="connsiteX13185" fmla="*/ 7128363 w 12192185"/>
              <a:gd name="connsiteY13185" fmla="*/ 385340 h 6859062"/>
              <a:gd name="connsiteX13186" fmla="*/ 7136647 w 12192185"/>
              <a:gd name="connsiteY13186" fmla="*/ 398302 h 6859062"/>
              <a:gd name="connsiteX13187" fmla="*/ 7148441 w 12192185"/>
              <a:gd name="connsiteY13187" fmla="*/ 406652 h 6859062"/>
              <a:gd name="connsiteX13188" fmla="*/ 7160250 w 12192185"/>
              <a:gd name="connsiteY13188" fmla="*/ 422808 h 6859062"/>
              <a:gd name="connsiteX13189" fmla="*/ 7159749 w 12192185"/>
              <a:gd name="connsiteY13189" fmla="*/ 426112 h 6859062"/>
              <a:gd name="connsiteX13190" fmla="*/ 7159948 w 12192185"/>
              <a:gd name="connsiteY13190" fmla="*/ 434381 h 6859062"/>
              <a:gd name="connsiteX13191" fmla="*/ 7159795 w 12192185"/>
              <a:gd name="connsiteY13191" fmla="*/ 444180 h 6859062"/>
              <a:gd name="connsiteX13192" fmla="*/ 7156338 w 12192185"/>
              <a:gd name="connsiteY13192" fmla="*/ 450804 h 6859062"/>
              <a:gd name="connsiteX13193" fmla="*/ 7148683 w 12192185"/>
              <a:gd name="connsiteY13193" fmla="*/ 470234 h 6859062"/>
              <a:gd name="connsiteX13194" fmla="*/ 7137948 w 12192185"/>
              <a:gd name="connsiteY13194" fmla="*/ 481154 h 6859062"/>
              <a:gd name="connsiteX13195" fmla="*/ 7135602 w 12192185"/>
              <a:gd name="connsiteY13195" fmla="*/ 482517 h 6859062"/>
              <a:gd name="connsiteX13196" fmla="*/ 7123634 w 12192185"/>
              <a:gd name="connsiteY13196" fmla="*/ 486865 h 6859062"/>
              <a:gd name="connsiteX13197" fmla="*/ 7119479 w 12192185"/>
              <a:gd name="connsiteY13197" fmla="*/ 488523 h 6859062"/>
              <a:gd name="connsiteX13198" fmla="*/ 7102732 w 12192185"/>
              <a:gd name="connsiteY13198" fmla="*/ 486003 h 6859062"/>
              <a:gd name="connsiteX13199" fmla="*/ 7089513 w 12192185"/>
              <a:gd name="connsiteY13199" fmla="*/ 481325 h 6859062"/>
              <a:gd name="connsiteX13200" fmla="*/ 7085026 w 12192185"/>
              <a:gd name="connsiteY13200" fmla="*/ 481617 h 6859062"/>
              <a:gd name="connsiteX13201" fmla="*/ 7082568 w 12192185"/>
              <a:gd name="connsiteY13201" fmla="*/ 484310 h 6859062"/>
              <a:gd name="connsiteX13202" fmla="*/ 7078949 w 12192185"/>
              <a:gd name="connsiteY13202" fmla="*/ 484899 h 6859062"/>
              <a:gd name="connsiteX13203" fmla="*/ 7079061 w 12192185"/>
              <a:gd name="connsiteY13203" fmla="*/ 480894 h 6859062"/>
              <a:gd name="connsiteX13204" fmla="*/ 7080318 w 12192185"/>
              <a:gd name="connsiteY13204" fmla="*/ 479215 h 6859062"/>
              <a:gd name="connsiteX13205" fmla="*/ 7077314 w 12192185"/>
              <a:gd name="connsiteY13205" fmla="*/ 469819 h 6859062"/>
              <a:gd name="connsiteX13206" fmla="*/ 7074249 w 12192185"/>
              <a:gd name="connsiteY13206" fmla="*/ 469116 h 6859062"/>
              <a:gd name="connsiteX13207" fmla="*/ 7070686 w 12192185"/>
              <a:gd name="connsiteY13207" fmla="*/ 466364 h 6859062"/>
              <a:gd name="connsiteX13208" fmla="*/ 7072757 w 12192185"/>
              <a:gd name="connsiteY13208" fmla="*/ 462969 h 6859062"/>
              <a:gd name="connsiteX13209" fmla="*/ 7072982 w 12192185"/>
              <a:gd name="connsiteY13209" fmla="*/ 457635 h 6859062"/>
              <a:gd name="connsiteX13210" fmla="*/ 7068056 w 12192185"/>
              <a:gd name="connsiteY13210" fmla="*/ 447185 h 6859062"/>
              <a:gd name="connsiteX13211" fmla="*/ 7063776 w 12192185"/>
              <a:gd name="connsiteY13211" fmla="*/ 442365 h 6859062"/>
              <a:gd name="connsiteX13212" fmla="*/ 7061450 w 12192185"/>
              <a:gd name="connsiteY13212" fmla="*/ 440833 h 6859062"/>
              <a:gd name="connsiteX13213" fmla="*/ 7062983 w 12192185"/>
              <a:gd name="connsiteY13213" fmla="*/ 438508 h 6859062"/>
              <a:gd name="connsiteX13214" fmla="*/ 7067824 w 12192185"/>
              <a:gd name="connsiteY13214" fmla="*/ 434008 h 6859062"/>
              <a:gd name="connsiteX13215" fmla="*/ 7068846 w 12192185"/>
              <a:gd name="connsiteY13215" fmla="*/ 421828 h 6859062"/>
              <a:gd name="connsiteX13216" fmla="*/ 7065031 w 12192185"/>
              <a:gd name="connsiteY13216" fmla="*/ 408795 h 6859062"/>
              <a:gd name="connsiteX13217" fmla="*/ 7069704 w 12192185"/>
              <a:gd name="connsiteY13217" fmla="*/ 406287 h 6859062"/>
              <a:gd name="connsiteX13218" fmla="*/ 7074042 w 12192185"/>
              <a:gd name="connsiteY13218" fmla="*/ 410443 h 6859062"/>
              <a:gd name="connsiteX13219" fmla="*/ 7079913 w 12192185"/>
              <a:gd name="connsiteY13219" fmla="*/ 412274 h 6859062"/>
              <a:gd name="connsiteX13220" fmla="*/ 7079381 w 12192185"/>
              <a:gd name="connsiteY13220" fmla="*/ 405315 h 6859062"/>
              <a:gd name="connsiteX13221" fmla="*/ 7076521 w 12192185"/>
              <a:gd name="connsiteY13221" fmla="*/ 402176 h 6859062"/>
              <a:gd name="connsiteX13222" fmla="*/ 7076190 w 12192185"/>
              <a:gd name="connsiteY13222" fmla="*/ 398134 h 6859062"/>
              <a:gd name="connsiteX13223" fmla="*/ 7079920 w 12192185"/>
              <a:gd name="connsiteY13223" fmla="*/ 398893 h 6859062"/>
              <a:gd name="connsiteX13224" fmla="*/ 7083685 w 12192185"/>
              <a:gd name="connsiteY13224" fmla="*/ 401885 h 6859062"/>
              <a:gd name="connsiteX13225" fmla="*/ 7089502 w 12192185"/>
              <a:gd name="connsiteY13225" fmla="*/ 401705 h 6859062"/>
              <a:gd name="connsiteX13226" fmla="*/ 7089911 w 12192185"/>
              <a:gd name="connsiteY13226" fmla="*/ 396832 h 6859062"/>
              <a:gd name="connsiteX13227" fmla="*/ 7068514 w 12192185"/>
              <a:gd name="connsiteY13227" fmla="*/ 388568 h 6859062"/>
              <a:gd name="connsiteX13228" fmla="*/ 7063364 w 12192185"/>
              <a:gd name="connsiteY13228" fmla="*/ 386129 h 6859062"/>
              <a:gd name="connsiteX13229" fmla="*/ 7055246 w 12192185"/>
              <a:gd name="connsiteY13229" fmla="*/ 373850 h 6859062"/>
              <a:gd name="connsiteX13230" fmla="*/ 7052257 w 12192185"/>
              <a:gd name="connsiteY13230" fmla="*/ 369585 h 6859062"/>
              <a:gd name="connsiteX13231" fmla="*/ 7049717 w 12192185"/>
              <a:gd name="connsiteY13231" fmla="*/ 354652 h 6859062"/>
              <a:gd name="connsiteX13232" fmla="*/ 7050147 w 12192185"/>
              <a:gd name="connsiteY13232" fmla="*/ 344206 h 6859062"/>
              <a:gd name="connsiteX13233" fmla="*/ 7049251 w 12192185"/>
              <a:gd name="connsiteY13233" fmla="*/ 342233 h 6859062"/>
              <a:gd name="connsiteX13234" fmla="*/ 7031973 w 12192185"/>
              <a:gd name="connsiteY13234" fmla="*/ 333919 h 6859062"/>
              <a:gd name="connsiteX13235" fmla="*/ 7012902 w 12192185"/>
              <a:gd name="connsiteY13235" fmla="*/ 321870 h 6859062"/>
              <a:gd name="connsiteX13236" fmla="*/ 6968282 w 12192185"/>
              <a:gd name="connsiteY13236" fmla="*/ 315088 h 6859062"/>
              <a:gd name="connsiteX13237" fmla="*/ 6918409 w 12192185"/>
              <a:gd name="connsiteY13237" fmla="*/ 285344 h 6859062"/>
              <a:gd name="connsiteX13238" fmla="*/ 6922621 w 12192185"/>
              <a:gd name="connsiteY13238" fmla="*/ 275239 h 6859062"/>
              <a:gd name="connsiteX13239" fmla="*/ 6883688 w 12192185"/>
              <a:gd name="connsiteY13239" fmla="*/ 261933 h 6859062"/>
              <a:gd name="connsiteX13240" fmla="*/ 6885159 w 12192185"/>
              <a:gd name="connsiteY13240" fmla="*/ 265514 h 6859062"/>
              <a:gd name="connsiteX13241" fmla="*/ 6890211 w 12192185"/>
              <a:gd name="connsiteY13241" fmla="*/ 267625 h 6859062"/>
              <a:gd name="connsiteX13242" fmla="*/ 6886632 w 12192185"/>
              <a:gd name="connsiteY13242" fmla="*/ 269096 h 6859062"/>
              <a:gd name="connsiteX13243" fmla="*/ 6894627 w 12192185"/>
              <a:gd name="connsiteY13243" fmla="*/ 278370 h 6859062"/>
              <a:gd name="connsiteX13244" fmla="*/ 6865794 w 12192185"/>
              <a:gd name="connsiteY13244" fmla="*/ 269287 h 6859062"/>
              <a:gd name="connsiteX13245" fmla="*/ 6862214 w 12192185"/>
              <a:gd name="connsiteY13245" fmla="*/ 270758 h 6859062"/>
              <a:gd name="connsiteX13246" fmla="*/ 6860742 w 12192185"/>
              <a:gd name="connsiteY13246" fmla="*/ 267177 h 6859062"/>
              <a:gd name="connsiteX13247" fmla="*/ 6852112 w 12192185"/>
              <a:gd name="connsiteY13247" fmla="*/ 266536 h 6859062"/>
              <a:gd name="connsiteX13248" fmla="*/ 6850641 w 12192185"/>
              <a:gd name="connsiteY13248" fmla="*/ 262954 h 6859062"/>
              <a:gd name="connsiteX13249" fmla="*/ 6797391 w 12192185"/>
              <a:gd name="connsiteY13249" fmla="*/ 255532 h 6859062"/>
              <a:gd name="connsiteX13250" fmla="*/ 6759091 w 12192185"/>
              <a:gd name="connsiteY13250" fmla="*/ 233591 h 6859062"/>
              <a:gd name="connsiteX13251" fmla="*/ 6754039 w 12192185"/>
              <a:gd name="connsiteY13251" fmla="*/ 231481 h 6859062"/>
              <a:gd name="connsiteX13252" fmla="*/ 6743938 w 12192185"/>
              <a:gd name="connsiteY13252" fmla="*/ 227258 h 6859062"/>
              <a:gd name="connsiteX13253" fmla="*/ 6747517 w 12192185"/>
              <a:gd name="connsiteY13253" fmla="*/ 225787 h 6859062"/>
              <a:gd name="connsiteX13254" fmla="*/ 6752569 w 12192185"/>
              <a:gd name="connsiteY13254" fmla="*/ 227899 h 6859062"/>
              <a:gd name="connsiteX13255" fmla="*/ 6756147 w 12192185"/>
              <a:gd name="connsiteY13255" fmla="*/ 226428 h 6859062"/>
              <a:gd name="connsiteX13256" fmla="*/ 6725207 w 12192185"/>
              <a:gd name="connsiteY13256" fmla="*/ 222396 h 6859062"/>
              <a:gd name="connsiteX13257" fmla="*/ 6730257 w 12192185"/>
              <a:gd name="connsiteY13257" fmla="*/ 224508 h 6859062"/>
              <a:gd name="connsiteX13258" fmla="*/ 6726678 w 12192185"/>
              <a:gd name="connsiteY13258" fmla="*/ 225979 h 6859062"/>
              <a:gd name="connsiteX13259" fmla="*/ 6723099 w 12192185"/>
              <a:gd name="connsiteY13259" fmla="*/ 227450 h 6859062"/>
              <a:gd name="connsiteX13260" fmla="*/ 6729623 w 12192185"/>
              <a:gd name="connsiteY13260" fmla="*/ 233141 h 6859062"/>
              <a:gd name="connsiteX13261" fmla="*/ 6704369 w 12192185"/>
              <a:gd name="connsiteY13261" fmla="*/ 222588 h 6859062"/>
              <a:gd name="connsiteX13262" fmla="*/ 6699318 w 12192185"/>
              <a:gd name="connsiteY13262" fmla="*/ 220475 h 6859062"/>
              <a:gd name="connsiteX13263" fmla="*/ 6696241 w 12192185"/>
              <a:gd name="connsiteY13263" fmla="*/ 218077 h 6859062"/>
              <a:gd name="connsiteX13264" fmla="*/ 6694336 w 12192185"/>
              <a:gd name="connsiteY13264" fmla="*/ 218355 h 6859062"/>
              <a:gd name="connsiteX13265" fmla="*/ 6650520 w 12192185"/>
              <a:gd name="connsiteY13265" fmla="*/ 199711 h 6859062"/>
              <a:gd name="connsiteX13266" fmla="*/ 6590509 w 12192185"/>
              <a:gd name="connsiteY13266" fmla="*/ 189832 h 6859062"/>
              <a:gd name="connsiteX13267" fmla="*/ 6585459 w 12192185"/>
              <a:gd name="connsiteY13267" fmla="*/ 187722 h 6859062"/>
              <a:gd name="connsiteX13268" fmla="*/ 6576828 w 12192185"/>
              <a:gd name="connsiteY13268" fmla="*/ 187083 h 6859062"/>
              <a:gd name="connsiteX13269" fmla="*/ 6580406 w 12192185"/>
              <a:gd name="connsiteY13269" fmla="*/ 185612 h 6859062"/>
              <a:gd name="connsiteX13270" fmla="*/ 6540202 w 12192185"/>
              <a:gd name="connsiteY13270" fmla="*/ 189575 h 6859062"/>
              <a:gd name="connsiteX13271" fmla="*/ 6548832 w 12192185"/>
              <a:gd name="connsiteY13271" fmla="*/ 190215 h 6859062"/>
              <a:gd name="connsiteX13272" fmla="*/ 6550305 w 12192185"/>
              <a:gd name="connsiteY13272" fmla="*/ 193795 h 6859062"/>
              <a:gd name="connsiteX13273" fmla="*/ 6541676 w 12192185"/>
              <a:gd name="connsiteY13273" fmla="*/ 193156 h 6859062"/>
              <a:gd name="connsiteX13274" fmla="*/ 6540373 w 12192185"/>
              <a:gd name="connsiteY13274" fmla="*/ 193691 h 6859062"/>
              <a:gd name="connsiteX13275" fmla="*/ 6537992 w 12192185"/>
              <a:gd name="connsiteY13275" fmla="*/ 193100 h 6859062"/>
              <a:gd name="connsiteX13276" fmla="*/ 6533044 w 12192185"/>
              <a:gd name="connsiteY13276" fmla="*/ 192516 h 6859062"/>
              <a:gd name="connsiteX13277" fmla="*/ 6538096 w 12192185"/>
              <a:gd name="connsiteY13277" fmla="*/ 194627 h 6859062"/>
              <a:gd name="connsiteX13278" fmla="*/ 6540373 w 12192185"/>
              <a:gd name="connsiteY13278" fmla="*/ 193691 h 6859062"/>
              <a:gd name="connsiteX13279" fmla="*/ 6546725 w 12192185"/>
              <a:gd name="connsiteY13279" fmla="*/ 195267 h 6859062"/>
              <a:gd name="connsiteX13280" fmla="*/ 6520793 w 12192185"/>
              <a:gd name="connsiteY13280" fmla="*/ 195174 h 6859062"/>
              <a:gd name="connsiteX13281" fmla="*/ 6522004 w 12192185"/>
              <a:gd name="connsiteY13281" fmla="*/ 198989 h 6859062"/>
              <a:gd name="connsiteX13282" fmla="*/ 6521871 w 12192185"/>
              <a:gd name="connsiteY13282" fmla="*/ 204322 h 6859062"/>
              <a:gd name="connsiteX13283" fmla="*/ 6520592 w 12192185"/>
              <a:gd name="connsiteY13283" fmla="*/ 208300 h 6859062"/>
              <a:gd name="connsiteX13284" fmla="*/ 6518324 w 12192185"/>
              <a:gd name="connsiteY13284" fmla="*/ 216595 h 6859062"/>
              <a:gd name="connsiteX13285" fmla="*/ 6517749 w 12192185"/>
              <a:gd name="connsiteY13285" fmla="*/ 219690 h 6859062"/>
              <a:gd name="connsiteX13286" fmla="*/ 6516182 w 12192185"/>
              <a:gd name="connsiteY13286" fmla="*/ 227102 h 6859062"/>
              <a:gd name="connsiteX13287" fmla="*/ 6499535 w 12192185"/>
              <a:gd name="connsiteY13287" fmla="*/ 237963 h 6859062"/>
              <a:gd name="connsiteX13288" fmla="*/ 6489509 w 12192185"/>
              <a:gd name="connsiteY13288" fmla="*/ 237435 h 6859062"/>
              <a:gd name="connsiteX13289" fmla="*/ 6470189 w 12192185"/>
              <a:gd name="connsiteY13289" fmla="*/ 231413 h 6859062"/>
              <a:gd name="connsiteX13290" fmla="*/ 6465113 w 12192185"/>
              <a:gd name="connsiteY13290" fmla="*/ 228159 h 6859062"/>
              <a:gd name="connsiteX13291" fmla="*/ 6459594 w 12192185"/>
              <a:gd name="connsiteY13291" fmla="*/ 222667 h 6859062"/>
              <a:gd name="connsiteX13292" fmla="*/ 6456263 w 12192185"/>
              <a:gd name="connsiteY13292" fmla="*/ 217358 h 6859062"/>
              <a:gd name="connsiteX13293" fmla="*/ 6453041 w 12192185"/>
              <a:gd name="connsiteY13293" fmla="*/ 203259 h 6859062"/>
              <a:gd name="connsiteX13294" fmla="*/ 6450624 w 12192185"/>
              <a:gd name="connsiteY13294" fmla="*/ 194569 h 6859062"/>
              <a:gd name="connsiteX13295" fmla="*/ 6450938 w 12192185"/>
              <a:gd name="connsiteY13295" fmla="*/ 190824 h 6859062"/>
              <a:gd name="connsiteX13296" fmla="*/ 6452001 w 12192185"/>
              <a:gd name="connsiteY13296" fmla="*/ 189082 h 6859062"/>
              <a:gd name="connsiteX13297" fmla="*/ 6416463 w 12192185"/>
              <a:gd name="connsiteY13297" fmla="*/ 184627 h 6859062"/>
              <a:gd name="connsiteX13298" fmla="*/ 6374133 w 12192185"/>
              <a:gd name="connsiteY13298" fmla="*/ 182465 h 6859062"/>
              <a:gd name="connsiteX13299" fmla="*/ 6350350 w 12192185"/>
              <a:gd name="connsiteY13299" fmla="*/ 175491 h 6859062"/>
              <a:gd name="connsiteX13300" fmla="*/ 6344663 w 12192185"/>
              <a:gd name="connsiteY13300" fmla="*/ 182014 h 6859062"/>
              <a:gd name="connsiteX13301" fmla="*/ 6339613 w 12192185"/>
              <a:gd name="connsiteY13301" fmla="*/ 179903 h 6859062"/>
              <a:gd name="connsiteX13302" fmla="*/ 6330985 w 12192185"/>
              <a:gd name="connsiteY13302" fmla="*/ 179264 h 6859062"/>
              <a:gd name="connsiteX13303" fmla="*/ 6285942 w 12192185"/>
              <a:gd name="connsiteY13303" fmla="*/ 175272 h 6859062"/>
              <a:gd name="connsiteX13304" fmla="*/ 6258708 w 12192185"/>
              <a:gd name="connsiteY13304" fmla="*/ 169184 h 6859062"/>
              <a:gd name="connsiteX13305" fmla="*/ 6257397 w 12192185"/>
              <a:gd name="connsiteY13305" fmla="*/ 168162 h 6859062"/>
              <a:gd name="connsiteX13306" fmla="*/ 6255423 w 12192185"/>
              <a:gd name="connsiteY13306" fmla="*/ 168449 h 6859062"/>
              <a:gd name="connsiteX13307" fmla="*/ 6258708 w 12192185"/>
              <a:gd name="connsiteY13307" fmla="*/ 169184 h 6859062"/>
              <a:gd name="connsiteX13308" fmla="*/ 6260474 w 12192185"/>
              <a:gd name="connsiteY13308" fmla="*/ 170560 h 6859062"/>
              <a:gd name="connsiteX13309" fmla="*/ 6258366 w 12192185"/>
              <a:gd name="connsiteY13309" fmla="*/ 175613 h 6859062"/>
              <a:gd name="connsiteX13310" fmla="*/ 6253317 w 12192185"/>
              <a:gd name="connsiteY13310" fmla="*/ 173503 h 6859062"/>
              <a:gd name="connsiteX13311" fmla="*/ 6249737 w 12192185"/>
              <a:gd name="connsiteY13311" fmla="*/ 174973 h 6859062"/>
              <a:gd name="connsiteX13312" fmla="*/ 6179229 w 12192185"/>
              <a:gd name="connsiteY13312" fmla="*/ 166270 h 6859062"/>
              <a:gd name="connsiteX13313" fmla="*/ 6080101 w 12192185"/>
              <a:gd name="connsiteY13313" fmla="*/ 169334 h 6859062"/>
              <a:gd name="connsiteX13314" fmla="*/ 6162606 w 12192185"/>
              <a:gd name="connsiteY13314" fmla="*/ 156356 h 6859062"/>
              <a:gd name="connsiteX13315" fmla="*/ 6229534 w 12192185"/>
              <a:gd name="connsiteY13315" fmla="*/ 166529 h 6859062"/>
              <a:gd name="connsiteX13316" fmla="*/ 6231641 w 12192185"/>
              <a:gd name="connsiteY13316" fmla="*/ 161476 h 6859062"/>
              <a:gd name="connsiteX13317" fmla="*/ 6245322 w 12192185"/>
              <a:gd name="connsiteY13317" fmla="*/ 164228 h 6859062"/>
              <a:gd name="connsiteX13318" fmla="*/ 6250372 w 12192185"/>
              <a:gd name="connsiteY13318" fmla="*/ 166338 h 6859062"/>
              <a:gd name="connsiteX13319" fmla="*/ 6248902 w 12192185"/>
              <a:gd name="connsiteY13319" fmla="*/ 162758 h 6859062"/>
              <a:gd name="connsiteX13320" fmla="*/ 6311415 w 12192185"/>
              <a:gd name="connsiteY13320" fmla="*/ 162187 h 6859062"/>
              <a:gd name="connsiteX13321" fmla="*/ 6314994 w 12192185"/>
              <a:gd name="connsiteY13321" fmla="*/ 160715 h 6859062"/>
              <a:gd name="connsiteX13322" fmla="*/ 6318574 w 12192185"/>
              <a:gd name="connsiteY13322" fmla="*/ 159244 h 6859062"/>
              <a:gd name="connsiteX13323" fmla="*/ 6322152 w 12192185"/>
              <a:gd name="connsiteY13323" fmla="*/ 157773 h 6859062"/>
              <a:gd name="connsiteX13324" fmla="*/ 6323624 w 12192185"/>
              <a:gd name="connsiteY13324" fmla="*/ 161354 h 6859062"/>
              <a:gd name="connsiteX13325" fmla="*/ 6325732 w 12192185"/>
              <a:gd name="connsiteY13325" fmla="*/ 156303 h 6859062"/>
              <a:gd name="connsiteX13326" fmla="*/ 6357306 w 12192185"/>
              <a:gd name="connsiteY13326" fmla="*/ 151700 h 6859062"/>
              <a:gd name="connsiteX13327" fmla="*/ 6339209 w 12192185"/>
              <a:gd name="connsiteY13327" fmla="*/ 138202 h 6859062"/>
              <a:gd name="connsiteX13328" fmla="*/ 6347102 w 12192185"/>
              <a:gd name="connsiteY13328" fmla="*/ 137053 h 6859062"/>
              <a:gd name="connsiteX13329" fmla="*/ 6351049 w 12192185"/>
              <a:gd name="connsiteY13329" fmla="*/ 136477 h 6859062"/>
              <a:gd name="connsiteX13330" fmla="*/ 6351417 w 12192185"/>
              <a:gd name="connsiteY13330" fmla="*/ 137372 h 6859062"/>
              <a:gd name="connsiteX13331" fmla="*/ 6354996 w 12192185"/>
              <a:gd name="connsiteY13331" fmla="*/ 135902 h 6859062"/>
              <a:gd name="connsiteX13332" fmla="*/ 6351049 w 12192185"/>
              <a:gd name="connsiteY13332" fmla="*/ 136477 h 6859062"/>
              <a:gd name="connsiteX13333" fmla="*/ 6349946 w 12192185"/>
              <a:gd name="connsiteY13333" fmla="*/ 133791 h 6859062"/>
              <a:gd name="connsiteX13334" fmla="*/ 6353524 w 12192185"/>
              <a:gd name="connsiteY13334" fmla="*/ 132319 h 6859062"/>
              <a:gd name="connsiteX13335" fmla="*/ 6357103 w 12192185"/>
              <a:gd name="connsiteY13335" fmla="*/ 130850 h 6859062"/>
              <a:gd name="connsiteX13336" fmla="*/ 4601331 w 12192185"/>
              <a:gd name="connsiteY13336" fmla="*/ 127244 h 6859062"/>
              <a:gd name="connsiteX13337" fmla="*/ 4605849 w 12192185"/>
              <a:gd name="connsiteY13337" fmla="*/ 127261 h 6859062"/>
              <a:gd name="connsiteX13338" fmla="*/ 4611546 w 12192185"/>
              <a:gd name="connsiteY13338" fmla="*/ 128515 h 6859062"/>
              <a:gd name="connsiteX13339" fmla="*/ 4615784 w 12192185"/>
              <a:gd name="connsiteY13339" fmla="*/ 130533 h 6859062"/>
              <a:gd name="connsiteX13340" fmla="*/ 4623485 w 12192185"/>
              <a:gd name="connsiteY13340" fmla="*/ 138148 h 6859062"/>
              <a:gd name="connsiteX13341" fmla="*/ 4628508 w 12192185"/>
              <a:gd name="connsiteY13341" fmla="*/ 142669 h 6859062"/>
              <a:gd name="connsiteX13342" fmla="*/ 4629814 w 12192185"/>
              <a:gd name="connsiteY13342" fmla="*/ 145163 h 6859062"/>
              <a:gd name="connsiteX13343" fmla="*/ 4629927 w 12192185"/>
              <a:gd name="connsiteY13343" fmla="*/ 151458 h 6859062"/>
              <a:gd name="connsiteX13344" fmla="*/ 4628233 w 12192185"/>
              <a:gd name="connsiteY13344" fmla="*/ 161882 h 6859062"/>
              <a:gd name="connsiteX13345" fmla="*/ 4628297 w 12192185"/>
              <a:gd name="connsiteY13345" fmla="*/ 165555 h 6859062"/>
              <a:gd name="connsiteX13346" fmla="*/ 4626345 w 12192185"/>
              <a:gd name="connsiteY13346" fmla="*/ 167902 h 6859062"/>
              <a:gd name="connsiteX13347" fmla="*/ 4622322 w 12192185"/>
              <a:gd name="connsiteY13347" fmla="*/ 171863 h 6859062"/>
              <a:gd name="connsiteX13348" fmla="*/ 4621095 w 12192185"/>
              <a:gd name="connsiteY13348" fmla="*/ 173567 h 6859062"/>
              <a:gd name="connsiteX13349" fmla="*/ 4614871 w 12192185"/>
              <a:gd name="connsiteY13349" fmla="*/ 177886 h 6859062"/>
              <a:gd name="connsiteX13350" fmla="*/ 4613634 w 12192185"/>
              <a:gd name="connsiteY13350" fmla="*/ 179065 h 6859062"/>
              <a:gd name="connsiteX13351" fmla="*/ 4593960 w 12192185"/>
              <a:gd name="connsiteY13351" fmla="*/ 177454 h 6859062"/>
              <a:gd name="connsiteX13352" fmla="*/ 4584917 w 12192185"/>
              <a:gd name="connsiteY13352" fmla="*/ 171332 h 6859062"/>
              <a:gd name="connsiteX13353" fmla="*/ 4581612 w 12192185"/>
              <a:gd name="connsiteY13353" fmla="*/ 168563 h 6859062"/>
              <a:gd name="connsiteX13354" fmla="*/ 4579551 w 12192185"/>
              <a:gd name="connsiteY13354" fmla="*/ 165138 h 6859062"/>
              <a:gd name="connsiteX13355" fmla="*/ 4578762 w 12192185"/>
              <a:gd name="connsiteY13355" fmla="*/ 162111 h 6859062"/>
              <a:gd name="connsiteX13356" fmla="*/ 4576863 w 12192185"/>
              <a:gd name="connsiteY13356" fmla="*/ 155955 h 6859062"/>
              <a:gd name="connsiteX13357" fmla="*/ 4575983 w 12192185"/>
              <a:gd name="connsiteY13357" fmla="*/ 153768 h 6859062"/>
              <a:gd name="connsiteX13358" fmla="*/ 4573994 w 12192185"/>
              <a:gd name="connsiteY13358" fmla="*/ 148454 h 6859062"/>
              <a:gd name="connsiteX13359" fmla="*/ 4580151 w 12192185"/>
              <a:gd name="connsiteY13359" fmla="*/ 134899 h 6859062"/>
              <a:gd name="connsiteX13360" fmla="*/ 4586698 w 12192185"/>
              <a:gd name="connsiteY13360" fmla="*/ 131203 h 6859062"/>
              <a:gd name="connsiteX13361" fmla="*/ 4601331 w 12192185"/>
              <a:gd name="connsiteY13361" fmla="*/ 127244 h 6859062"/>
              <a:gd name="connsiteX13362" fmla="*/ 3331871 w 12192185"/>
              <a:gd name="connsiteY13362" fmla="*/ 114564 h 6859062"/>
              <a:gd name="connsiteX13363" fmla="*/ 3334345 w 12192185"/>
              <a:gd name="connsiteY13363" fmla="*/ 115271 h 6859062"/>
              <a:gd name="connsiteX13364" fmla="*/ 3345653 w 12192185"/>
              <a:gd name="connsiteY13364" fmla="*/ 116683 h 6859062"/>
              <a:gd name="connsiteX13365" fmla="*/ 3348480 w 12192185"/>
              <a:gd name="connsiteY13365" fmla="*/ 118094 h 6859062"/>
              <a:gd name="connsiteX13366" fmla="*/ 3356610 w 12192185"/>
              <a:gd name="connsiteY13366" fmla="*/ 120565 h 6859062"/>
              <a:gd name="connsiteX13367" fmla="*/ 3360850 w 12192185"/>
              <a:gd name="connsiteY13367" fmla="*/ 122331 h 6859062"/>
              <a:gd name="connsiteX13368" fmla="*/ 3363325 w 12192185"/>
              <a:gd name="connsiteY13368" fmla="*/ 127272 h 6859062"/>
              <a:gd name="connsiteX13369" fmla="*/ 3372868 w 12192185"/>
              <a:gd name="connsiteY13369" fmla="*/ 139979 h 6859062"/>
              <a:gd name="connsiteX13370" fmla="*/ 3377109 w 12192185"/>
              <a:gd name="connsiteY13370" fmla="*/ 148449 h 6859062"/>
              <a:gd name="connsiteX13371" fmla="*/ 3377109 w 12192185"/>
              <a:gd name="connsiteY13371" fmla="*/ 152685 h 6859062"/>
              <a:gd name="connsiteX13372" fmla="*/ 3373575 w 12192185"/>
              <a:gd name="connsiteY13372" fmla="*/ 162215 h 6859062"/>
              <a:gd name="connsiteX13373" fmla="*/ 3368627 w 12192185"/>
              <a:gd name="connsiteY13373" fmla="*/ 177745 h 6859062"/>
              <a:gd name="connsiteX13374" fmla="*/ 3364383 w 12192185"/>
              <a:gd name="connsiteY13374" fmla="*/ 183393 h 6859062"/>
              <a:gd name="connsiteX13375" fmla="*/ 3357668 w 12192185"/>
              <a:gd name="connsiteY13375" fmla="*/ 189040 h 6859062"/>
              <a:gd name="connsiteX13376" fmla="*/ 3351661 w 12192185"/>
              <a:gd name="connsiteY13376" fmla="*/ 192217 h 6859062"/>
              <a:gd name="connsiteX13377" fmla="*/ 3329396 w 12192185"/>
              <a:gd name="connsiteY13377" fmla="*/ 197159 h 6859062"/>
              <a:gd name="connsiteX13378" fmla="*/ 3318086 w 12192185"/>
              <a:gd name="connsiteY13378" fmla="*/ 196806 h 6859062"/>
              <a:gd name="connsiteX13379" fmla="*/ 3300414 w 12192185"/>
              <a:gd name="connsiteY13379" fmla="*/ 183040 h 6859062"/>
              <a:gd name="connsiteX13380" fmla="*/ 3299353 w 12192185"/>
              <a:gd name="connsiteY13380" fmla="*/ 174569 h 6859062"/>
              <a:gd name="connsiteX13381" fmla="*/ 3299001 w 12192185"/>
              <a:gd name="connsiteY13381" fmla="*/ 171039 h 6859062"/>
              <a:gd name="connsiteX13382" fmla="*/ 3297234 w 12192185"/>
              <a:gd name="connsiteY13382" fmla="*/ 161509 h 6859062"/>
              <a:gd name="connsiteX13383" fmla="*/ 3296172 w 12192185"/>
              <a:gd name="connsiteY13383" fmla="*/ 156921 h 6859062"/>
              <a:gd name="connsiteX13384" fmla="*/ 3296527 w 12192185"/>
              <a:gd name="connsiteY13384" fmla="*/ 150920 h 6859062"/>
              <a:gd name="connsiteX13385" fmla="*/ 3299000 w 12192185"/>
              <a:gd name="connsiteY13385" fmla="*/ 144919 h 6859062"/>
              <a:gd name="connsiteX13386" fmla="*/ 3306776 w 12192185"/>
              <a:gd name="connsiteY13386" fmla="*/ 130448 h 6859062"/>
              <a:gd name="connsiteX13387" fmla="*/ 3331871 w 12192185"/>
              <a:gd name="connsiteY13387" fmla="*/ 114564 h 6859062"/>
              <a:gd name="connsiteX13388" fmla="*/ 5553602 w 12192185"/>
              <a:gd name="connsiteY13388" fmla="*/ 83367 h 6859062"/>
              <a:gd name="connsiteX13389" fmla="*/ 5556463 w 12192185"/>
              <a:gd name="connsiteY13389" fmla="*/ 84449 h 6859062"/>
              <a:gd name="connsiteX13390" fmla="*/ 5569720 w 12192185"/>
              <a:gd name="connsiteY13390" fmla="*/ 87246 h 6859062"/>
              <a:gd name="connsiteX13391" fmla="*/ 5572930 w 12192185"/>
              <a:gd name="connsiteY13391" fmla="*/ 89200 h 6859062"/>
              <a:gd name="connsiteX13392" fmla="*/ 5582313 w 12192185"/>
              <a:gd name="connsiteY13392" fmla="*/ 92936 h 6859062"/>
              <a:gd name="connsiteX13393" fmla="*/ 5587161 w 12192185"/>
              <a:gd name="connsiteY13393" fmla="*/ 95448 h 6859062"/>
              <a:gd name="connsiteX13394" fmla="*/ 5589602 w 12192185"/>
              <a:gd name="connsiteY13394" fmla="*/ 101548 h 6859062"/>
              <a:gd name="connsiteX13395" fmla="*/ 5599642 w 12192185"/>
              <a:gd name="connsiteY13395" fmla="*/ 117549 h 6859062"/>
              <a:gd name="connsiteX13396" fmla="*/ 5603822 w 12192185"/>
              <a:gd name="connsiteY13396" fmla="*/ 128007 h 6859062"/>
              <a:gd name="connsiteX13397" fmla="*/ 5603403 w 12192185"/>
              <a:gd name="connsiteY13397" fmla="*/ 133024 h 6859062"/>
              <a:gd name="connsiteX13398" fmla="*/ 5598268 w 12192185"/>
              <a:gd name="connsiteY13398" fmla="*/ 143962 h 6859062"/>
              <a:gd name="connsiteX13399" fmla="*/ 5590861 w 12192185"/>
              <a:gd name="connsiteY13399" fmla="*/ 161868 h 6859062"/>
              <a:gd name="connsiteX13400" fmla="*/ 5585277 w 12192185"/>
              <a:gd name="connsiteY13400" fmla="*/ 168136 h 6859062"/>
              <a:gd name="connsiteX13401" fmla="*/ 5576761 w 12192185"/>
              <a:gd name="connsiteY13401" fmla="*/ 174159 h 6859062"/>
              <a:gd name="connsiteX13402" fmla="*/ 5569326 w 12192185"/>
              <a:gd name="connsiteY13402" fmla="*/ 177325 h 6859062"/>
              <a:gd name="connsiteX13403" fmla="*/ 5542459 w 12192185"/>
              <a:gd name="connsiteY13403" fmla="*/ 180965 h 6859062"/>
              <a:gd name="connsiteX13404" fmla="*/ 5529097 w 12192185"/>
              <a:gd name="connsiteY13404" fmla="*/ 179423 h 6859062"/>
              <a:gd name="connsiteX13405" fmla="*/ 5509533 w 12192185"/>
              <a:gd name="connsiteY13405" fmla="*/ 161358 h 6859062"/>
              <a:gd name="connsiteX13406" fmla="*/ 5509117 w 12192185"/>
              <a:gd name="connsiteY13406" fmla="*/ 151217 h 6859062"/>
              <a:gd name="connsiteX13407" fmla="*/ 5509051 w 12192185"/>
              <a:gd name="connsiteY13407" fmla="*/ 147000 h 6859062"/>
              <a:gd name="connsiteX13408" fmla="*/ 5507906 w 12192185"/>
              <a:gd name="connsiteY13408" fmla="*/ 135535 h 6859062"/>
              <a:gd name="connsiteX13409" fmla="*/ 5507106 w 12192185"/>
              <a:gd name="connsiteY13409" fmla="*/ 129994 h 6859062"/>
              <a:gd name="connsiteX13410" fmla="*/ 5508121 w 12192185"/>
              <a:gd name="connsiteY13410" fmla="*/ 122921 h 6859062"/>
              <a:gd name="connsiteX13411" fmla="*/ 5511647 w 12192185"/>
              <a:gd name="connsiteY13411" fmla="*/ 116059 h 6859062"/>
              <a:gd name="connsiteX13412" fmla="*/ 5522297 w 12192185"/>
              <a:gd name="connsiteY13412" fmla="*/ 99688 h 6859062"/>
              <a:gd name="connsiteX13413" fmla="*/ 5553602 w 12192185"/>
              <a:gd name="connsiteY13413" fmla="*/ 83367 h 6859062"/>
              <a:gd name="connsiteX13414" fmla="*/ 6247844 w 12192185"/>
              <a:gd name="connsiteY13414" fmla="*/ 64951 h 6859062"/>
              <a:gd name="connsiteX13415" fmla="*/ 6268852 w 12192185"/>
              <a:gd name="connsiteY13415" fmla="*/ 80858 h 6859062"/>
              <a:gd name="connsiteX13416" fmla="*/ 6274653 w 12192185"/>
              <a:gd name="connsiteY13416" fmla="*/ 94231 h 6859062"/>
              <a:gd name="connsiteX13417" fmla="*/ 6276395 w 12192185"/>
              <a:gd name="connsiteY13417" fmla="*/ 99720 h 6859062"/>
              <a:gd name="connsiteX13418" fmla="*/ 6276261 w 12192185"/>
              <a:gd name="connsiteY13418" fmla="*/ 105052 h 6859062"/>
              <a:gd name="connsiteX13419" fmla="*/ 6274984 w 12192185"/>
              <a:gd name="connsiteY13419" fmla="*/ 109030 h 6859062"/>
              <a:gd name="connsiteX13420" fmla="*/ 6272714 w 12192185"/>
              <a:gd name="connsiteY13420" fmla="*/ 117327 h 6859062"/>
              <a:gd name="connsiteX13421" fmla="*/ 6272139 w 12192185"/>
              <a:gd name="connsiteY13421" fmla="*/ 120421 h 6859062"/>
              <a:gd name="connsiteX13422" fmla="*/ 6270573 w 12192185"/>
              <a:gd name="connsiteY13422" fmla="*/ 127833 h 6859062"/>
              <a:gd name="connsiteX13423" fmla="*/ 6253927 w 12192185"/>
              <a:gd name="connsiteY13423" fmla="*/ 138694 h 6859062"/>
              <a:gd name="connsiteX13424" fmla="*/ 6243901 w 12192185"/>
              <a:gd name="connsiteY13424" fmla="*/ 138166 h 6859062"/>
              <a:gd name="connsiteX13425" fmla="*/ 6224580 w 12192185"/>
              <a:gd name="connsiteY13425" fmla="*/ 132144 h 6859062"/>
              <a:gd name="connsiteX13426" fmla="*/ 6219503 w 12192185"/>
              <a:gd name="connsiteY13426" fmla="*/ 128889 h 6859062"/>
              <a:gd name="connsiteX13427" fmla="*/ 6213985 w 12192185"/>
              <a:gd name="connsiteY13427" fmla="*/ 123397 h 6859062"/>
              <a:gd name="connsiteX13428" fmla="*/ 6210655 w 12192185"/>
              <a:gd name="connsiteY13428" fmla="*/ 118089 h 6859062"/>
              <a:gd name="connsiteX13429" fmla="*/ 6207432 w 12192185"/>
              <a:gd name="connsiteY13429" fmla="*/ 103989 h 6859062"/>
              <a:gd name="connsiteX13430" fmla="*/ 6205014 w 12192185"/>
              <a:gd name="connsiteY13430" fmla="*/ 95301 h 6859062"/>
              <a:gd name="connsiteX13431" fmla="*/ 6205329 w 12192185"/>
              <a:gd name="connsiteY13431" fmla="*/ 91555 h 6859062"/>
              <a:gd name="connsiteX13432" fmla="*/ 6209707 w 12192185"/>
              <a:gd name="connsiteY13432" fmla="*/ 84379 h 6859062"/>
              <a:gd name="connsiteX13433" fmla="*/ 6219088 w 12192185"/>
              <a:gd name="connsiteY13433" fmla="*/ 73852 h 6859062"/>
              <a:gd name="connsiteX13434" fmla="*/ 6221643 w 12192185"/>
              <a:gd name="connsiteY13434" fmla="*/ 69666 h 6859062"/>
              <a:gd name="connsiteX13435" fmla="*/ 6225523 w 12192185"/>
              <a:gd name="connsiteY13435" fmla="*/ 68420 h 6859062"/>
              <a:gd name="connsiteX13436" fmla="*/ 6232895 w 12192185"/>
              <a:gd name="connsiteY13436" fmla="*/ 66839 h 6859062"/>
              <a:gd name="connsiteX13437" fmla="*/ 6235500 w 12192185"/>
              <a:gd name="connsiteY13437" fmla="*/ 65800 h 6859062"/>
              <a:gd name="connsiteX13438" fmla="*/ 6245603 w 12192185"/>
              <a:gd name="connsiteY13438" fmla="*/ 65391 h 6859062"/>
              <a:gd name="connsiteX13439" fmla="*/ 6247844 w 12192185"/>
              <a:gd name="connsiteY13439" fmla="*/ 64951 h 6859062"/>
              <a:gd name="connsiteX13440" fmla="*/ 4865142 w 12192185"/>
              <a:gd name="connsiteY13440" fmla="*/ 13187 h 6859062"/>
              <a:gd name="connsiteX13441" fmla="*/ 4865119 w 12192185"/>
              <a:gd name="connsiteY13441" fmla="*/ 13581 h 6859062"/>
              <a:gd name="connsiteX13442" fmla="*/ 4864801 w 12192185"/>
              <a:gd name="connsiteY13442" fmla="*/ 13483 h 6859062"/>
              <a:gd name="connsiteX13443" fmla="*/ 7040995 w 12192185"/>
              <a:gd name="connsiteY13443" fmla="*/ 826 h 6859062"/>
              <a:gd name="connsiteX13444" fmla="*/ 7048109 w 12192185"/>
              <a:gd name="connsiteY13444" fmla="*/ 826 h 6859062"/>
              <a:gd name="connsiteX13445" fmla="*/ 7048895 w 12192185"/>
              <a:gd name="connsiteY13445" fmla="*/ 1190 h 6859062"/>
              <a:gd name="connsiteX13446" fmla="*/ 7049531 w 12192185"/>
              <a:gd name="connsiteY13446" fmla="*/ 826 h 6859062"/>
              <a:gd name="connsiteX13447" fmla="*/ 7059070 w 12192185"/>
              <a:gd name="connsiteY13447" fmla="*/ 826 h 6859062"/>
              <a:gd name="connsiteX13448" fmla="*/ 7075105 w 12192185"/>
              <a:gd name="connsiteY13448" fmla="*/ 12968 h 6859062"/>
              <a:gd name="connsiteX13449" fmla="*/ 7080503 w 12192185"/>
              <a:gd name="connsiteY13449" fmla="*/ 25413 h 6859062"/>
              <a:gd name="connsiteX13450" fmla="*/ 7082124 w 12192185"/>
              <a:gd name="connsiteY13450" fmla="*/ 30521 h 6859062"/>
              <a:gd name="connsiteX13451" fmla="*/ 7082001 w 12192185"/>
              <a:gd name="connsiteY13451" fmla="*/ 35483 h 6859062"/>
              <a:gd name="connsiteX13452" fmla="*/ 7080812 w 12192185"/>
              <a:gd name="connsiteY13452" fmla="*/ 39186 h 6859062"/>
              <a:gd name="connsiteX13453" fmla="*/ 7078699 w 12192185"/>
              <a:gd name="connsiteY13453" fmla="*/ 46905 h 6859062"/>
              <a:gd name="connsiteX13454" fmla="*/ 7078164 w 12192185"/>
              <a:gd name="connsiteY13454" fmla="*/ 49785 h 6859062"/>
              <a:gd name="connsiteX13455" fmla="*/ 7076707 w 12192185"/>
              <a:gd name="connsiteY13455" fmla="*/ 56683 h 6859062"/>
              <a:gd name="connsiteX13456" fmla="*/ 7061217 w 12192185"/>
              <a:gd name="connsiteY13456" fmla="*/ 66788 h 6859062"/>
              <a:gd name="connsiteX13457" fmla="*/ 7051886 w 12192185"/>
              <a:gd name="connsiteY13457" fmla="*/ 66298 h 6859062"/>
              <a:gd name="connsiteX13458" fmla="*/ 7033907 w 12192185"/>
              <a:gd name="connsiteY13458" fmla="*/ 60695 h 6859062"/>
              <a:gd name="connsiteX13459" fmla="*/ 7029182 w 12192185"/>
              <a:gd name="connsiteY13459" fmla="*/ 57666 h 6859062"/>
              <a:gd name="connsiteX13460" fmla="*/ 7024047 w 12192185"/>
              <a:gd name="connsiteY13460" fmla="*/ 52554 h 6859062"/>
              <a:gd name="connsiteX13461" fmla="*/ 7020947 w 12192185"/>
              <a:gd name="connsiteY13461" fmla="*/ 47615 h 6859062"/>
              <a:gd name="connsiteX13462" fmla="*/ 7017949 w 12192185"/>
              <a:gd name="connsiteY13462" fmla="*/ 34494 h 6859062"/>
              <a:gd name="connsiteX13463" fmla="*/ 7015699 w 12192185"/>
              <a:gd name="connsiteY13463" fmla="*/ 26408 h 6859062"/>
              <a:gd name="connsiteX13464" fmla="*/ 7015991 w 12192185"/>
              <a:gd name="connsiteY13464" fmla="*/ 22923 h 6859062"/>
              <a:gd name="connsiteX13465" fmla="*/ 7020067 w 12192185"/>
              <a:gd name="connsiteY13465" fmla="*/ 16245 h 6859062"/>
              <a:gd name="connsiteX13466" fmla="*/ 7028796 w 12192185"/>
              <a:gd name="connsiteY13466" fmla="*/ 6449 h 6859062"/>
              <a:gd name="connsiteX13467" fmla="*/ 7031172 w 12192185"/>
              <a:gd name="connsiteY13467" fmla="*/ 2553 h 6859062"/>
              <a:gd name="connsiteX13468" fmla="*/ 7034784 w 12192185"/>
              <a:gd name="connsiteY13468" fmla="*/ 1394 h 6859062"/>
              <a:gd name="connsiteX13469" fmla="*/ 7038948 w 12192185"/>
              <a:gd name="connsiteY13469" fmla="*/ 3682 h 6859062"/>
              <a:gd name="connsiteX13470" fmla="*/ 5922866 w 12192185"/>
              <a:gd name="connsiteY13470" fmla="*/ 826 h 6859062"/>
              <a:gd name="connsiteX13471" fmla="*/ 5990306 w 12192185"/>
              <a:gd name="connsiteY13471" fmla="*/ 826 h 6859062"/>
              <a:gd name="connsiteX13472" fmla="*/ 5990219 w 12192185"/>
              <a:gd name="connsiteY13472" fmla="*/ 1170 h 6859062"/>
              <a:gd name="connsiteX13473" fmla="*/ 5987369 w 12192185"/>
              <a:gd name="connsiteY13473" fmla="*/ 3402 h 6859062"/>
              <a:gd name="connsiteX13474" fmla="*/ 5985934 w 12192185"/>
              <a:gd name="connsiteY13474" fmla="*/ 9174 h 6859062"/>
              <a:gd name="connsiteX13475" fmla="*/ 5991128 w 12192185"/>
              <a:gd name="connsiteY13475" fmla="*/ 8470 h 6859062"/>
              <a:gd name="connsiteX13476" fmla="*/ 5995364 w 12192185"/>
              <a:gd name="connsiteY13476" fmla="*/ 5594 h 6859062"/>
              <a:gd name="connsiteX13477" fmla="*/ 5998935 w 12192185"/>
              <a:gd name="connsiteY13477" fmla="*/ 8364 h 6859062"/>
              <a:gd name="connsiteX13478" fmla="*/ 5993876 w 12192185"/>
              <a:gd name="connsiteY13478" fmla="*/ 18775 h 6859062"/>
              <a:gd name="connsiteX13479" fmla="*/ 5993006 w 12192185"/>
              <a:gd name="connsiteY13479" fmla="*/ 29155 h 6859062"/>
              <a:gd name="connsiteX13480" fmla="*/ 5996433 w 12192185"/>
              <a:gd name="connsiteY13480" fmla="*/ 33625 h 6859062"/>
              <a:gd name="connsiteX13481" fmla="*/ 5997393 w 12192185"/>
              <a:gd name="connsiteY13481" fmla="*/ 35797 h 6859062"/>
              <a:gd name="connsiteX13482" fmla="*/ 5995220 w 12192185"/>
              <a:gd name="connsiteY13482" fmla="*/ 36754 h 6859062"/>
              <a:gd name="connsiteX13483" fmla="*/ 5990936 w 12192185"/>
              <a:gd name="connsiteY13483" fmla="*/ 40197 h 6859062"/>
              <a:gd name="connsiteX13484" fmla="*/ 5985312 w 12192185"/>
              <a:gd name="connsiteY13484" fmla="*/ 48278 h 6859062"/>
              <a:gd name="connsiteX13485" fmla="*/ 5984744 w 12192185"/>
              <a:gd name="connsiteY13485" fmla="*/ 52792 h 6859062"/>
              <a:gd name="connsiteX13486" fmla="*/ 5986003 w 12192185"/>
              <a:gd name="connsiteY13486" fmla="*/ 55939 h 6859062"/>
              <a:gd name="connsiteX13487" fmla="*/ 5982618 w 12192185"/>
              <a:gd name="connsiteY13487" fmla="*/ 57746 h 6859062"/>
              <a:gd name="connsiteX13488" fmla="*/ 5979941 w 12192185"/>
              <a:gd name="connsiteY13488" fmla="*/ 57901 h 6859062"/>
              <a:gd name="connsiteX13489" fmla="*/ 5976083 w 12192185"/>
              <a:gd name="connsiteY13489" fmla="*/ 65371 h 6859062"/>
              <a:gd name="connsiteX13490" fmla="*/ 5976900 w 12192185"/>
              <a:gd name="connsiteY13490" fmla="*/ 66960 h 6859062"/>
              <a:gd name="connsiteX13491" fmla="*/ 5976425 w 12192185"/>
              <a:gd name="connsiteY13491" fmla="*/ 70342 h 6859062"/>
              <a:gd name="connsiteX13492" fmla="*/ 5973467 w 12192185"/>
              <a:gd name="connsiteY13492" fmla="*/ 69333 h 6859062"/>
              <a:gd name="connsiteX13493" fmla="*/ 5971785 w 12192185"/>
              <a:gd name="connsiteY13493" fmla="*/ 66721 h 6859062"/>
              <a:gd name="connsiteX13494" fmla="*/ 5968055 w 12192185"/>
              <a:gd name="connsiteY13494" fmla="*/ 65837 h 6859062"/>
              <a:gd name="connsiteX13495" fmla="*/ 5956282 w 12192185"/>
              <a:gd name="connsiteY13495" fmla="*/ 67890 h 6859062"/>
              <a:gd name="connsiteX13496" fmla="*/ 5941851 w 12192185"/>
              <a:gd name="connsiteY13496" fmla="*/ 67629 h 6859062"/>
              <a:gd name="connsiteX13497" fmla="*/ 5938595 w 12192185"/>
              <a:gd name="connsiteY13497" fmla="*/ 65645 h 6859062"/>
              <a:gd name="connsiteX13498" fmla="*/ 5929154 w 12192185"/>
              <a:gd name="connsiteY13498" fmla="*/ 60292 h 6859062"/>
              <a:gd name="connsiteX13499" fmla="*/ 5927377 w 12192185"/>
              <a:gd name="connsiteY13499" fmla="*/ 58812 h 6859062"/>
              <a:gd name="connsiteX13500" fmla="*/ 5919907 w 12192185"/>
              <a:gd name="connsiteY13500" fmla="*/ 48110 h 6859062"/>
              <a:gd name="connsiteX13501" fmla="*/ 5916235 w 12192185"/>
              <a:gd name="connsiteY13501" fmla="*/ 30695 h 6859062"/>
              <a:gd name="connsiteX13502" fmla="*/ 5914270 w 12192185"/>
              <a:gd name="connsiteY13502" fmla="*/ 24638 h 6859062"/>
              <a:gd name="connsiteX13503" fmla="*/ 5915534 w 12192185"/>
              <a:gd name="connsiteY13503" fmla="*/ 16380 h 6859062"/>
              <a:gd name="connsiteX13504" fmla="*/ 5916876 w 12192185"/>
              <a:gd name="connsiteY13504" fmla="*/ 9459 h 6859062"/>
              <a:gd name="connsiteX13505" fmla="*/ 5916924 w 12192185"/>
              <a:gd name="connsiteY13505" fmla="*/ 6613 h 6859062"/>
              <a:gd name="connsiteX13506" fmla="*/ 4891881 w 12192185"/>
              <a:gd name="connsiteY13506" fmla="*/ 826 h 6859062"/>
              <a:gd name="connsiteX13507" fmla="*/ 4978869 w 12192185"/>
              <a:gd name="connsiteY13507" fmla="*/ 826 h 6859062"/>
              <a:gd name="connsiteX13508" fmla="*/ 4978468 w 12192185"/>
              <a:gd name="connsiteY13508" fmla="*/ 1736 h 6859062"/>
              <a:gd name="connsiteX13509" fmla="*/ 4970670 w 12192185"/>
              <a:gd name="connsiteY13509" fmla="*/ 12111 h 6859062"/>
              <a:gd name="connsiteX13510" fmla="*/ 4966957 w 12192185"/>
              <a:gd name="connsiteY13510" fmla="*/ 15790 h 6859062"/>
              <a:gd name="connsiteX13511" fmla="*/ 4960358 w 12192185"/>
              <a:gd name="connsiteY13511" fmla="*/ 21416 h 6859062"/>
              <a:gd name="connsiteX13512" fmla="*/ 4957319 w 12192185"/>
              <a:gd name="connsiteY13512" fmla="*/ 29293 h 6859062"/>
              <a:gd name="connsiteX13513" fmla="*/ 4955248 w 12192185"/>
              <a:gd name="connsiteY13513" fmla="*/ 31546 h 6859062"/>
              <a:gd name="connsiteX13514" fmla="*/ 4952524 w 12192185"/>
              <a:gd name="connsiteY13514" fmla="*/ 30073 h 6859062"/>
              <a:gd name="connsiteX13515" fmla="*/ 4950941 w 12192185"/>
              <a:gd name="connsiteY13515" fmla="*/ 28298 h 6859062"/>
              <a:gd name="connsiteX13516" fmla="*/ 4948162 w 12192185"/>
              <a:gd name="connsiteY13516" fmla="*/ 26719 h 6859062"/>
              <a:gd name="connsiteX13517" fmla="*/ 4946751 w 12192185"/>
              <a:gd name="connsiteY13517" fmla="*/ 29410 h 6859062"/>
              <a:gd name="connsiteX13518" fmla="*/ 4941199 w 12192185"/>
              <a:gd name="connsiteY13518" fmla="*/ 31235 h 6859062"/>
              <a:gd name="connsiteX13519" fmla="*/ 4939020 w 12192185"/>
              <a:gd name="connsiteY13519" fmla="*/ 29558 h 6859062"/>
              <a:gd name="connsiteX13520" fmla="*/ 4935334 w 12192185"/>
              <a:gd name="connsiteY13520" fmla="*/ 29973 h 6859062"/>
              <a:gd name="connsiteX13521" fmla="*/ 4935655 w 12192185"/>
              <a:gd name="connsiteY13521" fmla="*/ 33489 h 6859062"/>
              <a:gd name="connsiteX13522" fmla="*/ 4937289 w 12192185"/>
              <a:gd name="connsiteY13522" fmla="*/ 35912 h 6859062"/>
              <a:gd name="connsiteX13523" fmla="*/ 4917059 w 12192185"/>
              <a:gd name="connsiteY13523" fmla="*/ 29651 h 6859062"/>
              <a:gd name="connsiteX13524" fmla="*/ 4917252 w 12192185"/>
              <a:gd name="connsiteY13524" fmla="*/ 28171 h 6859062"/>
              <a:gd name="connsiteX13525" fmla="*/ 4914027 w 12192185"/>
              <a:gd name="connsiteY13525" fmla="*/ 25741 h 6859062"/>
              <a:gd name="connsiteX13526" fmla="*/ 4910246 w 12192185"/>
              <a:gd name="connsiteY13526" fmla="*/ 25984 h 6859062"/>
              <a:gd name="connsiteX13527" fmla="*/ 4906068 w 12192185"/>
              <a:gd name="connsiteY13527" fmla="*/ 22971 h 6859062"/>
              <a:gd name="connsiteX13528" fmla="*/ 4892564 w 12192185"/>
              <a:gd name="connsiteY13528" fmla="*/ 13349 h 6859062"/>
              <a:gd name="connsiteX13529" fmla="*/ 4889200 w 12192185"/>
              <a:gd name="connsiteY13529" fmla="*/ 12725 h 6859062"/>
              <a:gd name="connsiteX13530" fmla="*/ 4891362 w 12192185"/>
              <a:gd name="connsiteY13530" fmla="*/ 8989 h 6859062"/>
              <a:gd name="connsiteX13531" fmla="*/ 4891873 w 12192185"/>
              <a:gd name="connsiteY13531" fmla="*/ 8722 h 6859062"/>
              <a:gd name="connsiteX13532" fmla="*/ 4892077 w 12192185"/>
              <a:gd name="connsiteY13532" fmla="*/ 1243 h 6859062"/>
              <a:gd name="connsiteX13533" fmla="*/ 4762897 w 12192185"/>
              <a:gd name="connsiteY13533" fmla="*/ 826 h 6859062"/>
              <a:gd name="connsiteX13534" fmla="*/ 4821498 w 12192185"/>
              <a:gd name="connsiteY13534" fmla="*/ 826 h 6859062"/>
              <a:gd name="connsiteX13535" fmla="*/ 4833729 w 12192185"/>
              <a:gd name="connsiteY13535" fmla="*/ 12222 h 6859062"/>
              <a:gd name="connsiteX13536" fmla="*/ 4837193 w 12192185"/>
              <a:gd name="connsiteY13536" fmla="*/ 27520 h 6859062"/>
              <a:gd name="connsiteX13537" fmla="*/ 4830637 w 12192185"/>
              <a:gd name="connsiteY13537" fmla="*/ 42029 h 6859062"/>
              <a:gd name="connsiteX13538" fmla="*/ 4830277 w 12192185"/>
              <a:gd name="connsiteY13538" fmla="*/ 44232 h 6859062"/>
              <a:gd name="connsiteX13539" fmla="*/ 4822340 w 12192185"/>
              <a:gd name="connsiteY13539" fmla="*/ 48389 h 6859062"/>
              <a:gd name="connsiteX13540" fmla="*/ 4811337 w 12192185"/>
              <a:gd name="connsiteY13540" fmla="*/ 48617 h 6859062"/>
              <a:gd name="connsiteX13541" fmla="*/ 4801662 w 12192185"/>
              <a:gd name="connsiteY13541" fmla="*/ 44626 h 6859062"/>
              <a:gd name="connsiteX13542" fmla="*/ 4791709 w 12192185"/>
              <a:gd name="connsiteY13542" fmla="*/ 36249 h 6859062"/>
              <a:gd name="connsiteX13543" fmla="*/ 4780778 w 12192185"/>
              <a:gd name="connsiteY13543" fmla="*/ 28890 h 6859062"/>
              <a:gd name="connsiteX13544" fmla="*/ 4767497 w 12192185"/>
              <a:gd name="connsiteY13544" fmla="*/ 24775 h 6859062"/>
              <a:gd name="connsiteX13545" fmla="*/ 4760048 w 12192185"/>
              <a:gd name="connsiteY13545" fmla="*/ 10557 h 6859062"/>
              <a:gd name="connsiteX13546" fmla="*/ 4761911 w 12192185"/>
              <a:gd name="connsiteY13546" fmla="*/ 2534 h 68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Lst>
            <a:rect l="l" t="t" r="r" b="b"/>
            <a:pathLst>
              <a:path w="12192185" h="6859062">
                <a:moveTo>
                  <a:pt x="2948713" y="6851034"/>
                </a:moveTo>
                <a:cubicBezTo>
                  <a:pt x="2949921" y="6850533"/>
                  <a:pt x="2951069" y="6851714"/>
                  <a:pt x="2951628" y="6852726"/>
                </a:cubicBezTo>
                <a:cubicBezTo>
                  <a:pt x="2952187" y="6853737"/>
                  <a:pt x="2952550" y="6854693"/>
                  <a:pt x="2952855" y="6855845"/>
                </a:cubicBezTo>
                <a:cubicBezTo>
                  <a:pt x="2953637" y="6857558"/>
                  <a:pt x="2954701" y="6858291"/>
                  <a:pt x="2956612" y="6857566"/>
                </a:cubicBezTo>
                <a:cubicBezTo>
                  <a:pt x="2961079" y="6856091"/>
                  <a:pt x="2965316" y="6856890"/>
                  <a:pt x="2969498" y="6857884"/>
                </a:cubicBezTo>
                <a:lnTo>
                  <a:pt x="2973808" y="6858826"/>
                </a:lnTo>
                <a:lnTo>
                  <a:pt x="2946058" y="6858826"/>
                </a:lnTo>
                <a:lnTo>
                  <a:pt x="2948026" y="6856364"/>
                </a:lnTo>
                <a:cubicBezTo>
                  <a:pt x="2947802" y="6855661"/>
                  <a:pt x="2947525" y="6855155"/>
                  <a:pt x="2947498" y="6854510"/>
                </a:cubicBezTo>
                <a:cubicBezTo>
                  <a:pt x="2947249" y="6853162"/>
                  <a:pt x="2947309" y="6851479"/>
                  <a:pt x="2948713" y="6851034"/>
                </a:cubicBezTo>
                <a:close/>
                <a:moveTo>
                  <a:pt x="2304198" y="6843047"/>
                </a:moveTo>
                <a:cubicBezTo>
                  <a:pt x="2308157" y="6844190"/>
                  <a:pt x="2311929" y="6844330"/>
                  <a:pt x="2316142" y="6844597"/>
                </a:cubicBezTo>
                <a:lnTo>
                  <a:pt x="2324693" y="6858826"/>
                </a:lnTo>
                <a:lnTo>
                  <a:pt x="2283437" y="6858826"/>
                </a:lnTo>
                <a:lnTo>
                  <a:pt x="2285697" y="6850994"/>
                </a:lnTo>
                <a:cubicBezTo>
                  <a:pt x="2288717" y="6850441"/>
                  <a:pt x="2290543" y="6849070"/>
                  <a:pt x="2292747" y="6846385"/>
                </a:cubicBezTo>
                <a:cubicBezTo>
                  <a:pt x="2295518" y="6843389"/>
                  <a:pt x="2300238" y="6841904"/>
                  <a:pt x="2304198" y="6843047"/>
                </a:cubicBezTo>
                <a:close/>
                <a:moveTo>
                  <a:pt x="10040397" y="6832230"/>
                </a:moveTo>
                <a:lnTo>
                  <a:pt x="10040877" y="6832253"/>
                </a:lnTo>
                <a:lnTo>
                  <a:pt x="10040570" y="6832540"/>
                </a:lnTo>
                <a:close/>
                <a:moveTo>
                  <a:pt x="3416775" y="6821238"/>
                </a:moveTo>
                <a:cubicBezTo>
                  <a:pt x="3421580" y="6822565"/>
                  <a:pt x="3426273" y="6825098"/>
                  <a:pt x="3431032" y="6825765"/>
                </a:cubicBezTo>
                <a:cubicBezTo>
                  <a:pt x="3435076" y="6826461"/>
                  <a:pt x="3443975" y="6826674"/>
                  <a:pt x="3444838" y="6830221"/>
                </a:cubicBezTo>
                <a:cubicBezTo>
                  <a:pt x="3447551" y="6840423"/>
                  <a:pt x="3462050" y="6840840"/>
                  <a:pt x="3461708" y="6853460"/>
                </a:cubicBezTo>
                <a:lnTo>
                  <a:pt x="3463367" y="6858826"/>
                </a:lnTo>
                <a:lnTo>
                  <a:pt x="3359962" y="6858826"/>
                </a:lnTo>
                <a:lnTo>
                  <a:pt x="3364190" y="6853101"/>
                </a:lnTo>
                <a:cubicBezTo>
                  <a:pt x="3364273" y="6844646"/>
                  <a:pt x="3368642" y="6839314"/>
                  <a:pt x="3375809" y="6835730"/>
                </a:cubicBezTo>
                <a:cubicBezTo>
                  <a:pt x="3378611" y="6834184"/>
                  <a:pt x="3381290" y="6833073"/>
                  <a:pt x="3383039" y="6830282"/>
                </a:cubicBezTo>
                <a:cubicBezTo>
                  <a:pt x="3385291" y="6825750"/>
                  <a:pt x="3388655" y="6823895"/>
                  <a:pt x="3393320" y="6825713"/>
                </a:cubicBezTo>
                <a:cubicBezTo>
                  <a:pt x="3396801" y="6826717"/>
                  <a:pt x="3400040" y="6825297"/>
                  <a:pt x="3401849" y="6823936"/>
                </a:cubicBezTo>
                <a:cubicBezTo>
                  <a:pt x="3407055" y="6819787"/>
                  <a:pt x="3411972" y="6819909"/>
                  <a:pt x="3416775" y="6821238"/>
                </a:cubicBezTo>
                <a:close/>
                <a:moveTo>
                  <a:pt x="3909535" y="6807860"/>
                </a:moveTo>
                <a:cubicBezTo>
                  <a:pt x="3911491" y="6805963"/>
                  <a:pt x="3917195" y="6809368"/>
                  <a:pt x="3920026" y="6810536"/>
                </a:cubicBezTo>
                <a:cubicBezTo>
                  <a:pt x="3926569" y="6813479"/>
                  <a:pt x="3935910" y="6811605"/>
                  <a:pt x="3939185" y="6820989"/>
                </a:cubicBezTo>
                <a:cubicBezTo>
                  <a:pt x="3939786" y="6822567"/>
                  <a:pt x="3941265" y="6824753"/>
                  <a:pt x="3943866" y="6825503"/>
                </a:cubicBezTo>
                <a:cubicBezTo>
                  <a:pt x="3947537" y="6826210"/>
                  <a:pt x="3948922" y="6828720"/>
                  <a:pt x="3948543" y="6832478"/>
                </a:cubicBezTo>
                <a:cubicBezTo>
                  <a:pt x="3948536" y="6834937"/>
                  <a:pt x="3949786" y="6836704"/>
                  <a:pt x="3950941" y="6838795"/>
                </a:cubicBezTo>
                <a:cubicBezTo>
                  <a:pt x="3954042" y="6843910"/>
                  <a:pt x="3954681" y="6849015"/>
                  <a:pt x="3951370" y="6854388"/>
                </a:cubicBezTo>
                <a:lnTo>
                  <a:pt x="3951700" y="6858826"/>
                </a:lnTo>
                <a:lnTo>
                  <a:pt x="3880011" y="6858826"/>
                </a:lnTo>
                <a:lnTo>
                  <a:pt x="3878219" y="6850501"/>
                </a:lnTo>
                <a:cubicBezTo>
                  <a:pt x="3878129" y="6848366"/>
                  <a:pt x="3879017" y="6846512"/>
                  <a:pt x="3877538" y="6844327"/>
                </a:cubicBezTo>
                <a:cubicBezTo>
                  <a:pt x="3876054" y="6842141"/>
                  <a:pt x="3876942" y="6840288"/>
                  <a:pt x="3878804" y="6838716"/>
                </a:cubicBezTo>
                <a:cubicBezTo>
                  <a:pt x="3879828" y="6837606"/>
                  <a:pt x="3881597" y="6836359"/>
                  <a:pt x="3880997" y="6834779"/>
                </a:cubicBezTo>
                <a:cubicBezTo>
                  <a:pt x="3878870" y="6829946"/>
                  <a:pt x="3879389" y="6826932"/>
                  <a:pt x="3885151" y="6826485"/>
                </a:cubicBezTo>
                <a:cubicBezTo>
                  <a:pt x="3886544" y="6826536"/>
                  <a:pt x="3887428" y="6824682"/>
                  <a:pt x="3886411" y="6823334"/>
                </a:cubicBezTo>
                <a:cubicBezTo>
                  <a:pt x="3883218" y="6818545"/>
                  <a:pt x="3888234" y="6818235"/>
                  <a:pt x="3889636" y="6815827"/>
                </a:cubicBezTo>
                <a:cubicBezTo>
                  <a:pt x="3894437" y="6807721"/>
                  <a:pt x="3903763" y="6813224"/>
                  <a:pt x="3909535" y="6807860"/>
                </a:cubicBezTo>
                <a:close/>
                <a:moveTo>
                  <a:pt x="4369730" y="6800208"/>
                </a:moveTo>
                <a:cubicBezTo>
                  <a:pt x="4371551" y="6798443"/>
                  <a:pt x="4376856" y="6801610"/>
                  <a:pt x="4379492" y="6802698"/>
                </a:cubicBezTo>
                <a:cubicBezTo>
                  <a:pt x="4385583" y="6805437"/>
                  <a:pt x="4394275" y="6803693"/>
                  <a:pt x="4397325" y="6812424"/>
                </a:cubicBezTo>
                <a:cubicBezTo>
                  <a:pt x="4397880" y="6813894"/>
                  <a:pt x="4399257" y="6815928"/>
                  <a:pt x="4401677" y="6816626"/>
                </a:cubicBezTo>
                <a:cubicBezTo>
                  <a:pt x="4405091" y="6817284"/>
                  <a:pt x="4406385" y="6819621"/>
                  <a:pt x="4406032" y="6823117"/>
                </a:cubicBezTo>
                <a:cubicBezTo>
                  <a:pt x="4406023" y="6825405"/>
                  <a:pt x="4407195" y="6827049"/>
                  <a:pt x="4408264" y="6828996"/>
                </a:cubicBezTo>
                <a:cubicBezTo>
                  <a:pt x="4411150" y="6833755"/>
                  <a:pt x="4411743" y="6838506"/>
                  <a:pt x="4408667" y="6843505"/>
                </a:cubicBezTo>
                <a:cubicBezTo>
                  <a:pt x="4406882" y="6846263"/>
                  <a:pt x="4406834" y="6849847"/>
                  <a:pt x="4409333" y="6852532"/>
                </a:cubicBezTo>
                <a:cubicBezTo>
                  <a:pt x="4408984" y="6853740"/>
                  <a:pt x="4408638" y="6854948"/>
                  <a:pt x="4408285" y="6856157"/>
                </a:cubicBezTo>
                <a:lnTo>
                  <a:pt x="4405824" y="6858826"/>
                </a:lnTo>
                <a:lnTo>
                  <a:pt x="4347776" y="6858826"/>
                </a:lnTo>
                <a:lnTo>
                  <a:pt x="4343663" y="6854189"/>
                </a:lnTo>
                <a:cubicBezTo>
                  <a:pt x="4340950" y="6851116"/>
                  <a:pt x="4340790" y="6844853"/>
                  <a:pt x="4340585" y="6839888"/>
                </a:cubicBezTo>
                <a:cubicBezTo>
                  <a:pt x="4340502" y="6837901"/>
                  <a:pt x="4341332" y="6836176"/>
                  <a:pt x="4339947" y="6834142"/>
                </a:cubicBezTo>
                <a:cubicBezTo>
                  <a:pt x="4338574" y="6832109"/>
                  <a:pt x="4339401" y="6830384"/>
                  <a:pt x="4341132" y="6828921"/>
                </a:cubicBezTo>
                <a:cubicBezTo>
                  <a:pt x="4342085" y="6827888"/>
                  <a:pt x="4343730" y="6826728"/>
                  <a:pt x="4343168" y="6825258"/>
                </a:cubicBezTo>
                <a:cubicBezTo>
                  <a:pt x="4341190" y="6820760"/>
                  <a:pt x="4341676" y="6817955"/>
                  <a:pt x="4347033" y="6817540"/>
                </a:cubicBezTo>
                <a:cubicBezTo>
                  <a:pt x="4348331" y="6817588"/>
                  <a:pt x="4349160" y="6815862"/>
                  <a:pt x="4348210" y="6814607"/>
                </a:cubicBezTo>
                <a:cubicBezTo>
                  <a:pt x="4345241" y="6810151"/>
                  <a:pt x="4349909" y="6809862"/>
                  <a:pt x="4351210" y="6807621"/>
                </a:cubicBezTo>
                <a:cubicBezTo>
                  <a:pt x="4355681" y="6800078"/>
                  <a:pt x="4364359" y="6805200"/>
                  <a:pt x="4369730" y="6800208"/>
                </a:cubicBezTo>
                <a:close/>
                <a:moveTo>
                  <a:pt x="2039497" y="6782355"/>
                </a:moveTo>
                <a:cubicBezTo>
                  <a:pt x="2041317" y="6780589"/>
                  <a:pt x="2046626" y="6783758"/>
                  <a:pt x="2049259" y="6784845"/>
                </a:cubicBezTo>
                <a:cubicBezTo>
                  <a:pt x="2055349" y="6787584"/>
                  <a:pt x="2064041" y="6785840"/>
                  <a:pt x="2067089" y="6794572"/>
                </a:cubicBezTo>
                <a:cubicBezTo>
                  <a:pt x="2067648" y="6796041"/>
                  <a:pt x="2069027" y="6798075"/>
                  <a:pt x="2071445" y="6798774"/>
                </a:cubicBezTo>
                <a:cubicBezTo>
                  <a:pt x="2074859" y="6799431"/>
                  <a:pt x="2076150" y="6801768"/>
                  <a:pt x="2075797" y="6805263"/>
                </a:cubicBezTo>
                <a:cubicBezTo>
                  <a:pt x="2075791" y="6807552"/>
                  <a:pt x="2076955" y="6809196"/>
                  <a:pt x="2078030" y="6811143"/>
                </a:cubicBezTo>
                <a:cubicBezTo>
                  <a:pt x="2080915" y="6815902"/>
                  <a:pt x="2081509" y="6820653"/>
                  <a:pt x="2078428" y="6825652"/>
                </a:cubicBezTo>
                <a:cubicBezTo>
                  <a:pt x="2076649" y="6828411"/>
                  <a:pt x="2076598" y="6831994"/>
                  <a:pt x="2079098" y="6834680"/>
                </a:cubicBezTo>
                <a:cubicBezTo>
                  <a:pt x="2078750" y="6835888"/>
                  <a:pt x="2078401" y="6837096"/>
                  <a:pt x="2078053" y="6838303"/>
                </a:cubicBezTo>
                <a:cubicBezTo>
                  <a:pt x="2074896" y="6839027"/>
                  <a:pt x="2073163" y="6840490"/>
                  <a:pt x="2072332" y="6844504"/>
                </a:cubicBezTo>
                <a:cubicBezTo>
                  <a:pt x="2071066" y="6850026"/>
                  <a:pt x="2067426" y="6853556"/>
                  <a:pt x="2061029" y="6853018"/>
                </a:cubicBezTo>
                <a:cubicBezTo>
                  <a:pt x="2058221" y="6852535"/>
                  <a:pt x="2058215" y="6854824"/>
                  <a:pt x="2057692" y="6856636"/>
                </a:cubicBezTo>
                <a:cubicBezTo>
                  <a:pt x="2056820" y="6859656"/>
                  <a:pt x="2055437" y="6859911"/>
                  <a:pt x="2053628" y="6857099"/>
                </a:cubicBezTo>
                <a:cubicBezTo>
                  <a:pt x="2050872" y="6853031"/>
                  <a:pt x="2048452" y="6852333"/>
                  <a:pt x="2046063" y="6857205"/>
                </a:cubicBezTo>
                <a:cubicBezTo>
                  <a:pt x="2045413" y="6858326"/>
                  <a:pt x="2044070" y="6859574"/>
                  <a:pt x="2043295" y="6857715"/>
                </a:cubicBezTo>
                <a:cubicBezTo>
                  <a:pt x="2040498" y="6852654"/>
                  <a:pt x="2037080" y="6854285"/>
                  <a:pt x="2033270" y="6856130"/>
                </a:cubicBezTo>
                <a:cubicBezTo>
                  <a:pt x="2032794" y="6856646"/>
                  <a:pt x="2031584" y="6856298"/>
                  <a:pt x="2030979" y="6856123"/>
                </a:cubicBezTo>
                <a:cubicBezTo>
                  <a:pt x="2024943" y="6849800"/>
                  <a:pt x="2019382" y="6842962"/>
                  <a:pt x="2013433" y="6836337"/>
                </a:cubicBezTo>
                <a:cubicBezTo>
                  <a:pt x="2010716" y="6833262"/>
                  <a:pt x="2010559" y="6827001"/>
                  <a:pt x="2010354" y="6822035"/>
                </a:cubicBezTo>
                <a:cubicBezTo>
                  <a:pt x="2010273" y="6820048"/>
                  <a:pt x="2011098" y="6818323"/>
                  <a:pt x="2009720" y="6816290"/>
                </a:cubicBezTo>
                <a:cubicBezTo>
                  <a:pt x="2008341" y="6814257"/>
                  <a:pt x="2009166" y="6812531"/>
                  <a:pt x="2010899" y="6811068"/>
                </a:cubicBezTo>
                <a:cubicBezTo>
                  <a:pt x="2011851" y="6810035"/>
                  <a:pt x="2013498" y="6808874"/>
                  <a:pt x="2012939" y="6807404"/>
                </a:cubicBezTo>
                <a:cubicBezTo>
                  <a:pt x="2010961" y="6802908"/>
                  <a:pt x="2011444" y="6800102"/>
                  <a:pt x="2016805" y="6799686"/>
                </a:cubicBezTo>
                <a:cubicBezTo>
                  <a:pt x="2018101" y="6799734"/>
                  <a:pt x="2018927" y="6798009"/>
                  <a:pt x="2017979" y="6796754"/>
                </a:cubicBezTo>
                <a:cubicBezTo>
                  <a:pt x="2015007" y="6792298"/>
                  <a:pt x="2019675" y="6792010"/>
                  <a:pt x="2020977" y="6789769"/>
                </a:cubicBezTo>
                <a:cubicBezTo>
                  <a:pt x="2025448" y="6782225"/>
                  <a:pt x="2034125" y="6787347"/>
                  <a:pt x="2039497" y="6782355"/>
                </a:cubicBezTo>
                <a:close/>
                <a:moveTo>
                  <a:pt x="1708847" y="6763268"/>
                </a:moveTo>
                <a:cubicBezTo>
                  <a:pt x="1710055" y="6762766"/>
                  <a:pt x="1711204" y="6763948"/>
                  <a:pt x="1711763" y="6764960"/>
                </a:cubicBezTo>
                <a:cubicBezTo>
                  <a:pt x="1712321" y="6765972"/>
                  <a:pt x="1712684" y="6766927"/>
                  <a:pt x="1712989" y="6768078"/>
                </a:cubicBezTo>
                <a:cubicBezTo>
                  <a:pt x="1713771" y="6769793"/>
                  <a:pt x="1714836" y="6770525"/>
                  <a:pt x="1716747" y="6769800"/>
                </a:cubicBezTo>
                <a:cubicBezTo>
                  <a:pt x="1721214" y="6768326"/>
                  <a:pt x="1725451" y="6769124"/>
                  <a:pt x="1729632" y="6770117"/>
                </a:cubicBezTo>
                <a:cubicBezTo>
                  <a:pt x="1734654" y="6771142"/>
                  <a:pt x="1739589" y="6773204"/>
                  <a:pt x="1744838" y="6773444"/>
                </a:cubicBezTo>
                <a:cubicBezTo>
                  <a:pt x="1746719" y="6773562"/>
                  <a:pt x="1747360" y="6775022"/>
                  <a:pt x="1747863" y="6776230"/>
                </a:cubicBezTo>
                <a:cubicBezTo>
                  <a:pt x="1749706" y="6780164"/>
                  <a:pt x="1751352" y="6784041"/>
                  <a:pt x="1756714" y="6783888"/>
                </a:cubicBezTo>
                <a:cubicBezTo>
                  <a:pt x="1757753" y="6783975"/>
                  <a:pt x="1758115" y="6784930"/>
                  <a:pt x="1758282" y="6785828"/>
                </a:cubicBezTo>
                <a:cubicBezTo>
                  <a:pt x="1759309" y="6790378"/>
                  <a:pt x="1761937" y="6794537"/>
                  <a:pt x="1763920" y="6798725"/>
                </a:cubicBezTo>
                <a:cubicBezTo>
                  <a:pt x="1766962" y="6805131"/>
                  <a:pt x="1767872" y="6811559"/>
                  <a:pt x="1764123" y="6817918"/>
                </a:cubicBezTo>
                <a:cubicBezTo>
                  <a:pt x="1762740" y="6820495"/>
                  <a:pt x="1763801" y="6822716"/>
                  <a:pt x="1764919" y="6824739"/>
                </a:cubicBezTo>
                <a:cubicBezTo>
                  <a:pt x="1767377" y="6829489"/>
                  <a:pt x="1766614" y="6831394"/>
                  <a:pt x="1761837" y="6833204"/>
                </a:cubicBezTo>
                <a:cubicBezTo>
                  <a:pt x="1756668" y="6834902"/>
                  <a:pt x="1756668" y="6834902"/>
                  <a:pt x="1758957" y="6840240"/>
                </a:cubicBezTo>
                <a:cubicBezTo>
                  <a:pt x="1759458" y="6841448"/>
                  <a:pt x="1759821" y="6842403"/>
                  <a:pt x="1758302" y="6843240"/>
                </a:cubicBezTo>
                <a:cubicBezTo>
                  <a:pt x="1753072" y="6846621"/>
                  <a:pt x="1748235" y="6850115"/>
                  <a:pt x="1742865" y="6853242"/>
                </a:cubicBezTo>
                <a:cubicBezTo>
                  <a:pt x="1738957" y="6855728"/>
                  <a:pt x="1734603" y="6856810"/>
                  <a:pt x="1729999" y="6856545"/>
                </a:cubicBezTo>
                <a:lnTo>
                  <a:pt x="1725317" y="6858826"/>
                </a:lnTo>
                <a:lnTo>
                  <a:pt x="1644996" y="6858826"/>
                </a:lnTo>
                <a:lnTo>
                  <a:pt x="1648119" y="6853535"/>
                </a:lnTo>
                <a:cubicBezTo>
                  <a:pt x="1648154" y="6851205"/>
                  <a:pt x="1650597" y="6850848"/>
                  <a:pt x="1652084" y="6850852"/>
                </a:cubicBezTo>
                <a:cubicBezTo>
                  <a:pt x="1657699" y="6850560"/>
                  <a:pt x="1661019" y="6847903"/>
                  <a:pt x="1663081" y="6842970"/>
                </a:cubicBezTo>
                <a:cubicBezTo>
                  <a:pt x="1664381" y="6839944"/>
                  <a:pt x="1665729" y="6839695"/>
                  <a:pt x="1668305" y="6842565"/>
                </a:cubicBezTo>
                <a:cubicBezTo>
                  <a:pt x="1673791" y="6848613"/>
                  <a:pt x="1684458" y="6848503"/>
                  <a:pt x="1689386" y="6842484"/>
                </a:cubicBezTo>
                <a:cubicBezTo>
                  <a:pt x="1690372" y="6841280"/>
                  <a:pt x="1691668" y="6839740"/>
                  <a:pt x="1690633" y="6838166"/>
                </a:cubicBezTo>
                <a:cubicBezTo>
                  <a:pt x="1689598" y="6836592"/>
                  <a:pt x="1687804" y="6835437"/>
                  <a:pt x="1685697" y="6836104"/>
                </a:cubicBezTo>
                <a:cubicBezTo>
                  <a:pt x="1684349" y="6836352"/>
                  <a:pt x="1682888" y="6836994"/>
                  <a:pt x="1681482" y="6837439"/>
                </a:cubicBezTo>
                <a:cubicBezTo>
                  <a:pt x="1680022" y="6838080"/>
                  <a:pt x="1678674" y="6838329"/>
                  <a:pt x="1678031" y="6836868"/>
                </a:cubicBezTo>
                <a:cubicBezTo>
                  <a:pt x="1677250" y="6835154"/>
                  <a:pt x="1678375" y="6834203"/>
                  <a:pt x="1679640" y="6833505"/>
                </a:cubicBezTo>
                <a:cubicBezTo>
                  <a:pt x="1680709" y="6832750"/>
                  <a:pt x="1682113" y="6832306"/>
                  <a:pt x="1683125" y="6831746"/>
                </a:cubicBezTo>
                <a:cubicBezTo>
                  <a:pt x="1685403" y="6830490"/>
                  <a:pt x="1687064" y="6828419"/>
                  <a:pt x="1685863" y="6825946"/>
                </a:cubicBezTo>
                <a:cubicBezTo>
                  <a:pt x="1684746" y="6823922"/>
                  <a:pt x="1682133" y="6824869"/>
                  <a:pt x="1680222" y="6825593"/>
                </a:cubicBezTo>
                <a:cubicBezTo>
                  <a:pt x="1678564" y="6826177"/>
                  <a:pt x="1677073" y="6827661"/>
                  <a:pt x="1675135" y="6827740"/>
                </a:cubicBezTo>
                <a:cubicBezTo>
                  <a:pt x="1672299" y="6827985"/>
                  <a:pt x="1670842" y="6827138"/>
                  <a:pt x="1671944" y="6824055"/>
                </a:cubicBezTo>
                <a:cubicBezTo>
                  <a:pt x="1673387" y="6819794"/>
                  <a:pt x="1676174" y="6816770"/>
                  <a:pt x="1679493" y="6814115"/>
                </a:cubicBezTo>
                <a:cubicBezTo>
                  <a:pt x="1683685" y="6810646"/>
                  <a:pt x="1684561" y="6808348"/>
                  <a:pt x="1682609" y="6803321"/>
                </a:cubicBezTo>
                <a:cubicBezTo>
                  <a:pt x="1682080" y="6801467"/>
                  <a:pt x="1680906" y="6799639"/>
                  <a:pt x="1679928" y="6797869"/>
                </a:cubicBezTo>
                <a:cubicBezTo>
                  <a:pt x="1679509" y="6797109"/>
                  <a:pt x="1678697" y="6796237"/>
                  <a:pt x="1679374" y="6795370"/>
                </a:cubicBezTo>
                <a:cubicBezTo>
                  <a:pt x="1680105" y="6794305"/>
                  <a:pt x="1681144" y="6794393"/>
                  <a:pt x="1681873" y="6794816"/>
                </a:cubicBezTo>
                <a:cubicBezTo>
                  <a:pt x="1685180" y="6796621"/>
                  <a:pt x="1686419" y="6795278"/>
                  <a:pt x="1687129" y="6792080"/>
                </a:cubicBezTo>
                <a:cubicBezTo>
                  <a:pt x="1688066" y="6788099"/>
                  <a:pt x="1691412" y="6786087"/>
                  <a:pt x="1694784" y="6784722"/>
                </a:cubicBezTo>
                <a:cubicBezTo>
                  <a:pt x="1697454" y="6783580"/>
                  <a:pt x="1698047" y="6782262"/>
                  <a:pt x="1696340" y="6780069"/>
                </a:cubicBezTo>
                <a:cubicBezTo>
                  <a:pt x="1695389" y="6778944"/>
                  <a:pt x="1694830" y="6777932"/>
                  <a:pt x="1695675" y="6776475"/>
                </a:cubicBezTo>
                <a:cubicBezTo>
                  <a:pt x="1696691" y="6774430"/>
                  <a:pt x="1698149" y="6775276"/>
                  <a:pt x="1699636" y="6775279"/>
                </a:cubicBezTo>
                <a:cubicBezTo>
                  <a:pt x="1700479" y="6775310"/>
                  <a:pt x="1701460" y="6775594"/>
                  <a:pt x="1702499" y="6775680"/>
                </a:cubicBezTo>
                <a:cubicBezTo>
                  <a:pt x="1707971" y="6776622"/>
                  <a:pt x="1709998" y="6774018"/>
                  <a:pt x="1708160" y="6768598"/>
                </a:cubicBezTo>
                <a:cubicBezTo>
                  <a:pt x="1707937" y="6767895"/>
                  <a:pt x="1707658" y="6767390"/>
                  <a:pt x="1707631" y="6766744"/>
                </a:cubicBezTo>
                <a:cubicBezTo>
                  <a:pt x="1707382" y="6765396"/>
                  <a:pt x="1707443" y="6763713"/>
                  <a:pt x="1708847" y="6763268"/>
                </a:cubicBezTo>
                <a:close/>
                <a:moveTo>
                  <a:pt x="1064333" y="6755281"/>
                </a:moveTo>
                <a:cubicBezTo>
                  <a:pt x="1068292" y="6756424"/>
                  <a:pt x="1072065" y="6756564"/>
                  <a:pt x="1076277" y="6756831"/>
                </a:cubicBezTo>
                <a:cubicBezTo>
                  <a:pt x="1081365" y="6760671"/>
                  <a:pt x="1085759" y="6765262"/>
                  <a:pt x="1085936" y="6772905"/>
                </a:cubicBezTo>
                <a:cubicBezTo>
                  <a:pt x="1085997" y="6774346"/>
                  <a:pt x="1088384" y="6775983"/>
                  <a:pt x="1087186" y="6778485"/>
                </a:cubicBezTo>
                <a:cubicBezTo>
                  <a:pt x="1083843" y="6785111"/>
                  <a:pt x="1088491" y="6788825"/>
                  <a:pt x="1092511" y="6791408"/>
                </a:cubicBezTo>
                <a:cubicBezTo>
                  <a:pt x="1095338" y="6793173"/>
                  <a:pt x="1096718" y="6794995"/>
                  <a:pt x="1097972" y="6797256"/>
                </a:cubicBezTo>
                <a:cubicBezTo>
                  <a:pt x="1101861" y="6803597"/>
                  <a:pt x="1099525" y="6810039"/>
                  <a:pt x="1099075" y="6816552"/>
                </a:cubicBezTo>
                <a:cubicBezTo>
                  <a:pt x="1098311" y="6822500"/>
                  <a:pt x="1094408" y="6826119"/>
                  <a:pt x="1090816" y="6830301"/>
                </a:cubicBezTo>
                <a:cubicBezTo>
                  <a:pt x="1087100" y="6834922"/>
                  <a:pt x="1082317" y="6838286"/>
                  <a:pt x="1075717" y="6836381"/>
                </a:cubicBezTo>
                <a:cubicBezTo>
                  <a:pt x="1074837" y="6836127"/>
                  <a:pt x="1074270" y="6836438"/>
                  <a:pt x="1073892" y="6837752"/>
                </a:cubicBezTo>
                <a:cubicBezTo>
                  <a:pt x="1070811" y="6836864"/>
                  <a:pt x="1068172" y="6836101"/>
                  <a:pt x="1065092" y="6835212"/>
                </a:cubicBezTo>
                <a:cubicBezTo>
                  <a:pt x="1063778" y="6831511"/>
                  <a:pt x="1059251" y="6830680"/>
                  <a:pt x="1056804" y="6827600"/>
                </a:cubicBezTo>
                <a:cubicBezTo>
                  <a:pt x="1054356" y="6824522"/>
                  <a:pt x="1052223" y="6822009"/>
                  <a:pt x="1052480" y="6817812"/>
                </a:cubicBezTo>
                <a:cubicBezTo>
                  <a:pt x="1053305" y="6813306"/>
                  <a:pt x="1052243" y="6808729"/>
                  <a:pt x="1051054" y="6804590"/>
                </a:cubicBezTo>
                <a:cubicBezTo>
                  <a:pt x="1049992" y="6800013"/>
                  <a:pt x="1049370" y="6795563"/>
                  <a:pt x="1048182" y="6791424"/>
                </a:cubicBezTo>
                <a:cubicBezTo>
                  <a:pt x="1047559" y="6786974"/>
                  <a:pt x="1045051" y="6782455"/>
                  <a:pt x="1041283" y="6778995"/>
                </a:cubicBezTo>
                <a:cubicBezTo>
                  <a:pt x="1042800" y="6773739"/>
                  <a:pt x="1044317" y="6768483"/>
                  <a:pt x="1045834" y="6763227"/>
                </a:cubicBezTo>
                <a:cubicBezTo>
                  <a:pt x="1048854" y="6762675"/>
                  <a:pt x="1050679" y="6761304"/>
                  <a:pt x="1052883" y="6758619"/>
                </a:cubicBezTo>
                <a:cubicBezTo>
                  <a:pt x="1055656" y="6755623"/>
                  <a:pt x="1060373" y="6754139"/>
                  <a:pt x="1064333" y="6755281"/>
                </a:cubicBezTo>
                <a:close/>
                <a:moveTo>
                  <a:pt x="2176920" y="6733472"/>
                </a:moveTo>
                <a:cubicBezTo>
                  <a:pt x="2181723" y="6734800"/>
                  <a:pt x="2186417" y="6737332"/>
                  <a:pt x="2191176" y="6737998"/>
                </a:cubicBezTo>
                <a:cubicBezTo>
                  <a:pt x="2195219" y="6738695"/>
                  <a:pt x="2204118" y="6738908"/>
                  <a:pt x="2204981" y="6742454"/>
                </a:cubicBezTo>
                <a:cubicBezTo>
                  <a:pt x="2207696" y="6752658"/>
                  <a:pt x="2222195" y="6753075"/>
                  <a:pt x="2221854" y="6765694"/>
                </a:cubicBezTo>
                <a:cubicBezTo>
                  <a:pt x="2221721" y="6769423"/>
                  <a:pt x="2227189" y="6773357"/>
                  <a:pt x="2220149" y="6776505"/>
                </a:cubicBezTo>
                <a:cubicBezTo>
                  <a:pt x="2218030" y="6777306"/>
                  <a:pt x="2217714" y="6780041"/>
                  <a:pt x="2219329" y="6780979"/>
                </a:cubicBezTo>
                <a:cubicBezTo>
                  <a:pt x="2225541" y="6785598"/>
                  <a:pt x="2223977" y="6789385"/>
                  <a:pt x="2218118" y="6793346"/>
                </a:cubicBezTo>
                <a:cubicBezTo>
                  <a:pt x="2216309" y="6794708"/>
                  <a:pt x="2217423" y="6797385"/>
                  <a:pt x="2217792" y="6799375"/>
                </a:cubicBezTo>
                <a:cubicBezTo>
                  <a:pt x="2218781" y="6802486"/>
                  <a:pt x="2218463" y="6805220"/>
                  <a:pt x="2215224" y="6806640"/>
                </a:cubicBezTo>
                <a:cubicBezTo>
                  <a:pt x="2211984" y="6808060"/>
                  <a:pt x="2211666" y="6810795"/>
                  <a:pt x="2210043" y="6813152"/>
                </a:cubicBezTo>
                <a:cubicBezTo>
                  <a:pt x="2205984" y="6819046"/>
                  <a:pt x="2200988" y="6826552"/>
                  <a:pt x="2195319" y="6828214"/>
                </a:cubicBezTo>
                <a:cubicBezTo>
                  <a:pt x="2182987" y="6831720"/>
                  <a:pt x="2170967" y="6835786"/>
                  <a:pt x="2158762" y="6838858"/>
                </a:cubicBezTo>
                <a:cubicBezTo>
                  <a:pt x="2157892" y="6838606"/>
                  <a:pt x="2156151" y="6838104"/>
                  <a:pt x="2155967" y="6837108"/>
                </a:cubicBezTo>
                <a:cubicBezTo>
                  <a:pt x="2152744" y="6831939"/>
                  <a:pt x="2149827" y="6827330"/>
                  <a:pt x="2142538" y="6831348"/>
                </a:cubicBezTo>
                <a:cubicBezTo>
                  <a:pt x="2140169" y="6833020"/>
                  <a:pt x="2139491" y="6830468"/>
                  <a:pt x="2139556" y="6828604"/>
                </a:cubicBezTo>
                <a:cubicBezTo>
                  <a:pt x="2140383" y="6820835"/>
                  <a:pt x="2136901" y="6819830"/>
                  <a:pt x="2130423" y="6822670"/>
                </a:cubicBezTo>
                <a:cubicBezTo>
                  <a:pt x="2126060" y="6824709"/>
                  <a:pt x="2124571" y="6823336"/>
                  <a:pt x="2125826" y="6818989"/>
                </a:cubicBezTo>
                <a:cubicBezTo>
                  <a:pt x="2126579" y="6816380"/>
                  <a:pt x="2128328" y="6813587"/>
                  <a:pt x="2124535" y="6812023"/>
                </a:cubicBezTo>
                <a:cubicBezTo>
                  <a:pt x="2116331" y="6807771"/>
                  <a:pt x="2114604" y="6800677"/>
                  <a:pt x="2117298" y="6792978"/>
                </a:cubicBezTo>
                <a:cubicBezTo>
                  <a:pt x="2119365" y="6787451"/>
                  <a:pt x="2118377" y="6784340"/>
                  <a:pt x="2115086" y="6781035"/>
                </a:cubicBezTo>
                <a:cubicBezTo>
                  <a:pt x="2115589" y="6779296"/>
                  <a:pt x="2116090" y="6777557"/>
                  <a:pt x="2116592" y="6775817"/>
                </a:cubicBezTo>
                <a:cubicBezTo>
                  <a:pt x="2121699" y="6774466"/>
                  <a:pt x="2124384" y="6770060"/>
                  <a:pt x="2124334" y="6765335"/>
                </a:cubicBezTo>
                <a:cubicBezTo>
                  <a:pt x="2124416" y="6756880"/>
                  <a:pt x="2128784" y="6751548"/>
                  <a:pt x="2135951" y="6747964"/>
                </a:cubicBezTo>
                <a:cubicBezTo>
                  <a:pt x="2138755" y="6746418"/>
                  <a:pt x="2141435" y="6745307"/>
                  <a:pt x="2143183" y="6742515"/>
                </a:cubicBezTo>
                <a:cubicBezTo>
                  <a:pt x="2145434" y="6737984"/>
                  <a:pt x="2148799" y="6736129"/>
                  <a:pt x="2153461" y="6737947"/>
                </a:cubicBezTo>
                <a:cubicBezTo>
                  <a:pt x="2156945" y="6738951"/>
                  <a:pt x="2160185" y="6737532"/>
                  <a:pt x="2161993" y="6736169"/>
                </a:cubicBezTo>
                <a:cubicBezTo>
                  <a:pt x="2167198" y="6732020"/>
                  <a:pt x="2172115" y="6732144"/>
                  <a:pt x="2176920" y="6733472"/>
                </a:cubicBezTo>
                <a:close/>
                <a:moveTo>
                  <a:pt x="10141215" y="6731520"/>
                </a:moveTo>
                <a:cubicBezTo>
                  <a:pt x="10142424" y="6731018"/>
                  <a:pt x="10143572" y="6732200"/>
                  <a:pt x="10144130" y="6733212"/>
                </a:cubicBezTo>
                <a:cubicBezTo>
                  <a:pt x="10144689" y="6734224"/>
                  <a:pt x="10145051" y="6735179"/>
                  <a:pt x="10145358" y="6736330"/>
                </a:cubicBezTo>
                <a:cubicBezTo>
                  <a:pt x="10146139" y="6738045"/>
                  <a:pt x="10147203" y="6738777"/>
                  <a:pt x="10149115" y="6738053"/>
                </a:cubicBezTo>
                <a:cubicBezTo>
                  <a:pt x="10153583" y="6736578"/>
                  <a:pt x="10157819" y="6737376"/>
                  <a:pt x="10161999" y="6738369"/>
                </a:cubicBezTo>
                <a:cubicBezTo>
                  <a:pt x="10167021" y="6739394"/>
                  <a:pt x="10171957" y="6741456"/>
                  <a:pt x="10177206" y="6741696"/>
                </a:cubicBezTo>
                <a:cubicBezTo>
                  <a:pt x="10179086" y="6741814"/>
                  <a:pt x="10179728" y="6743274"/>
                  <a:pt x="10180230" y="6744483"/>
                </a:cubicBezTo>
                <a:cubicBezTo>
                  <a:pt x="10182073" y="6748416"/>
                  <a:pt x="10183719" y="6752293"/>
                  <a:pt x="10189082" y="6752140"/>
                </a:cubicBezTo>
                <a:cubicBezTo>
                  <a:pt x="10190121" y="6752227"/>
                  <a:pt x="10190482" y="6753182"/>
                  <a:pt x="10190650" y="6754080"/>
                </a:cubicBezTo>
                <a:cubicBezTo>
                  <a:pt x="10191677" y="6758630"/>
                  <a:pt x="10194304" y="6762789"/>
                  <a:pt x="10196287" y="6766977"/>
                </a:cubicBezTo>
                <a:cubicBezTo>
                  <a:pt x="10199331" y="6773383"/>
                  <a:pt x="10200240" y="6779810"/>
                  <a:pt x="10196490" y="6786170"/>
                </a:cubicBezTo>
                <a:cubicBezTo>
                  <a:pt x="10195109" y="6788747"/>
                  <a:pt x="10196170" y="6790968"/>
                  <a:pt x="10197286" y="6792991"/>
                </a:cubicBezTo>
                <a:cubicBezTo>
                  <a:pt x="10199746" y="6797741"/>
                  <a:pt x="10198982" y="6799647"/>
                  <a:pt x="10194205" y="6801456"/>
                </a:cubicBezTo>
                <a:cubicBezTo>
                  <a:pt x="10189035" y="6803154"/>
                  <a:pt x="10189035" y="6803154"/>
                  <a:pt x="10191324" y="6808492"/>
                </a:cubicBezTo>
                <a:cubicBezTo>
                  <a:pt x="10191826" y="6809700"/>
                  <a:pt x="10192188" y="6810655"/>
                  <a:pt x="10190671" y="6811492"/>
                </a:cubicBezTo>
                <a:cubicBezTo>
                  <a:pt x="10185440" y="6814873"/>
                  <a:pt x="10180602" y="6818367"/>
                  <a:pt x="10175233" y="6821495"/>
                </a:cubicBezTo>
                <a:cubicBezTo>
                  <a:pt x="10171324" y="6823980"/>
                  <a:pt x="10166970" y="6825062"/>
                  <a:pt x="10162367" y="6824797"/>
                </a:cubicBezTo>
                <a:cubicBezTo>
                  <a:pt x="10159392" y="6824788"/>
                  <a:pt x="10152050" y="6830323"/>
                  <a:pt x="10151004" y="6833211"/>
                </a:cubicBezTo>
                <a:cubicBezTo>
                  <a:pt x="10150721" y="6834192"/>
                  <a:pt x="10150494" y="6834978"/>
                  <a:pt x="10151560" y="6835709"/>
                </a:cubicBezTo>
                <a:cubicBezTo>
                  <a:pt x="10156854" y="6840214"/>
                  <a:pt x="10158269" y="6846364"/>
                  <a:pt x="10159180" y="6852792"/>
                </a:cubicBezTo>
                <a:cubicBezTo>
                  <a:pt x="10159429" y="6854140"/>
                  <a:pt x="10159539" y="6855235"/>
                  <a:pt x="10159843" y="6856386"/>
                </a:cubicBezTo>
                <a:lnTo>
                  <a:pt x="10159543" y="6858826"/>
                </a:lnTo>
                <a:lnTo>
                  <a:pt x="10063020" y="6858826"/>
                </a:lnTo>
                <a:lnTo>
                  <a:pt x="10061824" y="6852544"/>
                </a:lnTo>
                <a:cubicBezTo>
                  <a:pt x="10061012" y="6851672"/>
                  <a:pt x="10058795" y="6851245"/>
                  <a:pt x="10059699" y="6849592"/>
                </a:cubicBezTo>
                <a:cubicBezTo>
                  <a:pt x="10060404" y="6847882"/>
                  <a:pt x="10062284" y="6848000"/>
                  <a:pt x="10064108" y="6848314"/>
                </a:cubicBezTo>
                <a:cubicBezTo>
                  <a:pt x="10064305" y="6848370"/>
                  <a:pt x="10064501" y="6848427"/>
                  <a:pt x="10064697" y="6848483"/>
                </a:cubicBezTo>
                <a:cubicBezTo>
                  <a:pt x="10069637" y="6849059"/>
                  <a:pt x="10071635" y="6847297"/>
                  <a:pt x="10070355" y="6842888"/>
                </a:cubicBezTo>
                <a:cubicBezTo>
                  <a:pt x="10069214" y="6838732"/>
                  <a:pt x="10070596" y="6836154"/>
                  <a:pt x="10073411" y="6833777"/>
                </a:cubicBezTo>
                <a:cubicBezTo>
                  <a:pt x="10077095" y="6830588"/>
                  <a:pt x="10080249" y="6827034"/>
                  <a:pt x="10080487" y="6821787"/>
                </a:cubicBezTo>
                <a:cubicBezTo>
                  <a:pt x="10080521" y="6819457"/>
                  <a:pt x="10082965" y="6819100"/>
                  <a:pt x="10084453" y="6819104"/>
                </a:cubicBezTo>
                <a:cubicBezTo>
                  <a:pt x="10090068" y="6818812"/>
                  <a:pt x="10093387" y="6816155"/>
                  <a:pt x="10095448" y="6811222"/>
                </a:cubicBezTo>
                <a:cubicBezTo>
                  <a:pt x="10096747" y="6808196"/>
                  <a:pt x="10098096" y="6807947"/>
                  <a:pt x="10100672" y="6810817"/>
                </a:cubicBezTo>
                <a:cubicBezTo>
                  <a:pt x="10106157" y="6816865"/>
                  <a:pt x="10116826" y="6816755"/>
                  <a:pt x="10121754" y="6810736"/>
                </a:cubicBezTo>
                <a:cubicBezTo>
                  <a:pt x="10122739" y="6809532"/>
                  <a:pt x="10124035" y="6807992"/>
                  <a:pt x="10123001" y="6806418"/>
                </a:cubicBezTo>
                <a:cubicBezTo>
                  <a:pt x="10121965" y="6804844"/>
                  <a:pt x="10120172" y="6803689"/>
                  <a:pt x="10118064" y="6804356"/>
                </a:cubicBezTo>
                <a:cubicBezTo>
                  <a:pt x="10116717" y="6804604"/>
                  <a:pt x="10115256" y="6805246"/>
                  <a:pt x="10113851" y="6805691"/>
                </a:cubicBezTo>
                <a:cubicBezTo>
                  <a:pt x="10112390" y="6806332"/>
                  <a:pt x="10111040" y="6806581"/>
                  <a:pt x="10110398" y="6805120"/>
                </a:cubicBezTo>
                <a:cubicBezTo>
                  <a:pt x="10109617" y="6803406"/>
                  <a:pt x="10110742" y="6802455"/>
                  <a:pt x="10112007" y="6801757"/>
                </a:cubicBezTo>
                <a:cubicBezTo>
                  <a:pt x="10113076" y="6801002"/>
                  <a:pt x="10114481" y="6800558"/>
                  <a:pt x="10115493" y="6799998"/>
                </a:cubicBezTo>
                <a:cubicBezTo>
                  <a:pt x="10117770" y="6798742"/>
                  <a:pt x="10119433" y="6796671"/>
                  <a:pt x="10118231" y="6794198"/>
                </a:cubicBezTo>
                <a:cubicBezTo>
                  <a:pt x="10117114" y="6792174"/>
                  <a:pt x="10114500" y="6793121"/>
                  <a:pt x="10112589" y="6793845"/>
                </a:cubicBezTo>
                <a:cubicBezTo>
                  <a:pt x="10110931" y="6794429"/>
                  <a:pt x="10109440" y="6795913"/>
                  <a:pt x="10107503" y="6795992"/>
                </a:cubicBezTo>
                <a:cubicBezTo>
                  <a:pt x="10104666" y="6796237"/>
                  <a:pt x="10103209" y="6795390"/>
                  <a:pt x="10104313" y="6792307"/>
                </a:cubicBezTo>
                <a:cubicBezTo>
                  <a:pt x="10105754" y="6788046"/>
                  <a:pt x="10108542" y="6785022"/>
                  <a:pt x="10111861" y="6782367"/>
                </a:cubicBezTo>
                <a:cubicBezTo>
                  <a:pt x="10116052" y="6778899"/>
                  <a:pt x="10116929" y="6776600"/>
                  <a:pt x="10114976" y="6771572"/>
                </a:cubicBezTo>
                <a:cubicBezTo>
                  <a:pt x="10114448" y="6769719"/>
                  <a:pt x="10113273" y="6767891"/>
                  <a:pt x="10112295" y="6766121"/>
                </a:cubicBezTo>
                <a:cubicBezTo>
                  <a:pt x="10111876" y="6765361"/>
                  <a:pt x="10111064" y="6764489"/>
                  <a:pt x="10111740" y="6763622"/>
                </a:cubicBezTo>
                <a:cubicBezTo>
                  <a:pt x="10112474" y="6762558"/>
                  <a:pt x="10113511" y="6762645"/>
                  <a:pt x="10114240" y="6763068"/>
                </a:cubicBezTo>
                <a:cubicBezTo>
                  <a:pt x="10117549" y="6764873"/>
                  <a:pt x="10118787" y="6763530"/>
                  <a:pt x="10119497" y="6760332"/>
                </a:cubicBezTo>
                <a:cubicBezTo>
                  <a:pt x="10120434" y="6756351"/>
                  <a:pt x="10123780" y="6754339"/>
                  <a:pt x="10127152" y="6752975"/>
                </a:cubicBezTo>
                <a:cubicBezTo>
                  <a:pt x="10129822" y="6751832"/>
                  <a:pt x="10130415" y="6750514"/>
                  <a:pt x="10128707" y="6748321"/>
                </a:cubicBezTo>
                <a:cubicBezTo>
                  <a:pt x="10127756" y="6747196"/>
                  <a:pt x="10127198" y="6746184"/>
                  <a:pt x="10128044" y="6744727"/>
                </a:cubicBezTo>
                <a:cubicBezTo>
                  <a:pt x="10129059" y="6742681"/>
                  <a:pt x="10130517" y="6743528"/>
                  <a:pt x="10132004" y="6743532"/>
                </a:cubicBezTo>
                <a:cubicBezTo>
                  <a:pt x="10132846" y="6743562"/>
                  <a:pt x="10133829" y="6743846"/>
                  <a:pt x="10134866" y="6743932"/>
                </a:cubicBezTo>
                <a:cubicBezTo>
                  <a:pt x="10140338" y="6744874"/>
                  <a:pt x="10142366" y="6742270"/>
                  <a:pt x="10140527" y="6736850"/>
                </a:cubicBezTo>
                <a:cubicBezTo>
                  <a:pt x="10140304" y="6736147"/>
                  <a:pt x="10140026" y="6735642"/>
                  <a:pt x="10139998" y="6734996"/>
                </a:cubicBezTo>
                <a:cubicBezTo>
                  <a:pt x="10139749" y="6733648"/>
                  <a:pt x="10139810" y="6731965"/>
                  <a:pt x="10141215" y="6731520"/>
                </a:cubicBezTo>
                <a:close/>
                <a:moveTo>
                  <a:pt x="9496698" y="6723534"/>
                </a:moveTo>
                <a:cubicBezTo>
                  <a:pt x="9500658" y="6724676"/>
                  <a:pt x="9504431" y="6724816"/>
                  <a:pt x="9508643" y="6725083"/>
                </a:cubicBezTo>
                <a:cubicBezTo>
                  <a:pt x="9513731" y="6728924"/>
                  <a:pt x="9518124" y="6733514"/>
                  <a:pt x="9518303" y="6741156"/>
                </a:cubicBezTo>
                <a:cubicBezTo>
                  <a:pt x="9518362" y="6742597"/>
                  <a:pt x="9520750" y="6744235"/>
                  <a:pt x="9519551" y="6746736"/>
                </a:cubicBezTo>
                <a:cubicBezTo>
                  <a:pt x="9516208" y="6753363"/>
                  <a:pt x="9520857" y="6757077"/>
                  <a:pt x="9524877" y="6759661"/>
                </a:cubicBezTo>
                <a:cubicBezTo>
                  <a:pt x="9527703" y="6761425"/>
                  <a:pt x="9529083" y="6763248"/>
                  <a:pt x="9530337" y="6765507"/>
                </a:cubicBezTo>
                <a:cubicBezTo>
                  <a:pt x="9534226" y="6771849"/>
                  <a:pt x="9531890" y="6778292"/>
                  <a:pt x="9531441" y="6784804"/>
                </a:cubicBezTo>
                <a:cubicBezTo>
                  <a:pt x="9530677" y="6790752"/>
                  <a:pt x="9526773" y="6794370"/>
                  <a:pt x="9523183" y="6798553"/>
                </a:cubicBezTo>
                <a:cubicBezTo>
                  <a:pt x="9519465" y="6803174"/>
                  <a:pt x="9514682" y="6806538"/>
                  <a:pt x="9508082" y="6804633"/>
                </a:cubicBezTo>
                <a:cubicBezTo>
                  <a:pt x="9507202" y="6804379"/>
                  <a:pt x="9506636" y="6804690"/>
                  <a:pt x="9506257" y="6806004"/>
                </a:cubicBezTo>
                <a:cubicBezTo>
                  <a:pt x="9503178" y="6805115"/>
                  <a:pt x="9500537" y="6804353"/>
                  <a:pt x="9497459" y="6803464"/>
                </a:cubicBezTo>
                <a:cubicBezTo>
                  <a:pt x="9496144" y="6799763"/>
                  <a:pt x="9491617" y="6798932"/>
                  <a:pt x="9489169" y="6795852"/>
                </a:cubicBezTo>
                <a:cubicBezTo>
                  <a:pt x="9486721" y="6792774"/>
                  <a:pt x="9484587" y="6790260"/>
                  <a:pt x="9484845" y="6786064"/>
                </a:cubicBezTo>
                <a:cubicBezTo>
                  <a:pt x="9485669" y="6781557"/>
                  <a:pt x="9484607" y="6776981"/>
                  <a:pt x="9483419" y="6772842"/>
                </a:cubicBezTo>
                <a:cubicBezTo>
                  <a:pt x="9482357" y="6768265"/>
                  <a:pt x="9481735" y="6763815"/>
                  <a:pt x="9480546" y="6759676"/>
                </a:cubicBezTo>
                <a:cubicBezTo>
                  <a:pt x="9479924" y="6755227"/>
                  <a:pt x="9477416" y="6750707"/>
                  <a:pt x="9473650" y="6747247"/>
                </a:cubicBezTo>
                <a:cubicBezTo>
                  <a:pt x="9475167" y="6741991"/>
                  <a:pt x="9476684" y="6736735"/>
                  <a:pt x="9478200" y="6731479"/>
                </a:cubicBezTo>
                <a:cubicBezTo>
                  <a:pt x="9481219" y="6730927"/>
                  <a:pt x="9483044" y="6729557"/>
                  <a:pt x="9485250" y="6726872"/>
                </a:cubicBezTo>
                <a:cubicBezTo>
                  <a:pt x="9488020" y="6723875"/>
                  <a:pt x="9492739" y="6722390"/>
                  <a:pt x="9496698" y="6723534"/>
                </a:cubicBezTo>
                <a:close/>
                <a:moveTo>
                  <a:pt x="7316600" y="6721138"/>
                </a:moveTo>
                <a:cubicBezTo>
                  <a:pt x="7320826" y="6722052"/>
                  <a:pt x="7325017" y="6724012"/>
                  <a:pt x="7329172" y="6724355"/>
                </a:cubicBezTo>
                <a:cubicBezTo>
                  <a:pt x="7332708" y="6724759"/>
                  <a:pt x="7340427" y="6724504"/>
                  <a:pt x="7341349" y="6727533"/>
                </a:cubicBezTo>
                <a:cubicBezTo>
                  <a:pt x="7344204" y="6736237"/>
                  <a:pt x="7356784" y="6735882"/>
                  <a:pt x="7357112" y="6746830"/>
                </a:cubicBezTo>
                <a:cubicBezTo>
                  <a:pt x="7357180" y="6750067"/>
                  <a:pt x="7362110" y="6753203"/>
                  <a:pt x="7356169" y="6756278"/>
                </a:cubicBezTo>
                <a:cubicBezTo>
                  <a:pt x="7354374" y="6757077"/>
                  <a:pt x="7354234" y="6759461"/>
                  <a:pt x="7355680" y="6760194"/>
                </a:cubicBezTo>
                <a:cubicBezTo>
                  <a:pt x="7361288" y="6763888"/>
                  <a:pt x="7360121" y="6767246"/>
                  <a:pt x="7355240" y="6770966"/>
                </a:cubicBezTo>
                <a:cubicBezTo>
                  <a:pt x="7353742" y="6772235"/>
                  <a:pt x="7354839" y="6774498"/>
                  <a:pt x="7355256" y="6776204"/>
                </a:cubicBezTo>
                <a:cubicBezTo>
                  <a:pt x="7356266" y="6778850"/>
                  <a:pt x="7356126" y="6781235"/>
                  <a:pt x="7353391" y="6782624"/>
                </a:cubicBezTo>
                <a:cubicBezTo>
                  <a:pt x="7350655" y="6784014"/>
                  <a:pt x="7350515" y="6786398"/>
                  <a:pt x="7349225" y="6788521"/>
                </a:cubicBezTo>
                <a:cubicBezTo>
                  <a:pt x="7346000" y="6793826"/>
                  <a:pt x="7342042" y="6800575"/>
                  <a:pt x="7337216" y="6802294"/>
                </a:cubicBezTo>
                <a:cubicBezTo>
                  <a:pt x="7326709" y="6805940"/>
                  <a:pt x="7316498" y="6810056"/>
                  <a:pt x="7306077" y="6813319"/>
                </a:cubicBezTo>
                <a:cubicBezTo>
                  <a:pt x="7305311" y="6813144"/>
                  <a:pt x="7303778" y="6812795"/>
                  <a:pt x="7303569" y="6811942"/>
                </a:cubicBezTo>
                <a:cubicBezTo>
                  <a:pt x="7300521" y="6807623"/>
                  <a:pt x="7297770" y="6803774"/>
                  <a:pt x="7291653" y="6807615"/>
                </a:cubicBezTo>
                <a:cubicBezTo>
                  <a:pt x="7289684" y="6809181"/>
                  <a:pt x="7288971" y="6807005"/>
                  <a:pt x="7288936" y="6805386"/>
                </a:cubicBezTo>
                <a:cubicBezTo>
                  <a:pt x="7289268" y="6798616"/>
                  <a:pt x="7286202" y="6797917"/>
                  <a:pt x="7280730" y="6800697"/>
                </a:cubicBezTo>
                <a:cubicBezTo>
                  <a:pt x="7277054" y="6802679"/>
                  <a:pt x="7275695" y="6801563"/>
                  <a:pt x="7276567" y="6797736"/>
                </a:cubicBezTo>
                <a:cubicBezTo>
                  <a:pt x="7277090" y="6795439"/>
                  <a:pt x="7278468" y="6792934"/>
                  <a:pt x="7275106" y="6791766"/>
                </a:cubicBezTo>
                <a:cubicBezTo>
                  <a:pt x="7267788" y="6788487"/>
                  <a:pt x="7265943" y="6782430"/>
                  <a:pt x="7267897" y="6775626"/>
                </a:cubicBezTo>
                <a:cubicBezTo>
                  <a:pt x="7269414" y="6770737"/>
                  <a:pt x="7268404" y="6768091"/>
                  <a:pt x="7265391" y="6765392"/>
                </a:cubicBezTo>
                <a:cubicBezTo>
                  <a:pt x="7265740" y="6763859"/>
                  <a:pt x="7266088" y="6762328"/>
                  <a:pt x="7266438" y="6760797"/>
                </a:cubicBezTo>
                <a:cubicBezTo>
                  <a:pt x="7270794" y="6759374"/>
                  <a:pt x="7272903" y="6755425"/>
                  <a:pt x="7272626" y="6751336"/>
                </a:cubicBezTo>
                <a:cubicBezTo>
                  <a:pt x="7272279" y="6744008"/>
                  <a:pt x="7275800" y="6739173"/>
                  <a:pt x="7281830" y="6735715"/>
                </a:cubicBezTo>
                <a:cubicBezTo>
                  <a:pt x="7284182" y="6734237"/>
                  <a:pt x="7286448" y="6733143"/>
                  <a:pt x="7287824" y="6730638"/>
                </a:cubicBezTo>
                <a:cubicBezTo>
                  <a:pt x="7289551" y="6726603"/>
                  <a:pt x="7292374" y="6724829"/>
                  <a:pt x="7296502" y="6726172"/>
                </a:cubicBezTo>
                <a:cubicBezTo>
                  <a:pt x="7299569" y="6726871"/>
                  <a:pt x="7302304" y="6725481"/>
                  <a:pt x="7303804" y="6724212"/>
                </a:cubicBezTo>
                <a:cubicBezTo>
                  <a:pt x="7308108" y="6720361"/>
                  <a:pt x="7312372" y="6720225"/>
                  <a:pt x="7316600" y="6721138"/>
                </a:cubicBezTo>
                <a:close/>
                <a:moveTo>
                  <a:pt x="2669682" y="6720094"/>
                </a:moveTo>
                <a:cubicBezTo>
                  <a:pt x="2671636" y="6718197"/>
                  <a:pt x="2677342" y="6721602"/>
                  <a:pt x="2680174" y="6722770"/>
                </a:cubicBezTo>
                <a:cubicBezTo>
                  <a:pt x="2686715" y="6725714"/>
                  <a:pt x="2696057" y="6723839"/>
                  <a:pt x="2699333" y="6733222"/>
                </a:cubicBezTo>
                <a:cubicBezTo>
                  <a:pt x="2699933" y="6734802"/>
                  <a:pt x="2701416" y="6736988"/>
                  <a:pt x="2704014" y="6737738"/>
                </a:cubicBezTo>
                <a:cubicBezTo>
                  <a:pt x="2707682" y="6738445"/>
                  <a:pt x="2709069" y="6740955"/>
                  <a:pt x="2708689" y="6744712"/>
                </a:cubicBezTo>
                <a:cubicBezTo>
                  <a:pt x="2708682" y="6747171"/>
                  <a:pt x="2709933" y="6748938"/>
                  <a:pt x="2711089" y="6751030"/>
                </a:cubicBezTo>
                <a:cubicBezTo>
                  <a:pt x="2714189" y="6756143"/>
                  <a:pt x="2714828" y="6761249"/>
                  <a:pt x="2711517" y="6766621"/>
                </a:cubicBezTo>
                <a:cubicBezTo>
                  <a:pt x="2709606" y="6769586"/>
                  <a:pt x="2709551" y="6773437"/>
                  <a:pt x="2712236" y="6776323"/>
                </a:cubicBezTo>
                <a:cubicBezTo>
                  <a:pt x="2711864" y="6777620"/>
                  <a:pt x="2711489" y="6778918"/>
                  <a:pt x="2711114" y="6780216"/>
                </a:cubicBezTo>
                <a:cubicBezTo>
                  <a:pt x="2707720" y="6780994"/>
                  <a:pt x="2705859" y="6782567"/>
                  <a:pt x="2704967" y="6786880"/>
                </a:cubicBezTo>
                <a:cubicBezTo>
                  <a:pt x="2703605" y="6792814"/>
                  <a:pt x="2699694" y="6796608"/>
                  <a:pt x="2692821" y="6796031"/>
                </a:cubicBezTo>
                <a:cubicBezTo>
                  <a:pt x="2689802" y="6795510"/>
                  <a:pt x="2689797" y="6797970"/>
                  <a:pt x="2689233" y="6799917"/>
                </a:cubicBezTo>
                <a:cubicBezTo>
                  <a:pt x="2688298" y="6803162"/>
                  <a:pt x="2686812" y="6803436"/>
                  <a:pt x="2684867" y="6800415"/>
                </a:cubicBezTo>
                <a:cubicBezTo>
                  <a:pt x="2681905" y="6796044"/>
                  <a:pt x="2679304" y="6795293"/>
                  <a:pt x="2676737" y="6800529"/>
                </a:cubicBezTo>
                <a:cubicBezTo>
                  <a:pt x="2676038" y="6801733"/>
                  <a:pt x="2674595" y="6803074"/>
                  <a:pt x="2673763" y="6801076"/>
                </a:cubicBezTo>
                <a:cubicBezTo>
                  <a:pt x="2670758" y="6795639"/>
                  <a:pt x="2667084" y="6797391"/>
                  <a:pt x="2662990" y="6799373"/>
                </a:cubicBezTo>
                <a:cubicBezTo>
                  <a:pt x="2662480" y="6799928"/>
                  <a:pt x="2661179" y="6799553"/>
                  <a:pt x="2660529" y="6799366"/>
                </a:cubicBezTo>
                <a:cubicBezTo>
                  <a:pt x="2654042" y="6792572"/>
                  <a:pt x="2648067" y="6785222"/>
                  <a:pt x="2641673" y="6778104"/>
                </a:cubicBezTo>
                <a:cubicBezTo>
                  <a:pt x="2638755" y="6774800"/>
                  <a:pt x="2638586" y="6768071"/>
                  <a:pt x="2638365" y="6762734"/>
                </a:cubicBezTo>
                <a:cubicBezTo>
                  <a:pt x="2638278" y="6760599"/>
                  <a:pt x="2639165" y="6758746"/>
                  <a:pt x="2637684" y="6756560"/>
                </a:cubicBezTo>
                <a:cubicBezTo>
                  <a:pt x="2636202" y="6754376"/>
                  <a:pt x="2637088" y="6752522"/>
                  <a:pt x="2638951" y="6750950"/>
                </a:cubicBezTo>
                <a:cubicBezTo>
                  <a:pt x="2639975" y="6749839"/>
                  <a:pt x="2641744" y="6748592"/>
                  <a:pt x="2641144" y="6747012"/>
                </a:cubicBezTo>
                <a:cubicBezTo>
                  <a:pt x="2639019" y="6742181"/>
                  <a:pt x="2639537" y="6739165"/>
                  <a:pt x="2645297" y="6738719"/>
                </a:cubicBezTo>
                <a:cubicBezTo>
                  <a:pt x="2646690" y="6738770"/>
                  <a:pt x="2647578" y="6736917"/>
                  <a:pt x="2646559" y="6735567"/>
                </a:cubicBezTo>
                <a:cubicBezTo>
                  <a:pt x="2643365" y="6730778"/>
                  <a:pt x="2648382" y="6730469"/>
                  <a:pt x="2649783" y="6728061"/>
                </a:cubicBezTo>
                <a:cubicBezTo>
                  <a:pt x="2654584" y="6719955"/>
                  <a:pt x="2663910" y="6725459"/>
                  <a:pt x="2669682" y="6720094"/>
                </a:cubicBezTo>
                <a:close/>
                <a:moveTo>
                  <a:pt x="10609278" y="6701723"/>
                </a:moveTo>
                <a:cubicBezTo>
                  <a:pt x="10614084" y="6703051"/>
                  <a:pt x="10618775" y="6705583"/>
                  <a:pt x="10623535" y="6706251"/>
                </a:cubicBezTo>
                <a:cubicBezTo>
                  <a:pt x="10627578" y="6706946"/>
                  <a:pt x="10636478" y="6707160"/>
                  <a:pt x="10637340" y="6710706"/>
                </a:cubicBezTo>
                <a:cubicBezTo>
                  <a:pt x="10640054" y="6720910"/>
                  <a:pt x="10654554" y="6721327"/>
                  <a:pt x="10654213" y="6733946"/>
                </a:cubicBezTo>
                <a:cubicBezTo>
                  <a:pt x="10654080" y="6737675"/>
                  <a:pt x="10659547" y="6741608"/>
                  <a:pt x="10652507" y="6744757"/>
                </a:cubicBezTo>
                <a:cubicBezTo>
                  <a:pt x="10650390" y="6745559"/>
                  <a:pt x="10650073" y="6748293"/>
                  <a:pt x="10651687" y="6749231"/>
                </a:cubicBezTo>
                <a:cubicBezTo>
                  <a:pt x="10657900" y="6753850"/>
                  <a:pt x="10656335" y="6757637"/>
                  <a:pt x="10650476" y="6761598"/>
                </a:cubicBezTo>
                <a:cubicBezTo>
                  <a:pt x="10648668" y="6762960"/>
                  <a:pt x="10649782" y="6765636"/>
                  <a:pt x="10650151" y="6767627"/>
                </a:cubicBezTo>
                <a:cubicBezTo>
                  <a:pt x="10651139" y="6770739"/>
                  <a:pt x="10650821" y="6773473"/>
                  <a:pt x="10647582" y="6774893"/>
                </a:cubicBezTo>
                <a:cubicBezTo>
                  <a:pt x="10644342" y="6776313"/>
                  <a:pt x="10644025" y="6779047"/>
                  <a:pt x="10642401" y="6781404"/>
                </a:cubicBezTo>
                <a:cubicBezTo>
                  <a:pt x="10638342" y="6787297"/>
                  <a:pt x="10633346" y="6794805"/>
                  <a:pt x="10627679" y="6796465"/>
                </a:cubicBezTo>
                <a:cubicBezTo>
                  <a:pt x="10615348" y="6799971"/>
                  <a:pt x="10603327" y="6804038"/>
                  <a:pt x="10591122" y="6807110"/>
                </a:cubicBezTo>
                <a:cubicBezTo>
                  <a:pt x="10590251" y="6806858"/>
                  <a:pt x="10588510" y="6806356"/>
                  <a:pt x="10588326" y="6805360"/>
                </a:cubicBezTo>
                <a:cubicBezTo>
                  <a:pt x="10585102" y="6800190"/>
                  <a:pt x="10582188" y="6795581"/>
                  <a:pt x="10574898" y="6799601"/>
                </a:cubicBezTo>
                <a:cubicBezTo>
                  <a:pt x="10572529" y="6801271"/>
                  <a:pt x="10571850" y="6798721"/>
                  <a:pt x="10571917" y="6796857"/>
                </a:cubicBezTo>
                <a:cubicBezTo>
                  <a:pt x="10572743" y="6789088"/>
                  <a:pt x="10569261" y="6788083"/>
                  <a:pt x="10562782" y="6790923"/>
                </a:cubicBezTo>
                <a:cubicBezTo>
                  <a:pt x="10558421" y="6792961"/>
                  <a:pt x="10556931" y="6791589"/>
                  <a:pt x="10558185" y="6787240"/>
                </a:cubicBezTo>
                <a:cubicBezTo>
                  <a:pt x="10558939" y="6784632"/>
                  <a:pt x="10560687" y="6781840"/>
                  <a:pt x="10556895" y="6780274"/>
                </a:cubicBezTo>
                <a:cubicBezTo>
                  <a:pt x="10548690" y="6776022"/>
                  <a:pt x="10546964" y="6768930"/>
                  <a:pt x="10549659" y="6761230"/>
                </a:cubicBezTo>
                <a:cubicBezTo>
                  <a:pt x="10551725" y="6755704"/>
                  <a:pt x="10550737" y="6752592"/>
                  <a:pt x="10547446" y="6749287"/>
                </a:cubicBezTo>
                <a:cubicBezTo>
                  <a:pt x="10547948" y="6747548"/>
                  <a:pt x="10548450" y="6745809"/>
                  <a:pt x="10548953" y="6744070"/>
                </a:cubicBezTo>
                <a:cubicBezTo>
                  <a:pt x="10554059" y="6742718"/>
                  <a:pt x="10556746" y="6738311"/>
                  <a:pt x="10556694" y="6733588"/>
                </a:cubicBezTo>
                <a:cubicBezTo>
                  <a:pt x="10556776" y="6725133"/>
                  <a:pt x="10561145" y="6719800"/>
                  <a:pt x="10568310" y="6716215"/>
                </a:cubicBezTo>
                <a:cubicBezTo>
                  <a:pt x="10571114" y="6714671"/>
                  <a:pt x="10573794" y="6713559"/>
                  <a:pt x="10575542" y="6710767"/>
                </a:cubicBezTo>
                <a:cubicBezTo>
                  <a:pt x="10577793" y="6706237"/>
                  <a:pt x="10581158" y="6704382"/>
                  <a:pt x="10585822" y="6706198"/>
                </a:cubicBezTo>
                <a:cubicBezTo>
                  <a:pt x="10589305" y="6707204"/>
                  <a:pt x="10592545" y="6705784"/>
                  <a:pt x="10594352" y="6704421"/>
                </a:cubicBezTo>
                <a:cubicBezTo>
                  <a:pt x="10599558" y="6700272"/>
                  <a:pt x="10604474" y="6700396"/>
                  <a:pt x="10609278" y="6701723"/>
                </a:cubicBezTo>
                <a:close/>
                <a:moveTo>
                  <a:pt x="799646" y="6694588"/>
                </a:moveTo>
                <a:cubicBezTo>
                  <a:pt x="801466" y="6692823"/>
                  <a:pt x="806775" y="6695992"/>
                  <a:pt x="809410" y="6697079"/>
                </a:cubicBezTo>
                <a:cubicBezTo>
                  <a:pt x="815498" y="6699818"/>
                  <a:pt x="824190" y="6698074"/>
                  <a:pt x="827240" y="6706805"/>
                </a:cubicBezTo>
                <a:cubicBezTo>
                  <a:pt x="827797" y="6708275"/>
                  <a:pt x="829176" y="6710310"/>
                  <a:pt x="831595" y="6711007"/>
                </a:cubicBezTo>
                <a:cubicBezTo>
                  <a:pt x="835008" y="6711665"/>
                  <a:pt x="836299" y="6714001"/>
                  <a:pt x="835946" y="6717498"/>
                </a:cubicBezTo>
                <a:cubicBezTo>
                  <a:pt x="835940" y="6719787"/>
                  <a:pt x="837103" y="6721431"/>
                  <a:pt x="838180" y="6723376"/>
                </a:cubicBezTo>
                <a:cubicBezTo>
                  <a:pt x="841064" y="6728135"/>
                  <a:pt x="841659" y="6732887"/>
                  <a:pt x="838578" y="6737887"/>
                </a:cubicBezTo>
                <a:cubicBezTo>
                  <a:pt x="836799" y="6740644"/>
                  <a:pt x="836748" y="6744228"/>
                  <a:pt x="839248" y="6746913"/>
                </a:cubicBezTo>
                <a:cubicBezTo>
                  <a:pt x="838900" y="6748121"/>
                  <a:pt x="838550" y="6749329"/>
                  <a:pt x="838202" y="6750538"/>
                </a:cubicBezTo>
                <a:cubicBezTo>
                  <a:pt x="835045" y="6751262"/>
                  <a:pt x="833312" y="6752724"/>
                  <a:pt x="832481" y="6756738"/>
                </a:cubicBezTo>
                <a:cubicBezTo>
                  <a:pt x="831215" y="6762261"/>
                  <a:pt x="827576" y="6765791"/>
                  <a:pt x="821180" y="6765252"/>
                </a:cubicBezTo>
                <a:cubicBezTo>
                  <a:pt x="818370" y="6764770"/>
                  <a:pt x="818365" y="6767058"/>
                  <a:pt x="817842" y="6768870"/>
                </a:cubicBezTo>
                <a:cubicBezTo>
                  <a:pt x="816971" y="6771889"/>
                  <a:pt x="815586" y="6772145"/>
                  <a:pt x="813777" y="6769332"/>
                </a:cubicBezTo>
                <a:cubicBezTo>
                  <a:pt x="811021" y="6765266"/>
                  <a:pt x="808602" y="6764567"/>
                  <a:pt x="806213" y="6769439"/>
                </a:cubicBezTo>
                <a:cubicBezTo>
                  <a:pt x="805562" y="6770560"/>
                  <a:pt x="804219" y="6771809"/>
                  <a:pt x="803445" y="6769948"/>
                </a:cubicBezTo>
                <a:cubicBezTo>
                  <a:pt x="800647" y="6764889"/>
                  <a:pt x="797229" y="6766518"/>
                  <a:pt x="793420" y="6768364"/>
                </a:cubicBezTo>
                <a:cubicBezTo>
                  <a:pt x="792943" y="6768881"/>
                  <a:pt x="791734" y="6768532"/>
                  <a:pt x="791130" y="6768358"/>
                </a:cubicBezTo>
                <a:cubicBezTo>
                  <a:pt x="785092" y="6762034"/>
                  <a:pt x="779532" y="6755195"/>
                  <a:pt x="773582" y="6748571"/>
                </a:cubicBezTo>
                <a:cubicBezTo>
                  <a:pt x="770867" y="6745497"/>
                  <a:pt x="770709" y="6739234"/>
                  <a:pt x="770504" y="6734269"/>
                </a:cubicBezTo>
                <a:cubicBezTo>
                  <a:pt x="770423" y="6732282"/>
                  <a:pt x="771248" y="6730557"/>
                  <a:pt x="769869" y="6728524"/>
                </a:cubicBezTo>
                <a:cubicBezTo>
                  <a:pt x="768490" y="6726490"/>
                  <a:pt x="769316" y="6724765"/>
                  <a:pt x="771049" y="6723302"/>
                </a:cubicBezTo>
                <a:cubicBezTo>
                  <a:pt x="772002" y="6722269"/>
                  <a:pt x="773647" y="6721108"/>
                  <a:pt x="773089" y="6719638"/>
                </a:cubicBezTo>
                <a:cubicBezTo>
                  <a:pt x="771112" y="6715142"/>
                  <a:pt x="771593" y="6712336"/>
                  <a:pt x="776954" y="6711921"/>
                </a:cubicBezTo>
                <a:cubicBezTo>
                  <a:pt x="778251" y="6711968"/>
                  <a:pt x="779076" y="6710243"/>
                  <a:pt x="778129" y="6708988"/>
                </a:cubicBezTo>
                <a:cubicBezTo>
                  <a:pt x="775156" y="6704532"/>
                  <a:pt x="779826" y="6704243"/>
                  <a:pt x="781128" y="6702002"/>
                </a:cubicBezTo>
                <a:cubicBezTo>
                  <a:pt x="785597" y="6694459"/>
                  <a:pt x="794274" y="6699581"/>
                  <a:pt x="799646" y="6694588"/>
                </a:cubicBezTo>
                <a:close/>
                <a:moveTo>
                  <a:pt x="7874472" y="6640941"/>
                </a:moveTo>
                <a:cubicBezTo>
                  <a:pt x="7876873" y="6641689"/>
                  <a:pt x="7879424" y="6642875"/>
                  <a:pt x="7881105" y="6643459"/>
                </a:cubicBezTo>
                <a:cubicBezTo>
                  <a:pt x="7888892" y="6646441"/>
                  <a:pt x="7899608" y="6643649"/>
                  <a:pt x="7904031" y="6654321"/>
                </a:cubicBezTo>
                <a:cubicBezTo>
                  <a:pt x="7904832" y="6656113"/>
                  <a:pt x="7906696" y="6658552"/>
                  <a:pt x="7909762" y="6659251"/>
                </a:cubicBezTo>
                <a:cubicBezTo>
                  <a:pt x="7914066" y="6659829"/>
                  <a:pt x="7915842" y="6662649"/>
                  <a:pt x="7915648" y="6667034"/>
                </a:cubicBezTo>
                <a:cubicBezTo>
                  <a:pt x="7915804" y="6669889"/>
                  <a:pt x="7917372" y="6671857"/>
                  <a:pt x="7918853" y="6674208"/>
                </a:cubicBezTo>
                <a:cubicBezTo>
                  <a:pt x="7922788" y="6679937"/>
                  <a:pt x="7923867" y="6685820"/>
                  <a:pt x="7920381" y="6692274"/>
                </a:cubicBezTo>
                <a:cubicBezTo>
                  <a:pt x="7918359" y="6695839"/>
                  <a:pt x="7918549" y="6700313"/>
                  <a:pt x="7921858" y="6703483"/>
                </a:cubicBezTo>
                <a:cubicBezTo>
                  <a:pt x="7921509" y="6705014"/>
                  <a:pt x="7921161" y="6706545"/>
                  <a:pt x="7920812" y="6708076"/>
                </a:cubicBezTo>
                <a:cubicBezTo>
                  <a:pt x="7916926" y="6709204"/>
                  <a:pt x="7914870" y="6711151"/>
                  <a:pt x="7914118" y="6716215"/>
                </a:cubicBezTo>
                <a:cubicBezTo>
                  <a:pt x="7912932" y="6723193"/>
                  <a:pt x="7908645" y="6727853"/>
                  <a:pt x="7900630" y="6727638"/>
                </a:cubicBezTo>
                <a:cubicBezTo>
                  <a:pt x="7897093" y="6727234"/>
                  <a:pt x="7897249" y="6730088"/>
                  <a:pt x="7896726" y="6732386"/>
                </a:cubicBezTo>
                <a:cubicBezTo>
                  <a:pt x="7895854" y="6736214"/>
                  <a:pt x="7894146" y="6736630"/>
                  <a:pt x="7891690" y="6733251"/>
                </a:cubicBezTo>
                <a:cubicBezTo>
                  <a:pt x="7887964" y="6728376"/>
                  <a:pt x="7884896" y="6727677"/>
                  <a:pt x="7882264" y="6733922"/>
                </a:cubicBezTo>
                <a:cubicBezTo>
                  <a:pt x="7881531" y="6735366"/>
                  <a:pt x="7879946" y="6737018"/>
                  <a:pt x="7878849" y="6734755"/>
                </a:cubicBezTo>
                <a:cubicBezTo>
                  <a:pt x="7875000" y="6728643"/>
                  <a:pt x="7870853" y="6730919"/>
                  <a:pt x="7866235" y="6733491"/>
                </a:cubicBezTo>
                <a:cubicBezTo>
                  <a:pt x="7865677" y="6734169"/>
                  <a:pt x="7864144" y="6733820"/>
                  <a:pt x="7863377" y="6733646"/>
                </a:cubicBezTo>
                <a:cubicBezTo>
                  <a:pt x="7855399" y="6726190"/>
                  <a:pt x="7847980" y="6718057"/>
                  <a:pt x="7840089" y="6710219"/>
                </a:cubicBezTo>
                <a:cubicBezTo>
                  <a:pt x="7836483" y="6706578"/>
                  <a:pt x="7835841" y="6698781"/>
                  <a:pt x="7835233" y="6692602"/>
                </a:cubicBezTo>
                <a:cubicBezTo>
                  <a:pt x="7834990" y="6690131"/>
                  <a:pt x="7835897" y="6687921"/>
                  <a:pt x="7834033" y="6685483"/>
                </a:cubicBezTo>
                <a:cubicBezTo>
                  <a:pt x="7832170" y="6683045"/>
                  <a:pt x="7833076" y="6680836"/>
                  <a:pt x="7835133" y="6678888"/>
                </a:cubicBezTo>
                <a:cubicBezTo>
                  <a:pt x="7836248" y="6677532"/>
                  <a:pt x="7838218" y="6675967"/>
                  <a:pt x="7837417" y="6674174"/>
                </a:cubicBezTo>
                <a:cubicBezTo>
                  <a:pt x="7834631" y="6668708"/>
                  <a:pt x="7835032" y="6665175"/>
                  <a:pt x="7841688" y="6664275"/>
                </a:cubicBezTo>
                <a:cubicBezTo>
                  <a:pt x="7843308" y="6664242"/>
                  <a:pt x="7844216" y="6662032"/>
                  <a:pt x="7842943" y="6660534"/>
                </a:cubicBezTo>
                <a:cubicBezTo>
                  <a:pt x="7838920" y="6655188"/>
                  <a:pt x="7844723" y="6654497"/>
                  <a:pt x="7846187" y="6651609"/>
                </a:cubicBezTo>
                <a:cubicBezTo>
                  <a:pt x="7851225" y="6641886"/>
                  <a:pt x="7862409" y="6647655"/>
                  <a:pt x="7868753" y="6641047"/>
                </a:cubicBezTo>
                <a:cubicBezTo>
                  <a:pt x="7869825" y="6639882"/>
                  <a:pt x="7872072" y="6640193"/>
                  <a:pt x="7874472" y="6640941"/>
                </a:cubicBezTo>
                <a:close/>
                <a:moveTo>
                  <a:pt x="1429816" y="6632328"/>
                </a:moveTo>
                <a:cubicBezTo>
                  <a:pt x="1431771" y="6630431"/>
                  <a:pt x="1437477" y="6633836"/>
                  <a:pt x="1440308" y="6635004"/>
                </a:cubicBezTo>
                <a:cubicBezTo>
                  <a:pt x="1446851" y="6637947"/>
                  <a:pt x="1456191" y="6636073"/>
                  <a:pt x="1459467" y="6645457"/>
                </a:cubicBezTo>
                <a:cubicBezTo>
                  <a:pt x="1460068" y="6647035"/>
                  <a:pt x="1461548" y="6649221"/>
                  <a:pt x="1464148" y="6649971"/>
                </a:cubicBezTo>
                <a:cubicBezTo>
                  <a:pt x="1467816" y="6650678"/>
                  <a:pt x="1469203" y="6653188"/>
                  <a:pt x="1468823" y="6656946"/>
                </a:cubicBezTo>
                <a:cubicBezTo>
                  <a:pt x="1468817" y="6659406"/>
                  <a:pt x="1470067" y="6661172"/>
                  <a:pt x="1471223" y="6663263"/>
                </a:cubicBezTo>
                <a:cubicBezTo>
                  <a:pt x="1474323" y="6668378"/>
                  <a:pt x="1474962" y="6673483"/>
                  <a:pt x="1471651" y="6678856"/>
                </a:cubicBezTo>
                <a:cubicBezTo>
                  <a:pt x="1469740" y="6681819"/>
                  <a:pt x="1469684" y="6685671"/>
                  <a:pt x="1472372" y="6688556"/>
                </a:cubicBezTo>
                <a:cubicBezTo>
                  <a:pt x="1471997" y="6689854"/>
                  <a:pt x="1471622" y="6691153"/>
                  <a:pt x="1471247" y="6692450"/>
                </a:cubicBezTo>
                <a:cubicBezTo>
                  <a:pt x="1467854" y="6693229"/>
                  <a:pt x="1465993" y="6694800"/>
                  <a:pt x="1465100" y="6699114"/>
                </a:cubicBezTo>
                <a:cubicBezTo>
                  <a:pt x="1463739" y="6705049"/>
                  <a:pt x="1459828" y="6708842"/>
                  <a:pt x="1452954" y="6708264"/>
                </a:cubicBezTo>
                <a:cubicBezTo>
                  <a:pt x="1449937" y="6707745"/>
                  <a:pt x="1449931" y="6710204"/>
                  <a:pt x="1449369" y="6712151"/>
                </a:cubicBezTo>
                <a:cubicBezTo>
                  <a:pt x="1448432" y="6715396"/>
                  <a:pt x="1446945" y="6715670"/>
                  <a:pt x="1445002" y="6712648"/>
                </a:cubicBezTo>
                <a:cubicBezTo>
                  <a:pt x="1442039" y="6708278"/>
                  <a:pt x="1439440" y="6707527"/>
                  <a:pt x="1436872" y="6712763"/>
                </a:cubicBezTo>
                <a:cubicBezTo>
                  <a:pt x="1436172" y="6713967"/>
                  <a:pt x="1434729" y="6715308"/>
                  <a:pt x="1433897" y="6713311"/>
                </a:cubicBezTo>
                <a:cubicBezTo>
                  <a:pt x="1430892" y="6707872"/>
                  <a:pt x="1427217" y="6709625"/>
                  <a:pt x="1423125" y="6711607"/>
                </a:cubicBezTo>
                <a:cubicBezTo>
                  <a:pt x="1422613" y="6712163"/>
                  <a:pt x="1421313" y="6711788"/>
                  <a:pt x="1420663" y="6711600"/>
                </a:cubicBezTo>
                <a:cubicBezTo>
                  <a:pt x="1414177" y="6704805"/>
                  <a:pt x="1408202" y="6697456"/>
                  <a:pt x="1401807" y="6690337"/>
                </a:cubicBezTo>
                <a:cubicBezTo>
                  <a:pt x="1398890" y="6687033"/>
                  <a:pt x="1398720" y="6680306"/>
                  <a:pt x="1398499" y="6674969"/>
                </a:cubicBezTo>
                <a:cubicBezTo>
                  <a:pt x="1398412" y="6672834"/>
                  <a:pt x="1399299" y="6670980"/>
                  <a:pt x="1397817" y="6668795"/>
                </a:cubicBezTo>
                <a:cubicBezTo>
                  <a:pt x="1396336" y="6666609"/>
                  <a:pt x="1397223" y="6664756"/>
                  <a:pt x="1399085" y="6663184"/>
                </a:cubicBezTo>
                <a:cubicBezTo>
                  <a:pt x="1400110" y="6662074"/>
                  <a:pt x="1401877" y="6660826"/>
                  <a:pt x="1401277" y="6659247"/>
                </a:cubicBezTo>
                <a:cubicBezTo>
                  <a:pt x="1399152" y="6654414"/>
                  <a:pt x="1399670" y="6651400"/>
                  <a:pt x="1405431" y="6650953"/>
                </a:cubicBezTo>
                <a:cubicBezTo>
                  <a:pt x="1406825" y="6651004"/>
                  <a:pt x="1407711" y="6649151"/>
                  <a:pt x="1406693" y="6647802"/>
                </a:cubicBezTo>
                <a:cubicBezTo>
                  <a:pt x="1403499" y="6643013"/>
                  <a:pt x="1408516" y="6642703"/>
                  <a:pt x="1409916" y="6640295"/>
                </a:cubicBezTo>
                <a:cubicBezTo>
                  <a:pt x="1414720" y="6632188"/>
                  <a:pt x="1424043" y="6637692"/>
                  <a:pt x="1429816" y="6632328"/>
                </a:cubicBezTo>
                <a:close/>
                <a:moveTo>
                  <a:pt x="4841361" y="6629356"/>
                </a:moveTo>
                <a:lnTo>
                  <a:pt x="4842011" y="6629388"/>
                </a:lnTo>
                <a:lnTo>
                  <a:pt x="4841589" y="6629776"/>
                </a:lnTo>
                <a:close/>
                <a:moveTo>
                  <a:pt x="1800725" y="6625510"/>
                </a:moveTo>
                <a:cubicBezTo>
                  <a:pt x="1802545" y="6623745"/>
                  <a:pt x="1807853" y="6626913"/>
                  <a:pt x="1810488" y="6628001"/>
                </a:cubicBezTo>
                <a:cubicBezTo>
                  <a:pt x="1816577" y="6630739"/>
                  <a:pt x="1825269" y="6628995"/>
                  <a:pt x="1828318" y="6637728"/>
                </a:cubicBezTo>
                <a:cubicBezTo>
                  <a:pt x="1828877" y="6639197"/>
                  <a:pt x="1830254" y="6641231"/>
                  <a:pt x="1832675" y="6641929"/>
                </a:cubicBezTo>
                <a:cubicBezTo>
                  <a:pt x="1836087" y="6642587"/>
                  <a:pt x="1837379" y="6644923"/>
                  <a:pt x="1837024" y="6648420"/>
                </a:cubicBezTo>
                <a:cubicBezTo>
                  <a:pt x="1837019" y="6650708"/>
                  <a:pt x="1838182" y="6652352"/>
                  <a:pt x="1839258" y="6654299"/>
                </a:cubicBezTo>
                <a:cubicBezTo>
                  <a:pt x="1842143" y="6659057"/>
                  <a:pt x="1842737" y="6663808"/>
                  <a:pt x="1839657" y="6668808"/>
                </a:cubicBezTo>
                <a:cubicBezTo>
                  <a:pt x="1837878" y="6671567"/>
                  <a:pt x="1837826" y="6675150"/>
                  <a:pt x="1840327" y="6677835"/>
                </a:cubicBezTo>
                <a:cubicBezTo>
                  <a:pt x="1839979" y="6679043"/>
                  <a:pt x="1839629" y="6680251"/>
                  <a:pt x="1839280" y="6681459"/>
                </a:cubicBezTo>
                <a:cubicBezTo>
                  <a:pt x="1836123" y="6682184"/>
                  <a:pt x="1834391" y="6683646"/>
                  <a:pt x="1833560" y="6687659"/>
                </a:cubicBezTo>
                <a:cubicBezTo>
                  <a:pt x="1832293" y="6693183"/>
                  <a:pt x="1828654" y="6696713"/>
                  <a:pt x="1822258" y="6696175"/>
                </a:cubicBezTo>
                <a:cubicBezTo>
                  <a:pt x="1819449" y="6695691"/>
                  <a:pt x="1819444" y="6697980"/>
                  <a:pt x="1818920" y="6699791"/>
                </a:cubicBezTo>
                <a:cubicBezTo>
                  <a:pt x="1818049" y="6702812"/>
                  <a:pt x="1816666" y="6703066"/>
                  <a:pt x="1814856" y="6700255"/>
                </a:cubicBezTo>
                <a:cubicBezTo>
                  <a:pt x="1812099" y="6696187"/>
                  <a:pt x="1809681" y="6695489"/>
                  <a:pt x="1807291" y="6700362"/>
                </a:cubicBezTo>
                <a:cubicBezTo>
                  <a:pt x="1806640" y="6701482"/>
                  <a:pt x="1805297" y="6702730"/>
                  <a:pt x="1804524" y="6700871"/>
                </a:cubicBezTo>
                <a:cubicBezTo>
                  <a:pt x="1801726" y="6695810"/>
                  <a:pt x="1798308" y="6697441"/>
                  <a:pt x="1794499" y="6699286"/>
                </a:cubicBezTo>
                <a:cubicBezTo>
                  <a:pt x="1794022" y="6699803"/>
                  <a:pt x="1792812" y="6699453"/>
                  <a:pt x="1792208" y="6699279"/>
                </a:cubicBezTo>
                <a:cubicBezTo>
                  <a:pt x="1786171" y="6692956"/>
                  <a:pt x="1780611" y="6686117"/>
                  <a:pt x="1774661" y="6679492"/>
                </a:cubicBezTo>
                <a:cubicBezTo>
                  <a:pt x="1771945" y="6676418"/>
                  <a:pt x="1771787" y="6670157"/>
                  <a:pt x="1771583" y="6665191"/>
                </a:cubicBezTo>
                <a:cubicBezTo>
                  <a:pt x="1771502" y="6663204"/>
                  <a:pt x="1772327" y="6661479"/>
                  <a:pt x="1770947" y="6659445"/>
                </a:cubicBezTo>
                <a:cubicBezTo>
                  <a:pt x="1769570" y="6657412"/>
                  <a:pt x="1770395" y="6655687"/>
                  <a:pt x="1772128" y="6654224"/>
                </a:cubicBezTo>
                <a:cubicBezTo>
                  <a:pt x="1773081" y="6653191"/>
                  <a:pt x="1774727" y="6652030"/>
                  <a:pt x="1774167" y="6650561"/>
                </a:cubicBezTo>
                <a:cubicBezTo>
                  <a:pt x="1772190" y="6646063"/>
                  <a:pt x="1772672" y="6643258"/>
                  <a:pt x="1778033" y="6642843"/>
                </a:cubicBezTo>
                <a:cubicBezTo>
                  <a:pt x="1779330" y="6642890"/>
                  <a:pt x="1780155" y="6641165"/>
                  <a:pt x="1779207" y="6639910"/>
                </a:cubicBezTo>
                <a:cubicBezTo>
                  <a:pt x="1776235" y="6635454"/>
                  <a:pt x="1780904" y="6635166"/>
                  <a:pt x="1782206" y="6632924"/>
                </a:cubicBezTo>
                <a:cubicBezTo>
                  <a:pt x="1786676" y="6625382"/>
                  <a:pt x="1795354" y="6630502"/>
                  <a:pt x="1800725" y="6625510"/>
                </a:cubicBezTo>
                <a:close/>
                <a:moveTo>
                  <a:pt x="1890028" y="6624675"/>
                </a:moveTo>
                <a:cubicBezTo>
                  <a:pt x="1891848" y="6622910"/>
                  <a:pt x="1897156" y="6626079"/>
                  <a:pt x="1899791" y="6627166"/>
                </a:cubicBezTo>
                <a:cubicBezTo>
                  <a:pt x="1905880" y="6629905"/>
                  <a:pt x="1914572" y="6628161"/>
                  <a:pt x="1917620" y="6636893"/>
                </a:cubicBezTo>
                <a:cubicBezTo>
                  <a:pt x="1918180" y="6638363"/>
                  <a:pt x="1919557" y="6640396"/>
                  <a:pt x="1921976" y="6641094"/>
                </a:cubicBezTo>
                <a:cubicBezTo>
                  <a:pt x="1925390" y="6641753"/>
                  <a:pt x="1926681" y="6644088"/>
                  <a:pt x="1926328" y="6647584"/>
                </a:cubicBezTo>
                <a:cubicBezTo>
                  <a:pt x="1926321" y="6649873"/>
                  <a:pt x="1927485" y="6651517"/>
                  <a:pt x="1928561" y="6653464"/>
                </a:cubicBezTo>
                <a:cubicBezTo>
                  <a:pt x="1931446" y="6658222"/>
                  <a:pt x="1932041" y="6662973"/>
                  <a:pt x="1928959" y="6667973"/>
                </a:cubicBezTo>
                <a:cubicBezTo>
                  <a:pt x="1927180" y="6670732"/>
                  <a:pt x="1927129" y="6674315"/>
                  <a:pt x="1929629" y="6677000"/>
                </a:cubicBezTo>
                <a:cubicBezTo>
                  <a:pt x="1929282" y="6678208"/>
                  <a:pt x="1928932" y="6679416"/>
                  <a:pt x="1928584" y="6680624"/>
                </a:cubicBezTo>
                <a:cubicBezTo>
                  <a:pt x="1925426" y="6681348"/>
                  <a:pt x="1923694" y="6682812"/>
                  <a:pt x="1922863" y="6686824"/>
                </a:cubicBezTo>
                <a:cubicBezTo>
                  <a:pt x="1921596" y="6692348"/>
                  <a:pt x="1917957" y="6695878"/>
                  <a:pt x="1911561" y="6695340"/>
                </a:cubicBezTo>
                <a:cubicBezTo>
                  <a:pt x="1908752" y="6694856"/>
                  <a:pt x="1908746" y="6697146"/>
                  <a:pt x="1908224" y="6698956"/>
                </a:cubicBezTo>
                <a:cubicBezTo>
                  <a:pt x="1907352" y="6701977"/>
                  <a:pt x="1905967" y="6702232"/>
                  <a:pt x="1904159" y="6699420"/>
                </a:cubicBezTo>
                <a:cubicBezTo>
                  <a:pt x="1901403" y="6695352"/>
                  <a:pt x="1898984" y="6694654"/>
                  <a:pt x="1896595" y="6699527"/>
                </a:cubicBezTo>
                <a:cubicBezTo>
                  <a:pt x="1895943" y="6700647"/>
                  <a:pt x="1894601" y="6701895"/>
                  <a:pt x="1893826" y="6700036"/>
                </a:cubicBezTo>
                <a:cubicBezTo>
                  <a:pt x="1891029" y="6694975"/>
                  <a:pt x="1887610" y="6696606"/>
                  <a:pt x="1883802" y="6698452"/>
                </a:cubicBezTo>
                <a:cubicBezTo>
                  <a:pt x="1883325" y="6698968"/>
                  <a:pt x="1882116" y="6698618"/>
                  <a:pt x="1881511" y="6698444"/>
                </a:cubicBezTo>
                <a:cubicBezTo>
                  <a:pt x="1875474" y="6692121"/>
                  <a:pt x="1869914" y="6685282"/>
                  <a:pt x="1863964" y="6678658"/>
                </a:cubicBezTo>
                <a:cubicBezTo>
                  <a:pt x="1861248" y="6675583"/>
                  <a:pt x="1861090" y="6669322"/>
                  <a:pt x="1860886" y="6664355"/>
                </a:cubicBezTo>
                <a:cubicBezTo>
                  <a:pt x="1860803" y="6662370"/>
                  <a:pt x="1861629" y="6660645"/>
                  <a:pt x="1860251" y="6658611"/>
                </a:cubicBezTo>
                <a:cubicBezTo>
                  <a:pt x="1858872" y="6656577"/>
                  <a:pt x="1859697" y="6654852"/>
                  <a:pt x="1861431" y="6653390"/>
                </a:cubicBezTo>
                <a:cubicBezTo>
                  <a:pt x="1862383" y="6652357"/>
                  <a:pt x="1864028" y="6651195"/>
                  <a:pt x="1863470" y="6649725"/>
                </a:cubicBezTo>
                <a:cubicBezTo>
                  <a:pt x="1861493" y="6645229"/>
                  <a:pt x="1861975" y="6642424"/>
                  <a:pt x="1867336" y="6642008"/>
                </a:cubicBezTo>
                <a:cubicBezTo>
                  <a:pt x="1868632" y="6642055"/>
                  <a:pt x="1869457" y="6640330"/>
                  <a:pt x="1868510" y="6639076"/>
                </a:cubicBezTo>
                <a:cubicBezTo>
                  <a:pt x="1865538" y="6634618"/>
                  <a:pt x="1870207" y="6634331"/>
                  <a:pt x="1871509" y="6632089"/>
                </a:cubicBezTo>
                <a:cubicBezTo>
                  <a:pt x="1875979" y="6624546"/>
                  <a:pt x="1884655" y="6629668"/>
                  <a:pt x="1890028" y="6624675"/>
                </a:cubicBezTo>
                <a:close/>
                <a:moveTo>
                  <a:pt x="11264900" y="6616258"/>
                </a:moveTo>
                <a:cubicBezTo>
                  <a:pt x="11272718" y="6621032"/>
                  <a:pt x="11282063" y="6612603"/>
                  <a:pt x="11289413" y="6620724"/>
                </a:cubicBezTo>
                <a:cubicBezTo>
                  <a:pt x="11291565" y="6623144"/>
                  <a:pt x="11297351" y="6622334"/>
                  <a:pt x="11294823" y="6628528"/>
                </a:cubicBezTo>
                <a:cubicBezTo>
                  <a:pt x="11293975" y="6630300"/>
                  <a:pt x="11295413" y="6632206"/>
                  <a:pt x="11296990" y="6631826"/>
                </a:cubicBezTo>
                <a:cubicBezTo>
                  <a:pt x="11303654" y="6631000"/>
                  <a:pt x="11304942" y="6634314"/>
                  <a:pt x="11303641" y="6640310"/>
                </a:cubicBezTo>
                <a:cubicBezTo>
                  <a:pt x="11303323" y="6642248"/>
                  <a:pt x="11305626" y="6643260"/>
                  <a:pt x="11307050" y="6644287"/>
                </a:cubicBezTo>
                <a:cubicBezTo>
                  <a:pt x="11309535" y="6645647"/>
                  <a:pt x="11310974" y="6647553"/>
                  <a:pt x="11309793" y="6650385"/>
                </a:cubicBezTo>
                <a:cubicBezTo>
                  <a:pt x="11308612" y="6653217"/>
                  <a:pt x="11310053" y="6655122"/>
                  <a:pt x="11310446" y="6657574"/>
                </a:cubicBezTo>
                <a:cubicBezTo>
                  <a:pt x="11311433" y="6663704"/>
                  <a:pt x="11312797" y="6671408"/>
                  <a:pt x="11310237" y="6675846"/>
                </a:cubicBezTo>
                <a:cubicBezTo>
                  <a:pt x="11304604" y="6685435"/>
                  <a:pt x="11299500" y="6695191"/>
                  <a:pt x="11293686" y="6704432"/>
                </a:cubicBezTo>
                <a:cubicBezTo>
                  <a:pt x="11292988" y="6704797"/>
                  <a:pt x="11291594" y="6705525"/>
                  <a:pt x="11290883" y="6705011"/>
                </a:cubicBezTo>
                <a:cubicBezTo>
                  <a:pt x="11285761" y="6703700"/>
                  <a:pt x="11281171" y="6702555"/>
                  <a:pt x="11279006" y="6709445"/>
                </a:cubicBezTo>
                <a:cubicBezTo>
                  <a:pt x="11278522" y="6711915"/>
                  <a:pt x="11276567" y="6710721"/>
                  <a:pt x="11275491" y="6709511"/>
                </a:cubicBezTo>
                <a:cubicBezTo>
                  <a:pt x="11271355" y="6704142"/>
                  <a:pt x="11268567" y="6705599"/>
                  <a:pt x="11266205" y="6711263"/>
                </a:cubicBezTo>
                <a:cubicBezTo>
                  <a:pt x="11264691" y="6715155"/>
                  <a:pt x="11262934" y="6715187"/>
                  <a:pt x="11261115" y="6711708"/>
                </a:cubicBezTo>
                <a:cubicBezTo>
                  <a:pt x="11260024" y="6709620"/>
                  <a:pt x="11259448" y="6706820"/>
                  <a:pt x="11256130" y="6708111"/>
                </a:cubicBezTo>
                <a:cubicBezTo>
                  <a:pt x="11248435" y="6710362"/>
                  <a:pt x="11243102" y="6706947"/>
                  <a:pt x="11240177" y="6700501"/>
                </a:cubicBezTo>
                <a:cubicBezTo>
                  <a:pt x="11238162" y="6695796"/>
                  <a:pt x="11235678" y="6694437"/>
                  <a:pt x="11231632" y="6694336"/>
                </a:cubicBezTo>
                <a:cubicBezTo>
                  <a:pt x="11230905" y="6692943"/>
                  <a:pt x="11230178" y="6691553"/>
                  <a:pt x="11229450" y="6690160"/>
                </a:cubicBezTo>
                <a:cubicBezTo>
                  <a:pt x="11231843" y="6686251"/>
                  <a:pt x="11230887" y="6681878"/>
                  <a:pt x="11228024" y="6678945"/>
                </a:cubicBezTo>
                <a:cubicBezTo>
                  <a:pt x="11223009" y="6673592"/>
                  <a:pt x="11222552" y="6667628"/>
                  <a:pt x="11224900" y="6661085"/>
                </a:cubicBezTo>
                <a:cubicBezTo>
                  <a:pt x="11225732" y="6658436"/>
                  <a:pt x="11226747" y="6656133"/>
                  <a:pt x="11226170" y="6653333"/>
                </a:cubicBezTo>
                <a:cubicBezTo>
                  <a:pt x="11224868" y="6649141"/>
                  <a:pt x="11225866" y="6645961"/>
                  <a:pt x="11229880" y="6644306"/>
                </a:cubicBezTo>
                <a:cubicBezTo>
                  <a:pt x="11232667" y="6642850"/>
                  <a:pt x="11233849" y="6640017"/>
                  <a:pt x="11234166" y="6638079"/>
                </a:cubicBezTo>
                <a:cubicBezTo>
                  <a:pt x="11235725" y="6626633"/>
                  <a:pt x="11246799" y="6626604"/>
                  <a:pt x="11253569" y="6621736"/>
                </a:cubicBezTo>
                <a:cubicBezTo>
                  <a:pt x="11256524" y="6619750"/>
                  <a:pt x="11262234" y="6614550"/>
                  <a:pt x="11264900" y="6616258"/>
                </a:cubicBezTo>
                <a:close/>
                <a:moveTo>
                  <a:pt x="9839371" y="6615337"/>
                </a:moveTo>
                <a:lnTo>
                  <a:pt x="9810628" y="6624191"/>
                </a:lnTo>
                <a:lnTo>
                  <a:pt x="9810214" y="6624189"/>
                </a:lnTo>
                <a:cubicBezTo>
                  <a:pt x="9808599" y="6624324"/>
                  <a:pt x="9806634" y="6624738"/>
                  <a:pt x="9805225" y="6625856"/>
                </a:cubicBezTo>
                <a:lnTo>
                  <a:pt x="9810628" y="6624191"/>
                </a:lnTo>
                <a:lnTo>
                  <a:pt x="9813092" y="6624200"/>
                </a:lnTo>
                <a:cubicBezTo>
                  <a:pt x="9812514" y="6629252"/>
                  <a:pt x="9809698" y="6631489"/>
                  <a:pt x="9804646" y="6630908"/>
                </a:cubicBezTo>
                <a:cubicBezTo>
                  <a:pt x="9804646" y="6630908"/>
                  <a:pt x="9804646" y="6630908"/>
                  <a:pt x="9801830" y="6633143"/>
                </a:cubicBezTo>
                <a:lnTo>
                  <a:pt x="9834408" y="6625979"/>
                </a:lnTo>
                <a:lnTo>
                  <a:pt x="9837801" y="6619205"/>
                </a:lnTo>
                <a:cubicBezTo>
                  <a:pt x="9839194" y="6619256"/>
                  <a:pt x="9840081" y="6617403"/>
                  <a:pt x="9839063" y="6616054"/>
                </a:cubicBezTo>
                <a:close/>
                <a:moveTo>
                  <a:pt x="5312027" y="6606537"/>
                </a:moveTo>
                <a:cubicBezTo>
                  <a:pt x="5314683" y="6607327"/>
                  <a:pt x="5316998" y="6608304"/>
                  <a:pt x="5319791" y="6607683"/>
                </a:cubicBezTo>
                <a:cubicBezTo>
                  <a:pt x="5323963" y="6606311"/>
                  <a:pt x="5327160" y="6607260"/>
                  <a:pt x="5328874" y="6611246"/>
                </a:cubicBezTo>
                <a:cubicBezTo>
                  <a:pt x="5330375" y="6614010"/>
                  <a:pt x="5333233" y="6615145"/>
                  <a:pt x="5335174" y="6615432"/>
                </a:cubicBezTo>
                <a:cubicBezTo>
                  <a:pt x="5346644" y="6616805"/>
                  <a:pt x="5346846" y="6627878"/>
                  <a:pt x="5351828" y="6634569"/>
                </a:cubicBezTo>
                <a:cubicBezTo>
                  <a:pt x="5353858" y="6637490"/>
                  <a:pt x="5359152" y="6643116"/>
                  <a:pt x="5357485" y="6645810"/>
                </a:cubicBezTo>
                <a:cubicBezTo>
                  <a:pt x="5352846" y="6653703"/>
                  <a:pt x="5361418" y="6662913"/>
                  <a:pt x="5353416" y="6670390"/>
                </a:cubicBezTo>
                <a:cubicBezTo>
                  <a:pt x="5351030" y="6672582"/>
                  <a:pt x="5351932" y="6678354"/>
                  <a:pt x="5345701" y="6675926"/>
                </a:cubicBezTo>
                <a:cubicBezTo>
                  <a:pt x="5343918" y="6675107"/>
                  <a:pt x="5342032" y="6676576"/>
                  <a:pt x="5342440" y="6678146"/>
                </a:cubicBezTo>
                <a:cubicBezTo>
                  <a:pt x="5343372" y="6684797"/>
                  <a:pt x="5340081" y="6686138"/>
                  <a:pt x="5334057" y="6684933"/>
                </a:cubicBezTo>
                <a:cubicBezTo>
                  <a:pt x="5332117" y="6684647"/>
                  <a:pt x="5331143" y="6686966"/>
                  <a:pt x="5330143" y="6688406"/>
                </a:cubicBezTo>
                <a:cubicBezTo>
                  <a:pt x="5328819" y="6690912"/>
                  <a:pt x="5326941" y="6692383"/>
                  <a:pt x="5324086" y="6691247"/>
                </a:cubicBezTo>
                <a:cubicBezTo>
                  <a:pt x="5321237" y="6690112"/>
                  <a:pt x="5319359" y="6691582"/>
                  <a:pt x="5316910" y="6692016"/>
                </a:cubicBezTo>
                <a:cubicBezTo>
                  <a:pt x="5310800" y="6693100"/>
                  <a:pt x="5303117" y="6694589"/>
                  <a:pt x="5298630" y="6692102"/>
                </a:cubicBezTo>
                <a:cubicBezTo>
                  <a:pt x="5288960" y="6686623"/>
                  <a:pt x="5279122" y="6681678"/>
                  <a:pt x="5269787" y="6676012"/>
                </a:cubicBezTo>
                <a:cubicBezTo>
                  <a:pt x="5269414" y="6675320"/>
                  <a:pt x="5268665" y="6673939"/>
                  <a:pt x="5269163" y="6673219"/>
                </a:cubicBezTo>
                <a:cubicBezTo>
                  <a:pt x="5270396" y="6668077"/>
                  <a:pt x="5271466" y="6663470"/>
                  <a:pt x="5264537" y="6661416"/>
                </a:cubicBezTo>
                <a:cubicBezTo>
                  <a:pt x="5262064" y="6660971"/>
                  <a:pt x="5263226" y="6658998"/>
                  <a:pt x="5264417" y="6657903"/>
                </a:cubicBezTo>
                <a:cubicBezTo>
                  <a:pt x="5269715" y="6653680"/>
                  <a:pt x="5268220" y="6650917"/>
                  <a:pt x="5262518" y="6648646"/>
                </a:cubicBezTo>
                <a:cubicBezTo>
                  <a:pt x="5258601" y="6647194"/>
                  <a:pt x="5258545" y="6645439"/>
                  <a:pt x="5261992" y="6643563"/>
                </a:cubicBezTo>
                <a:cubicBezTo>
                  <a:pt x="5264061" y="6642439"/>
                  <a:pt x="5266848" y="6641817"/>
                  <a:pt x="5265509" y="6638522"/>
                </a:cubicBezTo>
                <a:cubicBezTo>
                  <a:pt x="5263139" y="6630864"/>
                  <a:pt x="5266463" y="6625476"/>
                  <a:pt x="5272859" y="6622447"/>
                </a:cubicBezTo>
                <a:cubicBezTo>
                  <a:pt x="5277528" y="6620357"/>
                  <a:pt x="5278846" y="6617850"/>
                  <a:pt x="5278887" y="6613804"/>
                </a:cubicBezTo>
                <a:cubicBezTo>
                  <a:pt x="5280262" y="6613055"/>
                  <a:pt x="5281639" y="6612305"/>
                  <a:pt x="5283024" y="6611554"/>
                </a:cubicBezTo>
                <a:cubicBezTo>
                  <a:pt x="5286967" y="6613884"/>
                  <a:pt x="5291327" y="6612859"/>
                  <a:pt x="5294212" y="6609949"/>
                </a:cubicBezTo>
                <a:cubicBezTo>
                  <a:pt x="5299484" y="6604847"/>
                  <a:pt x="5305442" y="6604296"/>
                  <a:pt x="5312027" y="6606537"/>
                </a:cubicBezTo>
                <a:close/>
                <a:moveTo>
                  <a:pt x="8848411" y="6600411"/>
                </a:moveTo>
                <a:cubicBezTo>
                  <a:pt x="8855699" y="6603808"/>
                  <a:pt x="8860751" y="6604389"/>
                  <a:pt x="8857935" y="6606624"/>
                </a:cubicBezTo>
                <a:cubicBezTo>
                  <a:pt x="8852883" y="6606044"/>
                  <a:pt x="8845595" y="6602648"/>
                  <a:pt x="8848411" y="6600411"/>
                </a:cubicBezTo>
                <a:close/>
                <a:moveTo>
                  <a:pt x="10322396" y="6592927"/>
                </a:moveTo>
                <a:cubicBezTo>
                  <a:pt x="10324216" y="6591162"/>
                  <a:pt x="10329526" y="6594330"/>
                  <a:pt x="10332160" y="6595418"/>
                </a:cubicBezTo>
                <a:cubicBezTo>
                  <a:pt x="10338248" y="6598156"/>
                  <a:pt x="10346941" y="6596412"/>
                  <a:pt x="10349990" y="6605145"/>
                </a:cubicBezTo>
                <a:cubicBezTo>
                  <a:pt x="10350549" y="6606614"/>
                  <a:pt x="10351926" y="6608648"/>
                  <a:pt x="10354346" y="6609346"/>
                </a:cubicBezTo>
                <a:cubicBezTo>
                  <a:pt x="10357758" y="6610005"/>
                  <a:pt x="10359051" y="6612340"/>
                  <a:pt x="10358697" y="6615837"/>
                </a:cubicBezTo>
                <a:cubicBezTo>
                  <a:pt x="10358690" y="6618125"/>
                  <a:pt x="10359854" y="6619769"/>
                  <a:pt x="10360930" y="6621716"/>
                </a:cubicBezTo>
                <a:cubicBezTo>
                  <a:pt x="10363815" y="6626474"/>
                  <a:pt x="10364410" y="6631225"/>
                  <a:pt x="10361329" y="6636225"/>
                </a:cubicBezTo>
                <a:cubicBezTo>
                  <a:pt x="10359550" y="6638984"/>
                  <a:pt x="10359498" y="6642567"/>
                  <a:pt x="10361998" y="6645252"/>
                </a:cubicBezTo>
                <a:cubicBezTo>
                  <a:pt x="10361650" y="6646460"/>
                  <a:pt x="10361301" y="6647668"/>
                  <a:pt x="10360952" y="6648876"/>
                </a:cubicBezTo>
                <a:cubicBezTo>
                  <a:pt x="10357796" y="6649601"/>
                  <a:pt x="10356062" y="6651063"/>
                  <a:pt x="10355232" y="6655076"/>
                </a:cubicBezTo>
                <a:cubicBezTo>
                  <a:pt x="10353965" y="6660600"/>
                  <a:pt x="10350325" y="6664130"/>
                  <a:pt x="10343930" y="6663592"/>
                </a:cubicBezTo>
                <a:cubicBezTo>
                  <a:pt x="10341120" y="6663108"/>
                  <a:pt x="10341116" y="6665397"/>
                  <a:pt x="10340592" y="6667208"/>
                </a:cubicBezTo>
                <a:cubicBezTo>
                  <a:pt x="10339721" y="6670229"/>
                  <a:pt x="10338337" y="6670484"/>
                  <a:pt x="10336528" y="6667672"/>
                </a:cubicBezTo>
                <a:cubicBezTo>
                  <a:pt x="10333771" y="6663604"/>
                  <a:pt x="10331352" y="6662906"/>
                  <a:pt x="10328963" y="6667779"/>
                </a:cubicBezTo>
                <a:cubicBezTo>
                  <a:pt x="10328312" y="6668899"/>
                  <a:pt x="10326969" y="6670147"/>
                  <a:pt x="10326196" y="6668288"/>
                </a:cubicBezTo>
                <a:cubicBezTo>
                  <a:pt x="10323397" y="6663227"/>
                  <a:pt x="10319979" y="6664858"/>
                  <a:pt x="10316170" y="6666703"/>
                </a:cubicBezTo>
                <a:cubicBezTo>
                  <a:pt x="10315693" y="6667220"/>
                  <a:pt x="10314484" y="6666870"/>
                  <a:pt x="10313880" y="6666696"/>
                </a:cubicBezTo>
                <a:cubicBezTo>
                  <a:pt x="10307842" y="6660373"/>
                  <a:pt x="10302282" y="6653534"/>
                  <a:pt x="10296332" y="6646910"/>
                </a:cubicBezTo>
                <a:cubicBezTo>
                  <a:pt x="10293616" y="6643835"/>
                  <a:pt x="10293458" y="6637574"/>
                  <a:pt x="10293255" y="6632608"/>
                </a:cubicBezTo>
                <a:cubicBezTo>
                  <a:pt x="10293173" y="6630622"/>
                  <a:pt x="10293998" y="6628897"/>
                  <a:pt x="10292619" y="6626862"/>
                </a:cubicBezTo>
                <a:cubicBezTo>
                  <a:pt x="10291241" y="6624829"/>
                  <a:pt x="10292066" y="6623104"/>
                  <a:pt x="10293798" y="6621642"/>
                </a:cubicBezTo>
                <a:cubicBezTo>
                  <a:pt x="10294753" y="6620608"/>
                  <a:pt x="10296398" y="6619447"/>
                  <a:pt x="10295840" y="6617977"/>
                </a:cubicBezTo>
                <a:cubicBezTo>
                  <a:pt x="10293862" y="6613480"/>
                  <a:pt x="10294343" y="6610675"/>
                  <a:pt x="10299705" y="6610260"/>
                </a:cubicBezTo>
                <a:cubicBezTo>
                  <a:pt x="10301001" y="6610307"/>
                  <a:pt x="10301826" y="6608582"/>
                  <a:pt x="10300878" y="6607328"/>
                </a:cubicBezTo>
                <a:cubicBezTo>
                  <a:pt x="10297906" y="6602870"/>
                  <a:pt x="10302576" y="6602583"/>
                  <a:pt x="10303877" y="6600341"/>
                </a:cubicBezTo>
                <a:cubicBezTo>
                  <a:pt x="10308348" y="6592799"/>
                  <a:pt x="10317024" y="6597920"/>
                  <a:pt x="10322396" y="6592927"/>
                </a:cubicBezTo>
                <a:close/>
                <a:moveTo>
                  <a:pt x="8098835" y="6569115"/>
                </a:moveTo>
                <a:lnTo>
                  <a:pt x="8098582" y="6569379"/>
                </a:lnTo>
                <a:lnTo>
                  <a:pt x="8098418" y="6569119"/>
                </a:lnTo>
                <a:close/>
                <a:moveTo>
                  <a:pt x="5776625" y="6567775"/>
                </a:moveTo>
                <a:cubicBezTo>
                  <a:pt x="5779175" y="6566937"/>
                  <a:pt x="5779672" y="6568854"/>
                  <a:pt x="5780894" y="6570101"/>
                </a:cubicBezTo>
                <a:cubicBezTo>
                  <a:pt x="5781561" y="6570831"/>
                  <a:pt x="5782137" y="6571885"/>
                  <a:pt x="5782919" y="6572826"/>
                </a:cubicBezTo>
                <a:cubicBezTo>
                  <a:pt x="5786647" y="6578177"/>
                  <a:pt x="5790494" y="6577725"/>
                  <a:pt x="5793510" y="6571715"/>
                </a:cubicBezTo>
                <a:cubicBezTo>
                  <a:pt x="5793913" y="6570949"/>
                  <a:pt x="5794107" y="6570298"/>
                  <a:pt x="5794624" y="6569743"/>
                </a:cubicBezTo>
                <a:cubicBezTo>
                  <a:pt x="5795547" y="6568424"/>
                  <a:pt x="5797005" y="6567085"/>
                  <a:pt x="5798534" y="6567893"/>
                </a:cubicBezTo>
                <a:cubicBezTo>
                  <a:pt x="5799951" y="6568490"/>
                  <a:pt x="5799909" y="6570424"/>
                  <a:pt x="5799524" y="6571725"/>
                </a:cubicBezTo>
                <a:cubicBezTo>
                  <a:pt x="5799139" y="6573028"/>
                  <a:pt x="5798641" y="6574119"/>
                  <a:pt x="5797928" y="6575324"/>
                </a:cubicBezTo>
                <a:cubicBezTo>
                  <a:pt x="5797143" y="6577392"/>
                  <a:pt x="5797406" y="6578886"/>
                  <a:pt x="5799588" y="6579887"/>
                </a:cubicBezTo>
                <a:cubicBezTo>
                  <a:pt x="5804505" y="6582405"/>
                  <a:pt x="5807334" y="6586607"/>
                  <a:pt x="5809951" y="6590922"/>
                </a:cubicBezTo>
                <a:cubicBezTo>
                  <a:pt x="5813241" y="6595965"/>
                  <a:pt x="5815589" y="6601794"/>
                  <a:pt x="5819715" y="6606381"/>
                </a:cubicBezTo>
                <a:cubicBezTo>
                  <a:pt x="5821170" y="6608050"/>
                  <a:pt x="5820478" y="6609791"/>
                  <a:pt x="5819881" y="6611208"/>
                </a:cubicBezTo>
                <a:cubicBezTo>
                  <a:pt x="5818113" y="6615994"/>
                  <a:pt x="5816234" y="6620569"/>
                  <a:pt x="5820782" y="6624926"/>
                </a:cubicBezTo>
                <a:cubicBezTo>
                  <a:pt x="5821565" y="6625867"/>
                  <a:pt x="5821068" y="6626958"/>
                  <a:pt x="5820454" y="6627838"/>
                </a:cubicBezTo>
                <a:cubicBezTo>
                  <a:pt x="5817496" y="6632449"/>
                  <a:pt x="5816186" y="6638079"/>
                  <a:pt x="5814321" y="6643190"/>
                </a:cubicBezTo>
                <a:cubicBezTo>
                  <a:pt x="5811476" y="6651021"/>
                  <a:pt x="5806850" y="6657085"/>
                  <a:pt x="5798444" y="6659195"/>
                </a:cubicBezTo>
                <a:cubicBezTo>
                  <a:pt x="5795146" y="6660167"/>
                  <a:pt x="5794165" y="6662885"/>
                  <a:pt x="5793396" y="6665489"/>
                </a:cubicBezTo>
                <a:cubicBezTo>
                  <a:pt x="5791455" y="6671463"/>
                  <a:pt x="5789229" y="6672397"/>
                  <a:pt x="5783777" y="6669897"/>
                </a:cubicBezTo>
                <a:cubicBezTo>
                  <a:pt x="5778094" y="6666975"/>
                  <a:pt x="5778094" y="6666975"/>
                  <a:pt x="5775516" y="6673291"/>
                </a:cubicBezTo>
                <a:cubicBezTo>
                  <a:pt x="5774917" y="6674708"/>
                  <a:pt x="5774424" y="6675799"/>
                  <a:pt x="5772470" y="6675221"/>
                </a:cubicBezTo>
                <a:cubicBezTo>
                  <a:pt x="5765331" y="6673636"/>
                  <a:pt x="5758416" y="6672474"/>
                  <a:pt x="5751372" y="6670565"/>
                </a:cubicBezTo>
                <a:cubicBezTo>
                  <a:pt x="5746069" y="6669348"/>
                  <a:pt x="5741573" y="6666600"/>
                  <a:pt x="5737995" y="6662532"/>
                </a:cubicBezTo>
                <a:cubicBezTo>
                  <a:pt x="5735549" y="6660038"/>
                  <a:pt x="5724863" y="6658465"/>
                  <a:pt x="5721587" y="6659974"/>
                </a:cubicBezTo>
                <a:cubicBezTo>
                  <a:pt x="5720535" y="6660545"/>
                  <a:pt x="5719690" y="6661004"/>
                  <a:pt x="5719957" y="6662499"/>
                </a:cubicBezTo>
                <a:cubicBezTo>
                  <a:pt x="5720557" y="6670642"/>
                  <a:pt x="5716582" y="6676899"/>
                  <a:pt x="5711959" y="6682964"/>
                </a:cubicBezTo>
                <a:cubicBezTo>
                  <a:pt x="5711041" y="6684284"/>
                  <a:pt x="5710216" y="6685278"/>
                  <a:pt x="5709504" y="6686484"/>
                </a:cubicBezTo>
                <a:cubicBezTo>
                  <a:pt x="5707273" y="6690426"/>
                  <a:pt x="5704899" y="6693085"/>
                  <a:pt x="5699882" y="6693899"/>
                </a:cubicBezTo>
                <a:cubicBezTo>
                  <a:pt x="5694860" y="6694714"/>
                  <a:pt x="5691903" y="6699324"/>
                  <a:pt x="5689257" y="6703496"/>
                </a:cubicBezTo>
                <a:cubicBezTo>
                  <a:pt x="5687816" y="6705371"/>
                  <a:pt x="5686778" y="6706480"/>
                  <a:pt x="5684078" y="6706034"/>
                </a:cubicBezTo>
                <a:cubicBezTo>
                  <a:pt x="5672864" y="6704481"/>
                  <a:pt x="5661600" y="6704862"/>
                  <a:pt x="5650814" y="6709633"/>
                </a:cubicBezTo>
                <a:cubicBezTo>
                  <a:pt x="5649220" y="6710222"/>
                  <a:pt x="5648361" y="6710144"/>
                  <a:pt x="5647978" y="6708439"/>
                </a:cubicBezTo>
                <a:cubicBezTo>
                  <a:pt x="5646033" y="6701846"/>
                  <a:pt x="5640814" y="6699767"/>
                  <a:pt x="5634893" y="6698893"/>
                </a:cubicBezTo>
                <a:cubicBezTo>
                  <a:pt x="5632196" y="6698448"/>
                  <a:pt x="5630454" y="6697755"/>
                  <a:pt x="5630230" y="6694325"/>
                </a:cubicBezTo>
                <a:cubicBezTo>
                  <a:pt x="5630292" y="6689920"/>
                  <a:pt x="5626887" y="6687671"/>
                  <a:pt x="5623077" y="6686190"/>
                </a:cubicBezTo>
                <a:cubicBezTo>
                  <a:pt x="5619921" y="6684900"/>
                  <a:pt x="5616345" y="6683840"/>
                  <a:pt x="5613182" y="6682551"/>
                </a:cubicBezTo>
                <a:cubicBezTo>
                  <a:pt x="5611709" y="6681848"/>
                  <a:pt x="5610636" y="6680999"/>
                  <a:pt x="5610330" y="6680003"/>
                </a:cubicBezTo>
                <a:cubicBezTo>
                  <a:pt x="5610025" y="6679006"/>
                  <a:pt x="5610500" y="6677861"/>
                  <a:pt x="5612119" y="6676571"/>
                </a:cubicBezTo>
                <a:cubicBezTo>
                  <a:pt x="5612963" y="6676114"/>
                  <a:pt x="5613691" y="6675444"/>
                  <a:pt x="5614306" y="6674564"/>
                </a:cubicBezTo>
                <a:cubicBezTo>
                  <a:pt x="5615127" y="6673569"/>
                  <a:pt x="5616816" y="6672653"/>
                  <a:pt x="5616226" y="6671062"/>
                </a:cubicBezTo>
                <a:cubicBezTo>
                  <a:pt x="5615538" y="6669796"/>
                  <a:pt x="5614022" y="6669525"/>
                  <a:pt x="5612842" y="6669350"/>
                </a:cubicBezTo>
                <a:cubicBezTo>
                  <a:pt x="5607536" y="6668134"/>
                  <a:pt x="5607061" y="6666754"/>
                  <a:pt x="5610458" y="6662450"/>
                </a:cubicBezTo>
                <a:cubicBezTo>
                  <a:pt x="5611279" y="6661455"/>
                  <a:pt x="5612010" y="6660786"/>
                  <a:pt x="5612507" y="6659696"/>
                </a:cubicBezTo>
                <a:cubicBezTo>
                  <a:pt x="5613314" y="6658164"/>
                  <a:pt x="5613910" y="6656748"/>
                  <a:pt x="5611920" y="6655096"/>
                </a:cubicBezTo>
                <a:cubicBezTo>
                  <a:pt x="5609837" y="6653770"/>
                  <a:pt x="5608996" y="6654229"/>
                  <a:pt x="5607534" y="6655567"/>
                </a:cubicBezTo>
                <a:lnTo>
                  <a:pt x="5604540" y="6657655"/>
                </a:lnTo>
                <a:lnTo>
                  <a:pt x="5611978" y="6632259"/>
                </a:lnTo>
                <a:lnTo>
                  <a:pt x="5613830" y="6632475"/>
                </a:lnTo>
                <a:cubicBezTo>
                  <a:pt x="5615955" y="6631865"/>
                  <a:pt x="5616879" y="6630546"/>
                  <a:pt x="5616802" y="6628400"/>
                </a:cubicBezTo>
                <a:cubicBezTo>
                  <a:pt x="5616746" y="6626791"/>
                  <a:pt x="5616485" y="6625296"/>
                  <a:pt x="5616426" y="6623687"/>
                </a:cubicBezTo>
                <a:cubicBezTo>
                  <a:pt x="5616335" y="6621004"/>
                  <a:pt x="5617357" y="6619359"/>
                  <a:pt x="5620112" y="6618406"/>
                </a:cubicBezTo>
                <a:cubicBezTo>
                  <a:pt x="5628386" y="6615548"/>
                  <a:pt x="5632167" y="6609942"/>
                  <a:pt x="5631876" y="6601358"/>
                </a:cubicBezTo>
                <a:cubicBezTo>
                  <a:pt x="5631932" y="6599960"/>
                  <a:pt x="5630462" y="6597754"/>
                  <a:pt x="5632591" y="6597145"/>
                </a:cubicBezTo>
                <a:cubicBezTo>
                  <a:pt x="5634598" y="6596325"/>
                  <a:pt x="5636054" y="6597995"/>
                  <a:pt x="5637297" y="6599779"/>
                </a:cubicBezTo>
                <a:cubicBezTo>
                  <a:pt x="5637410" y="6599989"/>
                  <a:pt x="5637524" y="6600201"/>
                  <a:pt x="5637639" y="6600412"/>
                </a:cubicBezTo>
                <a:cubicBezTo>
                  <a:pt x="5641214" y="6605016"/>
                  <a:pt x="5644333" y="6605232"/>
                  <a:pt x="5646966" y="6600524"/>
                </a:cubicBezTo>
                <a:cubicBezTo>
                  <a:pt x="5649498" y="6596142"/>
                  <a:pt x="5652799" y="6595172"/>
                  <a:pt x="5657104" y="6595562"/>
                </a:cubicBezTo>
                <a:cubicBezTo>
                  <a:pt x="5662806" y="6596014"/>
                  <a:pt x="5668385" y="6595717"/>
                  <a:pt x="5672965" y="6591588"/>
                </a:cubicBezTo>
                <a:cubicBezTo>
                  <a:pt x="5674943" y="6589695"/>
                  <a:pt x="5677259" y="6591442"/>
                  <a:pt x="5678478" y="6592690"/>
                </a:cubicBezTo>
                <a:cubicBezTo>
                  <a:pt x="5683355" y="6597143"/>
                  <a:pt x="5688315" y="6597727"/>
                  <a:pt x="5694142" y="6595382"/>
                </a:cubicBezTo>
                <a:cubicBezTo>
                  <a:pt x="5697740" y="6593971"/>
                  <a:pt x="5699062" y="6594892"/>
                  <a:pt x="5698786" y="6599413"/>
                </a:cubicBezTo>
                <a:cubicBezTo>
                  <a:pt x="5698258" y="6608991"/>
                  <a:pt x="5707151" y="6617819"/>
                  <a:pt x="5716248" y="6616974"/>
                </a:cubicBezTo>
                <a:cubicBezTo>
                  <a:pt x="5718068" y="6616806"/>
                  <a:pt x="5720424" y="6616618"/>
                  <a:pt x="5720886" y="6614454"/>
                </a:cubicBezTo>
                <a:cubicBezTo>
                  <a:pt x="5721352" y="6612291"/>
                  <a:pt x="5720834" y="6609837"/>
                  <a:pt x="5718541" y="6608626"/>
                </a:cubicBezTo>
                <a:cubicBezTo>
                  <a:pt x="5717217" y="6607704"/>
                  <a:pt x="5715475" y="6607012"/>
                  <a:pt x="5713946" y="6606204"/>
                </a:cubicBezTo>
                <a:cubicBezTo>
                  <a:pt x="5712204" y="6605511"/>
                  <a:pt x="5710886" y="6604589"/>
                  <a:pt x="5711577" y="6602847"/>
                </a:cubicBezTo>
                <a:cubicBezTo>
                  <a:pt x="5712364" y="6600780"/>
                  <a:pt x="5714088" y="6600935"/>
                  <a:pt x="5715716" y="6601418"/>
                </a:cubicBezTo>
                <a:cubicBezTo>
                  <a:pt x="5717228" y="6601690"/>
                  <a:pt x="5718759" y="6602497"/>
                  <a:pt x="5720060" y="6602882"/>
                </a:cubicBezTo>
                <a:cubicBezTo>
                  <a:pt x="5722988" y="6603750"/>
                  <a:pt x="5726093" y="6603429"/>
                  <a:pt x="5727168" y="6600386"/>
                </a:cubicBezTo>
                <a:cubicBezTo>
                  <a:pt x="5727940" y="6597782"/>
                  <a:pt x="5724991" y="6596377"/>
                  <a:pt x="5722809" y="6595377"/>
                </a:cubicBezTo>
                <a:cubicBezTo>
                  <a:pt x="5720955" y="6594474"/>
                  <a:pt x="5718482" y="6594449"/>
                  <a:pt x="5716820" y="6592895"/>
                </a:cubicBezTo>
                <a:cubicBezTo>
                  <a:pt x="5714274" y="6590726"/>
                  <a:pt x="5713780" y="6588809"/>
                  <a:pt x="5717270" y="6587186"/>
                </a:cubicBezTo>
                <a:cubicBezTo>
                  <a:pt x="5722022" y="6584878"/>
                  <a:pt x="5726846" y="6584715"/>
                  <a:pt x="5731805" y="6585299"/>
                </a:cubicBezTo>
                <a:cubicBezTo>
                  <a:pt x="5738163" y="6585943"/>
                  <a:pt x="5740806" y="6584779"/>
                  <a:pt x="5743403" y="6578998"/>
                </a:cubicBezTo>
                <a:cubicBezTo>
                  <a:pt x="5744515" y="6577027"/>
                  <a:pt x="5745073" y="6574538"/>
                  <a:pt x="5745748" y="6572259"/>
                </a:cubicBezTo>
                <a:cubicBezTo>
                  <a:pt x="5746037" y="6571282"/>
                  <a:pt x="5746095" y="6569884"/>
                  <a:pt x="5747379" y="6569733"/>
                </a:cubicBezTo>
                <a:cubicBezTo>
                  <a:pt x="5748873" y="6569468"/>
                  <a:pt x="5749657" y="6570407"/>
                  <a:pt x="5749905" y="6571366"/>
                </a:cubicBezTo>
                <a:cubicBezTo>
                  <a:pt x="5751126" y="6575621"/>
                  <a:pt x="5753269" y="6575549"/>
                  <a:pt x="5756526" y="6573505"/>
                </a:cubicBezTo>
                <a:cubicBezTo>
                  <a:pt x="5760630" y="6571002"/>
                  <a:pt x="5765070" y="6572141"/>
                  <a:pt x="5768996" y="6573834"/>
                </a:cubicBezTo>
                <a:cubicBezTo>
                  <a:pt x="5772153" y="6575124"/>
                  <a:pt x="5773741" y="6574532"/>
                  <a:pt x="5774166" y="6571296"/>
                </a:cubicBezTo>
                <a:cubicBezTo>
                  <a:pt x="5774322" y="6569572"/>
                  <a:pt x="5774709" y="6568269"/>
                  <a:pt x="5776625" y="6567775"/>
                </a:cubicBezTo>
                <a:close/>
                <a:moveTo>
                  <a:pt x="5631183" y="6566685"/>
                </a:moveTo>
                <a:lnTo>
                  <a:pt x="5631558" y="6567106"/>
                </a:lnTo>
                <a:lnTo>
                  <a:pt x="5631065" y="6567084"/>
                </a:lnTo>
                <a:close/>
                <a:moveTo>
                  <a:pt x="2214007" y="6557011"/>
                </a:moveTo>
                <a:cubicBezTo>
                  <a:pt x="2217713" y="6559030"/>
                  <a:pt x="2220979" y="6560921"/>
                  <a:pt x="2224939" y="6562064"/>
                </a:cubicBezTo>
                <a:cubicBezTo>
                  <a:pt x="2228901" y="6563207"/>
                  <a:pt x="2232099" y="6566978"/>
                  <a:pt x="2232851" y="6570990"/>
                </a:cubicBezTo>
                <a:cubicBezTo>
                  <a:pt x="2233284" y="6574436"/>
                  <a:pt x="2234097" y="6576570"/>
                  <a:pt x="2236358" y="6578645"/>
                </a:cubicBezTo>
                <a:cubicBezTo>
                  <a:pt x="2234842" y="6583901"/>
                  <a:pt x="2233325" y="6589157"/>
                  <a:pt x="2231808" y="6594413"/>
                </a:cubicBezTo>
                <a:cubicBezTo>
                  <a:pt x="2226775" y="6595333"/>
                  <a:pt x="2222244" y="6597821"/>
                  <a:pt x="2219347" y="6601256"/>
                </a:cubicBezTo>
                <a:cubicBezTo>
                  <a:pt x="2216137" y="6604124"/>
                  <a:pt x="2213238" y="6607558"/>
                  <a:pt x="2209901" y="6610865"/>
                </a:cubicBezTo>
                <a:cubicBezTo>
                  <a:pt x="2206690" y="6613734"/>
                  <a:pt x="2203353" y="6617041"/>
                  <a:pt x="2201647" y="6621293"/>
                </a:cubicBezTo>
                <a:cubicBezTo>
                  <a:pt x="2199630" y="6624982"/>
                  <a:pt x="2196484" y="6625972"/>
                  <a:pt x="2192772" y="6627273"/>
                </a:cubicBezTo>
                <a:cubicBezTo>
                  <a:pt x="2189060" y="6628574"/>
                  <a:pt x="2184788" y="6626866"/>
                  <a:pt x="2181703" y="6629297"/>
                </a:cubicBezTo>
                <a:cubicBezTo>
                  <a:pt x="2178623" y="6628407"/>
                  <a:pt x="2175983" y="6627646"/>
                  <a:pt x="2172904" y="6626756"/>
                </a:cubicBezTo>
                <a:cubicBezTo>
                  <a:pt x="2173282" y="6625443"/>
                  <a:pt x="2172969" y="6624878"/>
                  <a:pt x="2172091" y="6624624"/>
                </a:cubicBezTo>
                <a:cubicBezTo>
                  <a:pt x="2165491" y="6622719"/>
                  <a:pt x="2163235" y="6617323"/>
                  <a:pt x="2162551" y="6611433"/>
                </a:cubicBezTo>
                <a:cubicBezTo>
                  <a:pt x="2161742" y="6605980"/>
                  <a:pt x="2160367" y="6600838"/>
                  <a:pt x="2162892" y="6595398"/>
                </a:cubicBezTo>
                <a:cubicBezTo>
                  <a:pt x="2165980" y="6589647"/>
                  <a:pt x="2167437" y="6582950"/>
                  <a:pt x="2174106" y="6579657"/>
                </a:cubicBezTo>
                <a:cubicBezTo>
                  <a:pt x="2176373" y="6578413"/>
                  <a:pt x="2178511" y="6577607"/>
                  <a:pt x="2181843" y="6577620"/>
                </a:cubicBezTo>
                <a:cubicBezTo>
                  <a:pt x="2186622" y="6577575"/>
                  <a:pt x="2192533" y="6576909"/>
                  <a:pt x="2193238" y="6569520"/>
                </a:cubicBezTo>
                <a:cubicBezTo>
                  <a:pt x="2193556" y="6566765"/>
                  <a:pt x="2196448" y="6566652"/>
                  <a:pt x="2197267" y="6565464"/>
                </a:cubicBezTo>
                <a:cubicBezTo>
                  <a:pt x="2201490" y="6559092"/>
                  <a:pt x="2207656" y="6557549"/>
                  <a:pt x="2214007" y="6557011"/>
                </a:cubicBezTo>
                <a:close/>
                <a:moveTo>
                  <a:pt x="560874" y="6537744"/>
                </a:moveTo>
                <a:cubicBezTo>
                  <a:pt x="562694" y="6535979"/>
                  <a:pt x="568004" y="6539148"/>
                  <a:pt x="570638" y="6540235"/>
                </a:cubicBezTo>
                <a:cubicBezTo>
                  <a:pt x="576726" y="6542974"/>
                  <a:pt x="585420" y="6541230"/>
                  <a:pt x="588468" y="6549962"/>
                </a:cubicBezTo>
                <a:cubicBezTo>
                  <a:pt x="589026" y="6551432"/>
                  <a:pt x="590405" y="6553465"/>
                  <a:pt x="592824" y="6554163"/>
                </a:cubicBezTo>
                <a:cubicBezTo>
                  <a:pt x="596237" y="6554822"/>
                  <a:pt x="597529" y="6557157"/>
                  <a:pt x="597174" y="6560653"/>
                </a:cubicBezTo>
                <a:cubicBezTo>
                  <a:pt x="597169" y="6562942"/>
                  <a:pt x="598332" y="6564586"/>
                  <a:pt x="599408" y="6566533"/>
                </a:cubicBezTo>
                <a:cubicBezTo>
                  <a:pt x="602293" y="6571291"/>
                  <a:pt x="602887" y="6576042"/>
                  <a:pt x="599806" y="6581042"/>
                </a:cubicBezTo>
                <a:cubicBezTo>
                  <a:pt x="598027" y="6583801"/>
                  <a:pt x="597976" y="6587384"/>
                  <a:pt x="600476" y="6590069"/>
                </a:cubicBezTo>
                <a:cubicBezTo>
                  <a:pt x="600128" y="6591277"/>
                  <a:pt x="599779" y="6592485"/>
                  <a:pt x="599431" y="6593693"/>
                </a:cubicBezTo>
                <a:cubicBezTo>
                  <a:pt x="596273" y="6594417"/>
                  <a:pt x="594540" y="6595881"/>
                  <a:pt x="593710" y="6599894"/>
                </a:cubicBezTo>
                <a:cubicBezTo>
                  <a:pt x="592443" y="6605417"/>
                  <a:pt x="588803" y="6608947"/>
                  <a:pt x="582407" y="6608409"/>
                </a:cubicBezTo>
                <a:cubicBezTo>
                  <a:pt x="579599" y="6607925"/>
                  <a:pt x="579593" y="6610215"/>
                  <a:pt x="579071" y="6612025"/>
                </a:cubicBezTo>
                <a:cubicBezTo>
                  <a:pt x="578198" y="6615046"/>
                  <a:pt x="576815" y="6615301"/>
                  <a:pt x="575006" y="6612489"/>
                </a:cubicBezTo>
                <a:cubicBezTo>
                  <a:pt x="572249" y="6608421"/>
                  <a:pt x="569830" y="6607723"/>
                  <a:pt x="567441" y="6612595"/>
                </a:cubicBezTo>
                <a:cubicBezTo>
                  <a:pt x="566790" y="6613716"/>
                  <a:pt x="565447" y="6614964"/>
                  <a:pt x="564674" y="6613105"/>
                </a:cubicBezTo>
                <a:cubicBezTo>
                  <a:pt x="561876" y="6608044"/>
                  <a:pt x="558457" y="6609675"/>
                  <a:pt x="554648" y="6611520"/>
                </a:cubicBezTo>
                <a:cubicBezTo>
                  <a:pt x="554172" y="6612037"/>
                  <a:pt x="552962" y="6611687"/>
                  <a:pt x="552357" y="6611513"/>
                </a:cubicBezTo>
                <a:cubicBezTo>
                  <a:pt x="546321" y="6605190"/>
                  <a:pt x="540760" y="6598351"/>
                  <a:pt x="534812" y="6591727"/>
                </a:cubicBezTo>
                <a:cubicBezTo>
                  <a:pt x="532095" y="6588652"/>
                  <a:pt x="531936" y="6582391"/>
                  <a:pt x="531733" y="6577424"/>
                </a:cubicBezTo>
                <a:cubicBezTo>
                  <a:pt x="531651" y="6575439"/>
                  <a:pt x="532476" y="6573714"/>
                  <a:pt x="531097" y="6571680"/>
                </a:cubicBezTo>
                <a:cubicBezTo>
                  <a:pt x="529720" y="6569646"/>
                  <a:pt x="530545" y="6567921"/>
                  <a:pt x="532277" y="6566459"/>
                </a:cubicBezTo>
                <a:cubicBezTo>
                  <a:pt x="533231" y="6565426"/>
                  <a:pt x="534876" y="6564264"/>
                  <a:pt x="534318" y="6562794"/>
                </a:cubicBezTo>
                <a:cubicBezTo>
                  <a:pt x="532340" y="6558298"/>
                  <a:pt x="532822" y="6555493"/>
                  <a:pt x="538183" y="6555077"/>
                </a:cubicBezTo>
                <a:cubicBezTo>
                  <a:pt x="539480" y="6555124"/>
                  <a:pt x="540305" y="6553399"/>
                  <a:pt x="539357" y="6552145"/>
                </a:cubicBezTo>
                <a:cubicBezTo>
                  <a:pt x="536385" y="6547687"/>
                  <a:pt x="541054" y="6547400"/>
                  <a:pt x="542356" y="6545158"/>
                </a:cubicBezTo>
                <a:cubicBezTo>
                  <a:pt x="546826" y="6537615"/>
                  <a:pt x="555503" y="6542737"/>
                  <a:pt x="560874" y="6537744"/>
                </a:cubicBezTo>
                <a:close/>
                <a:moveTo>
                  <a:pt x="3655038" y="6528709"/>
                </a:moveTo>
                <a:lnTo>
                  <a:pt x="3641038" y="6529473"/>
                </a:lnTo>
                <a:lnTo>
                  <a:pt x="3614824" y="6529486"/>
                </a:lnTo>
                <a:lnTo>
                  <a:pt x="3616939" y="6533655"/>
                </a:lnTo>
                <a:cubicBezTo>
                  <a:pt x="3621143" y="6538123"/>
                  <a:pt x="3626774" y="6540845"/>
                  <a:pt x="3632232" y="6543967"/>
                </a:cubicBezTo>
                <a:lnTo>
                  <a:pt x="3642909" y="6553494"/>
                </a:lnTo>
                <a:lnTo>
                  <a:pt x="3646198" y="6543684"/>
                </a:lnTo>
                <a:close/>
                <a:moveTo>
                  <a:pt x="6583166" y="6523954"/>
                </a:moveTo>
                <a:cubicBezTo>
                  <a:pt x="6585999" y="6526596"/>
                  <a:pt x="6585999" y="6526596"/>
                  <a:pt x="6583359" y="6529425"/>
                </a:cubicBezTo>
                <a:lnTo>
                  <a:pt x="6583303" y="6529462"/>
                </a:lnTo>
                <a:lnTo>
                  <a:pt x="6577889" y="6529613"/>
                </a:lnTo>
                <a:cubicBezTo>
                  <a:pt x="6580528" y="6526783"/>
                  <a:pt x="6580528" y="6526783"/>
                  <a:pt x="6580528" y="6526783"/>
                </a:cubicBezTo>
                <a:cubicBezTo>
                  <a:pt x="6580528" y="6526783"/>
                  <a:pt x="6583166" y="6523954"/>
                  <a:pt x="6583166" y="6523954"/>
                </a:cubicBezTo>
                <a:close/>
                <a:moveTo>
                  <a:pt x="4761368" y="6510821"/>
                </a:moveTo>
                <a:cubicBezTo>
                  <a:pt x="4766947" y="6512431"/>
                  <a:pt x="4772259" y="6512628"/>
                  <a:pt x="4778192" y="6513004"/>
                </a:cubicBezTo>
                <a:cubicBezTo>
                  <a:pt x="4785353" y="6518413"/>
                  <a:pt x="4791543" y="6524876"/>
                  <a:pt x="4791797" y="6535639"/>
                </a:cubicBezTo>
                <a:cubicBezTo>
                  <a:pt x="4791878" y="6537668"/>
                  <a:pt x="4795244" y="6539974"/>
                  <a:pt x="4793553" y="6543496"/>
                </a:cubicBezTo>
                <a:cubicBezTo>
                  <a:pt x="4788849" y="6552829"/>
                  <a:pt x="4795393" y="6558057"/>
                  <a:pt x="4801055" y="6561697"/>
                </a:cubicBezTo>
                <a:cubicBezTo>
                  <a:pt x="4805033" y="6564182"/>
                  <a:pt x="4806978" y="6566748"/>
                  <a:pt x="4808741" y="6569930"/>
                </a:cubicBezTo>
                <a:cubicBezTo>
                  <a:pt x="4814216" y="6578861"/>
                  <a:pt x="4810929" y="6587933"/>
                  <a:pt x="4810299" y="6597105"/>
                </a:cubicBezTo>
                <a:cubicBezTo>
                  <a:pt x="4809222" y="6605481"/>
                  <a:pt x="4803726" y="6610575"/>
                  <a:pt x="4798675" y="6616465"/>
                </a:cubicBezTo>
                <a:cubicBezTo>
                  <a:pt x="4793433" y="6622973"/>
                  <a:pt x="4786698" y="6627710"/>
                  <a:pt x="4777407" y="6625028"/>
                </a:cubicBezTo>
                <a:cubicBezTo>
                  <a:pt x="4776165" y="6624670"/>
                  <a:pt x="4775368" y="6625108"/>
                  <a:pt x="4774834" y="6626959"/>
                </a:cubicBezTo>
                <a:cubicBezTo>
                  <a:pt x="4770496" y="6625707"/>
                  <a:pt x="4766774" y="6624634"/>
                  <a:pt x="4762439" y="6623382"/>
                </a:cubicBezTo>
                <a:cubicBezTo>
                  <a:pt x="4760592" y="6618170"/>
                  <a:pt x="4754216" y="6616999"/>
                  <a:pt x="4750769" y="6612663"/>
                </a:cubicBezTo>
                <a:cubicBezTo>
                  <a:pt x="4747322" y="6608328"/>
                  <a:pt x="4744320" y="6604787"/>
                  <a:pt x="4744682" y="6598879"/>
                </a:cubicBezTo>
                <a:cubicBezTo>
                  <a:pt x="4745839" y="6592532"/>
                  <a:pt x="4744345" y="6586087"/>
                  <a:pt x="4742672" y="6580258"/>
                </a:cubicBezTo>
                <a:cubicBezTo>
                  <a:pt x="4741175" y="6573814"/>
                  <a:pt x="4740301" y="6567547"/>
                  <a:pt x="4738621" y="6561718"/>
                </a:cubicBezTo>
                <a:cubicBezTo>
                  <a:pt x="4737752" y="6555452"/>
                  <a:pt x="4734216" y="6549087"/>
                  <a:pt x="4728912" y="6544215"/>
                </a:cubicBezTo>
                <a:cubicBezTo>
                  <a:pt x="4731048" y="6536814"/>
                  <a:pt x="4733183" y="6529412"/>
                  <a:pt x="4735319" y="6522011"/>
                </a:cubicBezTo>
                <a:cubicBezTo>
                  <a:pt x="4739572" y="6521234"/>
                  <a:pt x="4742142" y="6519303"/>
                  <a:pt x="4745248" y="6515522"/>
                </a:cubicBezTo>
                <a:cubicBezTo>
                  <a:pt x="4749150" y="6511303"/>
                  <a:pt x="4755795" y="6509212"/>
                  <a:pt x="4761368" y="6510821"/>
                </a:cubicBezTo>
                <a:close/>
                <a:moveTo>
                  <a:pt x="8993241" y="6505996"/>
                </a:moveTo>
                <a:cubicBezTo>
                  <a:pt x="8995061" y="6504231"/>
                  <a:pt x="9000370" y="6507400"/>
                  <a:pt x="9003004" y="6508487"/>
                </a:cubicBezTo>
                <a:cubicBezTo>
                  <a:pt x="9009093" y="6511226"/>
                  <a:pt x="9017786" y="6509482"/>
                  <a:pt x="9020834" y="6518214"/>
                </a:cubicBezTo>
                <a:cubicBezTo>
                  <a:pt x="9021393" y="6519684"/>
                  <a:pt x="9022771" y="6521717"/>
                  <a:pt x="9025190" y="6522415"/>
                </a:cubicBezTo>
                <a:cubicBezTo>
                  <a:pt x="9028603" y="6523073"/>
                  <a:pt x="9029895" y="6525409"/>
                  <a:pt x="9029541" y="6528905"/>
                </a:cubicBezTo>
                <a:cubicBezTo>
                  <a:pt x="9029535" y="6531194"/>
                  <a:pt x="9030699" y="6532838"/>
                  <a:pt x="9031775" y="6534785"/>
                </a:cubicBezTo>
                <a:cubicBezTo>
                  <a:pt x="9034661" y="6539543"/>
                  <a:pt x="9035254" y="6544294"/>
                  <a:pt x="9032173" y="6549294"/>
                </a:cubicBezTo>
                <a:cubicBezTo>
                  <a:pt x="9030394" y="6552053"/>
                  <a:pt x="9030342" y="6555636"/>
                  <a:pt x="9032843" y="6558321"/>
                </a:cubicBezTo>
                <a:cubicBezTo>
                  <a:pt x="9032494" y="6559529"/>
                  <a:pt x="9032146" y="6560737"/>
                  <a:pt x="9031798" y="6561945"/>
                </a:cubicBezTo>
                <a:cubicBezTo>
                  <a:pt x="9028640" y="6562669"/>
                  <a:pt x="9026908" y="6564133"/>
                  <a:pt x="9026076" y="6568146"/>
                </a:cubicBezTo>
                <a:cubicBezTo>
                  <a:pt x="9024811" y="6573669"/>
                  <a:pt x="9021171" y="6577198"/>
                  <a:pt x="9014774" y="6576661"/>
                </a:cubicBezTo>
                <a:cubicBezTo>
                  <a:pt x="9011966" y="6576177"/>
                  <a:pt x="9011960" y="6578467"/>
                  <a:pt x="9011437" y="6580278"/>
                </a:cubicBezTo>
                <a:cubicBezTo>
                  <a:pt x="9010565" y="6583298"/>
                  <a:pt x="9009181" y="6583553"/>
                  <a:pt x="9007373" y="6580741"/>
                </a:cubicBezTo>
                <a:cubicBezTo>
                  <a:pt x="9004617" y="6576673"/>
                  <a:pt x="9002197" y="6575975"/>
                  <a:pt x="8999808" y="6580847"/>
                </a:cubicBezTo>
                <a:cubicBezTo>
                  <a:pt x="8999157" y="6581968"/>
                  <a:pt x="8997814" y="6583216"/>
                  <a:pt x="8997040" y="6581357"/>
                </a:cubicBezTo>
                <a:cubicBezTo>
                  <a:pt x="8994243" y="6576296"/>
                  <a:pt x="8990823" y="6577927"/>
                  <a:pt x="8987016" y="6579773"/>
                </a:cubicBezTo>
                <a:cubicBezTo>
                  <a:pt x="8986539" y="6580289"/>
                  <a:pt x="8985330" y="6579940"/>
                  <a:pt x="8984724" y="6579765"/>
                </a:cubicBezTo>
                <a:cubicBezTo>
                  <a:pt x="8978687" y="6573442"/>
                  <a:pt x="8973127" y="6566603"/>
                  <a:pt x="8967178" y="6559979"/>
                </a:cubicBezTo>
                <a:cubicBezTo>
                  <a:pt x="8964461" y="6556904"/>
                  <a:pt x="8964304" y="6550643"/>
                  <a:pt x="8964099" y="6545676"/>
                </a:cubicBezTo>
                <a:cubicBezTo>
                  <a:pt x="8964017" y="6543690"/>
                  <a:pt x="8964842" y="6541965"/>
                  <a:pt x="8963464" y="6539932"/>
                </a:cubicBezTo>
                <a:cubicBezTo>
                  <a:pt x="8962087" y="6537898"/>
                  <a:pt x="8962911" y="6536174"/>
                  <a:pt x="8964643" y="6534710"/>
                </a:cubicBezTo>
                <a:cubicBezTo>
                  <a:pt x="8965597" y="6533678"/>
                  <a:pt x="8967242" y="6532516"/>
                  <a:pt x="8966684" y="6531046"/>
                </a:cubicBezTo>
                <a:cubicBezTo>
                  <a:pt x="8964706" y="6526550"/>
                  <a:pt x="8965189" y="6523745"/>
                  <a:pt x="8970549" y="6523329"/>
                </a:cubicBezTo>
                <a:cubicBezTo>
                  <a:pt x="8971847" y="6523376"/>
                  <a:pt x="8972672" y="6521651"/>
                  <a:pt x="8971723" y="6520396"/>
                </a:cubicBezTo>
                <a:cubicBezTo>
                  <a:pt x="8968752" y="6515939"/>
                  <a:pt x="8973420" y="6515652"/>
                  <a:pt x="8974722" y="6513410"/>
                </a:cubicBezTo>
                <a:cubicBezTo>
                  <a:pt x="8979193" y="6505867"/>
                  <a:pt x="8987869" y="6510989"/>
                  <a:pt x="8993241" y="6505996"/>
                </a:cubicBezTo>
                <a:close/>
                <a:moveTo>
                  <a:pt x="7622107" y="6501820"/>
                </a:moveTo>
                <a:cubicBezTo>
                  <a:pt x="7625593" y="6502615"/>
                  <a:pt x="7628868" y="6502549"/>
                  <a:pt x="7632530" y="6502573"/>
                </a:cubicBezTo>
                <a:cubicBezTo>
                  <a:pt x="7637126" y="6505648"/>
                  <a:pt x="7641159" y="6509407"/>
                  <a:pt x="7641690" y="6516018"/>
                </a:cubicBezTo>
                <a:cubicBezTo>
                  <a:pt x="7641814" y="6517263"/>
                  <a:pt x="7643962" y="6518564"/>
                  <a:pt x="7643048" y="6520789"/>
                </a:cubicBezTo>
                <a:cubicBezTo>
                  <a:pt x="7640480" y="6526694"/>
                  <a:pt x="7644689" y="6529682"/>
                  <a:pt x="7648299" y="6531722"/>
                </a:cubicBezTo>
                <a:cubicBezTo>
                  <a:pt x="7650834" y="6533111"/>
                  <a:pt x="7652120" y="6534621"/>
                  <a:pt x="7653318" y="6536517"/>
                </a:cubicBezTo>
                <a:cubicBezTo>
                  <a:pt x="7657000" y="6541817"/>
                  <a:pt x="7655294" y="6547513"/>
                  <a:pt x="7655226" y="6553177"/>
                </a:cubicBezTo>
                <a:cubicBezTo>
                  <a:pt x="7654859" y="6558366"/>
                  <a:pt x="7651657" y="6561693"/>
                  <a:pt x="7648752" y="6565493"/>
                </a:cubicBezTo>
                <a:cubicBezTo>
                  <a:pt x="7645762" y="6569680"/>
                  <a:pt x="7641783" y="6572830"/>
                  <a:pt x="7635974" y="6571505"/>
                </a:cubicBezTo>
                <a:cubicBezTo>
                  <a:pt x="7635199" y="6571329"/>
                  <a:pt x="7634723" y="6571626"/>
                  <a:pt x="7634460" y="6572783"/>
                </a:cubicBezTo>
                <a:cubicBezTo>
                  <a:pt x="7631749" y="6572165"/>
                  <a:pt x="7629424" y="6571636"/>
                  <a:pt x="7626712" y="6571018"/>
                </a:cubicBezTo>
                <a:cubicBezTo>
                  <a:pt x="7625391" y="6567878"/>
                  <a:pt x="7621430" y="6567380"/>
                  <a:pt x="7619158" y="6564834"/>
                </a:cubicBezTo>
                <a:cubicBezTo>
                  <a:pt x="7616885" y="6562288"/>
                  <a:pt x="7614912" y="6560216"/>
                  <a:pt x="7614928" y="6556569"/>
                </a:cubicBezTo>
                <a:cubicBezTo>
                  <a:pt x="7615420" y="6552625"/>
                  <a:pt x="7614274" y="6548712"/>
                  <a:pt x="7613040" y="6545187"/>
                </a:cubicBezTo>
                <a:cubicBezTo>
                  <a:pt x="7611894" y="6541274"/>
                  <a:pt x="7611135" y="6537450"/>
                  <a:pt x="7609902" y="6533925"/>
                </a:cubicBezTo>
                <a:cubicBezTo>
                  <a:pt x="7609143" y="6530101"/>
                  <a:pt x="7606747" y="6526309"/>
                  <a:pt x="7603313" y="6523499"/>
                </a:cubicBezTo>
                <a:cubicBezTo>
                  <a:pt x="7604368" y="6518871"/>
                  <a:pt x="7605422" y="6514244"/>
                  <a:pt x="7606477" y="6509616"/>
                </a:cubicBezTo>
                <a:cubicBezTo>
                  <a:pt x="7609064" y="6508989"/>
                  <a:pt x="7610578" y="6507712"/>
                  <a:pt x="7612355" y="6505277"/>
                </a:cubicBezTo>
                <a:cubicBezTo>
                  <a:pt x="7614607" y="6502546"/>
                  <a:pt x="7618620" y="6501026"/>
                  <a:pt x="7622107" y="6501820"/>
                </a:cubicBezTo>
                <a:close/>
                <a:moveTo>
                  <a:pt x="4977857" y="6493005"/>
                </a:moveTo>
                <a:cubicBezTo>
                  <a:pt x="4979492" y="6492326"/>
                  <a:pt x="4981050" y="6493926"/>
                  <a:pt x="4981811" y="6495296"/>
                </a:cubicBezTo>
                <a:cubicBezTo>
                  <a:pt x="4982573" y="6496666"/>
                  <a:pt x="4983057" y="6497959"/>
                  <a:pt x="4983475" y="6499517"/>
                </a:cubicBezTo>
                <a:cubicBezTo>
                  <a:pt x="4984527" y="6501838"/>
                  <a:pt x="4985966" y="6502830"/>
                  <a:pt x="4988554" y="6501850"/>
                </a:cubicBezTo>
                <a:cubicBezTo>
                  <a:pt x="4994602" y="6499853"/>
                  <a:pt x="5000338" y="6500934"/>
                  <a:pt x="5006001" y="6502279"/>
                </a:cubicBezTo>
                <a:cubicBezTo>
                  <a:pt x="5012795" y="6503666"/>
                  <a:pt x="5019481" y="6506458"/>
                  <a:pt x="5026584" y="6506782"/>
                </a:cubicBezTo>
                <a:cubicBezTo>
                  <a:pt x="5029130" y="6506941"/>
                  <a:pt x="5030002" y="6508919"/>
                  <a:pt x="5030682" y="6510554"/>
                </a:cubicBezTo>
                <a:cubicBezTo>
                  <a:pt x="5033176" y="6515881"/>
                  <a:pt x="5035401" y="6521129"/>
                  <a:pt x="5042661" y="6520922"/>
                </a:cubicBezTo>
                <a:cubicBezTo>
                  <a:pt x="5044071" y="6521040"/>
                  <a:pt x="5044564" y="6522333"/>
                  <a:pt x="5044786" y="6523550"/>
                </a:cubicBezTo>
                <a:cubicBezTo>
                  <a:pt x="5046174" y="6529708"/>
                  <a:pt x="5049736" y="6535341"/>
                  <a:pt x="5052422" y="6541010"/>
                </a:cubicBezTo>
                <a:cubicBezTo>
                  <a:pt x="5056544" y="6549683"/>
                  <a:pt x="5057771" y="6558386"/>
                  <a:pt x="5052697" y="6566996"/>
                </a:cubicBezTo>
                <a:cubicBezTo>
                  <a:pt x="5050826" y="6570485"/>
                  <a:pt x="5052263" y="6573491"/>
                  <a:pt x="5053777" y="6576230"/>
                </a:cubicBezTo>
                <a:cubicBezTo>
                  <a:pt x="5057104" y="6582660"/>
                  <a:pt x="5056072" y="6585241"/>
                  <a:pt x="5049602" y="6587691"/>
                </a:cubicBezTo>
                <a:cubicBezTo>
                  <a:pt x="5042601" y="6589989"/>
                  <a:pt x="5042601" y="6589989"/>
                  <a:pt x="5045699" y="6597216"/>
                </a:cubicBezTo>
                <a:cubicBezTo>
                  <a:pt x="5046379" y="6598852"/>
                  <a:pt x="5046869" y="6600145"/>
                  <a:pt x="5044818" y="6601280"/>
                </a:cubicBezTo>
                <a:cubicBezTo>
                  <a:pt x="5037735" y="6605855"/>
                  <a:pt x="5031184" y="6610586"/>
                  <a:pt x="5023916" y="6614821"/>
                </a:cubicBezTo>
                <a:cubicBezTo>
                  <a:pt x="5018621" y="6618187"/>
                  <a:pt x="5012727" y="6619652"/>
                  <a:pt x="5006495" y="6619292"/>
                </a:cubicBezTo>
                <a:cubicBezTo>
                  <a:pt x="5002466" y="6619280"/>
                  <a:pt x="4992531" y="6626775"/>
                  <a:pt x="4991106" y="6630684"/>
                </a:cubicBezTo>
                <a:cubicBezTo>
                  <a:pt x="4990737" y="6632012"/>
                  <a:pt x="4990421" y="6633075"/>
                  <a:pt x="4991864" y="6634067"/>
                </a:cubicBezTo>
                <a:cubicBezTo>
                  <a:pt x="4999031" y="6640165"/>
                  <a:pt x="5000951" y="6648491"/>
                  <a:pt x="5002184" y="6657195"/>
                </a:cubicBezTo>
                <a:cubicBezTo>
                  <a:pt x="5002511" y="6659019"/>
                  <a:pt x="5002667" y="6660502"/>
                  <a:pt x="5003085" y="6662060"/>
                </a:cubicBezTo>
                <a:cubicBezTo>
                  <a:pt x="5004515" y="6667079"/>
                  <a:pt x="5004764" y="6671182"/>
                  <a:pt x="5001373" y="6675961"/>
                </a:cubicBezTo>
                <a:cubicBezTo>
                  <a:pt x="4997974" y="6680737"/>
                  <a:pt x="4999366" y="6686896"/>
                  <a:pt x="5000642" y="6692445"/>
                </a:cubicBezTo>
                <a:cubicBezTo>
                  <a:pt x="5001022" y="6695144"/>
                  <a:pt x="5001092" y="6696892"/>
                  <a:pt x="4998544" y="6698746"/>
                </a:cubicBezTo>
                <a:cubicBezTo>
                  <a:pt x="4988179" y="6706695"/>
                  <a:pt x="4979371" y="6716244"/>
                  <a:pt x="4974565" y="6728957"/>
                </a:cubicBezTo>
                <a:cubicBezTo>
                  <a:pt x="4973762" y="6730741"/>
                  <a:pt x="4972995" y="6731384"/>
                  <a:pt x="4971289" y="6730316"/>
                </a:cubicBezTo>
                <a:cubicBezTo>
                  <a:pt x="4964309" y="6726573"/>
                  <a:pt x="4958376" y="6729178"/>
                  <a:pt x="4952838" y="6733341"/>
                </a:cubicBezTo>
                <a:cubicBezTo>
                  <a:pt x="4950291" y="6735195"/>
                  <a:pt x="4948322" y="6736063"/>
                  <a:pt x="4945320" y="6733472"/>
                </a:cubicBezTo>
                <a:cubicBezTo>
                  <a:pt x="4941754" y="6729853"/>
                  <a:pt x="4937153" y="6730827"/>
                  <a:pt x="4932849" y="6732752"/>
                </a:cubicBezTo>
                <a:cubicBezTo>
                  <a:pt x="4929230" y="6734300"/>
                  <a:pt x="4925461" y="6736379"/>
                  <a:pt x="4921852" y="6737925"/>
                </a:cubicBezTo>
                <a:cubicBezTo>
                  <a:pt x="4920089" y="6738567"/>
                  <a:pt x="4918515" y="6738762"/>
                  <a:pt x="4917456" y="6738203"/>
                </a:cubicBezTo>
                <a:cubicBezTo>
                  <a:pt x="4916392" y="6737645"/>
                  <a:pt x="4915836" y="6736332"/>
                  <a:pt x="4916084" y="6733958"/>
                </a:cubicBezTo>
                <a:cubicBezTo>
                  <a:pt x="4916393" y="6732896"/>
                  <a:pt x="4916428" y="6731756"/>
                  <a:pt x="4916216" y="6730540"/>
                </a:cubicBezTo>
                <a:cubicBezTo>
                  <a:pt x="4916054" y="6729058"/>
                  <a:pt x="4916680" y="6726932"/>
                  <a:pt x="4914888" y="6726128"/>
                </a:cubicBezTo>
                <a:cubicBezTo>
                  <a:pt x="4913301" y="6725669"/>
                  <a:pt x="4911851" y="6726690"/>
                  <a:pt x="4910747" y="6727523"/>
                </a:cubicBezTo>
                <a:cubicBezTo>
                  <a:pt x="4905454" y="6730889"/>
                  <a:pt x="4903938" y="6730163"/>
                  <a:pt x="4903153" y="6723892"/>
                </a:cubicBezTo>
                <a:cubicBezTo>
                  <a:pt x="4903004" y="6722410"/>
                  <a:pt x="4903040" y="6721270"/>
                  <a:pt x="4902551" y="6719977"/>
                </a:cubicBezTo>
                <a:cubicBezTo>
                  <a:pt x="4901953" y="6718076"/>
                  <a:pt x="4901264" y="6716441"/>
                  <a:pt x="4898303" y="6716736"/>
                </a:cubicBezTo>
                <a:cubicBezTo>
                  <a:pt x="4895530" y="6717375"/>
                  <a:pt x="4895224" y="6718438"/>
                  <a:pt x="4895135" y="6720716"/>
                </a:cubicBezTo>
                <a:lnTo>
                  <a:pt x="4894429" y="6724865"/>
                </a:lnTo>
                <a:lnTo>
                  <a:pt x="4879612" y="6698202"/>
                </a:lnTo>
                <a:lnTo>
                  <a:pt x="4881290" y="6696856"/>
                </a:lnTo>
                <a:cubicBezTo>
                  <a:pt x="4882512" y="6694619"/>
                  <a:pt x="4882174" y="6692794"/>
                  <a:pt x="4880350" y="6691118"/>
                </a:cubicBezTo>
                <a:cubicBezTo>
                  <a:pt x="4878991" y="6689861"/>
                  <a:pt x="4877541" y="6688868"/>
                  <a:pt x="4876180" y="6687611"/>
                </a:cubicBezTo>
                <a:cubicBezTo>
                  <a:pt x="4873903" y="6685515"/>
                  <a:pt x="4873378" y="6683347"/>
                  <a:pt x="4874830" y="6680312"/>
                </a:cubicBezTo>
                <a:cubicBezTo>
                  <a:pt x="4879187" y="6671208"/>
                  <a:pt x="4877642" y="6663567"/>
                  <a:pt x="4870364" y="6656859"/>
                </a:cubicBezTo>
                <a:cubicBezTo>
                  <a:pt x="4869268" y="6655679"/>
                  <a:pt x="4866267" y="6655101"/>
                  <a:pt x="4867493" y="6652862"/>
                </a:cubicBezTo>
                <a:cubicBezTo>
                  <a:pt x="4868446" y="6650548"/>
                  <a:pt x="4870992" y="6650706"/>
                  <a:pt x="4873462" y="6651131"/>
                </a:cubicBezTo>
                <a:cubicBezTo>
                  <a:pt x="4873725" y="6651208"/>
                  <a:pt x="4873996" y="6651286"/>
                  <a:pt x="4874260" y="6651362"/>
                </a:cubicBezTo>
                <a:cubicBezTo>
                  <a:pt x="4880949" y="6652140"/>
                  <a:pt x="4883651" y="6649755"/>
                  <a:pt x="4881927" y="6643785"/>
                </a:cubicBezTo>
                <a:cubicBezTo>
                  <a:pt x="4880373" y="6638158"/>
                  <a:pt x="4882247" y="6634669"/>
                  <a:pt x="4886057" y="6631450"/>
                </a:cubicBezTo>
                <a:cubicBezTo>
                  <a:pt x="4891041" y="6627133"/>
                  <a:pt x="4895315" y="6622320"/>
                  <a:pt x="4895644" y="6615217"/>
                </a:cubicBezTo>
                <a:cubicBezTo>
                  <a:pt x="4895683" y="6612063"/>
                  <a:pt x="4898992" y="6611579"/>
                  <a:pt x="4901004" y="6611586"/>
                </a:cubicBezTo>
                <a:cubicBezTo>
                  <a:pt x="4908609" y="6611188"/>
                  <a:pt x="4913110" y="6607592"/>
                  <a:pt x="4915899" y="6600914"/>
                </a:cubicBezTo>
                <a:cubicBezTo>
                  <a:pt x="4917660" y="6596816"/>
                  <a:pt x="4919479" y="6596479"/>
                  <a:pt x="4922971" y="6600364"/>
                </a:cubicBezTo>
                <a:cubicBezTo>
                  <a:pt x="4930391" y="6608553"/>
                  <a:pt x="4944832" y="6608404"/>
                  <a:pt x="4951506" y="6600255"/>
                </a:cubicBezTo>
                <a:cubicBezTo>
                  <a:pt x="4952846" y="6598626"/>
                  <a:pt x="4954597" y="6596541"/>
                  <a:pt x="4953203" y="6594410"/>
                </a:cubicBezTo>
                <a:cubicBezTo>
                  <a:pt x="4951797" y="6592278"/>
                  <a:pt x="4949365" y="6590713"/>
                  <a:pt x="4946514" y="6591616"/>
                </a:cubicBezTo>
                <a:cubicBezTo>
                  <a:pt x="4944688" y="6591954"/>
                  <a:pt x="4942714" y="6592822"/>
                  <a:pt x="4940812" y="6593424"/>
                </a:cubicBezTo>
                <a:cubicBezTo>
                  <a:pt x="4938832" y="6594293"/>
                  <a:pt x="4937001" y="6594629"/>
                  <a:pt x="4936136" y="6592651"/>
                </a:cubicBezTo>
                <a:cubicBezTo>
                  <a:pt x="4935079" y="6590330"/>
                  <a:pt x="4936601" y="6589043"/>
                  <a:pt x="4938313" y="6588099"/>
                </a:cubicBezTo>
                <a:cubicBezTo>
                  <a:pt x="4939762" y="6587077"/>
                  <a:pt x="4941666" y="6586474"/>
                  <a:pt x="4943032" y="6585718"/>
                </a:cubicBezTo>
                <a:cubicBezTo>
                  <a:pt x="4946118" y="6584018"/>
                  <a:pt x="4948369" y="6581213"/>
                  <a:pt x="4946749" y="6577865"/>
                </a:cubicBezTo>
                <a:cubicBezTo>
                  <a:pt x="4945226" y="6575125"/>
                  <a:pt x="4941685" y="6576407"/>
                  <a:pt x="4939096" y="6577387"/>
                </a:cubicBezTo>
                <a:cubicBezTo>
                  <a:pt x="4936864" y="6578179"/>
                  <a:pt x="4934838" y="6580187"/>
                  <a:pt x="4932218" y="6580293"/>
                </a:cubicBezTo>
                <a:cubicBezTo>
                  <a:pt x="4928381" y="6580624"/>
                  <a:pt x="4926398" y="6579478"/>
                  <a:pt x="4927898" y="6575304"/>
                </a:cubicBezTo>
                <a:cubicBezTo>
                  <a:pt x="4929850" y="6569535"/>
                  <a:pt x="4933625" y="6565443"/>
                  <a:pt x="4938115" y="6561846"/>
                </a:cubicBezTo>
                <a:cubicBezTo>
                  <a:pt x="4943795" y="6557151"/>
                  <a:pt x="4944980" y="6554039"/>
                  <a:pt x="4942336" y="6547231"/>
                </a:cubicBezTo>
                <a:cubicBezTo>
                  <a:pt x="4941623" y="6544722"/>
                  <a:pt x="4940034" y="6542248"/>
                  <a:pt x="4938701" y="6539851"/>
                </a:cubicBezTo>
                <a:cubicBezTo>
                  <a:pt x="4938147" y="6538824"/>
                  <a:pt x="4937034" y="6537643"/>
                  <a:pt x="4937950" y="6536468"/>
                </a:cubicBezTo>
                <a:cubicBezTo>
                  <a:pt x="4938945" y="6535027"/>
                  <a:pt x="4940345" y="6535145"/>
                  <a:pt x="4941338" y="6535718"/>
                </a:cubicBezTo>
                <a:cubicBezTo>
                  <a:pt x="4945820" y="6538162"/>
                  <a:pt x="4947499" y="6536343"/>
                  <a:pt x="4948454" y="6532015"/>
                </a:cubicBezTo>
                <a:cubicBezTo>
                  <a:pt x="4949723" y="6526624"/>
                  <a:pt x="4954256" y="6523902"/>
                  <a:pt x="4958819" y="6522053"/>
                </a:cubicBezTo>
                <a:cubicBezTo>
                  <a:pt x="4962440" y="6520505"/>
                  <a:pt x="4963247" y="6518722"/>
                  <a:pt x="4960934" y="6515752"/>
                </a:cubicBezTo>
                <a:cubicBezTo>
                  <a:pt x="4959640" y="6514229"/>
                  <a:pt x="4958890" y="6512859"/>
                  <a:pt x="4960028" y="6510887"/>
                </a:cubicBezTo>
                <a:cubicBezTo>
                  <a:pt x="4961403" y="6508117"/>
                  <a:pt x="4963380" y="6509263"/>
                  <a:pt x="4965395" y="6509268"/>
                </a:cubicBezTo>
                <a:cubicBezTo>
                  <a:pt x="4966532" y="6509309"/>
                  <a:pt x="4967868" y="6509693"/>
                  <a:pt x="4969266" y="6509811"/>
                </a:cubicBezTo>
                <a:cubicBezTo>
                  <a:pt x="4976672" y="6511086"/>
                  <a:pt x="4979421" y="6507560"/>
                  <a:pt x="4976925" y="6500221"/>
                </a:cubicBezTo>
                <a:cubicBezTo>
                  <a:pt x="4976629" y="6499270"/>
                  <a:pt x="4976252" y="6498586"/>
                  <a:pt x="4976219" y="6497712"/>
                </a:cubicBezTo>
                <a:cubicBezTo>
                  <a:pt x="4975888" y="6495887"/>
                  <a:pt x="4975966" y="6493607"/>
                  <a:pt x="4977857" y="6493005"/>
                </a:cubicBezTo>
                <a:close/>
                <a:moveTo>
                  <a:pt x="8180770" y="6476906"/>
                </a:moveTo>
                <a:cubicBezTo>
                  <a:pt x="8181792" y="6476412"/>
                  <a:pt x="8182844" y="6477378"/>
                  <a:pt x="8183378" y="6478227"/>
                </a:cubicBezTo>
                <a:cubicBezTo>
                  <a:pt x="8183912" y="6479077"/>
                  <a:pt x="8184274" y="6479886"/>
                  <a:pt x="8184596" y="6480868"/>
                </a:cubicBezTo>
                <a:cubicBezTo>
                  <a:pt x="8185357" y="6482314"/>
                  <a:pt x="8186315" y="6482896"/>
                  <a:pt x="8187935" y="6482174"/>
                </a:cubicBezTo>
                <a:cubicBezTo>
                  <a:pt x="8191732" y="6480676"/>
                  <a:pt x="8195441" y="6481158"/>
                  <a:pt x="8199112" y="6481812"/>
                </a:cubicBezTo>
                <a:cubicBezTo>
                  <a:pt x="8203512" y="6482452"/>
                  <a:pt x="8207889" y="6483994"/>
                  <a:pt x="8212447" y="6483942"/>
                </a:cubicBezTo>
                <a:cubicBezTo>
                  <a:pt x="8214082" y="6483951"/>
                  <a:pt x="8214710" y="6485185"/>
                  <a:pt x="8215204" y="6486207"/>
                </a:cubicBezTo>
                <a:cubicBezTo>
                  <a:pt x="8216995" y="6489522"/>
                  <a:pt x="8218613" y="6492800"/>
                  <a:pt x="8223250" y="6492403"/>
                </a:cubicBezTo>
                <a:cubicBezTo>
                  <a:pt x="8224154" y="6492426"/>
                  <a:pt x="8224515" y="6493235"/>
                  <a:pt x="8224703" y="6494006"/>
                </a:cubicBezTo>
                <a:cubicBezTo>
                  <a:pt x="8225818" y="6497896"/>
                  <a:pt x="8228300" y="6501368"/>
                  <a:pt x="8230223" y="6504898"/>
                </a:cubicBezTo>
                <a:cubicBezTo>
                  <a:pt x="8233176" y="6510297"/>
                  <a:pt x="8234281" y="6515819"/>
                  <a:pt x="8231348" y="6521513"/>
                </a:cubicBezTo>
                <a:cubicBezTo>
                  <a:pt x="8230278" y="6523814"/>
                  <a:pt x="8231306" y="6525684"/>
                  <a:pt x="8232375" y="6527381"/>
                </a:cubicBezTo>
                <a:cubicBezTo>
                  <a:pt x="8234738" y="6531374"/>
                  <a:pt x="8234172" y="6533063"/>
                  <a:pt x="8230124" y="6534866"/>
                </a:cubicBezTo>
                <a:cubicBezTo>
                  <a:pt x="8225729" y="6536592"/>
                  <a:pt x="8225729" y="6536592"/>
                  <a:pt x="8227975" y="6541103"/>
                </a:cubicBezTo>
                <a:cubicBezTo>
                  <a:pt x="8228470" y="6542124"/>
                  <a:pt x="8228830" y="6542933"/>
                  <a:pt x="8227557" y="6543734"/>
                </a:cubicBezTo>
                <a:cubicBezTo>
                  <a:pt x="8223194" y="6546920"/>
                  <a:pt x="8219176" y="6550185"/>
                  <a:pt x="8214679" y="6553160"/>
                </a:cubicBezTo>
                <a:cubicBezTo>
                  <a:pt x="8211417" y="6555507"/>
                  <a:pt x="8207698" y="6556659"/>
                  <a:pt x="8203698" y="6556656"/>
                </a:cubicBezTo>
                <a:cubicBezTo>
                  <a:pt x="8201121" y="6556795"/>
                  <a:pt x="8195035" y="6561952"/>
                  <a:pt x="8194272" y="6564505"/>
                </a:cubicBezTo>
                <a:cubicBezTo>
                  <a:pt x="8194075" y="6565369"/>
                  <a:pt x="8193917" y="6566060"/>
                  <a:pt x="8194875" y="6566642"/>
                </a:cubicBezTo>
                <a:cubicBezTo>
                  <a:pt x="8199685" y="6570282"/>
                  <a:pt x="8201214" y="6575539"/>
                  <a:pt x="8202320" y="6581063"/>
                </a:cubicBezTo>
                <a:cubicBezTo>
                  <a:pt x="8202602" y="6582217"/>
                  <a:pt x="8202751" y="6583160"/>
                  <a:pt x="8203073" y="6584142"/>
                </a:cubicBezTo>
                <a:cubicBezTo>
                  <a:pt x="8204172" y="6587301"/>
                  <a:pt x="8204485" y="6589917"/>
                  <a:pt x="8202487" y="6593098"/>
                </a:cubicBezTo>
                <a:cubicBezTo>
                  <a:pt x="8200490" y="6596278"/>
                  <a:pt x="8201604" y="6600167"/>
                  <a:pt x="8202624" y="6603671"/>
                </a:cubicBezTo>
                <a:cubicBezTo>
                  <a:pt x="8202961" y="6605384"/>
                  <a:pt x="8203071" y="6606500"/>
                  <a:pt x="8201507" y="6607779"/>
                </a:cubicBezTo>
                <a:cubicBezTo>
                  <a:pt x="8195169" y="6613242"/>
                  <a:pt x="8189885" y="6619672"/>
                  <a:pt x="8187264" y="6627982"/>
                </a:cubicBezTo>
                <a:cubicBezTo>
                  <a:pt x="8186815" y="6629152"/>
                  <a:pt x="8186351" y="6629592"/>
                  <a:pt x="8185220" y="6628970"/>
                </a:cubicBezTo>
                <a:cubicBezTo>
                  <a:pt x="8180615" y="6626831"/>
                  <a:pt x="8176912" y="6628713"/>
                  <a:pt x="8173532" y="6631578"/>
                </a:cubicBezTo>
                <a:cubicBezTo>
                  <a:pt x="8171967" y="6632857"/>
                  <a:pt x="8170734" y="6633485"/>
                  <a:pt x="8168722" y="6631937"/>
                </a:cubicBezTo>
                <a:cubicBezTo>
                  <a:pt x="8166310" y="6629751"/>
                  <a:pt x="8163402" y="6630542"/>
                  <a:pt x="8160721" y="6631931"/>
                </a:cubicBezTo>
                <a:cubicBezTo>
                  <a:pt x="8158465" y="6633053"/>
                  <a:pt x="8156130" y="6634520"/>
                  <a:pt x="8153874" y="6635643"/>
                </a:cubicBezTo>
                <a:cubicBezTo>
                  <a:pt x="8152765" y="6636117"/>
                  <a:pt x="8151770" y="6636299"/>
                  <a:pt x="8151069" y="6635980"/>
                </a:cubicBezTo>
                <a:cubicBezTo>
                  <a:pt x="8150369" y="6635662"/>
                  <a:pt x="8149964" y="6634842"/>
                  <a:pt x="8150040" y="6633314"/>
                </a:cubicBezTo>
                <a:cubicBezTo>
                  <a:pt x="8150198" y="6632624"/>
                  <a:pt x="8150182" y="6631893"/>
                  <a:pt x="8149993" y="6631122"/>
                </a:cubicBezTo>
                <a:cubicBezTo>
                  <a:pt x="8149845" y="6630180"/>
                  <a:pt x="8150161" y="6628797"/>
                  <a:pt x="8148989" y="6628349"/>
                </a:cubicBezTo>
                <a:cubicBezTo>
                  <a:pt x="8147952" y="6628113"/>
                  <a:pt x="8147063" y="6628819"/>
                  <a:pt x="8146387" y="6629391"/>
                </a:cubicBezTo>
                <a:cubicBezTo>
                  <a:pt x="8143125" y="6631739"/>
                  <a:pt x="8142127" y="6631329"/>
                  <a:pt x="8141397" y="6627346"/>
                </a:cubicBezTo>
                <a:cubicBezTo>
                  <a:pt x="8141249" y="6626403"/>
                  <a:pt x="8141233" y="6625672"/>
                  <a:pt x="8140872" y="6624863"/>
                </a:cubicBezTo>
                <a:cubicBezTo>
                  <a:pt x="8140416" y="6623669"/>
                  <a:pt x="8139922" y="6622647"/>
                  <a:pt x="8138036" y="6622944"/>
                </a:cubicBezTo>
                <a:cubicBezTo>
                  <a:pt x="8136283" y="6623455"/>
                  <a:pt x="8136126" y="6624145"/>
                  <a:pt x="8136156" y="6625607"/>
                </a:cubicBezTo>
                <a:lnTo>
                  <a:pt x="8135851" y="6628286"/>
                </a:lnTo>
                <a:lnTo>
                  <a:pt x="8125401" y="6611768"/>
                </a:lnTo>
                <a:lnTo>
                  <a:pt x="8126425" y="6610847"/>
                </a:lnTo>
                <a:cubicBezTo>
                  <a:pt x="8127125" y="6609370"/>
                  <a:pt x="8126843" y="6608216"/>
                  <a:pt x="8125617" y="6607210"/>
                </a:cubicBezTo>
                <a:cubicBezTo>
                  <a:pt x="8124698" y="6606455"/>
                  <a:pt x="8123739" y="6605873"/>
                  <a:pt x="8122820" y="6605117"/>
                </a:cubicBezTo>
                <a:cubicBezTo>
                  <a:pt x="8121288" y="6603860"/>
                  <a:pt x="8120872" y="6602493"/>
                  <a:pt x="8121691" y="6600498"/>
                </a:cubicBezTo>
                <a:cubicBezTo>
                  <a:pt x="8124146" y="6594514"/>
                  <a:pt x="8122883" y="6589681"/>
                  <a:pt x="8117980" y="6585656"/>
                </a:cubicBezTo>
                <a:cubicBezTo>
                  <a:pt x="8117234" y="6584940"/>
                  <a:pt x="8115293" y="6584680"/>
                  <a:pt x="8115992" y="6583203"/>
                </a:cubicBezTo>
                <a:cubicBezTo>
                  <a:pt x="8116520" y="6581688"/>
                  <a:pt x="8118155" y="6581697"/>
                  <a:pt x="8119750" y="6581879"/>
                </a:cubicBezTo>
                <a:cubicBezTo>
                  <a:pt x="8119923" y="6581919"/>
                  <a:pt x="8120096" y="6581958"/>
                  <a:pt x="8120268" y="6581997"/>
                </a:cubicBezTo>
                <a:cubicBezTo>
                  <a:pt x="8124575" y="6582251"/>
                  <a:pt x="8126219" y="6580627"/>
                  <a:pt x="8124892" y="6576871"/>
                </a:cubicBezTo>
                <a:cubicBezTo>
                  <a:pt x="8123699" y="6573326"/>
                  <a:pt x="8124769" y="6571026"/>
                  <a:pt x="8127089" y="6568828"/>
                </a:cubicBezTo>
                <a:cubicBezTo>
                  <a:pt x="8130124" y="6565884"/>
                  <a:pt x="8132679" y="6562649"/>
                  <a:pt x="8132626" y="6558093"/>
                </a:cubicBezTo>
                <a:cubicBezTo>
                  <a:pt x="8132541" y="6556073"/>
                  <a:pt x="8134640" y="6555644"/>
                  <a:pt x="8135928" y="6555573"/>
                </a:cubicBezTo>
                <a:cubicBezTo>
                  <a:pt x="8140778" y="6555042"/>
                  <a:pt x="8143522" y="6552578"/>
                  <a:pt x="8145064" y="6548203"/>
                </a:cubicBezTo>
                <a:cubicBezTo>
                  <a:pt x="8146040" y="6545518"/>
                  <a:pt x="8147196" y="6545235"/>
                  <a:pt x="8149568" y="6547593"/>
                </a:cubicBezTo>
                <a:cubicBezTo>
                  <a:pt x="8154619" y="6552562"/>
                  <a:pt x="8163854" y="6551939"/>
                  <a:pt x="8167826" y="6546482"/>
                </a:cubicBezTo>
                <a:cubicBezTo>
                  <a:pt x="8168620" y="6545391"/>
                  <a:pt x="8169665" y="6543993"/>
                  <a:pt x="8168692" y="6542680"/>
                </a:cubicBezTo>
                <a:cubicBezTo>
                  <a:pt x="8167718" y="6541368"/>
                  <a:pt x="8166107" y="6540455"/>
                  <a:pt x="8164314" y="6541138"/>
                </a:cubicBezTo>
                <a:cubicBezTo>
                  <a:pt x="8163160" y="6541420"/>
                  <a:pt x="8161925" y="6542048"/>
                  <a:pt x="8160731" y="6542503"/>
                </a:cubicBezTo>
                <a:cubicBezTo>
                  <a:pt x="8159496" y="6543130"/>
                  <a:pt x="8158340" y="6543412"/>
                  <a:pt x="8157712" y="6542178"/>
                </a:cubicBezTo>
                <a:cubicBezTo>
                  <a:pt x="8156950" y="6540732"/>
                  <a:pt x="8157878" y="6539853"/>
                  <a:pt x="8158940" y="6539186"/>
                </a:cubicBezTo>
                <a:cubicBezTo>
                  <a:pt x="8159829" y="6538479"/>
                  <a:pt x="8161023" y="6538026"/>
                  <a:pt x="8161872" y="6537492"/>
                </a:cubicBezTo>
                <a:cubicBezTo>
                  <a:pt x="8163783" y="6536290"/>
                  <a:pt x="8165120" y="6534415"/>
                  <a:pt x="8163957" y="6532332"/>
                </a:cubicBezTo>
                <a:cubicBezTo>
                  <a:pt x="8162889" y="6530634"/>
                  <a:pt x="8160673" y="6531584"/>
                  <a:pt x="8159053" y="6532305"/>
                </a:cubicBezTo>
                <a:cubicBezTo>
                  <a:pt x="8157646" y="6532893"/>
                  <a:pt x="8156427" y="6534251"/>
                  <a:pt x="8154753" y="6534415"/>
                </a:cubicBezTo>
                <a:cubicBezTo>
                  <a:pt x="8152308" y="6534767"/>
                  <a:pt x="8151005" y="6534106"/>
                  <a:pt x="8151807" y="6531380"/>
                </a:cubicBezTo>
                <a:cubicBezTo>
                  <a:pt x="8152847" y="6527619"/>
                  <a:pt x="8155111" y="6524863"/>
                  <a:pt x="8157855" y="6522398"/>
                </a:cubicBezTo>
                <a:cubicBezTo>
                  <a:pt x="8161315" y="6519187"/>
                  <a:pt x="8161960" y="6517153"/>
                  <a:pt x="8160021" y="6512895"/>
                </a:cubicBezTo>
                <a:cubicBezTo>
                  <a:pt x="8159471" y="6511315"/>
                  <a:pt x="8158364" y="6509790"/>
                  <a:pt x="8157430" y="6508305"/>
                </a:cubicBezTo>
                <a:cubicBezTo>
                  <a:pt x="8157028" y="6507668"/>
                  <a:pt x="8156283" y="6506953"/>
                  <a:pt x="8156825" y="6506168"/>
                </a:cubicBezTo>
                <a:cubicBezTo>
                  <a:pt x="8157407" y="6505210"/>
                  <a:pt x="8158312" y="6505234"/>
                  <a:pt x="8158963" y="6505565"/>
                </a:cubicBezTo>
                <a:cubicBezTo>
                  <a:pt x="8161917" y="6506965"/>
                  <a:pt x="8162924" y="6505739"/>
                  <a:pt x="8163381" y="6502936"/>
                </a:cubicBezTo>
                <a:cubicBezTo>
                  <a:pt x="8163996" y="6499440"/>
                  <a:pt x="8166794" y="6497533"/>
                  <a:pt x="8169648" y="6496183"/>
                </a:cubicBezTo>
                <a:cubicBezTo>
                  <a:pt x="8171904" y="6495062"/>
                  <a:pt x="8172352" y="6493892"/>
                  <a:pt x="8170766" y="6492076"/>
                </a:cubicBezTo>
                <a:cubicBezTo>
                  <a:pt x="8169886" y="6491149"/>
                  <a:pt x="8169352" y="6490300"/>
                  <a:pt x="8170013" y="6488997"/>
                </a:cubicBezTo>
                <a:cubicBezTo>
                  <a:pt x="8170792" y="6487174"/>
                  <a:pt x="8172096" y="6487835"/>
                  <a:pt x="8173385" y="6487765"/>
                </a:cubicBezTo>
                <a:cubicBezTo>
                  <a:pt x="8174116" y="6487751"/>
                  <a:pt x="8174981" y="6487948"/>
                  <a:pt x="8175884" y="6487971"/>
                </a:cubicBezTo>
                <a:cubicBezTo>
                  <a:pt x="8180670" y="6488516"/>
                  <a:pt x="8182298" y="6486160"/>
                  <a:pt x="8180438" y="6481557"/>
                </a:cubicBezTo>
                <a:cubicBezTo>
                  <a:pt x="8180210" y="6480959"/>
                  <a:pt x="8179943" y="6480535"/>
                  <a:pt x="8179888" y="6479977"/>
                </a:cubicBezTo>
                <a:cubicBezTo>
                  <a:pt x="8179605" y="6478821"/>
                  <a:pt x="8179575" y="6477361"/>
                  <a:pt x="8180770" y="6476906"/>
                </a:cubicBezTo>
                <a:close/>
                <a:moveTo>
                  <a:pt x="4424400" y="6472220"/>
                </a:moveTo>
                <a:cubicBezTo>
                  <a:pt x="4426357" y="6470323"/>
                  <a:pt x="4432061" y="6473728"/>
                  <a:pt x="4434889" y="6474897"/>
                </a:cubicBezTo>
                <a:cubicBezTo>
                  <a:pt x="4441432" y="6477839"/>
                  <a:pt x="4450775" y="6475965"/>
                  <a:pt x="4454051" y="6485348"/>
                </a:cubicBezTo>
                <a:cubicBezTo>
                  <a:pt x="4454652" y="6486928"/>
                  <a:pt x="4456130" y="6489113"/>
                  <a:pt x="4458729" y="6489863"/>
                </a:cubicBezTo>
                <a:cubicBezTo>
                  <a:pt x="4462398" y="6490571"/>
                  <a:pt x="4463789" y="6493080"/>
                  <a:pt x="4463406" y="6496838"/>
                </a:cubicBezTo>
                <a:cubicBezTo>
                  <a:pt x="4463401" y="6499297"/>
                  <a:pt x="4464653" y="6501064"/>
                  <a:pt x="4465807" y="6503156"/>
                </a:cubicBezTo>
                <a:cubicBezTo>
                  <a:pt x="4468908" y="6508269"/>
                  <a:pt x="4469546" y="6513375"/>
                  <a:pt x="4466236" y="6518747"/>
                </a:cubicBezTo>
                <a:cubicBezTo>
                  <a:pt x="4464319" y="6521711"/>
                  <a:pt x="4464269" y="6525564"/>
                  <a:pt x="4466959" y="6528448"/>
                </a:cubicBezTo>
                <a:cubicBezTo>
                  <a:pt x="4466580" y="6529746"/>
                  <a:pt x="4466209" y="6531044"/>
                  <a:pt x="4465832" y="6532342"/>
                </a:cubicBezTo>
                <a:cubicBezTo>
                  <a:pt x="4462442" y="6533120"/>
                  <a:pt x="4460579" y="6534693"/>
                  <a:pt x="4459683" y="6539005"/>
                </a:cubicBezTo>
                <a:cubicBezTo>
                  <a:pt x="4458320" y="6544941"/>
                  <a:pt x="4454414" y="6548734"/>
                  <a:pt x="4447538" y="6548156"/>
                </a:cubicBezTo>
                <a:cubicBezTo>
                  <a:pt x="4444516" y="6547637"/>
                  <a:pt x="4444514" y="6550095"/>
                  <a:pt x="4443954" y="6552043"/>
                </a:cubicBezTo>
                <a:cubicBezTo>
                  <a:pt x="4443018" y="6555288"/>
                  <a:pt x="4441531" y="6555562"/>
                  <a:pt x="4439583" y="6552540"/>
                </a:cubicBezTo>
                <a:cubicBezTo>
                  <a:pt x="4436625" y="6548170"/>
                  <a:pt x="4434025" y="6547420"/>
                  <a:pt x="4431458" y="6552655"/>
                </a:cubicBezTo>
                <a:cubicBezTo>
                  <a:pt x="4430752" y="6553859"/>
                  <a:pt x="4429316" y="6555200"/>
                  <a:pt x="4428482" y="6553203"/>
                </a:cubicBezTo>
                <a:cubicBezTo>
                  <a:pt x="4425477" y="6547765"/>
                  <a:pt x="4421803" y="6549517"/>
                  <a:pt x="4417710" y="6551499"/>
                </a:cubicBezTo>
                <a:cubicBezTo>
                  <a:pt x="4417196" y="6552055"/>
                  <a:pt x="4415899" y="6551679"/>
                  <a:pt x="4415248" y="6551492"/>
                </a:cubicBezTo>
                <a:cubicBezTo>
                  <a:pt x="4408760" y="6544698"/>
                  <a:pt x="4402784" y="6537348"/>
                  <a:pt x="4396388" y="6530229"/>
                </a:cubicBezTo>
                <a:cubicBezTo>
                  <a:pt x="4393470" y="6526926"/>
                  <a:pt x="4393307" y="6520197"/>
                  <a:pt x="4393078" y="6514860"/>
                </a:cubicBezTo>
                <a:cubicBezTo>
                  <a:pt x="4392993" y="6512726"/>
                  <a:pt x="4393878" y="6510872"/>
                  <a:pt x="4392400" y="6508687"/>
                </a:cubicBezTo>
                <a:cubicBezTo>
                  <a:pt x="4390918" y="6506502"/>
                  <a:pt x="4391804" y="6504648"/>
                  <a:pt x="4393666" y="6503076"/>
                </a:cubicBezTo>
                <a:cubicBezTo>
                  <a:pt x="4394689" y="6501966"/>
                  <a:pt x="4396461" y="6500718"/>
                  <a:pt x="4395858" y="6499139"/>
                </a:cubicBezTo>
                <a:cubicBezTo>
                  <a:pt x="4393731" y="6494306"/>
                  <a:pt x="4394251" y="6491292"/>
                  <a:pt x="4400009" y="6490845"/>
                </a:cubicBezTo>
                <a:cubicBezTo>
                  <a:pt x="4401406" y="6490896"/>
                  <a:pt x="4402295" y="6489043"/>
                  <a:pt x="4401274" y="6487694"/>
                </a:cubicBezTo>
                <a:cubicBezTo>
                  <a:pt x="4398082" y="6482905"/>
                  <a:pt x="4403096" y="6482595"/>
                  <a:pt x="4404500" y="6480186"/>
                </a:cubicBezTo>
                <a:cubicBezTo>
                  <a:pt x="4409302" y="6472081"/>
                  <a:pt x="4418626" y="6477585"/>
                  <a:pt x="4424400" y="6472220"/>
                </a:cubicBezTo>
                <a:close/>
                <a:moveTo>
                  <a:pt x="974144" y="6469245"/>
                </a:moveTo>
                <a:cubicBezTo>
                  <a:pt x="977850" y="6471264"/>
                  <a:pt x="981117" y="6473156"/>
                  <a:pt x="985077" y="6474298"/>
                </a:cubicBezTo>
                <a:cubicBezTo>
                  <a:pt x="989036" y="6475441"/>
                  <a:pt x="992238" y="6479212"/>
                  <a:pt x="992986" y="6483224"/>
                </a:cubicBezTo>
                <a:cubicBezTo>
                  <a:pt x="993421" y="6486671"/>
                  <a:pt x="994235" y="6488804"/>
                  <a:pt x="996496" y="6490880"/>
                </a:cubicBezTo>
                <a:cubicBezTo>
                  <a:pt x="994979" y="6496136"/>
                  <a:pt x="993462" y="6501391"/>
                  <a:pt x="991945" y="6506648"/>
                </a:cubicBezTo>
                <a:cubicBezTo>
                  <a:pt x="986913" y="6507567"/>
                  <a:pt x="982381" y="6510056"/>
                  <a:pt x="979484" y="6513489"/>
                </a:cubicBezTo>
                <a:cubicBezTo>
                  <a:pt x="976274" y="6516358"/>
                  <a:pt x="973375" y="6519791"/>
                  <a:pt x="970038" y="6523099"/>
                </a:cubicBezTo>
                <a:cubicBezTo>
                  <a:pt x="966827" y="6525967"/>
                  <a:pt x="963489" y="6529275"/>
                  <a:pt x="961786" y="6533528"/>
                </a:cubicBezTo>
                <a:cubicBezTo>
                  <a:pt x="959767" y="6537215"/>
                  <a:pt x="956622" y="6538206"/>
                  <a:pt x="952911" y="6539507"/>
                </a:cubicBezTo>
                <a:cubicBezTo>
                  <a:pt x="949199" y="6540808"/>
                  <a:pt x="944926" y="6539099"/>
                  <a:pt x="941841" y="6541531"/>
                </a:cubicBezTo>
                <a:cubicBezTo>
                  <a:pt x="938761" y="6540641"/>
                  <a:pt x="936122" y="6539880"/>
                  <a:pt x="933041" y="6538991"/>
                </a:cubicBezTo>
                <a:cubicBezTo>
                  <a:pt x="933420" y="6537677"/>
                  <a:pt x="933107" y="6537112"/>
                  <a:pt x="932228" y="6536858"/>
                </a:cubicBezTo>
                <a:cubicBezTo>
                  <a:pt x="925628" y="6534953"/>
                  <a:pt x="923372" y="6529558"/>
                  <a:pt x="922690" y="6523666"/>
                </a:cubicBezTo>
                <a:cubicBezTo>
                  <a:pt x="921881" y="6518214"/>
                  <a:pt x="920505" y="6513073"/>
                  <a:pt x="923029" y="6507633"/>
                </a:cubicBezTo>
                <a:cubicBezTo>
                  <a:pt x="926118" y="6501881"/>
                  <a:pt x="927575" y="6495184"/>
                  <a:pt x="934244" y="6491891"/>
                </a:cubicBezTo>
                <a:cubicBezTo>
                  <a:pt x="936510" y="6490647"/>
                  <a:pt x="938649" y="6489841"/>
                  <a:pt x="941981" y="6489854"/>
                </a:cubicBezTo>
                <a:cubicBezTo>
                  <a:pt x="946761" y="6489809"/>
                  <a:pt x="952672" y="6489143"/>
                  <a:pt x="953375" y="6481754"/>
                </a:cubicBezTo>
                <a:cubicBezTo>
                  <a:pt x="953693" y="6478999"/>
                  <a:pt x="956586" y="6478886"/>
                  <a:pt x="957405" y="6477699"/>
                </a:cubicBezTo>
                <a:cubicBezTo>
                  <a:pt x="961628" y="6471326"/>
                  <a:pt x="967792" y="6469784"/>
                  <a:pt x="974144" y="6469245"/>
                </a:cubicBezTo>
                <a:close/>
                <a:moveTo>
                  <a:pt x="7389842" y="6462321"/>
                </a:moveTo>
                <a:cubicBezTo>
                  <a:pt x="7391331" y="6460703"/>
                  <a:pt x="7396087" y="6463185"/>
                  <a:pt x="7398422" y="6463997"/>
                </a:cubicBezTo>
                <a:cubicBezTo>
                  <a:pt x="7403832" y="6466069"/>
                  <a:pt x="7411275" y="6464128"/>
                  <a:pt x="7414346" y="6471541"/>
                </a:cubicBezTo>
                <a:cubicBezTo>
                  <a:pt x="7414902" y="6472787"/>
                  <a:pt x="7416197" y="6474479"/>
                  <a:pt x="7418326" y="6474965"/>
                </a:cubicBezTo>
                <a:cubicBezTo>
                  <a:pt x="7421316" y="6475367"/>
                  <a:pt x="7422550" y="6477326"/>
                  <a:pt x="7422415" y="6480372"/>
                </a:cubicBezTo>
                <a:cubicBezTo>
                  <a:pt x="7422524" y="6482355"/>
                  <a:pt x="7423612" y="6483722"/>
                  <a:pt x="7424641" y="6485355"/>
                </a:cubicBezTo>
                <a:cubicBezTo>
                  <a:pt x="7427375" y="6489333"/>
                  <a:pt x="7428124" y="6493420"/>
                  <a:pt x="7425702" y="6497902"/>
                </a:cubicBezTo>
                <a:cubicBezTo>
                  <a:pt x="7424297" y="6500380"/>
                  <a:pt x="7424430" y="6503487"/>
                  <a:pt x="7426729" y="6505689"/>
                </a:cubicBezTo>
                <a:cubicBezTo>
                  <a:pt x="7426487" y="6506752"/>
                  <a:pt x="7426244" y="6507815"/>
                  <a:pt x="7426001" y="6508879"/>
                </a:cubicBezTo>
                <a:cubicBezTo>
                  <a:pt x="7423302" y="6509663"/>
                  <a:pt x="7421874" y="6511015"/>
                  <a:pt x="7421353" y="6514532"/>
                </a:cubicBezTo>
                <a:cubicBezTo>
                  <a:pt x="7420529" y="6519379"/>
                  <a:pt x="7417551" y="6522616"/>
                  <a:pt x="7411984" y="6522467"/>
                </a:cubicBezTo>
                <a:cubicBezTo>
                  <a:pt x="7409528" y="6522187"/>
                  <a:pt x="7409635" y="6524169"/>
                  <a:pt x="7409271" y="6525764"/>
                </a:cubicBezTo>
                <a:cubicBezTo>
                  <a:pt x="7408666" y="6528423"/>
                  <a:pt x="7407481" y="6528712"/>
                  <a:pt x="7405774" y="6526365"/>
                </a:cubicBezTo>
                <a:cubicBezTo>
                  <a:pt x="7403185" y="6522979"/>
                  <a:pt x="7401055" y="6522494"/>
                  <a:pt x="7399227" y="6526831"/>
                </a:cubicBezTo>
                <a:cubicBezTo>
                  <a:pt x="7398718" y="6527834"/>
                  <a:pt x="7397616" y="6528982"/>
                  <a:pt x="7396854" y="6527410"/>
                </a:cubicBezTo>
                <a:cubicBezTo>
                  <a:pt x="7394182" y="6523164"/>
                  <a:pt x="7391301" y="6524746"/>
                  <a:pt x="7388093" y="6526532"/>
                </a:cubicBezTo>
                <a:cubicBezTo>
                  <a:pt x="7387705" y="6527003"/>
                  <a:pt x="7386641" y="6526760"/>
                  <a:pt x="7386108" y="6526639"/>
                </a:cubicBezTo>
                <a:cubicBezTo>
                  <a:pt x="7380567" y="6521462"/>
                  <a:pt x="7375413" y="6515812"/>
                  <a:pt x="7369932" y="6510367"/>
                </a:cubicBezTo>
                <a:cubicBezTo>
                  <a:pt x="7367428" y="6507839"/>
                  <a:pt x="7366983" y="6502423"/>
                  <a:pt x="7366560" y="6498131"/>
                </a:cubicBezTo>
                <a:cubicBezTo>
                  <a:pt x="7366391" y="6496415"/>
                  <a:pt x="7367021" y="6494879"/>
                  <a:pt x="7365726" y="6493186"/>
                </a:cubicBezTo>
                <a:cubicBezTo>
                  <a:pt x="7364432" y="6491493"/>
                  <a:pt x="7365061" y="6489958"/>
                  <a:pt x="7366491" y="6488606"/>
                </a:cubicBezTo>
                <a:cubicBezTo>
                  <a:pt x="7367264" y="6487664"/>
                  <a:pt x="7368633" y="6486577"/>
                  <a:pt x="7368076" y="6485331"/>
                </a:cubicBezTo>
                <a:cubicBezTo>
                  <a:pt x="7366141" y="6481534"/>
                  <a:pt x="7366420" y="6479080"/>
                  <a:pt x="7371044" y="6478455"/>
                </a:cubicBezTo>
                <a:cubicBezTo>
                  <a:pt x="7372168" y="6478432"/>
                  <a:pt x="7372799" y="6476897"/>
                  <a:pt x="7371915" y="6475857"/>
                </a:cubicBezTo>
                <a:cubicBezTo>
                  <a:pt x="7369121" y="6472143"/>
                  <a:pt x="7373151" y="6471664"/>
                  <a:pt x="7374168" y="6469658"/>
                </a:cubicBezTo>
                <a:cubicBezTo>
                  <a:pt x="7377668" y="6462903"/>
                  <a:pt x="7385436" y="6466911"/>
                  <a:pt x="7389842" y="6462321"/>
                </a:cubicBezTo>
                <a:close/>
                <a:moveTo>
                  <a:pt x="2361652" y="6453824"/>
                </a:moveTo>
                <a:lnTo>
                  <a:pt x="2362300" y="6453855"/>
                </a:lnTo>
                <a:lnTo>
                  <a:pt x="2361885" y="6454244"/>
                </a:lnTo>
                <a:close/>
                <a:moveTo>
                  <a:pt x="9623413" y="6443737"/>
                </a:moveTo>
                <a:cubicBezTo>
                  <a:pt x="9625368" y="6441840"/>
                  <a:pt x="9631074" y="6445245"/>
                  <a:pt x="9633905" y="6446413"/>
                </a:cubicBezTo>
                <a:cubicBezTo>
                  <a:pt x="9640447" y="6449357"/>
                  <a:pt x="9649789" y="6447482"/>
                  <a:pt x="9653064" y="6456865"/>
                </a:cubicBezTo>
                <a:cubicBezTo>
                  <a:pt x="9653664" y="6458445"/>
                  <a:pt x="9655146" y="6460631"/>
                  <a:pt x="9657745" y="6461381"/>
                </a:cubicBezTo>
                <a:cubicBezTo>
                  <a:pt x="9661414" y="6462088"/>
                  <a:pt x="9662802" y="6464597"/>
                  <a:pt x="9662420" y="6468355"/>
                </a:cubicBezTo>
                <a:cubicBezTo>
                  <a:pt x="9662414" y="6470814"/>
                  <a:pt x="9663665" y="6472581"/>
                  <a:pt x="9664821" y="6474673"/>
                </a:cubicBezTo>
                <a:cubicBezTo>
                  <a:pt x="9667921" y="6479786"/>
                  <a:pt x="9668559" y="6484893"/>
                  <a:pt x="9665248" y="6490264"/>
                </a:cubicBezTo>
                <a:cubicBezTo>
                  <a:pt x="9663338" y="6493229"/>
                  <a:pt x="9663281" y="6497080"/>
                  <a:pt x="9665969" y="6499965"/>
                </a:cubicBezTo>
                <a:cubicBezTo>
                  <a:pt x="9665594" y="6501263"/>
                  <a:pt x="9665220" y="6502561"/>
                  <a:pt x="9664846" y="6503859"/>
                </a:cubicBezTo>
                <a:cubicBezTo>
                  <a:pt x="9661453" y="6504637"/>
                  <a:pt x="9659591" y="6506210"/>
                  <a:pt x="9658698" y="6510522"/>
                </a:cubicBezTo>
                <a:cubicBezTo>
                  <a:pt x="9657337" y="6516457"/>
                  <a:pt x="9653426" y="6520251"/>
                  <a:pt x="9646553" y="6519674"/>
                </a:cubicBezTo>
                <a:cubicBezTo>
                  <a:pt x="9643535" y="6519153"/>
                  <a:pt x="9643528" y="6521612"/>
                  <a:pt x="9642966" y="6523560"/>
                </a:cubicBezTo>
                <a:cubicBezTo>
                  <a:pt x="9642029" y="6526805"/>
                  <a:pt x="9640542" y="6527079"/>
                  <a:pt x="9638598" y="6524057"/>
                </a:cubicBezTo>
                <a:cubicBezTo>
                  <a:pt x="9635636" y="6519687"/>
                  <a:pt x="9633036" y="6518937"/>
                  <a:pt x="9630469" y="6524172"/>
                </a:cubicBezTo>
                <a:cubicBezTo>
                  <a:pt x="9629770" y="6525376"/>
                  <a:pt x="9628327" y="6526717"/>
                  <a:pt x="9627495" y="6524719"/>
                </a:cubicBezTo>
                <a:cubicBezTo>
                  <a:pt x="9624488" y="6519282"/>
                  <a:pt x="9620816" y="6521034"/>
                  <a:pt x="9616723" y="6523016"/>
                </a:cubicBezTo>
                <a:cubicBezTo>
                  <a:pt x="9616210" y="6523571"/>
                  <a:pt x="9614910" y="6523196"/>
                  <a:pt x="9614261" y="6523009"/>
                </a:cubicBezTo>
                <a:cubicBezTo>
                  <a:pt x="9607773" y="6516215"/>
                  <a:pt x="9601798" y="6508865"/>
                  <a:pt x="9595405" y="6501747"/>
                </a:cubicBezTo>
                <a:cubicBezTo>
                  <a:pt x="9592486" y="6498443"/>
                  <a:pt x="9592316" y="6491714"/>
                  <a:pt x="9592097" y="6486377"/>
                </a:cubicBezTo>
                <a:cubicBezTo>
                  <a:pt x="9592009" y="6484242"/>
                  <a:pt x="9592896" y="6482389"/>
                  <a:pt x="9591415" y="6480203"/>
                </a:cubicBezTo>
                <a:cubicBezTo>
                  <a:pt x="9589934" y="6478019"/>
                  <a:pt x="9590821" y="6476166"/>
                  <a:pt x="9592683" y="6474593"/>
                </a:cubicBezTo>
                <a:cubicBezTo>
                  <a:pt x="9593707" y="6473483"/>
                  <a:pt x="9595476" y="6472235"/>
                  <a:pt x="9594876" y="6470655"/>
                </a:cubicBezTo>
                <a:cubicBezTo>
                  <a:pt x="9592749" y="6465824"/>
                  <a:pt x="9593267" y="6462808"/>
                  <a:pt x="9599028" y="6462363"/>
                </a:cubicBezTo>
                <a:cubicBezTo>
                  <a:pt x="9600423" y="6462413"/>
                  <a:pt x="9601310" y="6460560"/>
                  <a:pt x="9600290" y="6459210"/>
                </a:cubicBezTo>
                <a:cubicBezTo>
                  <a:pt x="9597096" y="6454421"/>
                  <a:pt x="9602114" y="6454112"/>
                  <a:pt x="9603513" y="6451703"/>
                </a:cubicBezTo>
                <a:cubicBezTo>
                  <a:pt x="9608317" y="6443598"/>
                  <a:pt x="9617640" y="6449102"/>
                  <a:pt x="9623413" y="6443737"/>
                </a:cubicBezTo>
                <a:close/>
                <a:moveTo>
                  <a:pt x="9406510" y="6437496"/>
                </a:moveTo>
                <a:cubicBezTo>
                  <a:pt x="9410217" y="6439516"/>
                  <a:pt x="9413485" y="6441408"/>
                  <a:pt x="9417445" y="6442550"/>
                </a:cubicBezTo>
                <a:cubicBezTo>
                  <a:pt x="9421403" y="6443693"/>
                  <a:pt x="9424604" y="6447464"/>
                  <a:pt x="9425353" y="6451476"/>
                </a:cubicBezTo>
                <a:cubicBezTo>
                  <a:pt x="9425788" y="6454923"/>
                  <a:pt x="9426603" y="6457056"/>
                  <a:pt x="9428863" y="6459132"/>
                </a:cubicBezTo>
                <a:cubicBezTo>
                  <a:pt x="9427346" y="6464388"/>
                  <a:pt x="9425828" y="6469643"/>
                  <a:pt x="9424311" y="6474899"/>
                </a:cubicBezTo>
                <a:cubicBezTo>
                  <a:pt x="9419281" y="6475819"/>
                  <a:pt x="9414749" y="6478308"/>
                  <a:pt x="9411851" y="6481741"/>
                </a:cubicBezTo>
                <a:cubicBezTo>
                  <a:pt x="9408640" y="6484610"/>
                  <a:pt x="9405743" y="6488043"/>
                  <a:pt x="9402405" y="6491351"/>
                </a:cubicBezTo>
                <a:cubicBezTo>
                  <a:pt x="9399194" y="6494219"/>
                  <a:pt x="9395857" y="6497527"/>
                  <a:pt x="9394152" y="6501780"/>
                </a:cubicBezTo>
                <a:cubicBezTo>
                  <a:pt x="9392134" y="6505467"/>
                  <a:pt x="9388990" y="6506458"/>
                  <a:pt x="9385278" y="6507759"/>
                </a:cubicBezTo>
                <a:cubicBezTo>
                  <a:pt x="9381565" y="6509060"/>
                  <a:pt x="9377293" y="6507351"/>
                  <a:pt x="9374208" y="6509783"/>
                </a:cubicBezTo>
                <a:cubicBezTo>
                  <a:pt x="9371128" y="6508894"/>
                  <a:pt x="9368489" y="6508132"/>
                  <a:pt x="9365408" y="6507243"/>
                </a:cubicBezTo>
                <a:cubicBezTo>
                  <a:pt x="9365789" y="6505929"/>
                  <a:pt x="9365475" y="6505364"/>
                  <a:pt x="9364595" y="6505110"/>
                </a:cubicBezTo>
                <a:cubicBezTo>
                  <a:pt x="9357995" y="6503205"/>
                  <a:pt x="9355739" y="6497810"/>
                  <a:pt x="9355057" y="6491918"/>
                </a:cubicBezTo>
                <a:cubicBezTo>
                  <a:pt x="9354247" y="6486466"/>
                  <a:pt x="9352872" y="6481325"/>
                  <a:pt x="9355395" y="6475885"/>
                </a:cubicBezTo>
                <a:cubicBezTo>
                  <a:pt x="9358485" y="6470133"/>
                  <a:pt x="9359941" y="6463437"/>
                  <a:pt x="9366611" y="6460142"/>
                </a:cubicBezTo>
                <a:cubicBezTo>
                  <a:pt x="9368877" y="6458899"/>
                  <a:pt x="9371016" y="6458093"/>
                  <a:pt x="9374349" y="6458106"/>
                </a:cubicBezTo>
                <a:cubicBezTo>
                  <a:pt x="9379127" y="6458061"/>
                  <a:pt x="9385040" y="6457395"/>
                  <a:pt x="9385742" y="6450007"/>
                </a:cubicBezTo>
                <a:cubicBezTo>
                  <a:pt x="9386061" y="6447252"/>
                  <a:pt x="9388953" y="6447138"/>
                  <a:pt x="9389772" y="6445951"/>
                </a:cubicBezTo>
                <a:cubicBezTo>
                  <a:pt x="9393994" y="6439578"/>
                  <a:pt x="9400159" y="6438036"/>
                  <a:pt x="9406510" y="6437496"/>
                </a:cubicBezTo>
                <a:close/>
                <a:moveTo>
                  <a:pt x="5632863" y="6435786"/>
                </a:moveTo>
                <a:cubicBezTo>
                  <a:pt x="5635932" y="6437937"/>
                  <a:pt x="5638690" y="6438349"/>
                  <a:pt x="5642898" y="6437963"/>
                </a:cubicBezTo>
                <a:cubicBezTo>
                  <a:pt x="5647882" y="6437801"/>
                  <a:pt x="5653223" y="6440631"/>
                  <a:pt x="5655624" y="6445055"/>
                </a:cubicBezTo>
                <a:cubicBezTo>
                  <a:pt x="5658025" y="6449479"/>
                  <a:pt x="5661141" y="6452880"/>
                  <a:pt x="5664524" y="6456772"/>
                </a:cubicBezTo>
                <a:cubicBezTo>
                  <a:pt x="5665554" y="6464493"/>
                  <a:pt x="5665333" y="6472253"/>
                  <a:pt x="5658834" y="6478965"/>
                </a:cubicBezTo>
                <a:cubicBezTo>
                  <a:pt x="5657633" y="6480254"/>
                  <a:pt x="5658260" y="6483736"/>
                  <a:pt x="5655056" y="6484840"/>
                </a:cubicBezTo>
                <a:cubicBezTo>
                  <a:pt x="5646424" y="6487620"/>
                  <a:pt x="5647182" y="6494848"/>
                  <a:pt x="5648384" y="6500562"/>
                </a:cubicBezTo>
                <a:cubicBezTo>
                  <a:pt x="5649277" y="6504535"/>
                  <a:pt x="5648876" y="6507300"/>
                  <a:pt x="5647986" y="6510329"/>
                </a:cubicBezTo>
                <a:cubicBezTo>
                  <a:pt x="5645811" y="6519153"/>
                  <a:pt x="5638223" y="6522650"/>
                  <a:pt x="5632170" y="6527847"/>
                </a:cubicBezTo>
                <a:cubicBezTo>
                  <a:pt x="5626343" y="6532287"/>
                  <a:pt x="5619849" y="6531997"/>
                  <a:pt x="5613133" y="6532464"/>
                </a:cubicBezTo>
                <a:cubicBezTo>
                  <a:pt x="5605922" y="6533196"/>
                  <a:pt x="5598895" y="6531922"/>
                  <a:pt x="5594887" y="6524549"/>
                </a:cubicBezTo>
                <a:cubicBezTo>
                  <a:pt x="5594351" y="6523566"/>
                  <a:pt x="5593596" y="6523340"/>
                  <a:pt x="5592130" y="6524138"/>
                </a:cubicBezTo>
                <a:cubicBezTo>
                  <a:pt x="5590254" y="6520697"/>
                  <a:pt x="5588654" y="6517747"/>
                  <a:pt x="5586784" y="6514306"/>
                </a:cubicBezTo>
                <a:cubicBezTo>
                  <a:pt x="5588877" y="6509986"/>
                  <a:pt x="5585718" y="6505336"/>
                  <a:pt x="5586298" y="6500566"/>
                </a:cubicBezTo>
                <a:cubicBezTo>
                  <a:pt x="5586871" y="6495795"/>
                  <a:pt x="5587225" y="6491781"/>
                  <a:pt x="5591099" y="6488406"/>
                </a:cubicBezTo>
                <a:cubicBezTo>
                  <a:pt x="5595717" y="6485255"/>
                  <a:pt x="5598791" y="6480404"/>
                  <a:pt x="5601374" y="6475819"/>
                </a:cubicBezTo>
                <a:cubicBezTo>
                  <a:pt x="5604441" y="6470968"/>
                  <a:pt x="5607779" y="6466608"/>
                  <a:pt x="5610359" y="6462023"/>
                </a:cubicBezTo>
                <a:cubicBezTo>
                  <a:pt x="5613691" y="6457664"/>
                  <a:pt x="5615470" y="6451603"/>
                  <a:pt x="5615244" y="6445358"/>
                </a:cubicBezTo>
                <a:cubicBezTo>
                  <a:pt x="5621116" y="6442167"/>
                  <a:pt x="5626991" y="6438977"/>
                  <a:pt x="5632863" y="6435786"/>
                </a:cubicBezTo>
                <a:close/>
                <a:moveTo>
                  <a:pt x="8584726" y="6427979"/>
                </a:moveTo>
                <a:cubicBezTo>
                  <a:pt x="8588953" y="6428892"/>
                  <a:pt x="8593144" y="6430854"/>
                  <a:pt x="8597298" y="6431196"/>
                </a:cubicBezTo>
                <a:cubicBezTo>
                  <a:pt x="8600835" y="6431600"/>
                  <a:pt x="8608553" y="6431345"/>
                  <a:pt x="8609476" y="6434374"/>
                </a:cubicBezTo>
                <a:cubicBezTo>
                  <a:pt x="8612331" y="6443078"/>
                  <a:pt x="8624911" y="6442723"/>
                  <a:pt x="8625239" y="6453670"/>
                </a:cubicBezTo>
                <a:cubicBezTo>
                  <a:pt x="8625307" y="6456907"/>
                  <a:pt x="8630237" y="6460043"/>
                  <a:pt x="8624295" y="6463119"/>
                </a:cubicBezTo>
                <a:cubicBezTo>
                  <a:pt x="8622501" y="6463918"/>
                  <a:pt x="8622360" y="6466303"/>
                  <a:pt x="8623807" y="6467035"/>
                </a:cubicBezTo>
                <a:cubicBezTo>
                  <a:pt x="8629415" y="6470728"/>
                  <a:pt x="8628247" y="6474086"/>
                  <a:pt x="8623367" y="6477807"/>
                </a:cubicBezTo>
                <a:cubicBezTo>
                  <a:pt x="8621869" y="6479075"/>
                  <a:pt x="8622965" y="6481339"/>
                  <a:pt x="8623383" y="6483045"/>
                </a:cubicBezTo>
                <a:cubicBezTo>
                  <a:pt x="8624393" y="6485692"/>
                  <a:pt x="8624253" y="6488075"/>
                  <a:pt x="8621517" y="6489465"/>
                </a:cubicBezTo>
                <a:cubicBezTo>
                  <a:pt x="8618782" y="6490855"/>
                  <a:pt x="8618642" y="6493239"/>
                  <a:pt x="8617352" y="6495361"/>
                </a:cubicBezTo>
                <a:cubicBezTo>
                  <a:pt x="8614127" y="6500666"/>
                  <a:pt x="8610169" y="6507416"/>
                  <a:pt x="8605343" y="6509134"/>
                </a:cubicBezTo>
                <a:cubicBezTo>
                  <a:pt x="8594836" y="6512781"/>
                  <a:pt x="8584625" y="6516897"/>
                  <a:pt x="8574204" y="6520159"/>
                </a:cubicBezTo>
                <a:cubicBezTo>
                  <a:pt x="8573437" y="6519986"/>
                  <a:pt x="8571904" y="6519636"/>
                  <a:pt x="8571697" y="6518783"/>
                </a:cubicBezTo>
                <a:cubicBezTo>
                  <a:pt x="8568648" y="6514465"/>
                  <a:pt x="8565896" y="6510616"/>
                  <a:pt x="8559780" y="6514457"/>
                </a:cubicBezTo>
                <a:cubicBezTo>
                  <a:pt x="8557810" y="6516022"/>
                  <a:pt x="8557096" y="6513845"/>
                  <a:pt x="8557063" y="6512227"/>
                </a:cubicBezTo>
                <a:cubicBezTo>
                  <a:pt x="8557395" y="6505457"/>
                  <a:pt x="8554330" y="6504759"/>
                  <a:pt x="8548857" y="6507539"/>
                </a:cubicBezTo>
                <a:cubicBezTo>
                  <a:pt x="8545181" y="6509519"/>
                  <a:pt x="8543821" y="6508405"/>
                  <a:pt x="8544694" y="6504576"/>
                </a:cubicBezTo>
                <a:cubicBezTo>
                  <a:pt x="8545217" y="6502280"/>
                  <a:pt x="8546595" y="6499774"/>
                  <a:pt x="8543233" y="6498606"/>
                </a:cubicBezTo>
                <a:cubicBezTo>
                  <a:pt x="8535915" y="6495329"/>
                  <a:pt x="8534070" y="6489270"/>
                  <a:pt x="8536023" y="6482468"/>
                </a:cubicBezTo>
                <a:cubicBezTo>
                  <a:pt x="8537541" y="6477578"/>
                  <a:pt x="8536531" y="6474932"/>
                  <a:pt x="8533518" y="6472232"/>
                </a:cubicBezTo>
                <a:cubicBezTo>
                  <a:pt x="8533867" y="6470701"/>
                  <a:pt x="8534215" y="6469170"/>
                  <a:pt x="8534564" y="6467639"/>
                </a:cubicBezTo>
                <a:cubicBezTo>
                  <a:pt x="8538921" y="6466215"/>
                  <a:pt x="8541030" y="6462267"/>
                  <a:pt x="8540753" y="6458176"/>
                </a:cubicBezTo>
                <a:cubicBezTo>
                  <a:pt x="8540406" y="6450849"/>
                  <a:pt x="8543927" y="6446014"/>
                  <a:pt x="8549956" y="6442556"/>
                </a:cubicBezTo>
                <a:cubicBezTo>
                  <a:pt x="8552309" y="6441079"/>
                  <a:pt x="8554575" y="6439984"/>
                  <a:pt x="8555951" y="6437479"/>
                </a:cubicBezTo>
                <a:cubicBezTo>
                  <a:pt x="8557678" y="6433443"/>
                  <a:pt x="8560500" y="6431670"/>
                  <a:pt x="8564629" y="6433014"/>
                </a:cubicBezTo>
                <a:cubicBezTo>
                  <a:pt x="8567695" y="6433712"/>
                  <a:pt x="8570431" y="6432322"/>
                  <a:pt x="8571931" y="6431053"/>
                </a:cubicBezTo>
                <a:cubicBezTo>
                  <a:pt x="8576235" y="6427201"/>
                  <a:pt x="8580499" y="6427067"/>
                  <a:pt x="8584726" y="6427979"/>
                </a:cubicBezTo>
                <a:close/>
                <a:moveTo>
                  <a:pt x="10794010" y="6422076"/>
                </a:moveTo>
                <a:lnTo>
                  <a:pt x="10794660" y="6422108"/>
                </a:lnTo>
                <a:lnTo>
                  <a:pt x="10794243" y="6422496"/>
                </a:lnTo>
                <a:close/>
                <a:moveTo>
                  <a:pt x="2569200" y="6412508"/>
                </a:moveTo>
                <a:lnTo>
                  <a:pt x="2564152" y="6415073"/>
                </a:lnTo>
                <a:cubicBezTo>
                  <a:pt x="2563665" y="6416265"/>
                  <a:pt x="2564440" y="6418071"/>
                  <a:pt x="2565991" y="6421684"/>
                </a:cubicBezTo>
                <a:cubicBezTo>
                  <a:pt x="2566671" y="6423320"/>
                  <a:pt x="2567163" y="6424613"/>
                  <a:pt x="2565102" y="6425747"/>
                </a:cubicBezTo>
                <a:lnTo>
                  <a:pt x="2556553" y="6431288"/>
                </a:lnTo>
                <a:lnTo>
                  <a:pt x="2574707" y="6439157"/>
                </a:lnTo>
                <a:cubicBezTo>
                  <a:pt x="2590327" y="6445540"/>
                  <a:pt x="2606482" y="6450846"/>
                  <a:pt x="2623617" y="6452507"/>
                </a:cubicBezTo>
                <a:cubicBezTo>
                  <a:pt x="2628988" y="6432462"/>
                  <a:pt x="2611610" y="6431713"/>
                  <a:pt x="2601164" y="6426962"/>
                </a:cubicBezTo>
                <a:close/>
                <a:moveTo>
                  <a:pt x="1179321" y="6405005"/>
                </a:moveTo>
                <a:cubicBezTo>
                  <a:pt x="1181985" y="6405796"/>
                  <a:pt x="1184303" y="6406773"/>
                  <a:pt x="1187093" y="6406151"/>
                </a:cubicBezTo>
                <a:cubicBezTo>
                  <a:pt x="1191263" y="6404780"/>
                  <a:pt x="1194459" y="6405729"/>
                  <a:pt x="1196178" y="6409716"/>
                </a:cubicBezTo>
                <a:cubicBezTo>
                  <a:pt x="1197679" y="6412479"/>
                  <a:pt x="1200532" y="6413615"/>
                  <a:pt x="1202473" y="6413901"/>
                </a:cubicBezTo>
                <a:cubicBezTo>
                  <a:pt x="1213944" y="6415274"/>
                  <a:pt x="1214150" y="6426346"/>
                  <a:pt x="1219127" y="6433038"/>
                </a:cubicBezTo>
                <a:cubicBezTo>
                  <a:pt x="1221161" y="6435960"/>
                  <a:pt x="1226452" y="6441585"/>
                  <a:pt x="1224788" y="6444279"/>
                </a:cubicBezTo>
                <a:cubicBezTo>
                  <a:pt x="1220140" y="6452173"/>
                  <a:pt x="1228718" y="6461381"/>
                  <a:pt x="1220717" y="6468860"/>
                </a:cubicBezTo>
                <a:cubicBezTo>
                  <a:pt x="1218333" y="6471050"/>
                  <a:pt x="1219236" y="6476823"/>
                  <a:pt x="1213000" y="6474395"/>
                </a:cubicBezTo>
                <a:cubicBezTo>
                  <a:pt x="1211216" y="6473575"/>
                  <a:pt x="1209333" y="6475045"/>
                  <a:pt x="1209738" y="6476615"/>
                </a:cubicBezTo>
                <a:lnTo>
                  <a:pt x="1208876" y="6480071"/>
                </a:lnTo>
                <a:lnTo>
                  <a:pt x="1212341" y="6480973"/>
                </a:lnTo>
                <a:cubicBezTo>
                  <a:pt x="1215904" y="6482044"/>
                  <a:pt x="1219058" y="6483922"/>
                  <a:pt x="1220696" y="6488613"/>
                </a:cubicBezTo>
                <a:cubicBezTo>
                  <a:pt x="1221295" y="6490193"/>
                  <a:pt x="1222776" y="6492378"/>
                  <a:pt x="1225377" y="6493129"/>
                </a:cubicBezTo>
                <a:cubicBezTo>
                  <a:pt x="1229044" y="6493836"/>
                  <a:pt x="1230432" y="6496346"/>
                  <a:pt x="1230052" y="6500103"/>
                </a:cubicBezTo>
                <a:cubicBezTo>
                  <a:pt x="1230046" y="6502562"/>
                  <a:pt x="1231296" y="6504329"/>
                  <a:pt x="1232452" y="6506421"/>
                </a:cubicBezTo>
                <a:cubicBezTo>
                  <a:pt x="1235552" y="6511534"/>
                  <a:pt x="1236191" y="6516640"/>
                  <a:pt x="1232880" y="6522012"/>
                </a:cubicBezTo>
                <a:cubicBezTo>
                  <a:pt x="1230968" y="6524977"/>
                  <a:pt x="1230913" y="6528829"/>
                  <a:pt x="1233600" y="6531714"/>
                </a:cubicBezTo>
                <a:cubicBezTo>
                  <a:pt x="1233225" y="6533011"/>
                  <a:pt x="1232850" y="6534309"/>
                  <a:pt x="1232475" y="6535607"/>
                </a:cubicBezTo>
                <a:cubicBezTo>
                  <a:pt x="1229082" y="6536386"/>
                  <a:pt x="1227221" y="6537958"/>
                  <a:pt x="1226329" y="6542270"/>
                </a:cubicBezTo>
                <a:cubicBezTo>
                  <a:pt x="1224967" y="6548205"/>
                  <a:pt x="1221056" y="6551998"/>
                  <a:pt x="1214184" y="6551422"/>
                </a:cubicBezTo>
                <a:cubicBezTo>
                  <a:pt x="1211164" y="6550901"/>
                  <a:pt x="1211160" y="6553360"/>
                  <a:pt x="1210597" y="6555308"/>
                </a:cubicBezTo>
                <a:cubicBezTo>
                  <a:pt x="1209661" y="6558553"/>
                  <a:pt x="1208174" y="6558827"/>
                  <a:pt x="1206230" y="6555806"/>
                </a:cubicBezTo>
                <a:cubicBezTo>
                  <a:pt x="1203267" y="6551435"/>
                  <a:pt x="1200668" y="6550684"/>
                  <a:pt x="1198101" y="6555920"/>
                </a:cubicBezTo>
                <a:cubicBezTo>
                  <a:pt x="1197401" y="6557124"/>
                  <a:pt x="1195958" y="6558465"/>
                  <a:pt x="1195127" y="6556467"/>
                </a:cubicBezTo>
                <a:cubicBezTo>
                  <a:pt x="1192120" y="6551030"/>
                  <a:pt x="1188446" y="6552781"/>
                  <a:pt x="1184354" y="6554764"/>
                </a:cubicBezTo>
                <a:cubicBezTo>
                  <a:pt x="1183841" y="6555319"/>
                  <a:pt x="1182542" y="6554944"/>
                  <a:pt x="1181891" y="6554757"/>
                </a:cubicBezTo>
                <a:cubicBezTo>
                  <a:pt x="1175405" y="6547963"/>
                  <a:pt x="1169430" y="6540613"/>
                  <a:pt x="1163037" y="6533495"/>
                </a:cubicBezTo>
                <a:cubicBezTo>
                  <a:pt x="1160118" y="6530191"/>
                  <a:pt x="1159948" y="6523462"/>
                  <a:pt x="1159728" y="6518125"/>
                </a:cubicBezTo>
                <a:cubicBezTo>
                  <a:pt x="1159640" y="6515991"/>
                  <a:pt x="1160527" y="6514137"/>
                  <a:pt x="1159046" y="6511951"/>
                </a:cubicBezTo>
                <a:cubicBezTo>
                  <a:pt x="1157564" y="6509767"/>
                  <a:pt x="1158452" y="6507913"/>
                  <a:pt x="1160313" y="6506342"/>
                </a:cubicBezTo>
                <a:cubicBezTo>
                  <a:pt x="1161338" y="6505230"/>
                  <a:pt x="1163107" y="6503983"/>
                  <a:pt x="1162506" y="6502403"/>
                </a:cubicBezTo>
                <a:cubicBezTo>
                  <a:pt x="1160381" y="6497572"/>
                  <a:pt x="1160898" y="6494556"/>
                  <a:pt x="1166660" y="6494111"/>
                </a:cubicBezTo>
                <a:cubicBezTo>
                  <a:pt x="1168053" y="6494161"/>
                  <a:pt x="1168940" y="6492308"/>
                  <a:pt x="1167922" y="6490959"/>
                </a:cubicBezTo>
                <a:lnTo>
                  <a:pt x="1168093" y="6490561"/>
                </a:lnTo>
                <a:lnTo>
                  <a:pt x="1165937" y="6490571"/>
                </a:lnTo>
                <a:cubicBezTo>
                  <a:pt x="1156259" y="6485092"/>
                  <a:pt x="1146423" y="6480147"/>
                  <a:pt x="1137089" y="6474480"/>
                </a:cubicBezTo>
                <a:cubicBezTo>
                  <a:pt x="1136714" y="6473790"/>
                  <a:pt x="1135963" y="6472408"/>
                  <a:pt x="1136465" y="6471687"/>
                </a:cubicBezTo>
                <a:cubicBezTo>
                  <a:pt x="1137693" y="6466547"/>
                  <a:pt x="1138764" y="6461939"/>
                  <a:pt x="1131839" y="6459885"/>
                </a:cubicBezTo>
                <a:cubicBezTo>
                  <a:pt x="1129364" y="6459441"/>
                  <a:pt x="1130526" y="6457467"/>
                  <a:pt x="1131718" y="6456372"/>
                </a:cubicBezTo>
                <a:cubicBezTo>
                  <a:pt x="1137019" y="6452148"/>
                  <a:pt x="1135518" y="6449386"/>
                  <a:pt x="1129817" y="6447115"/>
                </a:cubicBezTo>
                <a:cubicBezTo>
                  <a:pt x="1125899" y="6445663"/>
                  <a:pt x="1125839" y="6443907"/>
                  <a:pt x="1129289" y="6442032"/>
                </a:cubicBezTo>
                <a:cubicBezTo>
                  <a:pt x="1131359" y="6440908"/>
                  <a:pt x="1134149" y="6440287"/>
                  <a:pt x="1132805" y="6436991"/>
                </a:cubicBezTo>
                <a:cubicBezTo>
                  <a:pt x="1130431" y="6429332"/>
                  <a:pt x="1133760" y="6423945"/>
                  <a:pt x="1140156" y="6420916"/>
                </a:cubicBezTo>
                <a:cubicBezTo>
                  <a:pt x="1144830" y="6418825"/>
                  <a:pt x="1146148" y="6416319"/>
                  <a:pt x="1146183" y="6412273"/>
                </a:cubicBezTo>
                <a:cubicBezTo>
                  <a:pt x="1147564" y="6411523"/>
                  <a:pt x="1148944" y="6410774"/>
                  <a:pt x="1150324" y="6410024"/>
                </a:cubicBezTo>
                <a:cubicBezTo>
                  <a:pt x="1154270" y="6412354"/>
                  <a:pt x="1158628" y="6411328"/>
                  <a:pt x="1161515" y="6408417"/>
                </a:cubicBezTo>
                <a:cubicBezTo>
                  <a:pt x="1166786" y="6403316"/>
                  <a:pt x="1172742" y="6402764"/>
                  <a:pt x="1179321" y="6405005"/>
                </a:cubicBezTo>
                <a:close/>
                <a:moveTo>
                  <a:pt x="2439253" y="6402313"/>
                </a:moveTo>
                <a:cubicBezTo>
                  <a:pt x="2437425" y="6402983"/>
                  <a:pt x="2435767" y="6404614"/>
                  <a:pt x="2434458" y="6407681"/>
                </a:cubicBezTo>
                <a:cubicBezTo>
                  <a:pt x="2427883" y="6417638"/>
                  <a:pt x="2440641" y="6421055"/>
                  <a:pt x="2447440" y="6424831"/>
                </a:cubicBezTo>
                <a:lnTo>
                  <a:pt x="2458847" y="6430446"/>
                </a:lnTo>
                <a:lnTo>
                  <a:pt x="2471799" y="6424723"/>
                </a:lnTo>
                <a:cubicBezTo>
                  <a:pt x="2473133" y="6423093"/>
                  <a:pt x="2474888" y="6421009"/>
                  <a:pt x="2473487" y="6418877"/>
                </a:cubicBezTo>
                <a:cubicBezTo>
                  <a:pt x="2472087" y="6416745"/>
                  <a:pt x="2469658" y="6415182"/>
                  <a:pt x="2466804" y="6416085"/>
                </a:cubicBezTo>
                <a:cubicBezTo>
                  <a:pt x="2464979" y="6416422"/>
                  <a:pt x="2463000" y="6417290"/>
                  <a:pt x="2461099" y="6417892"/>
                </a:cubicBezTo>
                <a:cubicBezTo>
                  <a:pt x="2459119" y="6418761"/>
                  <a:pt x="2457295" y="6419097"/>
                  <a:pt x="2456424" y="6417120"/>
                </a:cubicBezTo>
                <a:cubicBezTo>
                  <a:pt x="2455367" y="6414799"/>
                  <a:pt x="2456891" y="6413511"/>
                  <a:pt x="2458605" y="6412567"/>
                </a:cubicBezTo>
                <a:lnTo>
                  <a:pt x="2460774" y="6411472"/>
                </a:lnTo>
                <a:lnTo>
                  <a:pt x="2455478" y="6409407"/>
                </a:lnTo>
                <a:cubicBezTo>
                  <a:pt x="2451744" y="6406942"/>
                  <a:pt x="2444733" y="6400304"/>
                  <a:pt x="2439253" y="6402313"/>
                </a:cubicBezTo>
                <a:close/>
                <a:moveTo>
                  <a:pt x="2330398" y="6400383"/>
                </a:moveTo>
                <a:lnTo>
                  <a:pt x="2332104" y="6407896"/>
                </a:lnTo>
                <a:cubicBezTo>
                  <a:pt x="2331888" y="6412425"/>
                  <a:pt x="2330906" y="6416987"/>
                  <a:pt x="2330589" y="6421573"/>
                </a:cubicBezTo>
                <a:cubicBezTo>
                  <a:pt x="2329514" y="6429949"/>
                  <a:pt x="2324016" y="6435044"/>
                  <a:pt x="2318961" y="6440934"/>
                </a:cubicBezTo>
                <a:lnTo>
                  <a:pt x="2311179" y="6447534"/>
                </a:lnTo>
                <a:lnTo>
                  <a:pt x="2391252" y="6484433"/>
                </a:lnTo>
                <a:lnTo>
                  <a:pt x="2390661" y="6481327"/>
                </a:lnTo>
                <a:cubicBezTo>
                  <a:pt x="2389561" y="6480147"/>
                  <a:pt x="2386560" y="6479569"/>
                  <a:pt x="2387782" y="6477330"/>
                </a:cubicBezTo>
                <a:cubicBezTo>
                  <a:pt x="2388739" y="6475016"/>
                  <a:pt x="2391284" y="6475174"/>
                  <a:pt x="2393753" y="6475599"/>
                </a:cubicBezTo>
                <a:cubicBezTo>
                  <a:pt x="2394020" y="6475676"/>
                  <a:pt x="2394285" y="6475753"/>
                  <a:pt x="2394552" y="6475830"/>
                </a:cubicBezTo>
                <a:cubicBezTo>
                  <a:pt x="2401238" y="6476609"/>
                  <a:pt x="2403943" y="6474223"/>
                  <a:pt x="2402211" y="6468253"/>
                </a:cubicBezTo>
                <a:cubicBezTo>
                  <a:pt x="2400666" y="6462626"/>
                  <a:pt x="2402537" y="6459136"/>
                  <a:pt x="2406347" y="6455918"/>
                </a:cubicBezTo>
                <a:lnTo>
                  <a:pt x="2414571" y="6441983"/>
                </a:lnTo>
                <a:close/>
                <a:moveTo>
                  <a:pt x="10111327" y="6382824"/>
                </a:moveTo>
                <a:cubicBezTo>
                  <a:pt x="10113283" y="6380927"/>
                  <a:pt x="10118988" y="6384332"/>
                  <a:pt x="10121819" y="6385500"/>
                </a:cubicBezTo>
                <a:cubicBezTo>
                  <a:pt x="10128361" y="6388443"/>
                  <a:pt x="10137702" y="6386569"/>
                  <a:pt x="10140978" y="6395952"/>
                </a:cubicBezTo>
                <a:cubicBezTo>
                  <a:pt x="10141578" y="6397532"/>
                  <a:pt x="10143060" y="6399717"/>
                  <a:pt x="10145660" y="6400468"/>
                </a:cubicBezTo>
                <a:cubicBezTo>
                  <a:pt x="10149327" y="6401175"/>
                  <a:pt x="10150715" y="6403685"/>
                  <a:pt x="10150335" y="6407442"/>
                </a:cubicBezTo>
                <a:cubicBezTo>
                  <a:pt x="10150328" y="6409901"/>
                  <a:pt x="10151579" y="6411668"/>
                  <a:pt x="10152736" y="6413760"/>
                </a:cubicBezTo>
                <a:cubicBezTo>
                  <a:pt x="10155835" y="6418873"/>
                  <a:pt x="10156473" y="6423979"/>
                  <a:pt x="10153162" y="6429351"/>
                </a:cubicBezTo>
                <a:cubicBezTo>
                  <a:pt x="10151251" y="6432316"/>
                  <a:pt x="10151195" y="6436168"/>
                  <a:pt x="10153883" y="6439053"/>
                </a:cubicBezTo>
                <a:cubicBezTo>
                  <a:pt x="10153508" y="6440350"/>
                  <a:pt x="10153133" y="6441648"/>
                  <a:pt x="10152760" y="6442946"/>
                </a:cubicBezTo>
                <a:cubicBezTo>
                  <a:pt x="10149366" y="6443725"/>
                  <a:pt x="10147504" y="6445297"/>
                  <a:pt x="10146612" y="6449609"/>
                </a:cubicBezTo>
                <a:cubicBezTo>
                  <a:pt x="10145250" y="6455544"/>
                  <a:pt x="10141339" y="6459337"/>
                  <a:pt x="10134467" y="6458761"/>
                </a:cubicBezTo>
                <a:cubicBezTo>
                  <a:pt x="10131449" y="6458240"/>
                  <a:pt x="10131443" y="6460699"/>
                  <a:pt x="10130880" y="6462647"/>
                </a:cubicBezTo>
                <a:cubicBezTo>
                  <a:pt x="10129943" y="6465892"/>
                  <a:pt x="10128456" y="6466166"/>
                  <a:pt x="10126512" y="6463145"/>
                </a:cubicBezTo>
                <a:cubicBezTo>
                  <a:pt x="10123550" y="6458773"/>
                  <a:pt x="10120950" y="6458023"/>
                  <a:pt x="10118383" y="6463259"/>
                </a:cubicBezTo>
                <a:cubicBezTo>
                  <a:pt x="10117685" y="6464463"/>
                  <a:pt x="10116241" y="6465804"/>
                  <a:pt x="10115410" y="6463807"/>
                </a:cubicBezTo>
                <a:cubicBezTo>
                  <a:pt x="10112402" y="6458369"/>
                  <a:pt x="10108730" y="6460121"/>
                  <a:pt x="10104636" y="6462103"/>
                </a:cubicBezTo>
                <a:cubicBezTo>
                  <a:pt x="10104124" y="6462658"/>
                  <a:pt x="10102824" y="6462284"/>
                  <a:pt x="10102174" y="6462096"/>
                </a:cubicBezTo>
                <a:cubicBezTo>
                  <a:pt x="10095687" y="6455302"/>
                  <a:pt x="10089712" y="6447952"/>
                  <a:pt x="10083319" y="6440833"/>
                </a:cubicBezTo>
                <a:cubicBezTo>
                  <a:pt x="10080400" y="6437530"/>
                  <a:pt x="10080230" y="6430801"/>
                  <a:pt x="10080011" y="6425464"/>
                </a:cubicBezTo>
                <a:cubicBezTo>
                  <a:pt x="10079923" y="6423330"/>
                  <a:pt x="10080810" y="6421476"/>
                  <a:pt x="10079330" y="6419290"/>
                </a:cubicBezTo>
                <a:cubicBezTo>
                  <a:pt x="10077847" y="6417106"/>
                  <a:pt x="10078735" y="6415252"/>
                  <a:pt x="10080597" y="6413681"/>
                </a:cubicBezTo>
                <a:cubicBezTo>
                  <a:pt x="10081621" y="6412569"/>
                  <a:pt x="10083390" y="6411322"/>
                  <a:pt x="10082790" y="6409742"/>
                </a:cubicBezTo>
                <a:cubicBezTo>
                  <a:pt x="10080663" y="6404910"/>
                  <a:pt x="10081181" y="6401895"/>
                  <a:pt x="10086942" y="6401450"/>
                </a:cubicBezTo>
                <a:cubicBezTo>
                  <a:pt x="10088336" y="6401500"/>
                  <a:pt x="10089224" y="6399647"/>
                  <a:pt x="10088204" y="6398298"/>
                </a:cubicBezTo>
                <a:cubicBezTo>
                  <a:pt x="10085010" y="6393509"/>
                  <a:pt x="10090029" y="6393199"/>
                  <a:pt x="10091427" y="6390790"/>
                </a:cubicBezTo>
                <a:cubicBezTo>
                  <a:pt x="10096231" y="6382685"/>
                  <a:pt x="10105554" y="6388189"/>
                  <a:pt x="10111327" y="6382824"/>
                </a:cubicBezTo>
                <a:close/>
                <a:moveTo>
                  <a:pt x="7932612" y="6377269"/>
                </a:moveTo>
                <a:cubicBezTo>
                  <a:pt x="7934212" y="6375530"/>
                  <a:pt x="7939323" y="6378196"/>
                  <a:pt x="7941833" y="6379069"/>
                </a:cubicBezTo>
                <a:cubicBezTo>
                  <a:pt x="7947645" y="6381295"/>
                  <a:pt x="7955643" y="6379211"/>
                  <a:pt x="7958945" y="6387176"/>
                </a:cubicBezTo>
                <a:cubicBezTo>
                  <a:pt x="7959543" y="6388515"/>
                  <a:pt x="7960934" y="6390335"/>
                  <a:pt x="7963222" y="6390856"/>
                </a:cubicBezTo>
                <a:cubicBezTo>
                  <a:pt x="7966434" y="6391288"/>
                  <a:pt x="7967760" y="6393393"/>
                  <a:pt x="7967616" y="6396666"/>
                </a:cubicBezTo>
                <a:cubicBezTo>
                  <a:pt x="7967733" y="6398797"/>
                  <a:pt x="7968903" y="6400266"/>
                  <a:pt x="7970008" y="6402021"/>
                </a:cubicBezTo>
                <a:cubicBezTo>
                  <a:pt x="7972946" y="6406296"/>
                  <a:pt x="7973751" y="6410688"/>
                  <a:pt x="7971148" y="6415504"/>
                </a:cubicBezTo>
                <a:cubicBezTo>
                  <a:pt x="7969639" y="6418166"/>
                  <a:pt x="7969781" y="6421505"/>
                  <a:pt x="7972251" y="6423871"/>
                </a:cubicBezTo>
                <a:cubicBezTo>
                  <a:pt x="7971991" y="6425014"/>
                  <a:pt x="7971730" y="6426157"/>
                  <a:pt x="7971469" y="6427300"/>
                </a:cubicBezTo>
                <a:cubicBezTo>
                  <a:pt x="7968570" y="6428142"/>
                  <a:pt x="7967035" y="6429596"/>
                  <a:pt x="7966474" y="6433375"/>
                </a:cubicBezTo>
                <a:cubicBezTo>
                  <a:pt x="7965588" y="6438583"/>
                  <a:pt x="7962388" y="6442063"/>
                  <a:pt x="7956406" y="6441902"/>
                </a:cubicBezTo>
                <a:cubicBezTo>
                  <a:pt x="7953766" y="6441600"/>
                  <a:pt x="7953882" y="6443731"/>
                  <a:pt x="7953492" y="6445445"/>
                </a:cubicBezTo>
                <a:cubicBezTo>
                  <a:pt x="7952841" y="6448302"/>
                  <a:pt x="7951566" y="6448612"/>
                  <a:pt x="7949734" y="6446091"/>
                </a:cubicBezTo>
                <a:cubicBezTo>
                  <a:pt x="7946951" y="6442452"/>
                  <a:pt x="7944663" y="6441930"/>
                  <a:pt x="7942698" y="6446592"/>
                </a:cubicBezTo>
                <a:cubicBezTo>
                  <a:pt x="7942151" y="6447669"/>
                  <a:pt x="7940967" y="6448903"/>
                  <a:pt x="7940148" y="6447213"/>
                </a:cubicBezTo>
                <a:cubicBezTo>
                  <a:pt x="7937276" y="6442652"/>
                  <a:pt x="7934180" y="6444351"/>
                  <a:pt x="7930733" y="6446271"/>
                </a:cubicBezTo>
                <a:cubicBezTo>
                  <a:pt x="7930316" y="6446776"/>
                  <a:pt x="7929173" y="6446516"/>
                  <a:pt x="7928600" y="6446386"/>
                </a:cubicBezTo>
                <a:cubicBezTo>
                  <a:pt x="7922645" y="6440821"/>
                  <a:pt x="7917107" y="6434749"/>
                  <a:pt x="7911218" y="6428899"/>
                </a:cubicBezTo>
                <a:cubicBezTo>
                  <a:pt x="7908526" y="6426182"/>
                  <a:pt x="7908048" y="6420362"/>
                  <a:pt x="7907593" y="6415750"/>
                </a:cubicBezTo>
                <a:cubicBezTo>
                  <a:pt x="7907411" y="6413905"/>
                  <a:pt x="7908089" y="6412256"/>
                  <a:pt x="7906698" y="6410437"/>
                </a:cubicBezTo>
                <a:cubicBezTo>
                  <a:pt x="7905306" y="6408617"/>
                  <a:pt x="7905983" y="6406968"/>
                  <a:pt x="7907518" y="6405514"/>
                </a:cubicBezTo>
                <a:cubicBezTo>
                  <a:pt x="7908350" y="6404502"/>
                  <a:pt x="7909820" y="6403334"/>
                  <a:pt x="7909223" y="6401995"/>
                </a:cubicBezTo>
                <a:cubicBezTo>
                  <a:pt x="7907143" y="6397915"/>
                  <a:pt x="7907444" y="6395278"/>
                  <a:pt x="7912411" y="6394607"/>
                </a:cubicBezTo>
                <a:cubicBezTo>
                  <a:pt x="7913620" y="6394582"/>
                  <a:pt x="7914297" y="6392933"/>
                  <a:pt x="7913348" y="6391815"/>
                </a:cubicBezTo>
                <a:cubicBezTo>
                  <a:pt x="7910345" y="6387824"/>
                  <a:pt x="7914677" y="6387308"/>
                  <a:pt x="7915769" y="6385153"/>
                </a:cubicBezTo>
                <a:cubicBezTo>
                  <a:pt x="7919530" y="6377895"/>
                  <a:pt x="7927878" y="6382201"/>
                  <a:pt x="7932612" y="6377269"/>
                </a:cubicBezTo>
                <a:close/>
                <a:moveTo>
                  <a:pt x="11154450" y="6374057"/>
                </a:moveTo>
                <a:cubicBezTo>
                  <a:pt x="11155682" y="6374644"/>
                  <a:pt x="11157765" y="6375094"/>
                  <a:pt x="11159701" y="6374082"/>
                </a:cubicBezTo>
                <a:cubicBezTo>
                  <a:pt x="11162238" y="6372449"/>
                  <a:pt x="11164447" y="6373141"/>
                  <a:pt x="11166320" y="6375546"/>
                </a:cubicBezTo>
                <a:cubicBezTo>
                  <a:pt x="11167689" y="6376984"/>
                  <a:pt x="11169404" y="6377319"/>
                  <a:pt x="11171246" y="6377895"/>
                </a:cubicBezTo>
                <a:cubicBezTo>
                  <a:pt x="11175907" y="6379151"/>
                  <a:pt x="11179128" y="6381776"/>
                  <a:pt x="11180192" y="6386758"/>
                </a:cubicBezTo>
                <a:cubicBezTo>
                  <a:pt x="11180729" y="6389555"/>
                  <a:pt x="11182844" y="6391834"/>
                  <a:pt x="11186021" y="6392019"/>
                </a:cubicBezTo>
                <a:cubicBezTo>
                  <a:pt x="11186526" y="6392986"/>
                  <a:pt x="11187032" y="6393953"/>
                  <a:pt x="11187537" y="6394919"/>
                </a:cubicBezTo>
                <a:cubicBezTo>
                  <a:pt x="11185991" y="6397266"/>
                  <a:pt x="11185781" y="6399223"/>
                  <a:pt x="11187665" y="6402238"/>
                </a:cubicBezTo>
                <a:cubicBezTo>
                  <a:pt x="11190181" y="6406462"/>
                  <a:pt x="11190013" y="6410857"/>
                  <a:pt x="11185679" y="6414354"/>
                </a:cubicBezTo>
                <a:cubicBezTo>
                  <a:pt x="11183626" y="6415733"/>
                  <a:pt x="11184996" y="6417172"/>
                  <a:pt x="11185752" y="6418622"/>
                </a:cubicBezTo>
                <a:cubicBezTo>
                  <a:pt x="11187016" y="6421039"/>
                  <a:pt x="11186300" y="6422029"/>
                  <a:pt x="11183480" y="6421349"/>
                </a:cubicBezTo>
                <a:cubicBezTo>
                  <a:pt x="11179314" y="6420449"/>
                  <a:pt x="11177377" y="6421462"/>
                  <a:pt x="11178800" y="6425949"/>
                </a:cubicBezTo>
                <a:cubicBezTo>
                  <a:pt x="11179062" y="6427043"/>
                  <a:pt x="11178967" y="6428630"/>
                  <a:pt x="11177368" y="6427927"/>
                </a:cubicBezTo>
                <a:cubicBezTo>
                  <a:pt x="11172581" y="6426430"/>
                  <a:pt x="11171413" y="6429502"/>
                  <a:pt x="11170130" y="6432942"/>
                </a:cubicBezTo>
                <a:cubicBezTo>
                  <a:pt x="11170141" y="6433552"/>
                  <a:pt x="11169173" y="6434057"/>
                  <a:pt x="11168688" y="6434311"/>
                </a:cubicBezTo>
                <a:cubicBezTo>
                  <a:pt x="11161113" y="6433962"/>
                  <a:pt x="11153525" y="6433004"/>
                  <a:pt x="11145822" y="6432415"/>
                </a:cubicBezTo>
                <a:cubicBezTo>
                  <a:pt x="11142276" y="6432114"/>
                  <a:pt x="11138424" y="6428280"/>
                  <a:pt x="11135321" y="6425288"/>
                </a:cubicBezTo>
                <a:cubicBezTo>
                  <a:pt x="11134079" y="6424090"/>
                  <a:pt x="11133563" y="6422513"/>
                  <a:pt x="11131478" y="6422064"/>
                </a:cubicBezTo>
                <a:cubicBezTo>
                  <a:pt x="11129395" y="6421615"/>
                  <a:pt x="11128879" y="6420038"/>
                  <a:pt x="11129090" y="6418082"/>
                </a:cubicBezTo>
                <a:cubicBezTo>
                  <a:pt x="11129069" y="6416863"/>
                  <a:pt x="11129404" y="6415148"/>
                  <a:pt x="11128173" y="6414561"/>
                </a:cubicBezTo>
                <a:cubicBezTo>
                  <a:pt x="11124237" y="6412925"/>
                  <a:pt x="11122859" y="6410876"/>
                  <a:pt x="11125972" y="6407403"/>
                </a:cubicBezTo>
                <a:cubicBezTo>
                  <a:pt x="11126814" y="6406655"/>
                  <a:pt x="11126299" y="6405079"/>
                  <a:pt x="11124951" y="6404859"/>
                </a:cubicBezTo>
                <a:cubicBezTo>
                  <a:pt x="11120416" y="6403845"/>
                  <a:pt x="11123172" y="6400866"/>
                  <a:pt x="11122645" y="6398680"/>
                </a:cubicBezTo>
                <a:cubicBezTo>
                  <a:pt x="11120929" y="6391268"/>
                  <a:pt x="11129441" y="6389281"/>
                  <a:pt x="11129819" y="6382931"/>
                </a:cubicBezTo>
                <a:cubicBezTo>
                  <a:pt x="11129904" y="6380732"/>
                  <a:pt x="11135132" y="6379538"/>
                  <a:pt x="11137436" y="6378642"/>
                </a:cubicBezTo>
                <a:cubicBezTo>
                  <a:pt x="11142898" y="6376710"/>
                  <a:pt x="11147305" y="6370406"/>
                  <a:pt x="11154450" y="6374057"/>
                </a:cubicBezTo>
                <a:close/>
                <a:moveTo>
                  <a:pt x="5218909" y="6372328"/>
                </a:moveTo>
                <a:cubicBezTo>
                  <a:pt x="5220043" y="6372366"/>
                  <a:pt x="5221353" y="6372903"/>
                  <a:pt x="5222439" y="6372622"/>
                </a:cubicBezTo>
                <a:cubicBezTo>
                  <a:pt x="5229826" y="6370786"/>
                  <a:pt x="5231951" y="6379265"/>
                  <a:pt x="5238311" y="6379540"/>
                </a:cubicBezTo>
                <a:cubicBezTo>
                  <a:pt x="5240510" y="6379588"/>
                  <a:pt x="5241788" y="6384799"/>
                  <a:pt x="5242724" y="6387088"/>
                </a:cubicBezTo>
                <a:cubicBezTo>
                  <a:pt x="5244745" y="6392517"/>
                  <a:pt x="5251115" y="6396822"/>
                  <a:pt x="5247585" y="6404026"/>
                </a:cubicBezTo>
                <a:cubicBezTo>
                  <a:pt x="5247017" y="6405266"/>
                  <a:pt x="5246600" y="6407357"/>
                  <a:pt x="5247647" y="6409276"/>
                </a:cubicBezTo>
                <a:cubicBezTo>
                  <a:pt x="5249314" y="6411785"/>
                  <a:pt x="5248663" y="6414006"/>
                  <a:pt x="5246293" y="6415917"/>
                </a:cubicBezTo>
                <a:cubicBezTo>
                  <a:pt x="5244876" y="6417309"/>
                  <a:pt x="5244564" y="6419029"/>
                  <a:pt x="5244019" y="6420881"/>
                </a:cubicBezTo>
                <a:cubicBezTo>
                  <a:pt x="5242834" y="6425561"/>
                  <a:pt x="5240264" y="6428823"/>
                  <a:pt x="5235293" y="6429968"/>
                </a:cubicBezTo>
                <a:cubicBezTo>
                  <a:pt x="5232508" y="6430550"/>
                  <a:pt x="5230256" y="6432702"/>
                  <a:pt x="5230127" y="6435881"/>
                </a:cubicBezTo>
                <a:cubicBezTo>
                  <a:pt x="5229170" y="6436403"/>
                  <a:pt x="5228205" y="6436923"/>
                  <a:pt x="5227250" y="6437444"/>
                </a:cubicBezTo>
                <a:cubicBezTo>
                  <a:pt x="5224872" y="6435936"/>
                  <a:pt x="5222917" y="6435757"/>
                  <a:pt x="5219928" y="6437689"/>
                </a:cubicBezTo>
                <a:cubicBezTo>
                  <a:pt x="5215751" y="6440273"/>
                  <a:pt x="5211351" y="6440177"/>
                  <a:pt x="5207790" y="6435899"/>
                </a:cubicBezTo>
                <a:cubicBezTo>
                  <a:pt x="5206376" y="6433870"/>
                  <a:pt x="5204954" y="6435260"/>
                  <a:pt x="5203518" y="6436042"/>
                </a:cubicBezTo>
                <a:cubicBezTo>
                  <a:pt x="5201121" y="6437343"/>
                  <a:pt x="5200122" y="6436644"/>
                  <a:pt x="5200754" y="6433814"/>
                </a:cubicBezTo>
                <a:cubicBezTo>
                  <a:pt x="5201586" y="6429633"/>
                  <a:pt x="5200548" y="6427713"/>
                  <a:pt x="5196085" y="6429207"/>
                </a:cubicBezTo>
                <a:cubicBezTo>
                  <a:pt x="5194991" y="6429488"/>
                  <a:pt x="5193414" y="6429419"/>
                  <a:pt x="5194084" y="6427808"/>
                </a:cubicBezTo>
                <a:cubicBezTo>
                  <a:pt x="5195497" y="6422997"/>
                  <a:pt x="5192416" y="6421879"/>
                  <a:pt x="5188954" y="6420652"/>
                </a:cubicBezTo>
                <a:cubicBezTo>
                  <a:pt x="5188350" y="6420673"/>
                  <a:pt x="5187825" y="6419712"/>
                  <a:pt x="5187570" y="6419232"/>
                </a:cubicBezTo>
                <a:cubicBezTo>
                  <a:pt x="5187787" y="6411652"/>
                  <a:pt x="5188622" y="6404050"/>
                  <a:pt x="5189096" y="6396340"/>
                </a:cubicBezTo>
                <a:cubicBezTo>
                  <a:pt x="5189335" y="6392788"/>
                  <a:pt x="5193099" y="6388875"/>
                  <a:pt x="5196052" y="6385723"/>
                </a:cubicBezTo>
                <a:cubicBezTo>
                  <a:pt x="5197226" y="6384462"/>
                  <a:pt x="5198785" y="6383921"/>
                  <a:pt x="5199201" y="6381830"/>
                </a:cubicBezTo>
                <a:cubicBezTo>
                  <a:pt x="5199612" y="6379740"/>
                  <a:pt x="5201189" y="6379199"/>
                  <a:pt x="5203152" y="6379377"/>
                </a:cubicBezTo>
                <a:cubicBezTo>
                  <a:pt x="5204364" y="6379336"/>
                  <a:pt x="5206091" y="6379645"/>
                  <a:pt x="5206649" y="6378404"/>
                </a:cubicBezTo>
                <a:cubicBezTo>
                  <a:pt x="5208221" y="6374443"/>
                  <a:pt x="5210244" y="6373031"/>
                  <a:pt x="5213765" y="6376089"/>
                </a:cubicBezTo>
                <a:cubicBezTo>
                  <a:pt x="5214528" y="6376918"/>
                  <a:pt x="5216099" y="6376376"/>
                  <a:pt x="5216292" y="6375027"/>
                </a:cubicBezTo>
                <a:cubicBezTo>
                  <a:pt x="5216769" y="6372751"/>
                  <a:pt x="5217755" y="6372291"/>
                  <a:pt x="5218909" y="6372328"/>
                </a:cubicBezTo>
                <a:close/>
                <a:moveTo>
                  <a:pt x="1643973" y="6366244"/>
                </a:moveTo>
                <a:cubicBezTo>
                  <a:pt x="1646521" y="6365406"/>
                  <a:pt x="1647016" y="6367322"/>
                  <a:pt x="1648240" y="6368570"/>
                </a:cubicBezTo>
                <a:cubicBezTo>
                  <a:pt x="1648910" y="6369300"/>
                  <a:pt x="1649482" y="6370354"/>
                  <a:pt x="1650266" y="6371294"/>
                </a:cubicBezTo>
                <a:cubicBezTo>
                  <a:pt x="1653994" y="6376646"/>
                  <a:pt x="1657843" y="6376193"/>
                  <a:pt x="1660859" y="6370183"/>
                </a:cubicBezTo>
                <a:cubicBezTo>
                  <a:pt x="1661262" y="6369418"/>
                  <a:pt x="1661455" y="6368767"/>
                  <a:pt x="1661973" y="6368213"/>
                </a:cubicBezTo>
                <a:cubicBezTo>
                  <a:pt x="1662894" y="6366893"/>
                  <a:pt x="1664351" y="6365554"/>
                  <a:pt x="1665882" y="6366362"/>
                </a:cubicBezTo>
                <a:cubicBezTo>
                  <a:pt x="1667299" y="6366958"/>
                  <a:pt x="1667258" y="6368893"/>
                  <a:pt x="1666873" y="6370194"/>
                </a:cubicBezTo>
                <a:cubicBezTo>
                  <a:pt x="1666487" y="6371497"/>
                  <a:pt x="1665988" y="6372588"/>
                  <a:pt x="1665278" y="6373794"/>
                </a:cubicBezTo>
                <a:cubicBezTo>
                  <a:pt x="1664489" y="6375861"/>
                  <a:pt x="1664755" y="6377355"/>
                  <a:pt x="1666937" y="6378356"/>
                </a:cubicBezTo>
                <a:cubicBezTo>
                  <a:pt x="1671856" y="6380875"/>
                  <a:pt x="1674684" y="6385075"/>
                  <a:pt x="1677302" y="6389391"/>
                </a:cubicBezTo>
                <a:cubicBezTo>
                  <a:pt x="1680589" y="6394435"/>
                  <a:pt x="1682936" y="6400263"/>
                  <a:pt x="1687067" y="6404849"/>
                </a:cubicBezTo>
                <a:cubicBezTo>
                  <a:pt x="1688519" y="6406518"/>
                  <a:pt x="1687828" y="6408261"/>
                  <a:pt x="1687232" y="6409677"/>
                </a:cubicBezTo>
                <a:lnTo>
                  <a:pt x="1687677" y="6416457"/>
                </a:lnTo>
                <a:lnTo>
                  <a:pt x="1689449" y="6417248"/>
                </a:lnTo>
                <a:cubicBezTo>
                  <a:pt x="1695992" y="6420191"/>
                  <a:pt x="1705333" y="6418317"/>
                  <a:pt x="1708609" y="6427700"/>
                </a:cubicBezTo>
                <a:cubicBezTo>
                  <a:pt x="1709209" y="6429280"/>
                  <a:pt x="1710690" y="6431465"/>
                  <a:pt x="1713289" y="6432215"/>
                </a:cubicBezTo>
                <a:cubicBezTo>
                  <a:pt x="1716957" y="6432923"/>
                  <a:pt x="1718345" y="6435432"/>
                  <a:pt x="1717964" y="6439190"/>
                </a:cubicBezTo>
                <a:cubicBezTo>
                  <a:pt x="1717959" y="6441649"/>
                  <a:pt x="1719208" y="6443417"/>
                  <a:pt x="1720364" y="6445508"/>
                </a:cubicBezTo>
                <a:cubicBezTo>
                  <a:pt x="1723466" y="6450621"/>
                  <a:pt x="1724104" y="6455727"/>
                  <a:pt x="1720793" y="6461100"/>
                </a:cubicBezTo>
                <a:cubicBezTo>
                  <a:pt x="1718881" y="6464064"/>
                  <a:pt x="1718826" y="6467915"/>
                  <a:pt x="1721513" y="6470800"/>
                </a:cubicBezTo>
                <a:cubicBezTo>
                  <a:pt x="1721138" y="6472099"/>
                  <a:pt x="1720764" y="6473396"/>
                  <a:pt x="1720389" y="6474694"/>
                </a:cubicBezTo>
                <a:cubicBezTo>
                  <a:pt x="1716996" y="6475473"/>
                  <a:pt x="1715134" y="6477045"/>
                  <a:pt x="1714241" y="6481358"/>
                </a:cubicBezTo>
                <a:cubicBezTo>
                  <a:pt x="1712880" y="6487293"/>
                  <a:pt x="1708969" y="6491085"/>
                  <a:pt x="1702096" y="6490508"/>
                </a:cubicBezTo>
                <a:cubicBezTo>
                  <a:pt x="1699078" y="6489989"/>
                  <a:pt x="1699072" y="6492448"/>
                  <a:pt x="1698510" y="6494395"/>
                </a:cubicBezTo>
                <a:cubicBezTo>
                  <a:pt x="1697573" y="6497640"/>
                  <a:pt x="1696087" y="6497915"/>
                  <a:pt x="1694142" y="6494892"/>
                </a:cubicBezTo>
                <a:cubicBezTo>
                  <a:pt x="1691180" y="6490521"/>
                  <a:pt x="1688581" y="6489771"/>
                  <a:pt x="1686013" y="6495007"/>
                </a:cubicBezTo>
                <a:cubicBezTo>
                  <a:pt x="1685314" y="6496212"/>
                  <a:pt x="1683870" y="6497552"/>
                  <a:pt x="1683039" y="6495555"/>
                </a:cubicBezTo>
                <a:cubicBezTo>
                  <a:pt x="1680033" y="6490116"/>
                  <a:pt x="1676359" y="6491868"/>
                  <a:pt x="1672266" y="6493851"/>
                </a:cubicBezTo>
                <a:cubicBezTo>
                  <a:pt x="1671754" y="6494407"/>
                  <a:pt x="1670455" y="6494032"/>
                  <a:pt x="1669804" y="6493844"/>
                </a:cubicBezTo>
                <a:cubicBezTo>
                  <a:pt x="1663318" y="6487050"/>
                  <a:pt x="1657343" y="6479700"/>
                  <a:pt x="1650950" y="6472581"/>
                </a:cubicBezTo>
                <a:lnTo>
                  <a:pt x="1649958" y="6467976"/>
                </a:lnTo>
                <a:lnTo>
                  <a:pt x="1645828" y="6466598"/>
                </a:lnTo>
                <a:cubicBezTo>
                  <a:pt x="1644796" y="6467023"/>
                  <a:pt x="1644153" y="6468602"/>
                  <a:pt x="1642865" y="6471760"/>
                </a:cubicBezTo>
                <a:cubicBezTo>
                  <a:pt x="1642268" y="6473176"/>
                  <a:pt x="1641769" y="6474268"/>
                  <a:pt x="1639817" y="6473690"/>
                </a:cubicBezTo>
                <a:cubicBezTo>
                  <a:pt x="1632675" y="6472106"/>
                  <a:pt x="1625763" y="6470943"/>
                  <a:pt x="1618718" y="6469034"/>
                </a:cubicBezTo>
                <a:cubicBezTo>
                  <a:pt x="1613415" y="6467817"/>
                  <a:pt x="1608918" y="6465069"/>
                  <a:pt x="1605342" y="6461001"/>
                </a:cubicBezTo>
                <a:cubicBezTo>
                  <a:pt x="1602894" y="6458506"/>
                  <a:pt x="1592210" y="6456934"/>
                  <a:pt x="1588933" y="6458442"/>
                </a:cubicBezTo>
                <a:cubicBezTo>
                  <a:pt x="1587878" y="6459014"/>
                  <a:pt x="1587035" y="6459473"/>
                  <a:pt x="1587301" y="6460968"/>
                </a:cubicBezTo>
                <a:cubicBezTo>
                  <a:pt x="1587902" y="6469111"/>
                  <a:pt x="1583929" y="6475367"/>
                  <a:pt x="1579305" y="6481433"/>
                </a:cubicBezTo>
                <a:cubicBezTo>
                  <a:pt x="1578384" y="6482752"/>
                  <a:pt x="1577559" y="6483747"/>
                  <a:pt x="1576848" y="6484953"/>
                </a:cubicBezTo>
                <a:cubicBezTo>
                  <a:pt x="1574622" y="6488895"/>
                  <a:pt x="1572243" y="6491553"/>
                  <a:pt x="1567224" y="6492368"/>
                </a:cubicBezTo>
                <a:cubicBezTo>
                  <a:pt x="1562205" y="6493183"/>
                  <a:pt x="1559250" y="6497793"/>
                  <a:pt x="1556600" y="6501966"/>
                </a:cubicBezTo>
                <a:cubicBezTo>
                  <a:pt x="1555160" y="6503840"/>
                  <a:pt x="1554125" y="6504949"/>
                  <a:pt x="1551426" y="6504504"/>
                </a:cubicBezTo>
                <a:cubicBezTo>
                  <a:pt x="1540204" y="6502951"/>
                  <a:pt x="1528943" y="6503332"/>
                  <a:pt x="1518153" y="6508101"/>
                </a:cubicBezTo>
                <a:cubicBezTo>
                  <a:pt x="1516562" y="6508692"/>
                  <a:pt x="1515701" y="6508614"/>
                  <a:pt x="1515320" y="6506908"/>
                </a:cubicBezTo>
                <a:cubicBezTo>
                  <a:pt x="1513376" y="6500314"/>
                  <a:pt x="1508151" y="6498236"/>
                  <a:pt x="1502216" y="6497362"/>
                </a:cubicBezTo>
                <a:cubicBezTo>
                  <a:pt x="1499515" y="6496917"/>
                  <a:pt x="1497773" y="6496224"/>
                  <a:pt x="1497548" y="6492795"/>
                </a:cubicBezTo>
                <a:cubicBezTo>
                  <a:pt x="1497612" y="6488389"/>
                  <a:pt x="1494206" y="6486141"/>
                  <a:pt x="1490397" y="6484658"/>
                </a:cubicBezTo>
                <a:cubicBezTo>
                  <a:pt x="1487239" y="6483370"/>
                  <a:pt x="1483660" y="6482310"/>
                  <a:pt x="1480501" y="6481020"/>
                </a:cubicBezTo>
                <a:cubicBezTo>
                  <a:pt x="1479027" y="6480318"/>
                  <a:pt x="1477951" y="6479468"/>
                  <a:pt x="1477649" y="6478471"/>
                </a:cubicBezTo>
                <a:cubicBezTo>
                  <a:pt x="1477346" y="6477475"/>
                  <a:pt x="1477816" y="6476331"/>
                  <a:pt x="1479437" y="6475041"/>
                </a:cubicBezTo>
                <a:cubicBezTo>
                  <a:pt x="1480280" y="6474583"/>
                  <a:pt x="1481010" y="6473913"/>
                  <a:pt x="1481623" y="6473033"/>
                </a:cubicBezTo>
                <a:cubicBezTo>
                  <a:pt x="1482449" y="6472038"/>
                  <a:pt x="1484135" y="6471122"/>
                  <a:pt x="1483543" y="6469531"/>
                </a:cubicBezTo>
                <a:cubicBezTo>
                  <a:pt x="1482856" y="6468265"/>
                  <a:pt x="1481343" y="6467995"/>
                  <a:pt x="1480156" y="6467820"/>
                </a:cubicBezTo>
                <a:cubicBezTo>
                  <a:pt x="1474853" y="6466603"/>
                  <a:pt x="1474376" y="6465223"/>
                  <a:pt x="1477771" y="6460919"/>
                </a:cubicBezTo>
                <a:cubicBezTo>
                  <a:pt x="1478597" y="6459925"/>
                  <a:pt x="1479326" y="6459255"/>
                  <a:pt x="1479825" y="6458164"/>
                </a:cubicBezTo>
                <a:cubicBezTo>
                  <a:pt x="1480632" y="6456632"/>
                  <a:pt x="1481227" y="6455216"/>
                  <a:pt x="1479239" y="6453565"/>
                </a:cubicBezTo>
                <a:cubicBezTo>
                  <a:pt x="1477152" y="6452239"/>
                  <a:pt x="1476309" y="6452698"/>
                  <a:pt x="1474852" y="6454036"/>
                </a:cubicBezTo>
                <a:lnTo>
                  <a:pt x="1471856" y="6456123"/>
                </a:lnTo>
                <a:lnTo>
                  <a:pt x="1479295" y="6430729"/>
                </a:lnTo>
                <a:lnTo>
                  <a:pt x="1481146" y="6430944"/>
                </a:lnTo>
                <a:cubicBezTo>
                  <a:pt x="1483274" y="6430335"/>
                  <a:pt x="1484194" y="6429015"/>
                  <a:pt x="1484121" y="6426869"/>
                </a:cubicBezTo>
                <a:cubicBezTo>
                  <a:pt x="1484066" y="6425260"/>
                  <a:pt x="1483800" y="6423765"/>
                  <a:pt x="1483745" y="6422156"/>
                </a:cubicBezTo>
                <a:cubicBezTo>
                  <a:pt x="1483653" y="6419473"/>
                  <a:pt x="1484671" y="6417828"/>
                  <a:pt x="1487430" y="6416876"/>
                </a:cubicBezTo>
                <a:cubicBezTo>
                  <a:pt x="1495707" y="6414017"/>
                  <a:pt x="1499488" y="6408411"/>
                  <a:pt x="1499194" y="6399828"/>
                </a:cubicBezTo>
                <a:cubicBezTo>
                  <a:pt x="1499253" y="6398429"/>
                  <a:pt x="1497783" y="6396224"/>
                  <a:pt x="1499908" y="6395614"/>
                </a:cubicBezTo>
                <a:cubicBezTo>
                  <a:pt x="1501921" y="6394794"/>
                  <a:pt x="1503373" y="6396464"/>
                  <a:pt x="1504616" y="6398248"/>
                </a:cubicBezTo>
                <a:cubicBezTo>
                  <a:pt x="1504731" y="6398458"/>
                  <a:pt x="1504846" y="6398670"/>
                  <a:pt x="1504961" y="6398881"/>
                </a:cubicBezTo>
                <a:cubicBezTo>
                  <a:pt x="1508554" y="6403485"/>
                  <a:pt x="1511675" y="6403701"/>
                  <a:pt x="1514306" y="6398994"/>
                </a:cubicBezTo>
                <a:cubicBezTo>
                  <a:pt x="1516840" y="6394612"/>
                  <a:pt x="1520136" y="6393640"/>
                  <a:pt x="1524445" y="6394032"/>
                </a:cubicBezTo>
                <a:cubicBezTo>
                  <a:pt x="1530151" y="6394483"/>
                  <a:pt x="1535724" y="6394187"/>
                  <a:pt x="1540308" y="6390057"/>
                </a:cubicBezTo>
                <a:cubicBezTo>
                  <a:pt x="1542283" y="6388164"/>
                  <a:pt x="1544598" y="6389912"/>
                  <a:pt x="1545823" y="6391159"/>
                </a:cubicBezTo>
                <a:cubicBezTo>
                  <a:pt x="1550699" y="6395612"/>
                  <a:pt x="1555659" y="6396196"/>
                  <a:pt x="1561485" y="6393850"/>
                </a:cubicBezTo>
                <a:cubicBezTo>
                  <a:pt x="1565087" y="6392440"/>
                  <a:pt x="1566408" y="6393361"/>
                  <a:pt x="1566133" y="6397882"/>
                </a:cubicBezTo>
                <a:cubicBezTo>
                  <a:pt x="1565602" y="6407460"/>
                  <a:pt x="1574494" y="6416289"/>
                  <a:pt x="1583593" y="6415444"/>
                </a:cubicBezTo>
                <a:cubicBezTo>
                  <a:pt x="1585412" y="6415275"/>
                  <a:pt x="1587768" y="6415087"/>
                  <a:pt x="1588231" y="6412923"/>
                </a:cubicBezTo>
                <a:cubicBezTo>
                  <a:pt x="1588695" y="6410759"/>
                  <a:pt x="1588181" y="6408306"/>
                  <a:pt x="1585884" y="6407095"/>
                </a:cubicBezTo>
                <a:cubicBezTo>
                  <a:pt x="1584564" y="6406173"/>
                  <a:pt x="1582823" y="6405480"/>
                  <a:pt x="1581292" y="6404673"/>
                </a:cubicBezTo>
                <a:cubicBezTo>
                  <a:pt x="1579550" y="6403980"/>
                  <a:pt x="1578229" y="6403058"/>
                  <a:pt x="1578921" y="6401316"/>
                </a:cubicBezTo>
                <a:cubicBezTo>
                  <a:pt x="1579709" y="6399248"/>
                  <a:pt x="1581433" y="6399404"/>
                  <a:pt x="1583060" y="6399887"/>
                </a:cubicBezTo>
                <a:cubicBezTo>
                  <a:pt x="1584573" y="6400159"/>
                  <a:pt x="1586104" y="6400965"/>
                  <a:pt x="1587405" y="6401351"/>
                </a:cubicBezTo>
                <a:cubicBezTo>
                  <a:pt x="1590335" y="6402219"/>
                  <a:pt x="1593437" y="6401899"/>
                  <a:pt x="1594514" y="6398854"/>
                </a:cubicBezTo>
                <a:cubicBezTo>
                  <a:pt x="1595284" y="6396251"/>
                  <a:pt x="1592337" y="6394846"/>
                  <a:pt x="1590154" y="6393846"/>
                </a:cubicBezTo>
                <a:cubicBezTo>
                  <a:pt x="1588299" y="6392943"/>
                  <a:pt x="1585828" y="6392919"/>
                  <a:pt x="1584164" y="6391363"/>
                </a:cubicBezTo>
                <a:cubicBezTo>
                  <a:pt x="1581619" y="6389195"/>
                  <a:pt x="1581124" y="6387278"/>
                  <a:pt x="1584612" y="6385656"/>
                </a:cubicBezTo>
                <a:cubicBezTo>
                  <a:pt x="1589365" y="6383346"/>
                  <a:pt x="1594191" y="6383184"/>
                  <a:pt x="1599152" y="6383768"/>
                </a:cubicBezTo>
                <a:cubicBezTo>
                  <a:pt x="1605508" y="6384411"/>
                  <a:pt x="1608154" y="6383248"/>
                  <a:pt x="1610747" y="6377466"/>
                </a:cubicBezTo>
                <a:cubicBezTo>
                  <a:pt x="1611861" y="6375496"/>
                  <a:pt x="1612419" y="6373007"/>
                  <a:pt x="1613094" y="6370728"/>
                </a:cubicBezTo>
                <a:cubicBezTo>
                  <a:pt x="1613381" y="6369752"/>
                  <a:pt x="1613441" y="6368353"/>
                  <a:pt x="1614724" y="6368202"/>
                </a:cubicBezTo>
                <a:cubicBezTo>
                  <a:pt x="1616219" y="6367937"/>
                  <a:pt x="1617003" y="6368876"/>
                  <a:pt x="1617251" y="6369835"/>
                </a:cubicBezTo>
                <a:cubicBezTo>
                  <a:pt x="1618470" y="6374090"/>
                  <a:pt x="1620615" y="6374018"/>
                  <a:pt x="1623874" y="6371974"/>
                </a:cubicBezTo>
                <a:cubicBezTo>
                  <a:pt x="1627976" y="6369471"/>
                  <a:pt x="1632418" y="6370610"/>
                  <a:pt x="1636341" y="6372303"/>
                </a:cubicBezTo>
                <a:cubicBezTo>
                  <a:pt x="1639499" y="6373593"/>
                  <a:pt x="1641090" y="6373002"/>
                  <a:pt x="1641516" y="6369765"/>
                </a:cubicBezTo>
                <a:cubicBezTo>
                  <a:pt x="1641671" y="6368041"/>
                  <a:pt x="1642057" y="6366739"/>
                  <a:pt x="1643973" y="6366244"/>
                </a:cubicBezTo>
                <a:close/>
                <a:moveTo>
                  <a:pt x="1498502" y="6365153"/>
                </a:moveTo>
                <a:lnTo>
                  <a:pt x="1498879" y="6365575"/>
                </a:lnTo>
                <a:lnTo>
                  <a:pt x="1498385" y="6365554"/>
                </a:lnTo>
                <a:close/>
                <a:moveTo>
                  <a:pt x="5026133" y="6352014"/>
                </a:moveTo>
                <a:cubicBezTo>
                  <a:pt x="5028008" y="6351395"/>
                  <a:pt x="5028375" y="6352811"/>
                  <a:pt x="5029281" y="6353733"/>
                </a:cubicBezTo>
                <a:cubicBezTo>
                  <a:pt x="5029777" y="6354271"/>
                  <a:pt x="5030200" y="6355050"/>
                  <a:pt x="5030778" y="6355745"/>
                </a:cubicBezTo>
                <a:cubicBezTo>
                  <a:pt x="5033535" y="6359697"/>
                  <a:pt x="5036378" y="6359363"/>
                  <a:pt x="5038603" y="6354925"/>
                </a:cubicBezTo>
                <a:cubicBezTo>
                  <a:pt x="5038901" y="6354359"/>
                  <a:pt x="5039039" y="6353877"/>
                  <a:pt x="5039429" y="6353469"/>
                </a:cubicBezTo>
                <a:cubicBezTo>
                  <a:pt x="5040106" y="6352493"/>
                  <a:pt x="5041179" y="6351505"/>
                  <a:pt x="5042311" y="6352101"/>
                </a:cubicBezTo>
                <a:cubicBezTo>
                  <a:pt x="5043356" y="6352542"/>
                  <a:pt x="5043328" y="6353971"/>
                  <a:pt x="5043043" y="6354932"/>
                </a:cubicBezTo>
                <a:cubicBezTo>
                  <a:pt x="5042764" y="6355894"/>
                  <a:pt x="5042393" y="6356700"/>
                  <a:pt x="5041867" y="6357590"/>
                </a:cubicBezTo>
                <a:cubicBezTo>
                  <a:pt x="5041288" y="6359118"/>
                  <a:pt x="5041479" y="6360222"/>
                  <a:pt x="5043092" y="6360960"/>
                </a:cubicBezTo>
                <a:cubicBezTo>
                  <a:pt x="5046727" y="6362821"/>
                  <a:pt x="5048815" y="6365923"/>
                  <a:pt x="5050746" y="6369111"/>
                </a:cubicBezTo>
                <a:cubicBezTo>
                  <a:pt x="5053176" y="6372836"/>
                  <a:pt x="5054908" y="6377141"/>
                  <a:pt x="5057958" y="6380528"/>
                </a:cubicBezTo>
                <a:cubicBezTo>
                  <a:pt x="5059033" y="6381762"/>
                  <a:pt x="5058518" y="6383049"/>
                  <a:pt x="5058081" y="6384095"/>
                </a:cubicBezTo>
                <a:cubicBezTo>
                  <a:pt x="5056776" y="6387629"/>
                  <a:pt x="5055384" y="6391009"/>
                  <a:pt x="5058749" y="6394227"/>
                </a:cubicBezTo>
                <a:cubicBezTo>
                  <a:pt x="5059327" y="6394921"/>
                  <a:pt x="5058956" y="6395728"/>
                  <a:pt x="5058503" y="6396377"/>
                </a:cubicBezTo>
                <a:cubicBezTo>
                  <a:pt x="5056318" y="6399784"/>
                  <a:pt x="5055349" y="6403942"/>
                  <a:pt x="5053978" y="6407718"/>
                </a:cubicBezTo>
                <a:cubicBezTo>
                  <a:pt x="5051872" y="6413501"/>
                  <a:pt x="5048458" y="6417980"/>
                  <a:pt x="5042241" y="6419539"/>
                </a:cubicBezTo>
                <a:cubicBezTo>
                  <a:pt x="5039815" y="6420256"/>
                  <a:pt x="5039084" y="6422264"/>
                  <a:pt x="5038516" y="6424188"/>
                </a:cubicBezTo>
                <a:cubicBezTo>
                  <a:pt x="5037083" y="6428600"/>
                  <a:pt x="5035443" y="6429290"/>
                  <a:pt x="5031410" y="6427443"/>
                </a:cubicBezTo>
                <a:cubicBezTo>
                  <a:pt x="5027210" y="6425284"/>
                  <a:pt x="5027210" y="6425284"/>
                  <a:pt x="5025310" y="6429951"/>
                </a:cubicBezTo>
                <a:cubicBezTo>
                  <a:pt x="5024868" y="6430996"/>
                  <a:pt x="5024506" y="6431802"/>
                  <a:pt x="5023055" y="6431375"/>
                </a:cubicBezTo>
                <a:cubicBezTo>
                  <a:pt x="5017785" y="6430205"/>
                  <a:pt x="5012679" y="6429347"/>
                  <a:pt x="5007472" y="6427937"/>
                </a:cubicBezTo>
                <a:cubicBezTo>
                  <a:pt x="5003563" y="6427037"/>
                  <a:pt x="5000242" y="6425009"/>
                  <a:pt x="4997599" y="6422003"/>
                </a:cubicBezTo>
                <a:cubicBezTo>
                  <a:pt x="4995795" y="6420161"/>
                  <a:pt x="4987902" y="6418999"/>
                  <a:pt x="4985477" y="6420113"/>
                </a:cubicBezTo>
                <a:cubicBezTo>
                  <a:pt x="4984707" y="6420536"/>
                  <a:pt x="4984078" y="6420875"/>
                  <a:pt x="4984276" y="6421978"/>
                </a:cubicBezTo>
                <a:cubicBezTo>
                  <a:pt x="4984719" y="6427994"/>
                  <a:pt x="4981790" y="6432615"/>
                  <a:pt x="4978371" y="6437094"/>
                </a:cubicBezTo>
                <a:cubicBezTo>
                  <a:pt x="4977691" y="6438069"/>
                  <a:pt x="4977078" y="6438803"/>
                  <a:pt x="4976566" y="6439695"/>
                </a:cubicBezTo>
                <a:cubicBezTo>
                  <a:pt x="4974919" y="6442606"/>
                  <a:pt x="4973161" y="6444570"/>
                  <a:pt x="4969456" y="6445171"/>
                </a:cubicBezTo>
                <a:cubicBezTo>
                  <a:pt x="4965741" y="6445773"/>
                  <a:pt x="4963562" y="6449179"/>
                  <a:pt x="4961609" y="6452260"/>
                </a:cubicBezTo>
                <a:cubicBezTo>
                  <a:pt x="4960538" y="6453645"/>
                  <a:pt x="4959773" y="6454464"/>
                  <a:pt x="4957776" y="6454135"/>
                </a:cubicBezTo>
                <a:cubicBezTo>
                  <a:pt x="4949496" y="6452987"/>
                  <a:pt x="4941164" y="6453269"/>
                  <a:pt x="4933201" y="6456791"/>
                </a:cubicBezTo>
                <a:cubicBezTo>
                  <a:pt x="4932022" y="6457228"/>
                  <a:pt x="4931387" y="6457170"/>
                  <a:pt x="4931104" y="6455911"/>
                </a:cubicBezTo>
                <a:cubicBezTo>
                  <a:pt x="4929659" y="6451040"/>
                  <a:pt x="4925799" y="6449506"/>
                  <a:pt x="4921429" y="6448860"/>
                </a:cubicBezTo>
                <a:cubicBezTo>
                  <a:pt x="4919423" y="6448531"/>
                  <a:pt x="4918141" y="6448019"/>
                  <a:pt x="4917977" y="6445486"/>
                </a:cubicBezTo>
                <a:cubicBezTo>
                  <a:pt x="4918027" y="6442232"/>
                  <a:pt x="4915507" y="6440571"/>
                  <a:pt x="4912703" y="6439477"/>
                </a:cubicBezTo>
                <a:cubicBezTo>
                  <a:pt x="4910359" y="6438525"/>
                  <a:pt x="4907711" y="6437741"/>
                  <a:pt x="4905374" y="6436790"/>
                </a:cubicBezTo>
                <a:cubicBezTo>
                  <a:pt x="4904290" y="6436271"/>
                  <a:pt x="4903498" y="6435643"/>
                  <a:pt x="4903268" y="6434907"/>
                </a:cubicBezTo>
                <a:cubicBezTo>
                  <a:pt x="4903044" y="6434171"/>
                  <a:pt x="4903392" y="6433326"/>
                  <a:pt x="4904591" y="6432373"/>
                </a:cubicBezTo>
                <a:cubicBezTo>
                  <a:pt x="4905215" y="6432034"/>
                  <a:pt x="4905756" y="6431540"/>
                  <a:pt x="4906210" y="6430890"/>
                </a:cubicBezTo>
                <a:cubicBezTo>
                  <a:pt x="4906822" y="6430156"/>
                  <a:pt x="4908066" y="6429479"/>
                  <a:pt x="4907627" y="6428303"/>
                </a:cubicBezTo>
                <a:cubicBezTo>
                  <a:pt x="4907118" y="6427368"/>
                  <a:pt x="4906003" y="6427169"/>
                  <a:pt x="4905121" y="6427039"/>
                </a:cubicBezTo>
                <a:cubicBezTo>
                  <a:pt x="4901208" y="6426141"/>
                  <a:pt x="4900851" y="6425121"/>
                  <a:pt x="4903368" y="6421942"/>
                </a:cubicBezTo>
                <a:cubicBezTo>
                  <a:pt x="4903980" y="6421207"/>
                  <a:pt x="4904514" y="6420713"/>
                  <a:pt x="4904880" y="6419907"/>
                </a:cubicBezTo>
                <a:cubicBezTo>
                  <a:pt x="4905477" y="6418776"/>
                  <a:pt x="4905923" y="6417730"/>
                  <a:pt x="4904447" y="6416511"/>
                </a:cubicBezTo>
                <a:cubicBezTo>
                  <a:pt x="4902905" y="6415532"/>
                  <a:pt x="4902289" y="6415869"/>
                  <a:pt x="4901208" y="6416858"/>
                </a:cubicBezTo>
                <a:lnTo>
                  <a:pt x="4898991" y="6418400"/>
                </a:lnTo>
                <a:lnTo>
                  <a:pt x="4904482" y="6399643"/>
                </a:lnTo>
                <a:lnTo>
                  <a:pt x="4905855" y="6399802"/>
                </a:lnTo>
                <a:cubicBezTo>
                  <a:pt x="4907425" y="6399352"/>
                  <a:pt x="4908109" y="6398377"/>
                  <a:pt x="4908054" y="6396793"/>
                </a:cubicBezTo>
                <a:cubicBezTo>
                  <a:pt x="4908009" y="6395604"/>
                  <a:pt x="4907821" y="6394500"/>
                  <a:pt x="4907772" y="6393311"/>
                </a:cubicBezTo>
                <a:cubicBezTo>
                  <a:pt x="4907711" y="6391330"/>
                  <a:pt x="4908452" y="6390115"/>
                  <a:pt x="4910504" y="6389411"/>
                </a:cubicBezTo>
                <a:cubicBezTo>
                  <a:pt x="4916611" y="6387300"/>
                  <a:pt x="4919412" y="6383159"/>
                  <a:pt x="4919189" y="6376819"/>
                </a:cubicBezTo>
                <a:cubicBezTo>
                  <a:pt x="4919237" y="6375786"/>
                  <a:pt x="4918150" y="6374157"/>
                  <a:pt x="4919722" y="6373707"/>
                </a:cubicBezTo>
                <a:cubicBezTo>
                  <a:pt x="4921209" y="6373102"/>
                  <a:pt x="4922273" y="6374334"/>
                  <a:pt x="4923203" y="6375652"/>
                </a:cubicBezTo>
                <a:cubicBezTo>
                  <a:pt x="4923285" y="6375808"/>
                  <a:pt x="4923359" y="6375964"/>
                  <a:pt x="4923436" y="6376120"/>
                </a:cubicBezTo>
                <a:cubicBezTo>
                  <a:pt x="4926098" y="6379520"/>
                  <a:pt x="4928393" y="6379680"/>
                  <a:pt x="4930346" y="6376203"/>
                </a:cubicBezTo>
                <a:cubicBezTo>
                  <a:pt x="4932230" y="6372966"/>
                  <a:pt x="4934665" y="6372250"/>
                  <a:pt x="4937848" y="6372538"/>
                </a:cubicBezTo>
                <a:cubicBezTo>
                  <a:pt x="4942060" y="6372871"/>
                  <a:pt x="4946175" y="6372653"/>
                  <a:pt x="4949571" y="6369602"/>
                </a:cubicBezTo>
                <a:cubicBezTo>
                  <a:pt x="4951031" y="6368204"/>
                  <a:pt x="4952734" y="6369495"/>
                  <a:pt x="4953637" y="6370417"/>
                </a:cubicBezTo>
                <a:cubicBezTo>
                  <a:pt x="4957246" y="6373705"/>
                  <a:pt x="4960902" y="6374137"/>
                  <a:pt x="4965213" y="6372404"/>
                </a:cubicBezTo>
                <a:cubicBezTo>
                  <a:pt x="4967871" y="6371363"/>
                  <a:pt x="4968845" y="6372044"/>
                  <a:pt x="4968649" y="6375383"/>
                </a:cubicBezTo>
                <a:cubicBezTo>
                  <a:pt x="4968249" y="6382456"/>
                  <a:pt x="4974826" y="6388977"/>
                  <a:pt x="4981540" y="6388354"/>
                </a:cubicBezTo>
                <a:cubicBezTo>
                  <a:pt x="4982889" y="6388229"/>
                  <a:pt x="4984615" y="6388091"/>
                  <a:pt x="4984960" y="6386492"/>
                </a:cubicBezTo>
                <a:cubicBezTo>
                  <a:pt x="4985311" y="6384894"/>
                  <a:pt x="4984932" y="6383082"/>
                  <a:pt x="4983240" y="6382187"/>
                </a:cubicBezTo>
                <a:cubicBezTo>
                  <a:pt x="4982260" y="6381506"/>
                  <a:pt x="4980968" y="6380995"/>
                  <a:pt x="4979844" y="6380398"/>
                </a:cubicBezTo>
                <a:cubicBezTo>
                  <a:pt x="4978545" y="6379887"/>
                  <a:pt x="4977587" y="6379206"/>
                  <a:pt x="4978086" y="6377918"/>
                </a:cubicBezTo>
                <a:cubicBezTo>
                  <a:pt x="4978666" y="6376391"/>
                  <a:pt x="4979947" y="6376507"/>
                  <a:pt x="4981147" y="6376864"/>
                </a:cubicBezTo>
                <a:cubicBezTo>
                  <a:pt x="4982264" y="6377063"/>
                  <a:pt x="4983398" y="6377660"/>
                  <a:pt x="4984352" y="6377945"/>
                </a:cubicBezTo>
                <a:cubicBezTo>
                  <a:pt x="4986522" y="6378585"/>
                  <a:pt x="4988806" y="6378349"/>
                  <a:pt x="4989603" y="6376101"/>
                </a:cubicBezTo>
                <a:cubicBezTo>
                  <a:pt x="4990174" y="6374177"/>
                  <a:pt x="4987993" y="6373140"/>
                  <a:pt x="4986387" y="6372401"/>
                </a:cubicBezTo>
                <a:cubicBezTo>
                  <a:pt x="4985011" y="6371734"/>
                  <a:pt x="4983192" y="6371717"/>
                  <a:pt x="4981964" y="6370568"/>
                </a:cubicBezTo>
                <a:cubicBezTo>
                  <a:pt x="4980082" y="6368966"/>
                  <a:pt x="4979716" y="6367549"/>
                  <a:pt x="4982292" y="6366353"/>
                </a:cubicBezTo>
                <a:cubicBezTo>
                  <a:pt x="4985802" y="6364646"/>
                  <a:pt x="4989369" y="6364526"/>
                  <a:pt x="4993027" y="6364957"/>
                </a:cubicBezTo>
                <a:cubicBezTo>
                  <a:pt x="4997720" y="6365433"/>
                  <a:pt x="4999676" y="6364573"/>
                  <a:pt x="5001586" y="6360303"/>
                </a:cubicBezTo>
                <a:cubicBezTo>
                  <a:pt x="5002413" y="6358847"/>
                  <a:pt x="5002824" y="6357009"/>
                  <a:pt x="5003323" y="6355326"/>
                </a:cubicBezTo>
                <a:cubicBezTo>
                  <a:pt x="5003539" y="6354605"/>
                  <a:pt x="5003575" y="6353572"/>
                  <a:pt x="5004524" y="6353460"/>
                </a:cubicBezTo>
                <a:cubicBezTo>
                  <a:pt x="5005631" y="6353264"/>
                  <a:pt x="5006210" y="6353959"/>
                  <a:pt x="5006394" y="6354667"/>
                </a:cubicBezTo>
                <a:cubicBezTo>
                  <a:pt x="5007290" y="6357810"/>
                  <a:pt x="5008878" y="6357756"/>
                  <a:pt x="5011279" y="6356246"/>
                </a:cubicBezTo>
                <a:cubicBezTo>
                  <a:pt x="5014313" y="6354398"/>
                  <a:pt x="5017593" y="6355239"/>
                  <a:pt x="5020499" y="6356490"/>
                </a:cubicBezTo>
                <a:cubicBezTo>
                  <a:pt x="5022827" y="6357442"/>
                  <a:pt x="5024000" y="6357005"/>
                  <a:pt x="5024317" y="6354615"/>
                </a:cubicBezTo>
                <a:cubicBezTo>
                  <a:pt x="5024435" y="6353342"/>
                  <a:pt x="5024715" y="6352380"/>
                  <a:pt x="5026133" y="6352014"/>
                </a:cubicBezTo>
                <a:close/>
                <a:moveTo>
                  <a:pt x="4918672" y="6351208"/>
                </a:moveTo>
                <a:lnTo>
                  <a:pt x="4918959" y="6351519"/>
                </a:lnTo>
                <a:lnTo>
                  <a:pt x="4918591" y="6351503"/>
                </a:lnTo>
                <a:close/>
                <a:moveTo>
                  <a:pt x="8330861" y="6347911"/>
                </a:moveTo>
                <a:cubicBezTo>
                  <a:pt x="8332350" y="6346292"/>
                  <a:pt x="8337106" y="6348775"/>
                  <a:pt x="8339441" y="6349587"/>
                </a:cubicBezTo>
                <a:cubicBezTo>
                  <a:pt x="8344850" y="6351659"/>
                  <a:pt x="8352293" y="6349718"/>
                  <a:pt x="8355365" y="6357130"/>
                </a:cubicBezTo>
                <a:cubicBezTo>
                  <a:pt x="8355922" y="6358376"/>
                  <a:pt x="8357216" y="6360069"/>
                  <a:pt x="8359346" y="6360555"/>
                </a:cubicBezTo>
                <a:cubicBezTo>
                  <a:pt x="8362334" y="6360957"/>
                  <a:pt x="8363569" y="6362916"/>
                  <a:pt x="8363435" y="6365962"/>
                </a:cubicBezTo>
                <a:cubicBezTo>
                  <a:pt x="8363543" y="6367944"/>
                  <a:pt x="8364632" y="6369312"/>
                  <a:pt x="8365660" y="6370944"/>
                </a:cubicBezTo>
                <a:cubicBezTo>
                  <a:pt x="8368394" y="6374923"/>
                  <a:pt x="8369143" y="6379010"/>
                  <a:pt x="8366721" y="6383493"/>
                </a:cubicBezTo>
                <a:cubicBezTo>
                  <a:pt x="8365317" y="6385970"/>
                  <a:pt x="8365449" y="6389076"/>
                  <a:pt x="8367747" y="6391278"/>
                </a:cubicBezTo>
                <a:cubicBezTo>
                  <a:pt x="8367505" y="6392342"/>
                  <a:pt x="8367263" y="6393406"/>
                  <a:pt x="8367021" y="6394469"/>
                </a:cubicBezTo>
                <a:cubicBezTo>
                  <a:pt x="8364322" y="6395253"/>
                  <a:pt x="8362893" y="6396605"/>
                  <a:pt x="8362372" y="6400122"/>
                </a:cubicBezTo>
                <a:cubicBezTo>
                  <a:pt x="8361547" y="6404969"/>
                  <a:pt x="8358569" y="6408206"/>
                  <a:pt x="8353002" y="6408057"/>
                </a:cubicBezTo>
                <a:cubicBezTo>
                  <a:pt x="8350546" y="6407776"/>
                  <a:pt x="8350655" y="6409759"/>
                  <a:pt x="8350291" y="6411354"/>
                </a:cubicBezTo>
                <a:cubicBezTo>
                  <a:pt x="8349685" y="6414014"/>
                  <a:pt x="8348499" y="6414302"/>
                  <a:pt x="8346793" y="6411955"/>
                </a:cubicBezTo>
                <a:cubicBezTo>
                  <a:pt x="8344204" y="6408569"/>
                  <a:pt x="8342075" y="6408084"/>
                  <a:pt x="8340245" y="6412421"/>
                </a:cubicBezTo>
                <a:cubicBezTo>
                  <a:pt x="8339737" y="6413424"/>
                  <a:pt x="8338636" y="6414572"/>
                  <a:pt x="8337874" y="6413000"/>
                </a:cubicBezTo>
                <a:cubicBezTo>
                  <a:pt x="8335200" y="6408755"/>
                  <a:pt x="8332320" y="6410336"/>
                  <a:pt x="8329112" y="6412122"/>
                </a:cubicBezTo>
                <a:cubicBezTo>
                  <a:pt x="8328725" y="6412593"/>
                  <a:pt x="8327659" y="6412350"/>
                  <a:pt x="8327127" y="6412229"/>
                </a:cubicBezTo>
                <a:cubicBezTo>
                  <a:pt x="8321586" y="6407051"/>
                  <a:pt x="8316432" y="6401402"/>
                  <a:pt x="8310952" y="6395957"/>
                </a:cubicBezTo>
                <a:cubicBezTo>
                  <a:pt x="8308447" y="6393429"/>
                  <a:pt x="8308001" y="6388013"/>
                  <a:pt x="8307578" y="6383721"/>
                </a:cubicBezTo>
                <a:cubicBezTo>
                  <a:pt x="8307409" y="6382004"/>
                  <a:pt x="8308040" y="6380470"/>
                  <a:pt x="8306745" y="6378776"/>
                </a:cubicBezTo>
                <a:cubicBezTo>
                  <a:pt x="8305450" y="6377083"/>
                  <a:pt x="8306081" y="6375548"/>
                  <a:pt x="8307509" y="6374195"/>
                </a:cubicBezTo>
                <a:cubicBezTo>
                  <a:pt x="8308283" y="6373254"/>
                  <a:pt x="8309651" y="6372166"/>
                  <a:pt x="8309095" y="6370921"/>
                </a:cubicBezTo>
                <a:cubicBezTo>
                  <a:pt x="8307160" y="6367123"/>
                  <a:pt x="8307439" y="6364670"/>
                  <a:pt x="8312062" y="6364045"/>
                </a:cubicBezTo>
                <a:cubicBezTo>
                  <a:pt x="8313188" y="6364023"/>
                  <a:pt x="8313817" y="6362487"/>
                  <a:pt x="8312934" y="6361447"/>
                </a:cubicBezTo>
                <a:cubicBezTo>
                  <a:pt x="8310139" y="6357734"/>
                  <a:pt x="8314170" y="6357254"/>
                  <a:pt x="8315187" y="6355248"/>
                </a:cubicBezTo>
                <a:cubicBezTo>
                  <a:pt x="8318687" y="6348493"/>
                  <a:pt x="8326455" y="6352501"/>
                  <a:pt x="8330861" y="6347911"/>
                </a:cubicBezTo>
                <a:close/>
                <a:moveTo>
                  <a:pt x="2422289" y="6344213"/>
                </a:moveTo>
                <a:lnTo>
                  <a:pt x="2423151" y="6345497"/>
                </a:lnTo>
                <a:cubicBezTo>
                  <a:pt x="2423145" y="6347786"/>
                  <a:pt x="2424308" y="6349430"/>
                  <a:pt x="2425384" y="6351377"/>
                </a:cubicBezTo>
                <a:cubicBezTo>
                  <a:pt x="2428270" y="6356135"/>
                  <a:pt x="2428863" y="6360887"/>
                  <a:pt x="2425782" y="6365886"/>
                </a:cubicBezTo>
                <a:lnTo>
                  <a:pt x="2426016" y="6369016"/>
                </a:lnTo>
                <a:lnTo>
                  <a:pt x="2458776" y="6385027"/>
                </a:lnTo>
                <a:lnTo>
                  <a:pt x="2462623" y="6371700"/>
                </a:lnTo>
                <a:cubicBezTo>
                  <a:pt x="2461907" y="6369190"/>
                  <a:pt x="2460318" y="6366717"/>
                  <a:pt x="2458992" y="6364319"/>
                </a:cubicBezTo>
                <a:lnTo>
                  <a:pt x="2458588" y="6362492"/>
                </a:lnTo>
                <a:lnTo>
                  <a:pt x="2451593" y="6359329"/>
                </a:lnTo>
                <a:close/>
                <a:moveTo>
                  <a:pt x="1906981" y="6342342"/>
                </a:moveTo>
                <a:lnTo>
                  <a:pt x="1907473" y="6342619"/>
                </a:lnTo>
                <a:lnTo>
                  <a:pt x="1907107" y="6342819"/>
                </a:lnTo>
                <a:close/>
                <a:moveTo>
                  <a:pt x="7175276" y="6338259"/>
                </a:moveTo>
                <a:cubicBezTo>
                  <a:pt x="7176765" y="6336641"/>
                  <a:pt x="7181521" y="6339123"/>
                  <a:pt x="7183856" y="6339935"/>
                </a:cubicBezTo>
                <a:cubicBezTo>
                  <a:pt x="7189265" y="6342006"/>
                  <a:pt x="7196709" y="6340066"/>
                  <a:pt x="7199780" y="6347479"/>
                </a:cubicBezTo>
                <a:cubicBezTo>
                  <a:pt x="7200337" y="6348725"/>
                  <a:pt x="7201632" y="6350417"/>
                  <a:pt x="7203760" y="6350903"/>
                </a:cubicBezTo>
                <a:cubicBezTo>
                  <a:pt x="7206749" y="6351304"/>
                  <a:pt x="7207984" y="6353264"/>
                  <a:pt x="7207849" y="6356310"/>
                </a:cubicBezTo>
                <a:cubicBezTo>
                  <a:pt x="7207958" y="6358293"/>
                  <a:pt x="7209046" y="6359660"/>
                  <a:pt x="7210075" y="6361293"/>
                </a:cubicBezTo>
                <a:cubicBezTo>
                  <a:pt x="7212809" y="6365271"/>
                  <a:pt x="7213558" y="6369358"/>
                  <a:pt x="7211136" y="6373840"/>
                </a:cubicBezTo>
                <a:cubicBezTo>
                  <a:pt x="7209731" y="6376318"/>
                  <a:pt x="7209864" y="6379425"/>
                  <a:pt x="7212163" y="6381627"/>
                </a:cubicBezTo>
                <a:cubicBezTo>
                  <a:pt x="7211920" y="6382690"/>
                  <a:pt x="7211678" y="6383753"/>
                  <a:pt x="7211436" y="6384817"/>
                </a:cubicBezTo>
                <a:cubicBezTo>
                  <a:pt x="7208737" y="6385601"/>
                  <a:pt x="7207308" y="6386953"/>
                  <a:pt x="7206787" y="6390470"/>
                </a:cubicBezTo>
                <a:cubicBezTo>
                  <a:pt x="7205963" y="6395317"/>
                  <a:pt x="7202985" y="6398554"/>
                  <a:pt x="7197418" y="6398405"/>
                </a:cubicBezTo>
                <a:cubicBezTo>
                  <a:pt x="7194961" y="6398125"/>
                  <a:pt x="7195069" y="6400107"/>
                  <a:pt x="7194706" y="6401702"/>
                </a:cubicBezTo>
                <a:cubicBezTo>
                  <a:pt x="7194100" y="6404361"/>
                  <a:pt x="7192914" y="6404650"/>
                  <a:pt x="7191208" y="6402303"/>
                </a:cubicBezTo>
                <a:cubicBezTo>
                  <a:pt x="7188619" y="6398917"/>
                  <a:pt x="7186489" y="6398432"/>
                  <a:pt x="7184661" y="6402769"/>
                </a:cubicBezTo>
                <a:cubicBezTo>
                  <a:pt x="7184152" y="6403772"/>
                  <a:pt x="7183051" y="6404920"/>
                  <a:pt x="7182288" y="6403348"/>
                </a:cubicBezTo>
                <a:cubicBezTo>
                  <a:pt x="7179615" y="6399102"/>
                  <a:pt x="7176735" y="6400684"/>
                  <a:pt x="7173527" y="6402470"/>
                </a:cubicBezTo>
                <a:cubicBezTo>
                  <a:pt x="7173139" y="6402941"/>
                  <a:pt x="7172075" y="6402698"/>
                  <a:pt x="7171542" y="6402577"/>
                </a:cubicBezTo>
                <a:cubicBezTo>
                  <a:pt x="7166001" y="6397400"/>
                  <a:pt x="7160847" y="6391750"/>
                  <a:pt x="7155367" y="6386305"/>
                </a:cubicBezTo>
                <a:cubicBezTo>
                  <a:pt x="7152862" y="6383777"/>
                  <a:pt x="7152416" y="6378361"/>
                  <a:pt x="7151993" y="6374069"/>
                </a:cubicBezTo>
                <a:cubicBezTo>
                  <a:pt x="7151824" y="6372353"/>
                  <a:pt x="7152455" y="6370817"/>
                  <a:pt x="7151160" y="6369124"/>
                </a:cubicBezTo>
                <a:cubicBezTo>
                  <a:pt x="7149866" y="6367431"/>
                  <a:pt x="7150496" y="6365896"/>
                  <a:pt x="7151924" y="6364544"/>
                </a:cubicBezTo>
                <a:cubicBezTo>
                  <a:pt x="7152698" y="6363602"/>
                  <a:pt x="7154067" y="6362515"/>
                  <a:pt x="7153510" y="6361269"/>
                </a:cubicBezTo>
                <a:cubicBezTo>
                  <a:pt x="7151575" y="6357472"/>
                  <a:pt x="7151854" y="6355018"/>
                  <a:pt x="7156477" y="6354393"/>
                </a:cubicBezTo>
                <a:cubicBezTo>
                  <a:pt x="7157603" y="6354370"/>
                  <a:pt x="7158232" y="6352836"/>
                  <a:pt x="7157349" y="6351795"/>
                </a:cubicBezTo>
                <a:cubicBezTo>
                  <a:pt x="7154555" y="6348081"/>
                  <a:pt x="7158585" y="6347602"/>
                  <a:pt x="7159603" y="6345596"/>
                </a:cubicBezTo>
                <a:cubicBezTo>
                  <a:pt x="7163102" y="6338841"/>
                  <a:pt x="7170870" y="6342849"/>
                  <a:pt x="7175276" y="6338259"/>
                </a:cubicBezTo>
                <a:close/>
                <a:moveTo>
                  <a:pt x="2552774" y="6338132"/>
                </a:moveTo>
                <a:lnTo>
                  <a:pt x="2555173" y="6342282"/>
                </a:lnTo>
                <a:cubicBezTo>
                  <a:pt x="2556952" y="6344234"/>
                  <a:pt x="2559321" y="6345494"/>
                  <a:pt x="2562956" y="6345390"/>
                </a:cubicBezTo>
                <a:cubicBezTo>
                  <a:pt x="2564357" y="6345509"/>
                  <a:pt x="2564848" y="6346801"/>
                  <a:pt x="2565077" y="6348018"/>
                </a:cubicBezTo>
                <a:cubicBezTo>
                  <a:pt x="2566467" y="6354176"/>
                  <a:pt x="2570026" y="6359809"/>
                  <a:pt x="2572708" y="6365477"/>
                </a:cubicBezTo>
                <a:lnTo>
                  <a:pt x="2572820" y="6375849"/>
                </a:lnTo>
                <a:lnTo>
                  <a:pt x="2636723" y="6404509"/>
                </a:lnTo>
                <a:cubicBezTo>
                  <a:pt x="2779157" y="6462447"/>
                  <a:pt x="2925844" y="6509076"/>
                  <a:pt x="3079353" y="6537515"/>
                </a:cubicBezTo>
                <a:cubicBezTo>
                  <a:pt x="3257956" y="6570725"/>
                  <a:pt x="3438699" y="6583635"/>
                  <a:pt x="3619727" y="6583165"/>
                </a:cubicBezTo>
                <a:lnTo>
                  <a:pt x="3633124" y="6582820"/>
                </a:lnTo>
                <a:lnTo>
                  <a:pt x="3630512" y="6569093"/>
                </a:lnTo>
                <a:cubicBezTo>
                  <a:pt x="3629412" y="6567913"/>
                  <a:pt x="3626413" y="6567334"/>
                  <a:pt x="3627634" y="6565096"/>
                </a:cubicBezTo>
                <a:cubicBezTo>
                  <a:pt x="3628590" y="6562781"/>
                  <a:pt x="3631136" y="6562941"/>
                  <a:pt x="3633604" y="6563366"/>
                </a:cubicBezTo>
                <a:cubicBezTo>
                  <a:pt x="3633872" y="6563442"/>
                  <a:pt x="3634135" y="6563520"/>
                  <a:pt x="3634403" y="6563595"/>
                </a:cubicBezTo>
                <a:lnTo>
                  <a:pt x="3640843" y="6557225"/>
                </a:lnTo>
                <a:lnTo>
                  <a:pt x="3579037" y="6563261"/>
                </a:lnTo>
                <a:cubicBezTo>
                  <a:pt x="3556785" y="6563400"/>
                  <a:pt x="3534731" y="6561885"/>
                  <a:pt x="3512801" y="6559915"/>
                </a:cubicBezTo>
                <a:cubicBezTo>
                  <a:pt x="3208412" y="6536942"/>
                  <a:pt x="2911350" y="6486640"/>
                  <a:pt x="2627723" y="6371582"/>
                </a:cubicBezTo>
                <a:close/>
                <a:moveTo>
                  <a:pt x="8097965" y="6337619"/>
                </a:moveTo>
                <a:cubicBezTo>
                  <a:pt x="8105833" y="6335963"/>
                  <a:pt x="8120411" y="6342756"/>
                  <a:pt x="8137222" y="6352366"/>
                </a:cubicBezTo>
                <a:cubicBezTo>
                  <a:pt x="8151220" y="6364211"/>
                  <a:pt x="8168033" y="6373819"/>
                  <a:pt x="8178137" y="6374981"/>
                </a:cubicBezTo>
                <a:cubicBezTo>
                  <a:pt x="8187662" y="6381194"/>
                  <a:pt x="8192135" y="6386825"/>
                  <a:pt x="8198843" y="6395274"/>
                </a:cubicBezTo>
                <a:cubicBezTo>
                  <a:pt x="8230233" y="6411677"/>
                  <a:pt x="8242574" y="6415653"/>
                  <a:pt x="8269490" y="6426422"/>
                </a:cubicBezTo>
                <a:cubicBezTo>
                  <a:pt x="8261623" y="6428078"/>
                  <a:pt x="8281252" y="6435453"/>
                  <a:pt x="8290776" y="6441665"/>
                </a:cubicBezTo>
                <a:cubicBezTo>
                  <a:pt x="8295829" y="6442246"/>
                  <a:pt x="8310985" y="6443986"/>
                  <a:pt x="8296408" y="6437192"/>
                </a:cubicBezTo>
                <a:cubicBezTo>
                  <a:pt x="8323326" y="6447962"/>
                  <a:pt x="8357530" y="6462128"/>
                  <a:pt x="8393971" y="6479112"/>
                </a:cubicBezTo>
                <a:cubicBezTo>
                  <a:pt x="8425362" y="6495513"/>
                  <a:pt x="8464618" y="6510259"/>
                  <a:pt x="8498824" y="6524427"/>
                </a:cubicBezTo>
                <a:cubicBezTo>
                  <a:pt x="8498824" y="6524427"/>
                  <a:pt x="8506114" y="6527822"/>
                  <a:pt x="8500481" y="6532294"/>
                </a:cubicBezTo>
                <a:cubicBezTo>
                  <a:pt x="8544791" y="6547621"/>
                  <a:pt x="8566656" y="6557812"/>
                  <a:pt x="8592495" y="6555661"/>
                </a:cubicBezTo>
                <a:cubicBezTo>
                  <a:pt x="8614360" y="6565850"/>
                  <a:pt x="8629516" y="6567591"/>
                  <a:pt x="8644094" y="6574383"/>
                </a:cubicBezTo>
                <a:cubicBezTo>
                  <a:pt x="8654197" y="6575544"/>
                  <a:pt x="8641857" y="6571568"/>
                  <a:pt x="8644672" y="6569331"/>
                </a:cubicBezTo>
                <a:cubicBezTo>
                  <a:pt x="8662065" y="6573889"/>
                  <a:pt x="8679459" y="6578446"/>
                  <a:pt x="8696850" y="6583003"/>
                </a:cubicBezTo>
                <a:cubicBezTo>
                  <a:pt x="8688403" y="6589711"/>
                  <a:pt x="8703559" y="6591451"/>
                  <a:pt x="8710847" y="6594847"/>
                </a:cubicBezTo>
                <a:cubicBezTo>
                  <a:pt x="8712505" y="6602716"/>
                  <a:pt x="8694532" y="6603211"/>
                  <a:pt x="8678796" y="6606522"/>
                </a:cubicBezTo>
                <a:cubicBezTo>
                  <a:pt x="8692794" y="6618368"/>
                  <a:pt x="8753999" y="6620280"/>
                  <a:pt x="8776443" y="6625416"/>
                </a:cubicBezTo>
                <a:cubicBezTo>
                  <a:pt x="8774206" y="6622600"/>
                  <a:pt x="8774206" y="6622600"/>
                  <a:pt x="8774206" y="6622600"/>
                </a:cubicBezTo>
                <a:cubicBezTo>
                  <a:pt x="8769154" y="6622020"/>
                  <a:pt x="8766917" y="6619204"/>
                  <a:pt x="8766917" y="6619204"/>
                </a:cubicBezTo>
                <a:cubicBezTo>
                  <a:pt x="8771969" y="6619783"/>
                  <a:pt x="8774785" y="6617548"/>
                  <a:pt x="8777021" y="6620364"/>
                </a:cubicBezTo>
                <a:cubicBezTo>
                  <a:pt x="8777601" y="6615312"/>
                  <a:pt x="8810150" y="6621610"/>
                  <a:pt x="8804519" y="6626082"/>
                </a:cubicBezTo>
                <a:cubicBezTo>
                  <a:pt x="8807334" y="6623846"/>
                  <a:pt x="8807334" y="6623846"/>
                  <a:pt x="8812387" y="6624425"/>
                </a:cubicBezTo>
                <a:cubicBezTo>
                  <a:pt x="8812387" y="6624425"/>
                  <a:pt x="8812387" y="6624425"/>
                  <a:pt x="8814621" y="6627242"/>
                </a:cubicBezTo>
                <a:cubicBezTo>
                  <a:pt x="8814621" y="6627242"/>
                  <a:pt x="8816858" y="6630059"/>
                  <a:pt x="8816858" y="6630059"/>
                </a:cubicBezTo>
                <a:cubicBezTo>
                  <a:pt x="8816858" y="6630059"/>
                  <a:pt x="8816858" y="6630059"/>
                  <a:pt x="8811806" y="6629478"/>
                </a:cubicBezTo>
                <a:cubicBezTo>
                  <a:pt x="8844355" y="6635777"/>
                  <a:pt x="8819674" y="6627823"/>
                  <a:pt x="8820254" y="6622771"/>
                </a:cubicBezTo>
                <a:cubicBezTo>
                  <a:pt x="8820833" y="6617719"/>
                  <a:pt x="8830938" y="6618880"/>
                  <a:pt x="8830938" y="6618880"/>
                </a:cubicBezTo>
                <a:cubicBezTo>
                  <a:pt x="8831516" y="6613826"/>
                  <a:pt x="8804019" y="6608109"/>
                  <a:pt x="8816939" y="6607033"/>
                </a:cubicBezTo>
                <a:cubicBezTo>
                  <a:pt x="8829859" y="6605959"/>
                  <a:pt x="8842779" y="6604884"/>
                  <a:pt x="8857935" y="6606624"/>
                </a:cubicBezTo>
                <a:cubicBezTo>
                  <a:pt x="8870276" y="6610601"/>
                  <a:pt x="8883194" y="6609525"/>
                  <a:pt x="8900588" y="6614083"/>
                </a:cubicBezTo>
                <a:cubicBezTo>
                  <a:pt x="8902245" y="6621950"/>
                  <a:pt x="8876985" y="6619049"/>
                  <a:pt x="8869117" y="6620704"/>
                </a:cubicBezTo>
                <a:cubicBezTo>
                  <a:pt x="8865721" y="6627993"/>
                  <a:pt x="8883694" y="6627499"/>
                  <a:pt x="8885931" y="6630315"/>
                </a:cubicBezTo>
                <a:cubicBezTo>
                  <a:pt x="8893798" y="6628659"/>
                  <a:pt x="8906138" y="6632636"/>
                  <a:pt x="8908953" y="6630401"/>
                </a:cubicBezTo>
                <a:cubicBezTo>
                  <a:pt x="8984154" y="6644157"/>
                  <a:pt x="9041464" y="6635383"/>
                  <a:pt x="9103746" y="6650215"/>
                </a:cubicBezTo>
                <a:cubicBezTo>
                  <a:pt x="9113850" y="6651375"/>
                  <a:pt x="9126770" y="6650300"/>
                  <a:pt x="9136874" y="6651461"/>
                </a:cubicBezTo>
                <a:cubicBezTo>
                  <a:pt x="9162134" y="6654362"/>
                  <a:pt x="9157082" y="6653782"/>
                  <a:pt x="9185159" y="6654448"/>
                </a:cubicBezTo>
                <a:cubicBezTo>
                  <a:pt x="9190210" y="6655027"/>
                  <a:pt x="9193026" y="6652792"/>
                  <a:pt x="9190790" y="6649975"/>
                </a:cubicBezTo>
                <a:cubicBezTo>
                  <a:pt x="9226732" y="6648985"/>
                  <a:pt x="9249757" y="6649070"/>
                  <a:pt x="9272780" y="6649155"/>
                </a:cubicBezTo>
                <a:cubicBezTo>
                  <a:pt x="9295804" y="6649242"/>
                  <a:pt x="9316013" y="6651562"/>
                  <a:pt x="9344088" y="6652227"/>
                </a:cubicBezTo>
                <a:cubicBezTo>
                  <a:pt x="9354772" y="6648337"/>
                  <a:pt x="9339616" y="6646596"/>
                  <a:pt x="9337958" y="6638728"/>
                </a:cubicBezTo>
                <a:cubicBezTo>
                  <a:pt x="9345826" y="6637071"/>
                  <a:pt x="9345826" y="6637071"/>
                  <a:pt x="9348642" y="6634836"/>
                </a:cubicBezTo>
                <a:cubicBezTo>
                  <a:pt x="9374483" y="6632685"/>
                  <a:pt x="9381770" y="6636081"/>
                  <a:pt x="9407609" y="6633931"/>
                </a:cubicBezTo>
                <a:cubicBezTo>
                  <a:pt x="9409846" y="6636748"/>
                  <a:pt x="9407031" y="6638983"/>
                  <a:pt x="9412082" y="6639563"/>
                </a:cubicBezTo>
                <a:cubicBezTo>
                  <a:pt x="9409266" y="6641799"/>
                  <a:pt x="9408688" y="6646850"/>
                  <a:pt x="9390715" y="6647346"/>
                </a:cubicBezTo>
                <a:cubicBezTo>
                  <a:pt x="9410924" y="6649667"/>
                  <a:pt x="9441815" y="6648097"/>
                  <a:pt x="9467654" y="6645945"/>
                </a:cubicBezTo>
                <a:cubicBezTo>
                  <a:pt x="9496309" y="6641560"/>
                  <a:pt x="9522151" y="6639409"/>
                  <a:pt x="9539542" y="6643966"/>
                </a:cubicBezTo>
                <a:cubicBezTo>
                  <a:pt x="9589564" y="6631796"/>
                  <a:pt x="9622691" y="6633042"/>
                  <a:pt x="9672133" y="6625925"/>
                </a:cubicBezTo>
                <a:cubicBezTo>
                  <a:pt x="9693500" y="6618142"/>
                  <a:pt x="9654741" y="6621368"/>
                  <a:pt x="9671056" y="6613004"/>
                </a:cubicBezTo>
                <a:cubicBezTo>
                  <a:pt x="9681160" y="6614165"/>
                  <a:pt x="9681740" y="6609112"/>
                  <a:pt x="9694659" y="6608037"/>
                </a:cubicBezTo>
                <a:cubicBezTo>
                  <a:pt x="9691265" y="6615325"/>
                  <a:pt x="9709237" y="6614830"/>
                  <a:pt x="9697974" y="6623775"/>
                </a:cubicBezTo>
                <a:cubicBezTo>
                  <a:pt x="9713129" y="6625514"/>
                  <a:pt x="9752469" y="6617236"/>
                  <a:pt x="9771599" y="6606637"/>
                </a:cubicBezTo>
                <a:cubicBezTo>
                  <a:pt x="9841249" y="6601840"/>
                  <a:pt x="9912638" y="6581889"/>
                  <a:pt x="10008210" y="6551916"/>
                </a:cubicBezTo>
                <a:cubicBezTo>
                  <a:pt x="9993551" y="6568149"/>
                  <a:pt x="9964317" y="6577587"/>
                  <a:pt x="9937320" y="6589842"/>
                </a:cubicBezTo>
                <a:lnTo>
                  <a:pt x="9876365" y="6604215"/>
                </a:lnTo>
                <a:lnTo>
                  <a:pt x="9883482" y="6606067"/>
                </a:lnTo>
                <a:cubicBezTo>
                  <a:pt x="9887044" y="6607140"/>
                  <a:pt x="9890199" y="6609016"/>
                  <a:pt x="9891837" y="6613708"/>
                </a:cubicBezTo>
                <a:lnTo>
                  <a:pt x="9893849" y="6615650"/>
                </a:lnTo>
                <a:lnTo>
                  <a:pt x="9927133" y="6611706"/>
                </a:lnTo>
                <a:cubicBezTo>
                  <a:pt x="9951317" y="6601687"/>
                  <a:pt x="9986183" y="6587777"/>
                  <a:pt x="9990075" y="6598462"/>
                </a:cubicBezTo>
                <a:cubicBezTo>
                  <a:pt x="9963078" y="6610715"/>
                  <a:pt x="9946762" y="6619079"/>
                  <a:pt x="9912475" y="6627938"/>
                </a:cubicBezTo>
                <a:cubicBezTo>
                  <a:pt x="9912475" y="6627938"/>
                  <a:pt x="9910241" y="6625122"/>
                  <a:pt x="9915871" y="6620650"/>
                </a:cubicBezTo>
                <a:lnTo>
                  <a:pt x="9901507" y="6626026"/>
                </a:lnTo>
                <a:lnTo>
                  <a:pt x="9903594" y="6631516"/>
                </a:lnTo>
                <a:cubicBezTo>
                  <a:pt x="9906694" y="6636629"/>
                  <a:pt x="9907332" y="6641735"/>
                  <a:pt x="9904020" y="6647108"/>
                </a:cubicBezTo>
                <a:cubicBezTo>
                  <a:pt x="9902109" y="6650072"/>
                  <a:pt x="9902053" y="6653923"/>
                  <a:pt x="9904741" y="6656808"/>
                </a:cubicBezTo>
                <a:cubicBezTo>
                  <a:pt x="9904366" y="6658106"/>
                  <a:pt x="9903991" y="6659405"/>
                  <a:pt x="9903617" y="6660702"/>
                </a:cubicBezTo>
                <a:cubicBezTo>
                  <a:pt x="9900224" y="6661481"/>
                  <a:pt x="9898362" y="6663053"/>
                  <a:pt x="9897469" y="6667366"/>
                </a:cubicBezTo>
                <a:cubicBezTo>
                  <a:pt x="9896108" y="6673301"/>
                  <a:pt x="9892197" y="6677094"/>
                  <a:pt x="9885324" y="6676516"/>
                </a:cubicBezTo>
                <a:cubicBezTo>
                  <a:pt x="9882306" y="6675997"/>
                  <a:pt x="9882301" y="6678456"/>
                  <a:pt x="9881739" y="6680403"/>
                </a:cubicBezTo>
                <a:cubicBezTo>
                  <a:pt x="9880801" y="6683648"/>
                  <a:pt x="9879314" y="6683922"/>
                  <a:pt x="9877370" y="6680900"/>
                </a:cubicBezTo>
                <a:cubicBezTo>
                  <a:pt x="9874408" y="6676529"/>
                  <a:pt x="9871809" y="6675779"/>
                  <a:pt x="9869242" y="6681015"/>
                </a:cubicBezTo>
                <a:cubicBezTo>
                  <a:pt x="9868543" y="6682220"/>
                  <a:pt x="9867098" y="6683560"/>
                  <a:pt x="9866268" y="6681563"/>
                </a:cubicBezTo>
                <a:cubicBezTo>
                  <a:pt x="9863260" y="6676124"/>
                  <a:pt x="9859588" y="6677876"/>
                  <a:pt x="9855494" y="6679859"/>
                </a:cubicBezTo>
                <a:cubicBezTo>
                  <a:pt x="9854982" y="6680415"/>
                  <a:pt x="9853682" y="6680040"/>
                  <a:pt x="9853032" y="6679852"/>
                </a:cubicBezTo>
                <a:cubicBezTo>
                  <a:pt x="9846545" y="6673057"/>
                  <a:pt x="9840571" y="6665708"/>
                  <a:pt x="9834178" y="6658589"/>
                </a:cubicBezTo>
                <a:cubicBezTo>
                  <a:pt x="9831259" y="6655286"/>
                  <a:pt x="9831088" y="6648557"/>
                  <a:pt x="9830870" y="6643220"/>
                </a:cubicBezTo>
                <a:lnTo>
                  <a:pt x="9830678" y="6641488"/>
                </a:lnTo>
                <a:lnTo>
                  <a:pt x="9792224" y="6649956"/>
                </a:lnTo>
                <a:cubicBezTo>
                  <a:pt x="9784356" y="6651612"/>
                  <a:pt x="9781540" y="6653848"/>
                  <a:pt x="9773672" y="6655502"/>
                </a:cubicBezTo>
                <a:cubicBezTo>
                  <a:pt x="9712968" y="6671564"/>
                  <a:pt x="9646131" y="6674125"/>
                  <a:pt x="9586585" y="6680081"/>
                </a:cubicBezTo>
                <a:cubicBezTo>
                  <a:pt x="9565798" y="6682812"/>
                  <a:pt x="9528696" y="6693907"/>
                  <a:pt x="9529854" y="6683803"/>
                </a:cubicBezTo>
                <a:cubicBezTo>
                  <a:pt x="9514119" y="6687114"/>
                  <a:pt x="9501199" y="6688189"/>
                  <a:pt x="9495568" y="6692661"/>
                </a:cubicBezTo>
                <a:cubicBezTo>
                  <a:pt x="9480413" y="6690920"/>
                  <a:pt x="9486043" y="6686448"/>
                  <a:pt x="9488858" y="6684213"/>
                </a:cubicBezTo>
                <a:cubicBezTo>
                  <a:pt x="9531014" y="6673698"/>
                  <a:pt x="9584930" y="6672213"/>
                  <a:pt x="9618636" y="6668406"/>
                </a:cubicBezTo>
                <a:cubicBezTo>
                  <a:pt x="9623687" y="6668987"/>
                  <a:pt x="9626503" y="6666751"/>
                  <a:pt x="9624268" y="6663934"/>
                </a:cubicBezTo>
                <a:cubicBezTo>
                  <a:pt x="9621451" y="6666170"/>
                  <a:pt x="9621451" y="6666170"/>
                  <a:pt x="9616399" y="6665591"/>
                </a:cubicBezTo>
                <a:cubicBezTo>
                  <a:pt x="9613583" y="6667827"/>
                  <a:pt x="9608532" y="6667247"/>
                  <a:pt x="9606296" y="6664431"/>
                </a:cubicBezTo>
                <a:cubicBezTo>
                  <a:pt x="9606296" y="6664431"/>
                  <a:pt x="9609110" y="6662194"/>
                  <a:pt x="9614165" y="6662774"/>
                </a:cubicBezTo>
                <a:cubicBezTo>
                  <a:pt x="9614165" y="6662774"/>
                  <a:pt x="9614165" y="6662774"/>
                  <a:pt x="9616980" y="6660539"/>
                </a:cubicBezTo>
                <a:cubicBezTo>
                  <a:pt x="9570931" y="6660368"/>
                  <a:pt x="9524305" y="6665249"/>
                  <a:pt x="9472626" y="6669552"/>
                </a:cubicBezTo>
                <a:cubicBezTo>
                  <a:pt x="9425998" y="6674433"/>
                  <a:pt x="9377135" y="6676498"/>
                  <a:pt x="9326035" y="6675747"/>
                </a:cubicBezTo>
                <a:cubicBezTo>
                  <a:pt x="9315353" y="6679640"/>
                  <a:pt x="9307485" y="6681295"/>
                  <a:pt x="9297380" y="6680135"/>
                </a:cubicBezTo>
                <a:lnTo>
                  <a:pt x="9264680" y="6680328"/>
                </a:lnTo>
                <a:lnTo>
                  <a:pt x="9268313" y="6685750"/>
                </a:lnTo>
                <a:cubicBezTo>
                  <a:pt x="9268307" y="6688039"/>
                  <a:pt x="9269471" y="6689683"/>
                  <a:pt x="9270547" y="6691628"/>
                </a:cubicBezTo>
                <a:cubicBezTo>
                  <a:pt x="9273432" y="6696387"/>
                  <a:pt x="9274027" y="6701139"/>
                  <a:pt x="9270946" y="6706139"/>
                </a:cubicBezTo>
                <a:cubicBezTo>
                  <a:pt x="9269167" y="6708897"/>
                  <a:pt x="9269114" y="6712480"/>
                  <a:pt x="9271615" y="6715165"/>
                </a:cubicBezTo>
                <a:cubicBezTo>
                  <a:pt x="9271267" y="6716373"/>
                  <a:pt x="9270919" y="6717581"/>
                  <a:pt x="9270569" y="6718790"/>
                </a:cubicBezTo>
                <a:cubicBezTo>
                  <a:pt x="9267413" y="6719514"/>
                  <a:pt x="9265679" y="6720976"/>
                  <a:pt x="9264849" y="6724990"/>
                </a:cubicBezTo>
                <a:cubicBezTo>
                  <a:pt x="9263582" y="6730513"/>
                  <a:pt x="9259942" y="6734043"/>
                  <a:pt x="9253547" y="6733504"/>
                </a:cubicBezTo>
                <a:cubicBezTo>
                  <a:pt x="9250737" y="6733022"/>
                  <a:pt x="9250732" y="6735310"/>
                  <a:pt x="9250209" y="6737122"/>
                </a:cubicBezTo>
                <a:cubicBezTo>
                  <a:pt x="9249338" y="6740141"/>
                  <a:pt x="9247954" y="6740397"/>
                  <a:pt x="9246146" y="6737584"/>
                </a:cubicBezTo>
                <a:cubicBezTo>
                  <a:pt x="9243388" y="6733518"/>
                  <a:pt x="9240969" y="6732819"/>
                  <a:pt x="9238580" y="6737691"/>
                </a:cubicBezTo>
                <a:cubicBezTo>
                  <a:pt x="9237929" y="6738812"/>
                  <a:pt x="9236586" y="6740061"/>
                  <a:pt x="9235813" y="6738200"/>
                </a:cubicBezTo>
                <a:cubicBezTo>
                  <a:pt x="9233014" y="6733141"/>
                  <a:pt x="9229595" y="6734770"/>
                  <a:pt x="9225787" y="6736616"/>
                </a:cubicBezTo>
                <a:cubicBezTo>
                  <a:pt x="9225310" y="6737133"/>
                  <a:pt x="9224101" y="6736784"/>
                  <a:pt x="9223497" y="6736610"/>
                </a:cubicBezTo>
                <a:cubicBezTo>
                  <a:pt x="9217459" y="6730286"/>
                  <a:pt x="9211899" y="6723447"/>
                  <a:pt x="9205949" y="6716823"/>
                </a:cubicBezTo>
                <a:cubicBezTo>
                  <a:pt x="9203233" y="6713749"/>
                  <a:pt x="9203075" y="6707486"/>
                  <a:pt x="9202872" y="6702521"/>
                </a:cubicBezTo>
                <a:cubicBezTo>
                  <a:pt x="9202790" y="6700534"/>
                  <a:pt x="9203614" y="6698809"/>
                  <a:pt x="9202236" y="6696776"/>
                </a:cubicBezTo>
                <a:cubicBezTo>
                  <a:pt x="9200858" y="6694742"/>
                  <a:pt x="9201684" y="6693017"/>
                  <a:pt x="9203415" y="6691554"/>
                </a:cubicBezTo>
                <a:cubicBezTo>
                  <a:pt x="9204370" y="6690521"/>
                  <a:pt x="9206015" y="6689360"/>
                  <a:pt x="9205457" y="6687890"/>
                </a:cubicBezTo>
                <a:cubicBezTo>
                  <a:pt x="9203479" y="6683394"/>
                  <a:pt x="9203960" y="6680588"/>
                  <a:pt x="9209322" y="6680173"/>
                </a:cubicBezTo>
                <a:lnTo>
                  <a:pt x="9209850" y="6678851"/>
                </a:lnTo>
                <a:lnTo>
                  <a:pt x="9185078" y="6677473"/>
                </a:lnTo>
                <a:cubicBezTo>
                  <a:pt x="9182262" y="6679708"/>
                  <a:pt x="9178865" y="6686996"/>
                  <a:pt x="9178287" y="6692048"/>
                </a:cubicBezTo>
                <a:cubicBezTo>
                  <a:pt x="9165368" y="6693124"/>
                  <a:pt x="9157499" y="6694780"/>
                  <a:pt x="9154683" y="6697015"/>
                </a:cubicBezTo>
                <a:cubicBezTo>
                  <a:pt x="9154683" y="6697015"/>
                  <a:pt x="9159737" y="6697596"/>
                  <a:pt x="9159737" y="6697596"/>
                </a:cubicBezTo>
                <a:cubicBezTo>
                  <a:pt x="9161972" y="6700412"/>
                  <a:pt x="9161972" y="6700412"/>
                  <a:pt x="9161972" y="6700412"/>
                </a:cubicBezTo>
                <a:cubicBezTo>
                  <a:pt x="9159156" y="6702647"/>
                  <a:pt x="9154105" y="6702066"/>
                  <a:pt x="9151869" y="6699251"/>
                </a:cubicBezTo>
                <a:cubicBezTo>
                  <a:pt x="9151869" y="6699251"/>
                  <a:pt x="9149053" y="6701487"/>
                  <a:pt x="9146816" y="6698671"/>
                </a:cubicBezTo>
                <a:cubicBezTo>
                  <a:pt x="9145657" y="6708775"/>
                  <a:pt x="9127686" y="6709270"/>
                  <a:pt x="9102426" y="6706367"/>
                </a:cubicBezTo>
                <a:cubicBezTo>
                  <a:pt x="9077164" y="6703467"/>
                  <a:pt x="9046853" y="6699986"/>
                  <a:pt x="9021593" y="6697084"/>
                </a:cubicBezTo>
                <a:cubicBezTo>
                  <a:pt x="9012069" y="6690872"/>
                  <a:pt x="9039565" y="6696588"/>
                  <a:pt x="9037327" y="6693772"/>
                </a:cubicBezTo>
                <a:cubicBezTo>
                  <a:pt x="9037327" y="6693772"/>
                  <a:pt x="9032276" y="6693193"/>
                  <a:pt x="9032276" y="6693193"/>
                </a:cubicBezTo>
                <a:cubicBezTo>
                  <a:pt x="9027224" y="6692612"/>
                  <a:pt x="9024408" y="6694849"/>
                  <a:pt x="9024988" y="6689796"/>
                </a:cubicBezTo>
                <a:cubicBezTo>
                  <a:pt x="9024988" y="6689796"/>
                  <a:pt x="9024988" y="6689796"/>
                  <a:pt x="9030040" y="6690376"/>
                </a:cubicBezTo>
                <a:cubicBezTo>
                  <a:pt x="9030040" y="6690376"/>
                  <a:pt x="9030040" y="6690376"/>
                  <a:pt x="9032856" y="6688140"/>
                </a:cubicBezTo>
                <a:cubicBezTo>
                  <a:pt x="9017700" y="6686400"/>
                  <a:pt x="9002542" y="6684658"/>
                  <a:pt x="9003124" y="6679605"/>
                </a:cubicBezTo>
                <a:cubicBezTo>
                  <a:pt x="9013806" y="6675715"/>
                  <a:pt x="9039067" y="6678616"/>
                  <a:pt x="9046934" y="6676961"/>
                </a:cubicBezTo>
                <a:cubicBezTo>
                  <a:pt x="9046934" y="6676961"/>
                  <a:pt x="9046934" y="6676961"/>
                  <a:pt x="9041882" y="6676379"/>
                </a:cubicBezTo>
                <a:cubicBezTo>
                  <a:pt x="9036830" y="6675800"/>
                  <a:pt x="9036830" y="6675800"/>
                  <a:pt x="9031779" y="6675219"/>
                </a:cubicBezTo>
                <a:cubicBezTo>
                  <a:pt x="9031779" y="6675219"/>
                  <a:pt x="9034595" y="6672984"/>
                  <a:pt x="9034595" y="6672984"/>
                </a:cubicBezTo>
                <a:cubicBezTo>
                  <a:pt x="9036830" y="6675800"/>
                  <a:pt x="9039645" y="6673563"/>
                  <a:pt x="9039645" y="6673563"/>
                </a:cubicBezTo>
                <a:cubicBezTo>
                  <a:pt x="9031779" y="6675219"/>
                  <a:pt x="9022253" y="6669006"/>
                  <a:pt x="9012150" y="6667847"/>
                </a:cubicBezTo>
                <a:cubicBezTo>
                  <a:pt x="8966681" y="6662624"/>
                  <a:pt x="8915581" y="6661873"/>
                  <a:pt x="8867877" y="6653834"/>
                </a:cubicBezTo>
                <a:cubicBezTo>
                  <a:pt x="8852722" y="6652093"/>
                  <a:pt x="8845432" y="6648697"/>
                  <a:pt x="8828040" y="6644140"/>
                </a:cubicBezTo>
                <a:cubicBezTo>
                  <a:pt x="8785387" y="6636681"/>
                  <a:pt x="8735446" y="6625826"/>
                  <a:pt x="8692794" y="6618368"/>
                </a:cubicBezTo>
                <a:cubicBezTo>
                  <a:pt x="8652957" y="6608674"/>
                  <a:pt x="8620409" y="6602375"/>
                  <a:pt x="8613699" y="6593926"/>
                </a:cubicBezTo>
                <a:cubicBezTo>
                  <a:pt x="8613699" y="6593926"/>
                  <a:pt x="8613699" y="6593926"/>
                  <a:pt x="8611463" y="6591110"/>
                </a:cubicBezTo>
                <a:cubicBezTo>
                  <a:pt x="8611463" y="6591110"/>
                  <a:pt x="8611463" y="6591110"/>
                  <a:pt x="8606411" y="6590530"/>
                </a:cubicBezTo>
                <a:cubicBezTo>
                  <a:pt x="8603595" y="6592766"/>
                  <a:pt x="8601360" y="6589950"/>
                  <a:pt x="8599124" y="6587133"/>
                </a:cubicBezTo>
                <a:cubicBezTo>
                  <a:pt x="8599124" y="6587133"/>
                  <a:pt x="8599124" y="6587133"/>
                  <a:pt x="8604176" y="6587714"/>
                </a:cubicBezTo>
                <a:cubicBezTo>
                  <a:pt x="8604176" y="6587714"/>
                  <a:pt x="8604176" y="6587714"/>
                  <a:pt x="8609227" y="6588295"/>
                </a:cubicBezTo>
                <a:cubicBezTo>
                  <a:pt x="8594651" y="6581502"/>
                  <a:pt x="8577258" y="6576944"/>
                  <a:pt x="8564919" y="6572968"/>
                </a:cubicBezTo>
                <a:cubicBezTo>
                  <a:pt x="8565498" y="6567915"/>
                  <a:pt x="8550920" y="6561122"/>
                  <a:pt x="8556552" y="6556651"/>
                </a:cubicBezTo>
                <a:cubicBezTo>
                  <a:pt x="8474641" y="6534446"/>
                  <a:pt x="8424782" y="6500566"/>
                  <a:pt x="8364158" y="6493602"/>
                </a:cubicBezTo>
                <a:cubicBezTo>
                  <a:pt x="8318192" y="6470407"/>
                  <a:pt x="8298064" y="6445062"/>
                  <a:pt x="8246467" y="6426338"/>
                </a:cubicBezTo>
                <a:cubicBezTo>
                  <a:pt x="8244230" y="6423522"/>
                  <a:pt x="8234707" y="6417309"/>
                  <a:pt x="8229654" y="6416728"/>
                </a:cubicBezTo>
                <a:cubicBezTo>
                  <a:pt x="8207788" y="6406539"/>
                  <a:pt x="8178635" y="6392953"/>
                  <a:pt x="8154534" y="6379947"/>
                </a:cubicBezTo>
                <a:cubicBezTo>
                  <a:pt x="8130432" y="6366941"/>
                  <a:pt x="8106910" y="6348885"/>
                  <a:pt x="8097965" y="6337619"/>
                </a:cubicBezTo>
                <a:close/>
                <a:moveTo>
                  <a:pt x="7162037" y="6317881"/>
                </a:moveTo>
                <a:cubicBezTo>
                  <a:pt x="7146009" y="6329386"/>
                  <a:pt x="7122061" y="6349377"/>
                  <a:pt x="7092451" y="6364086"/>
                </a:cubicBezTo>
                <a:cubicBezTo>
                  <a:pt x="7062840" y="6378795"/>
                  <a:pt x="7038507" y="6387846"/>
                  <a:pt x="7027373" y="6382750"/>
                </a:cubicBezTo>
                <a:cubicBezTo>
                  <a:pt x="7030206" y="6385390"/>
                  <a:pt x="7030206" y="6385390"/>
                  <a:pt x="7027566" y="6388220"/>
                </a:cubicBezTo>
                <a:cubicBezTo>
                  <a:pt x="7022096" y="6388407"/>
                  <a:pt x="7016816" y="6394066"/>
                  <a:pt x="7013984" y="6391424"/>
                </a:cubicBezTo>
                <a:cubicBezTo>
                  <a:pt x="7013984" y="6391424"/>
                  <a:pt x="7011345" y="6394253"/>
                  <a:pt x="7008513" y="6391611"/>
                </a:cubicBezTo>
                <a:cubicBezTo>
                  <a:pt x="7008513" y="6391611"/>
                  <a:pt x="7008513" y="6391611"/>
                  <a:pt x="7011345" y="6394253"/>
                </a:cubicBezTo>
                <a:cubicBezTo>
                  <a:pt x="7011728" y="6405194"/>
                  <a:pt x="6984566" y="6411604"/>
                  <a:pt x="6954763" y="6420841"/>
                </a:cubicBezTo>
                <a:cubicBezTo>
                  <a:pt x="6954763" y="6420841"/>
                  <a:pt x="6954763" y="6420841"/>
                  <a:pt x="6952123" y="6423670"/>
                </a:cubicBezTo>
                <a:cubicBezTo>
                  <a:pt x="6954955" y="6426312"/>
                  <a:pt x="6954955" y="6426312"/>
                  <a:pt x="6949485" y="6426499"/>
                </a:cubicBezTo>
                <a:cubicBezTo>
                  <a:pt x="6949485" y="6426499"/>
                  <a:pt x="6946844" y="6429327"/>
                  <a:pt x="6946844" y="6429327"/>
                </a:cubicBezTo>
                <a:cubicBezTo>
                  <a:pt x="6944013" y="6426686"/>
                  <a:pt x="6944013" y="6426686"/>
                  <a:pt x="6944013" y="6426686"/>
                </a:cubicBezTo>
                <a:cubicBezTo>
                  <a:pt x="6944013" y="6426686"/>
                  <a:pt x="6944013" y="6426686"/>
                  <a:pt x="6944204" y="6432157"/>
                </a:cubicBezTo>
                <a:cubicBezTo>
                  <a:pt x="6936096" y="6435174"/>
                  <a:pt x="6936286" y="6440645"/>
                  <a:pt x="6917425" y="6449507"/>
                </a:cubicBezTo>
                <a:cubicBezTo>
                  <a:pt x="6923088" y="6454790"/>
                  <a:pt x="6944588" y="6443099"/>
                  <a:pt x="6939502" y="6454228"/>
                </a:cubicBezTo>
                <a:cubicBezTo>
                  <a:pt x="6935446" y="6455736"/>
                  <a:pt x="6934127" y="6457151"/>
                  <a:pt x="6932806" y="6458566"/>
                </a:cubicBezTo>
                <a:lnTo>
                  <a:pt x="6929459" y="6460735"/>
                </a:lnTo>
                <a:lnTo>
                  <a:pt x="6928752" y="6460075"/>
                </a:lnTo>
                <a:cubicBezTo>
                  <a:pt x="6926112" y="6462904"/>
                  <a:pt x="6926112" y="6462904"/>
                  <a:pt x="6926112" y="6462904"/>
                </a:cubicBezTo>
                <a:lnTo>
                  <a:pt x="6929459" y="6460735"/>
                </a:lnTo>
                <a:lnTo>
                  <a:pt x="6931583" y="6462716"/>
                </a:lnTo>
                <a:cubicBezTo>
                  <a:pt x="6931583" y="6462716"/>
                  <a:pt x="6928944" y="6465545"/>
                  <a:pt x="6928944" y="6465545"/>
                </a:cubicBezTo>
                <a:cubicBezTo>
                  <a:pt x="6926304" y="6468375"/>
                  <a:pt x="6926304" y="6468375"/>
                  <a:pt x="6926304" y="6468375"/>
                </a:cubicBezTo>
                <a:cubicBezTo>
                  <a:pt x="6920833" y="6468561"/>
                  <a:pt x="6912723" y="6471578"/>
                  <a:pt x="6904612" y="6474595"/>
                </a:cubicBezTo>
                <a:cubicBezTo>
                  <a:pt x="6904612" y="6474595"/>
                  <a:pt x="6899141" y="6474783"/>
                  <a:pt x="6899141" y="6474783"/>
                </a:cubicBezTo>
                <a:cubicBezTo>
                  <a:pt x="6899141" y="6474783"/>
                  <a:pt x="6896501" y="6477612"/>
                  <a:pt x="6891030" y="6477799"/>
                </a:cubicBezTo>
                <a:cubicBezTo>
                  <a:pt x="6891030" y="6477799"/>
                  <a:pt x="6888391" y="6480629"/>
                  <a:pt x="6885558" y="6477987"/>
                </a:cubicBezTo>
                <a:cubicBezTo>
                  <a:pt x="6888198" y="6475157"/>
                  <a:pt x="6888198" y="6475157"/>
                  <a:pt x="6893669" y="6474970"/>
                </a:cubicBezTo>
                <a:cubicBezTo>
                  <a:pt x="6893669" y="6474970"/>
                  <a:pt x="6896310" y="6472140"/>
                  <a:pt x="6901780" y="6471953"/>
                </a:cubicBezTo>
                <a:cubicBezTo>
                  <a:pt x="6890839" y="6472328"/>
                  <a:pt x="6882729" y="6475345"/>
                  <a:pt x="6874425" y="6472891"/>
                </a:cubicBezTo>
                <a:cubicBezTo>
                  <a:pt x="6874234" y="6467420"/>
                  <a:pt x="6884984" y="6461574"/>
                  <a:pt x="6873850" y="6456478"/>
                </a:cubicBezTo>
                <a:cubicBezTo>
                  <a:pt x="6814436" y="6480425"/>
                  <a:pt x="6768605" y="6501166"/>
                  <a:pt x="6703338" y="6514357"/>
                </a:cubicBezTo>
                <a:cubicBezTo>
                  <a:pt x="6700697" y="6517187"/>
                  <a:pt x="6700697" y="6517187"/>
                  <a:pt x="6695226" y="6517375"/>
                </a:cubicBezTo>
                <a:cubicBezTo>
                  <a:pt x="6692587" y="6520204"/>
                  <a:pt x="6689756" y="6517562"/>
                  <a:pt x="6689756" y="6517562"/>
                </a:cubicBezTo>
                <a:cubicBezTo>
                  <a:pt x="6670895" y="6526426"/>
                  <a:pt x="6643731" y="6532834"/>
                  <a:pt x="6619208" y="6536413"/>
                </a:cubicBezTo>
                <a:cubicBezTo>
                  <a:pt x="6600347" y="6545275"/>
                  <a:pt x="6567906" y="6557341"/>
                  <a:pt x="6532441" y="6561296"/>
                </a:cubicBezTo>
                <a:cubicBezTo>
                  <a:pt x="6497166" y="6570722"/>
                  <a:pt x="6461702" y="6574676"/>
                  <a:pt x="6439817" y="6575425"/>
                </a:cubicBezTo>
                <a:cubicBezTo>
                  <a:pt x="6396240" y="6582396"/>
                  <a:pt x="6347194" y="6589554"/>
                  <a:pt x="6303617" y="6596526"/>
                </a:cubicBezTo>
                <a:cubicBezTo>
                  <a:pt x="6262681" y="6600667"/>
                  <a:pt x="6224384" y="6601980"/>
                  <a:pt x="6196648" y="6591976"/>
                </a:cubicBezTo>
                <a:cubicBezTo>
                  <a:pt x="6202119" y="6591788"/>
                  <a:pt x="6207589" y="6591601"/>
                  <a:pt x="6213057" y="6591413"/>
                </a:cubicBezTo>
                <a:cubicBezTo>
                  <a:pt x="6213057" y="6591413"/>
                  <a:pt x="6213057" y="6591413"/>
                  <a:pt x="6204758" y="6588959"/>
                </a:cubicBezTo>
                <a:cubicBezTo>
                  <a:pt x="6202119" y="6591788"/>
                  <a:pt x="6199288" y="6589146"/>
                  <a:pt x="6199288" y="6589146"/>
                </a:cubicBezTo>
                <a:cubicBezTo>
                  <a:pt x="6201925" y="6586317"/>
                  <a:pt x="6201925" y="6586317"/>
                  <a:pt x="6207396" y="6586131"/>
                </a:cubicBezTo>
                <a:cubicBezTo>
                  <a:pt x="6207396" y="6586131"/>
                  <a:pt x="6207396" y="6586131"/>
                  <a:pt x="6210034" y="6583301"/>
                </a:cubicBezTo>
                <a:cubicBezTo>
                  <a:pt x="6171740" y="6584613"/>
                  <a:pt x="6127970" y="6586114"/>
                  <a:pt x="6089873" y="6592897"/>
                </a:cubicBezTo>
                <a:cubicBezTo>
                  <a:pt x="6062142" y="6582893"/>
                  <a:pt x="6012904" y="6584580"/>
                  <a:pt x="5971585" y="6577780"/>
                </a:cubicBezTo>
                <a:cubicBezTo>
                  <a:pt x="6034785" y="6583830"/>
                  <a:pt x="6105511" y="6570451"/>
                  <a:pt x="6171356" y="6573672"/>
                </a:cubicBezTo>
                <a:cubicBezTo>
                  <a:pt x="6190600" y="6575751"/>
                  <a:pt x="6182105" y="6567825"/>
                  <a:pt x="6195686" y="6564622"/>
                </a:cubicBezTo>
                <a:cubicBezTo>
                  <a:pt x="6223041" y="6563684"/>
                  <a:pt x="6236814" y="6565951"/>
                  <a:pt x="6250588" y="6568218"/>
                </a:cubicBezTo>
                <a:cubicBezTo>
                  <a:pt x="6272472" y="6567468"/>
                  <a:pt x="6274919" y="6559168"/>
                  <a:pt x="6293972" y="6555775"/>
                </a:cubicBezTo>
                <a:cubicBezTo>
                  <a:pt x="6313216" y="6557854"/>
                  <a:pt x="6332459" y="6559934"/>
                  <a:pt x="6351705" y="6562013"/>
                </a:cubicBezTo>
                <a:cubicBezTo>
                  <a:pt x="6351705" y="6562013"/>
                  <a:pt x="6351705" y="6562013"/>
                  <a:pt x="6352088" y="6572955"/>
                </a:cubicBezTo>
                <a:cubicBezTo>
                  <a:pt x="6363031" y="6572580"/>
                  <a:pt x="6379444" y="6572016"/>
                  <a:pt x="6393025" y="6568813"/>
                </a:cubicBezTo>
                <a:cubicBezTo>
                  <a:pt x="6393025" y="6568813"/>
                  <a:pt x="6393025" y="6568813"/>
                  <a:pt x="6390194" y="6566171"/>
                </a:cubicBezTo>
                <a:cubicBezTo>
                  <a:pt x="6387553" y="6569001"/>
                  <a:pt x="6382082" y="6569189"/>
                  <a:pt x="6384723" y="6566359"/>
                </a:cubicBezTo>
                <a:cubicBezTo>
                  <a:pt x="6384723" y="6566359"/>
                  <a:pt x="6387362" y="6563530"/>
                  <a:pt x="6387362" y="6563530"/>
                </a:cubicBezTo>
                <a:cubicBezTo>
                  <a:pt x="6384531" y="6560889"/>
                  <a:pt x="6370950" y="6564092"/>
                  <a:pt x="6376229" y="6558434"/>
                </a:cubicBezTo>
                <a:cubicBezTo>
                  <a:pt x="6392449" y="6552400"/>
                  <a:pt x="6392641" y="6557872"/>
                  <a:pt x="6406223" y="6554668"/>
                </a:cubicBezTo>
                <a:cubicBezTo>
                  <a:pt x="6406223" y="6554668"/>
                  <a:pt x="6406223" y="6554668"/>
                  <a:pt x="6408863" y="6551838"/>
                </a:cubicBezTo>
                <a:cubicBezTo>
                  <a:pt x="6408863" y="6551838"/>
                  <a:pt x="6408863" y="6551838"/>
                  <a:pt x="6411695" y="6554480"/>
                </a:cubicBezTo>
                <a:cubicBezTo>
                  <a:pt x="6414333" y="6551651"/>
                  <a:pt x="6419804" y="6551463"/>
                  <a:pt x="6419804" y="6551463"/>
                </a:cubicBezTo>
                <a:cubicBezTo>
                  <a:pt x="6422636" y="6554105"/>
                  <a:pt x="6422636" y="6554105"/>
                  <a:pt x="6422636" y="6554105"/>
                </a:cubicBezTo>
                <a:cubicBezTo>
                  <a:pt x="6433386" y="6548258"/>
                  <a:pt x="6455078" y="6542038"/>
                  <a:pt x="6474130" y="6538645"/>
                </a:cubicBezTo>
                <a:cubicBezTo>
                  <a:pt x="6496014" y="6537896"/>
                  <a:pt x="6512428" y="6537333"/>
                  <a:pt x="6518091" y="6542617"/>
                </a:cubicBezTo>
                <a:cubicBezTo>
                  <a:pt x="6520731" y="6539788"/>
                  <a:pt x="6523563" y="6542429"/>
                  <a:pt x="6523563" y="6542429"/>
                </a:cubicBezTo>
                <a:cubicBezTo>
                  <a:pt x="6526201" y="6539600"/>
                  <a:pt x="6531672" y="6539413"/>
                  <a:pt x="6534503" y="6542054"/>
                </a:cubicBezTo>
                <a:cubicBezTo>
                  <a:pt x="6534503" y="6542054"/>
                  <a:pt x="6534503" y="6542054"/>
                  <a:pt x="6531864" y="6544883"/>
                </a:cubicBezTo>
                <a:cubicBezTo>
                  <a:pt x="6526394" y="6545070"/>
                  <a:pt x="6526394" y="6545070"/>
                  <a:pt x="6526394" y="6545070"/>
                </a:cubicBezTo>
                <a:cubicBezTo>
                  <a:pt x="6526394" y="6545070"/>
                  <a:pt x="6526394" y="6545070"/>
                  <a:pt x="6523754" y="6547901"/>
                </a:cubicBezTo>
                <a:cubicBezTo>
                  <a:pt x="6542806" y="6544509"/>
                  <a:pt x="6539974" y="6541867"/>
                  <a:pt x="6553556" y="6538663"/>
                </a:cubicBezTo>
                <a:cubicBezTo>
                  <a:pt x="6553556" y="6538663"/>
                  <a:pt x="6548085" y="6538851"/>
                  <a:pt x="6548085" y="6538851"/>
                </a:cubicBezTo>
                <a:cubicBezTo>
                  <a:pt x="6548085" y="6538851"/>
                  <a:pt x="6548085" y="6538851"/>
                  <a:pt x="6550724" y="6536020"/>
                </a:cubicBezTo>
                <a:cubicBezTo>
                  <a:pt x="6550724" y="6536020"/>
                  <a:pt x="6550724" y="6536020"/>
                  <a:pt x="6553364" y="6533192"/>
                </a:cubicBezTo>
                <a:cubicBezTo>
                  <a:pt x="6553364" y="6533192"/>
                  <a:pt x="6545254" y="6536207"/>
                  <a:pt x="6545061" y="6530738"/>
                </a:cubicBezTo>
                <a:cubicBezTo>
                  <a:pt x="6558642" y="6527533"/>
                  <a:pt x="6572225" y="6524329"/>
                  <a:pt x="6572417" y="6529800"/>
                </a:cubicBezTo>
                <a:cubicBezTo>
                  <a:pt x="6572417" y="6529800"/>
                  <a:pt x="6575055" y="6526970"/>
                  <a:pt x="6577889" y="6529613"/>
                </a:cubicBezTo>
                <a:cubicBezTo>
                  <a:pt x="6579303" y="6530934"/>
                  <a:pt x="6580671" y="6530887"/>
                  <a:pt x="6581685" y="6530509"/>
                </a:cubicBezTo>
                <a:lnTo>
                  <a:pt x="6583303" y="6529462"/>
                </a:lnTo>
                <a:lnTo>
                  <a:pt x="6630900" y="6528138"/>
                </a:lnTo>
                <a:cubicBezTo>
                  <a:pt x="6649623" y="6525099"/>
                  <a:pt x="6669287" y="6519633"/>
                  <a:pt x="6689563" y="6512091"/>
                </a:cubicBezTo>
                <a:cubicBezTo>
                  <a:pt x="6689563" y="6512091"/>
                  <a:pt x="6692202" y="6509262"/>
                  <a:pt x="6695034" y="6511904"/>
                </a:cubicBezTo>
                <a:cubicBezTo>
                  <a:pt x="6697674" y="6509074"/>
                  <a:pt x="6703144" y="6508888"/>
                  <a:pt x="6703144" y="6508888"/>
                </a:cubicBezTo>
                <a:cubicBezTo>
                  <a:pt x="6703144" y="6508888"/>
                  <a:pt x="6703144" y="6508888"/>
                  <a:pt x="6700505" y="6511716"/>
                </a:cubicBezTo>
                <a:cubicBezTo>
                  <a:pt x="6711256" y="6505871"/>
                  <a:pt x="6730115" y="6497007"/>
                  <a:pt x="6735395" y="6491350"/>
                </a:cubicBezTo>
                <a:cubicBezTo>
                  <a:pt x="6732756" y="6494179"/>
                  <a:pt x="6732756" y="6494179"/>
                  <a:pt x="6727284" y="6494367"/>
                </a:cubicBezTo>
                <a:cubicBezTo>
                  <a:pt x="6727284" y="6494367"/>
                  <a:pt x="6724454" y="6491725"/>
                  <a:pt x="6724454" y="6491725"/>
                </a:cubicBezTo>
                <a:cubicBezTo>
                  <a:pt x="6727092" y="6488896"/>
                  <a:pt x="6727092" y="6488896"/>
                  <a:pt x="6732564" y="6488708"/>
                </a:cubicBezTo>
                <a:lnTo>
                  <a:pt x="6733523" y="6487679"/>
                </a:lnTo>
                <a:lnTo>
                  <a:pt x="6735936" y="6487223"/>
                </a:lnTo>
                <a:cubicBezTo>
                  <a:pt x="6737986" y="6487153"/>
                  <a:pt x="6739354" y="6487106"/>
                  <a:pt x="6740674" y="6485691"/>
                </a:cubicBezTo>
                <a:cubicBezTo>
                  <a:pt x="6738034" y="6488520"/>
                  <a:pt x="6735202" y="6485879"/>
                  <a:pt x="6735202" y="6485879"/>
                </a:cubicBezTo>
                <a:lnTo>
                  <a:pt x="6733523" y="6487679"/>
                </a:lnTo>
                <a:lnTo>
                  <a:pt x="6727092" y="6488896"/>
                </a:lnTo>
                <a:cubicBezTo>
                  <a:pt x="6772733" y="6462684"/>
                  <a:pt x="6840831" y="6452132"/>
                  <a:pt x="6889302" y="6428561"/>
                </a:cubicBezTo>
                <a:cubicBezTo>
                  <a:pt x="6892135" y="6431203"/>
                  <a:pt x="6908355" y="6425170"/>
                  <a:pt x="6913827" y="6424982"/>
                </a:cubicBezTo>
                <a:cubicBezTo>
                  <a:pt x="6910995" y="6422340"/>
                  <a:pt x="6910995" y="6422340"/>
                  <a:pt x="6916275" y="6416683"/>
                </a:cubicBezTo>
                <a:cubicBezTo>
                  <a:pt x="6916275" y="6416683"/>
                  <a:pt x="6919106" y="6419324"/>
                  <a:pt x="6921746" y="6416496"/>
                </a:cubicBezTo>
                <a:cubicBezTo>
                  <a:pt x="6924385" y="6413666"/>
                  <a:pt x="6927216" y="6416308"/>
                  <a:pt x="6929855" y="6413479"/>
                </a:cubicBezTo>
                <a:cubicBezTo>
                  <a:pt x="6948716" y="6404615"/>
                  <a:pt x="6961589" y="6400751"/>
                  <a:pt x="6972459" y="6398324"/>
                </a:cubicBezTo>
                <a:lnTo>
                  <a:pt x="6999750" y="6392500"/>
                </a:lnTo>
                <a:lnTo>
                  <a:pt x="7001369" y="6392882"/>
                </a:lnTo>
                <a:cubicBezTo>
                  <a:pt x="7002383" y="6392506"/>
                  <a:pt x="7003042" y="6391798"/>
                  <a:pt x="7003042" y="6391798"/>
                </a:cubicBezTo>
                <a:lnTo>
                  <a:pt x="6999750" y="6392500"/>
                </a:lnTo>
                <a:lnTo>
                  <a:pt x="6997571" y="6391986"/>
                </a:lnTo>
                <a:cubicBezTo>
                  <a:pt x="6997571" y="6391986"/>
                  <a:pt x="6994739" y="6389345"/>
                  <a:pt x="6997379" y="6386515"/>
                </a:cubicBezTo>
                <a:cubicBezTo>
                  <a:pt x="6997379" y="6386515"/>
                  <a:pt x="7002850" y="6386328"/>
                  <a:pt x="7002850" y="6386328"/>
                </a:cubicBezTo>
                <a:cubicBezTo>
                  <a:pt x="7005490" y="6383500"/>
                  <a:pt x="7005490" y="6383500"/>
                  <a:pt x="7005490" y="6383500"/>
                </a:cubicBezTo>
                <a:cubicBezTo>
                  <a:pt x="7018688" y="6369352"/>
                  <a:pt x="7067351" y="6351252"/>
                  <a:pt x="7073206" y="6362007"/>
                </a:cubicBezTo>
                <a:cubicBezTo>
                  <a:pt x="7097345" y="6347487"/>
                  <a:pt x="7134875" y="6324291"/>
                  <a:pt x="7162037" y="6317881"/>
                </a:cubicBezTo>
                <a:close/>
                <a:moveTo>
                  <a:pt x="10714022" y="6303541"/>
                </a:moveTo>
                <a:cubicBezTo>
                  <a:pt x="10719598" y="6305150"/>
                  <a:pt x="10724909" y="6305347"/>
                  <a:pt x="10730841" y="6305724"/>
                </a:cubicBezTo>
                <a:cubicBezTo>
                  <a:pt x="10738006" y="6311132"/>
                  <a:pt x="10744194" y="6317595"/>
                  <a:pt x="10744445" y="6328359"/>
                </a:cubicBezTo>
                <a:cubicBezTo>
                  <a:pt x="10744529" y="6330388"/>
                  <a:pt x="10747890" y="6332694"/>
                  <a:pt x="10746203" y="6336217"/>
                </a:cubicBezTo>
                <a:cubicBezTo>
                  <a:pt x="10741496" y="6345549"/>
                  <a:pt x="10748040" y="6350777"/>
                  <a:pt x="10753702" y="6354417"/>
                </a:cubicBezTo>
                <a:cubicBezTo>
                  <a:pt x="10757684" y="6356901"/>
                  <a:pt x="10759628" y="6359468"/>
                  <a:pt x="10761394" y="6362650"/>
                </a:cubicBezTo>
                <a:cubicBezTo>
                  <a:pt x="10766870" y="6371581"/>
                  <a:pt x="10763581" y="6380653"/>
                  <a:pt x="10762946" y="6389825"/>
                </a:cubicBezTo>
                <a:cubicBezTo>
                  <a:pt x="10761872" y="6398200"/>
                  <a:pt x="10756373" y="6403295"/>
                  <a:pt x="10751317" y="6409186"/>
                </a:cubicBezTo>
                <a:cubicBezTo>
                  <a:pt x="10746083" y="6415693"/>
                  <a:pt x="10739346" y="6420430"/>
                  <a:pt x="10730053" y="6417747"/>
                </a:cubicBezTo>
                <a:cubicBezTo>
                  <a:pt x="10728814" y="6417390"/>
                  <a:pt x="10728016" y="6417828"/>
                  <a:pt x="10727483" y="6419679"/>
                </a:cubicBezTo>
                <a:cubicBezTo>
                  <a:pt x="10723145" y="6418427"/>
                  <a:pt x="10719427" y="6417354"/>
                  <a:pt x="10715091" y="6416102"/>
                </a:cubicBezTo>
                <a:cubicBezTo>
                  <a:pt x="10713239" y="6410890"/>
                  <a:pt x="10706866" y="6409719"/>
                  <a:pt x="10703418" y="6405383"/>
                </a:cubicBezTo>
                <a:cubicBezTo>
                  <a:pt x="10699973" y="6401048"/>
                  <a:pt x="10696966" y="6397507"/>
                  <a:pt x="10697330" y="6391599"/>
                </a:cubicBezTo>
                <a:cubicBezTo>
                  <a:pt x="10698491" y="6385252"/>
                  <a:pt x="10696995" y="6378807"/>
                  <a:pt x="10695321" y="6372978"/>
                </a:cubicBezTo>
                <a:cubicBezTo>
                  <a:pt x="10693825" y="6366534"/>
                  <a:pt x="10692949" y="6360267"/>
                  <a:pt x="10691277" y="6354439"/>
                </a:cubicBezTo>
                <a:cubicBezTo>
                  <a:pt x="10690400" y="6348172"/>
                  <a:pt x="10686867" y="6341807"/>
                  <a:pt x="10681562" y="6336935"/>
                </a:cubicBezTo>
                <a:cubicBezTo>
                  <a:pt x="10683698" y="6329534"/>
                  <a:pt x="10685834" y="6322133"/>
                  <a:pt x="10687972" y="6314731"/>
                </a:cubicBezTo>
                <a:cubicBezTo>
                  <a:pt x="10692223" y="6313953"/>
                  <a:pt x="10694793" y="6312024"/>
                  <a:pt x="10697898" y="6308242"/>
                </a:cubicBezTo>
                <a:cubicBezTo>
                  <a:pt x="10701801" y="6304024"/>
                  <a:pt x="10708444" y="6301932"/>
                  <a:pt x="10714022" y="6303541"/>
                </a:cubicBezTo>
                <a:close/>
                <a:moveTo>
                  <a:pt x="10930506" y="6285725"/>
                </a:moveTo>
                <a:cubicBezTo>
                  <a:pt x="10932141" y="6285046"/>
                  <a:pt x="10933696" y="6286647"/>
                  <a:pt x="10934452" y="6288017"/>
                </a:cubicBezTo>
                <a:cubicBezTo>
                  <a:pt x="10935208" y="6289386"/>
                  <a:pt x="10935700" y="6290678"/>
                  <a:pt x="10936114" y="6292237"/>
                </a:cubicBezTo>
                <a:cubicBezTo>
                  <a:pt x="10937171" y="6294558"/>
                  <a:pt x="10938613" y="6295550"/>
                  <a:pt x="10941200" y="6294570"/>
                </a:cubicBezTo>
                <a:cubicBezTo>
                  <a:pt x="10947249" y="6292573"/>
                  <a:pt x="10952985" y="6293654"/>
                  <a:pt x="10958645" y="6294999"/>
                </a:cubicBezTo>
                <a:cubicBezTo>
                  <a:pt x="10965444" y="6296385"/>
                  <a:pt x="10972126" y="6299178"/>
                  <a:pt x="10979233" y="6299503"/>
                </a:cubicBezTo>
                <a:cubicBezTo>
                  <a:pt x="10981780" y="6299661"/>
                  <a:pt x="10982648" y="6301640"/>
                  <a:pt x="10983328" y="6303274"/>
                </a:cubicBezTo>
                <a:cubicBezTo>
                  <a:pt x="10985822" y="6308601"/>
                  <a:pt x="10988051" y="6313849"/>
                  <a:pt x="10995312" y="6313642"/>
                </a:cubicBezTo>
                <a:cubicBezTo>
                  <a:pt x="10996718" y="6313760"/>
                  <a:pt x="10997208" y="6315054"/>
                  <a:pt x="10997433" y="6316270"/>
                </a:cubicBezTo>
                <a:cubicBezTo>
                  <a:pt x="10998823" y="6322428"/>
                  <a:pt x="11002382" y="6328061"/>
                  <a:pt x="11005067" y="6333729"/>
                </a:cubicBezTo>
                <a:cubicBezTo>
                  <a:pt x="11009187" y="6342402"/>
                  <a:pt x="11010418" y="6351106"/>
                  <a:pt x="11005341" y="6359715"/>
                </a:cubicBezTo>
                <a:cubicBezTo>
                  <a:pt x="11003471" y="6363205"/>
                  <a:pt x="11004906" y="6366211"/>
                  <a:pt x="11006419" y="6368950"/>
                </a:cubicBezTo>
                <a:cubicBezTo>
                  <a:pt x="11009748" y="6375380"/>
                  <a:pt x="11008716" y="6377961"/>
                  <a:pt x="11002247" y="6380412"/>
                </a:cubicBezTo>
                <a:cubicBezTo>
                  <a:pt x="10995248" y="6382709"/>
                  <a:pt x="10995248" y="6382709"/>
                  <a:pt x="10998347" y="6389936"/>
                </a:cubicBezTo>
                <a:cubicBezTo>
                  <a:pt x="10999026" y="6391572"/>
                  <a:pt x="10999518" y="6392865"/>
                  <a:pt x="10997463" y="6393999"/>
                </a:cubicBezTo>
                <a:cubicBezTo>
                  <a:pt x="10990381" y="6398575"/>
                  <a:pt x="10983832" y="6403306"/>
                  <a:pt x="10976561" y="6407541"/>
                </a:cubicBezTo>
                <a:cubicBezTo>
                  <a:pt x="10971270" y="6410907"/>
                  <a:pt x="10965375" y="6412372"/>
                  <a:pt x="10959143" y="6412012"/>
                </a:cubicBezTo>
                <a:cubicBezTo>
                  <a:pt x="10955114" y="6412000"/>
                  <a:pt x="10945174" y="6419495"/>
                  <a:pt x="10943758" y="6423403"/>
                </a:cubicBezTo>
                <a:cubicBezTo>
                  <a:pt x="10943376" y="6424732"/>
                  <a:pt x="10943069" y="6425795"/>
                  <a:pt x="10944511" y="6426787"/>
                </a:cubicBezTo>
                <a:cubicBezTo>
                  <a:pt x="10951678" y="6432886"/>
                  <a:pt x="10953594" y="6441212"/>
                  <a:pt x="10954826" y="6449915"/>
                </a:cubicBezTo>
                <a:cubicBezTo>
                  <a:pt x="10955163" y="6451739"/>
                  <a:pt x="10955312" y="6453221"/>
                  <a:pt x="10955727" y="6454780"/>
                </a:cubicBezTo>
                <a:cubicBezTo>
                  <a:pt x="10957158" y="6459799"/>
                  <a:pt x="10957413" y="6463903"/>
                  <a:pt x="10954018" y="6468680"/>
                </a:cubicBezTo>
                <a:cubicBezTo>
                  <a:pt x="10950623" y="6473457"/>
                  <a:pt x="10952014" y="6479616"/>
                  <a:pt x="10953291" y="6485165"/>
                </a:cubicBezTo>
                <a:cubicBezTo>
                  <a:pt x="10953665" y="6487864"/>
                  <a:pt x="10953736" y="6489612"/>
                  <a:pt x="10951185" y="6491466"/>
                </a:cubicBezTo>
                <a:cubicBezTo>
                  <a:pt x="10940826" y="6499416"/>
                  <a:pt x="10932022" y="6508965"/>
                  <a:pt x="10927201" y="6521677"/>
                </a:cubicBezTo>
                <a:cubicBezTo>
                  <a:pt x="10926398" y="6523461"/>
                  <a:pt x="10925636" y="6524105"/>
                  <a:pt x="10923929" y="6523036"/>
                </a:cubicBezTo>
                <a:cubicBezTo>
                  <a:pt x="10916946" y="6519293"/>
                  <a:pt x="10911009" y="6521897"/>
                  <a:pt x="10905488" y="6526061"/>
                </a:cubicBezTo>
                <a:cubicBezTo>
                  <a:pt x="10902936" y="6527915"/>
                  <a:pt x="10900959" y="6528783"/>
                  <a:pt x="10897962" y="6526191"/>
                </a:cubicBezTo>
                <a:cubicBezTo>
                  <a:pt x="10894399" y="6522572"/>
                  <a:pt x="10889798" y="6523547"/>
                  <a:pt x="10885497" y="6525472"/>
                </a:cubicBezTo>
                <a:cubicBezTo>
                  <a:pt x="10881883" y="6527020"/>
                  <a:pt x="10878115" y="6529098"/>
                  <a:pt x="10874500" y="6530645"/>
                </a:cubicBezTo>
                <a:cubicBezTo>
                  <a:pt x="10872731" y="6531286"/>
                  <a:pt x="10871164" y="6531482"/>
                  <a:pt x="10870101" y="6530923"/>
                </a:cubicBezTo>
                <a:cubicBezTo>
                  <a:pt x="10869038" y="6530364"/>
                  <a:pt x="10868480" y="6529052"/>
                  <a:pt x="10868734" y="6526678"/>
                </a:cubicBezTo>
                <a:cubicBezTo>
                  <a:pt x="10869041" y="6525616"/>
                  <a:pt x="10869081" y="6524475"/>
                  <a:pt x="10868856" y="6523259"/>
                </a:cubicBezTo>
                <a:cubicBezTo>
                  <a:pt x="10868709" y="6521778"/>
                  <a:pt x="10869322" y="6519652"/>
                  <a:pt x="10867538" y="6518848"/>
                </a:cubicBezTo>
                <a:cubicBezTo>
                  <a:pt x="10865942" y="6518388"/>
                  <a:pt x="10864495" y="6519410"/>
                  <a:pt x="10863391" y="6520243"/>
                </a:cubicBezTo>
                <a:cubicBezTo>
                  <a:pt x="10858099" y="6523609"/>
                  <a:pt x="10856582" y="6522883"/>
                  <a:pt x="10855799" y="6516612"/>
                </a:cubicBezTo>
                <a:cubicBezTo>
                  <a:pt x="10855650" y="6515130"/>
                  <a:pt x="10855691" y="6513991"/>
                  <a:pt x="10855202" y="6512697"/>
                </a:cubicBezTo>
                <a:cubicBezTo>
                  <a:pt x="10854598" y="6510796"/>
                  <a:pt x="10853917" y="6509160"/>
                  <a:pt x="10850952" y="6509456"/>
                </a:cubicBezTo>
                <a:cubicBezTo>
                  <a:pt x="10848176" y="6510094"/>
                  <a:pt x="10847869" y="6511157"/>
                  <a:pt x="10847787" y="6513436"/>
                </a:cubicBezTo>
                <a:lnTo>
                  <a:pt x="10847076" y="6517585"/>
                </a:lnTo>
                <a:lnTo>
                  <a:pt x="10832262" y="6490922"/>
                </a:lnTo>
                <a:lnTo>
                  <a:pt x="10833938" y="6489576"/>
                </a:lnTo>
                <a:cubicBezTo>
                  <a:pt x="10835161" y="6487339"/>
                  <a:pt x="10834822" y="6485514"/>
                  <a:pt x="10833002" y="6483838"/>
                </a:cubicBezTo>
                <a:cubicBezTo>
                  <a:pt x="10831637" y="6482581"/>
                  <a:pt x="10830196" y="6481589"/>
                  <a:pt x="10828832" y="6480331"/>
                </a:cubicBezTo>
                <a:cubicBezTo>
                  <a:pt x="10826556" y="6478234"/>
                  <a:pt x="10826029" y="6476068"/>
                  <a:pt x="10827481" y="6473032"/>
                </a:cubicBezTo>
                <a:cubicBezTo>
                  <a:pt x="10831837" y="6463927"/>
                  <a:pt x="10830299" y="6456286"/>
                  <a:pt x="10823019" y="6449579"/>
                </a:cubicBezTo>
                <a:cubicBezTo>
                  <a:pt x="10821919" y="6448399"/>
                  <a:pt x="10818918" y="6447820"/>
                  <a:pt x="10820141" y="6445582"/>
                </a:cubicBezTo>
                <a:cubicBezTo>
                  <a:pt x="10821097" y="6443268"/>
                  <a:pt x="10823642" y="6443427"/>
                  <a:pt x="10826112" y="6443852"/>
                </a:cubicBezTo>
                <a:cubicBezTo>
                  <a:pt x="10826378" y="6443928"/>
                  <a:pt x="10826643" y="6444006"/>
                  <a:pt x="10826909" y="6444082"/>
                </a:cubicBezTo>
                <a:cubicBezTo>
                  <a:pt x="10833597" y="6444860"/>
                  <a:pt x="10836301" y="6442475"/>
                  <a:pt x="10834569" y="6436505"/>
                </a:cubicBezTo>
                <a:cubicBezTo>
                  <a:pt x="10833025" y="6430878"/>
                  <a:pt x="10834896" y="6427389"/>
                  <a:pt x="10838706" y="6424170"/>
                </a:cubicBezTo>
                <a:cubicBezTo>
                  <a:pt x="10843695" y="6419853"/>
                  <a:pt x="10847964" y="6415040"/>
                  <a:pt x="10848286" y="6407938"/>
                </a:cubicBezTo>
                <a:cubicBezTo>
                  <a:pt x="10848332" y="6404783"/>
                  <a:pt x="10851640" y="6404299"/>
                  <a:pt x="10853655" y="6404305"/>
                </a:cubicBezTo>
                <a:cubicBezTo>
                  <a:pt x="10861258" y="6403908"/>
                  <a:pt x="10865751" y="6400313"/>
                  <a:pt x="10868543" y="6393634"/>
                </a:cubicBezTo>
                <a:cubicBezTo>
                  <a:pt x="10870302" y="6389536"/>
                  <a:pt x="10872126" y="6389199"/>
                  <a:pt x="10875613" y="6393084"/>
                </a:cubicBezTo>
                <a:cubicBezTo>
                  <a:pt x="10883042" y="6401273"/>
                  <a:pt x="10897485" y="6401124"/>
                  <a:pt x="10904157" y="6392975"/>
                </a:cubicBezTo>
                <a:cubicBezTo>
                  <a:pt x="10905491" y="6391345"/>
                  <a:pt x="10907245" y="6389261"/>
                  <a:pt x="10905844" y="6387129"/>
                </a:cubicBezTo>
                <a:cubicBezTo>
                  <a:pt x="10904444" y="6384997"/>
                  <a:pt x="10902015" y="6383433"/>
                  <a:pt x="10899163" y="6384336"/>
                </a:cubicBezTo>
                <a:cubicBezTo>
                  <a:pt x="10897337" y="6384674"/>
                  <a:pt x="10895358" y="6385541"/>
                  <a:pt x="10893456" y="6386144"/>
                </a:cubicBezTo>
                <a:cubicBezTo>
                  <a:pt x="10891479" y="6387013"/>
                  <a:pt x="10889653" y="6387350"/>
                  <a:pt x="10888784" y="6385371"/>
                </a:cubicBezTo>
                <a:cubicBezTo>
                  <a:pt x="10887725" y="6383051"/>
                  <a:pt x="10889249" y="6381763"/>
                  <a:pt x="10890962" y="6380819"/>
                </a:cubicBezTo>
                <a:cubicBezTo>
                  <a:pt x="10892409" y="6379797"/>
                  <a:pt x="10894311" y="6379194"/>
                  <a:pt x="10895682" y="6378439"/>
                </a:cubicBezTo>
                <a:cubicBezTo>
                  <a:pt x="10898765" y="6376737"/>
                  <a:pt x="10901013" y="6373933"/>
                  <a:pt x="10899388" y="6370585"/>
                </a:cubicBezTo>
                <a:cubicBezTo>
                  <a:pt x="10897874" y="6367845"/>
                  <a:pt x="10894336" y="6369126"/>
                  <a:pt x="10891750" y="6370107"/>
                </a:cubicBezTo>
                <a:cubicBezTo>
                  <a:pt x="10889506" y="6370899"/>
                  <a:pt x="10887486" y="6372907"/>
                  <a:pt x="10884863" y="6373014"/>
                </a:cubicBezTo>
                <a:cubicBezTo>
                  <a:pt x="10881023" y="6373345"/>
                  <a:pt x="10879049" y="6372198"/>
                  <a:pt x="10880543" y="6368024"/>
                </a:cubicBezTo>
                <a:cubicBezTo>
                  <a:pt x="10882496" y="6362255"/>
                  <a:pt x="10886270" y="6358163"/>
                  <a:pt x="10890763" y="6354566"/>
                </a:cubicBezTo>
                <a:cubicBezTo>
                  <a:pt x="10896439" y="6349871"/>
                  <a:pt x="10897624" y="6346760"/>
                  <a:pt x="10894981" y="6339952"/>
                </a:cubicBezTo>
                <a:cubicBezTo>
                  <a:pt x="10894266" y="6337442"/>
                  <a:pt x="10892675" y="6334968"/>
                  <a:pt x="10891351" y="6332572"/>
                </a:cubicBezTo>
                <a:cubicBezTo>
                  <a:pt x="10890784" y="6331544"/>
                  <a:pt x="10889685" y="6330363"/>
                  <a:pt x="10890600" y="6329188"/>
                </a:cubicBezTo>
                <a:cubicBezTo>
                  <a:pt x="10891592" y="6327747"/>
                  <a:pt x="10892998" y="6327865"/>
                  <a:pt x="10893984" y="6328437"/>
                </a:cubicBezTo>
                <a:cubicBezTo>
                  <a:pt x="10898463" y="6330882"/>
                  <a:pt x="10900140" y="6329062"/>
                  <a:pt x="10901102" y="6324735"/>
                </a:cubicBezTo>
                <a:cubicBezTo>
                  <a:pt x="10902369" y="6319344"/>
                  <a:pt x="10906900" y="6316621"/>
                  <a:pt x="10911465" y="6314773"/>
                </a:cubicBezTo>
                <a:cubicBezTo>
                  <a:pt x="10915079" y="6313226"/>
                  <a:pt x="10915882" y="6311441"/>
                  <a:pt x="10913572" y="6308472"/>
                </a:cubicBezTo>
                <a:cubicBezTo>
                  <a:pt x="10912284" y="6306949"/>
                  <a:pt x="10911527" y="6305579"/>
                  <a:pt x="10912673" y="6303606"/>
                </a:cubicBezTo>
                <a:cubicBezTo>
                  <a:pt x="10914047" y="6300837"/>
                  <a:pt x="10916021" y="6301982"/>
                  <a:pt x="10918036" y="6301988"/>
                </a:cubicBezTo>
                <a:cubicBezTo>
                  <a:pt x="10919175" y="6302029"/>
                  <a:pt x="10920505" y="6302413"/>
                  <a:pt x="10921910" y="6302530"/>
                </a:cubicBezTo>
                <a:cubicBezTo>
                  <a:pt x="10929318" y="6303805"/>
                  <a:pt x="10932065" y="6300280"/>
                  <a:pt x="10929575" y="6292941"/>
                </a:cubicBezTo>
                <a:cubicBezTo>
                  <a:pt x="10929273" y="6291990"/>
                  <a:pt x="10928894" y="6291305"/>
                  <a:pt x="10928858" y="6290432"/>
                </a:cubicBezTo>
                <a:cubicBezTo>
                  <a:pt x="10928522" y="6288608"/>
                  <a:pt x="10928604" y="6286327"/>
                  <a:pt x="10930506" y="6285725"/>
                </a:cubicBezTo>
                <a:close/>
                <a:moveTo>
                  <a:pt x="2103880" y="6280946"/>
                </a:moveTo>
                <a:lnTo>
                  <a:pt x="2107977" y="6287982"/>
                </a:lnTo>
                <a:cubicBezTo>
                  <a:pt x="2107844" y="6291712"/>
                  <a:pt x="2113312" y="6295645"/>
                  <a:pt x="2106271" y="6298794"/>
                </a:cubicBezTo>
                <a:cubicBezTo>
                  <a:pt x="2104153" y="6299596"/>
                  <a:pt x="2103835" y="6302330"/>
                  <a:pt x="2105452" y="6303268"/>
                </a:cubicBezTo>
                <a:cubicBezTo>
                  <a:pt x="2111663" y="6307886"/>
                  <a:pt x="2110099" y="6311674"/>
                  <a:pt x="2104240" y="6315635"/>
                </a:cubicBezTo>
                <a:cubicBezTo>
                  <a:pt x="2102433" y="6316997"/>
                  <a:pt x="2103546" y="6319674"/>
                  <a:pt x="2103914" y="6321664"/>
                </a:cubicBezTo>
                <a:lnTo>
                  <a:pt x="2101883" y="6327409"/>
                </a:lnTo>
                <a:lnTo>
                  <a:pt x="2264908" y="6422757"/>
                </a:lnTo>
                <a:lnTo>
                  <a:pt x="2262963" y="6404727"/>
                </a:lnTo>
                <a:cubicBezTo>
                  <a:pt x="2261469" y="6398282"/>
                  <a:pt x="2260593" y="6392015"/>
                  <a:pt x="2258919" y="6386187"/>
                </a:cubicBezTo>
                <a:cubicBezTo>
                  <a:pt x="2258043" y="6379921"/>
                  <a:pt x="2254511" y="6373555"/>
                  <a:pt x="2249206" y="6368683"/>
                </a:cubicBezTo>
                <a:lnTo>
                  <a:pt x="2251459" y="6360877"/>
                </a:lnTo>
                <a:lnTo>
                  <a:pt x="2159578" y="6314529"/>
                </a:lnTo>
                <a:close/>
                <a:moveTo>
                  <a:pt x="7529861" y="6258515"/>
                </a:moveTo>
                <a:cubicBezTo>
                  <a:pt x="7533172" y="6260080"/>
                  <a:pt x="7536094" y="6261558"/>
                  <a:pt x="7539581" y="6262352"/>
                </a:cubicBezTo>
                <a:cubicBezTo>
                  <a:pt x="7543067" y="6263147"/>
                  <a:pt x="7546026" y="6266255"/>
                  <a:pt x="7546873" y="6269693"/>
                </a:cubicBezTo>
                <a:cubicBezTo>
                  <a:pt x="7547420" y="6272657"/>
                  <a:pt x="7548230" y="6274464"/>
                  <a:pt x="7550290" y="6276150"/>
                </a:cubicBezTo>
                <a:cubicBezTo>
                  <a:pt x="7549237" y="6280779"/>
                  <a:pt x="7548182" y="6285406"/>
                  <a:pt x="7547127" y="6290033"/>
                </a:cubicBezTo>
                <a:cubicBezTo>
                  <a:pt x="7542815" y="6291078"/>
                  <a:pt x="7539012" y="6293457"/>
                  <a:pt x="7536672" y="6296575"/>
                </a:cubicBezTo>
                <a:cubicBezTo>
                  <a:pt x="7534033" y="6299218"/>
                  <a:pt x="7531693" y="6302336"/>
                  <a:pt x="7528965" y="6305365"/>
                </a:cubicBezTo>
                <a:cubicBezTo>
                  <a:pt x="7526325" y="6308008"/>
                  <a:pt x="7523598" y="6311038"/>
                  <a:pt x="7522331" y="6314806"/>
                </a:cubicBezTo>
                <a:cubicBezTo>
                  <a:pt x="7520766" y="6318100"/>
                  <a:pt x="7518090" y="6319114"/>
                  <a:pt x="7514939" y="6320424"/>
                </a:cubicBezTo>
                <a:cubicBezTo>
                  <a:pt x="7511789" y="6321734"/>
                  <a:pt x="7508002" y="6320466"/>
                  <a:pt x="7505451" y="6322723"/>
                </a:cubicBezTo>
                <a:cubicBezTo>
                  <a:pt x="7502739" y="6322105"/>
                  <a:pt x="7500415" y="6321576"/>
                  <a:pt x="7497703" y="6320958"/>
                </a:cubicBezTo>
                <a:cubicBezTo>
                  <a:pt x="7497967" y="6319801"/>
                  <a:pt x="7497667" y="6319327"/>
                  <a:pt x="7496894" y="6319151"/>
                </a:cubicBezTo>
                <a:cubicBezTo>
                  <a:pt x="7491083" y="6317827"/>
                  <a:pt x="7488863" y="6313264"/>
                  <a:pt x="7487980" y="6308196"/>
                </a:cubicBezTo>
                <a:cubicBezTo>
                  <a:pt x="7487010" y="6303512"/>
                  <a:pt x="7485565" y="6299127"/>
                  <a:pt x="7487482" y="6294290"/>
                </a:cubicBezTo>
                <a:cubicBezTo>
                  <a:pt x="7489874" y="6289157"/>
                  <a:pt x="7490804" y="6283284"/>
                  <a:pt x="7496419" y="6280100"/>
                </a:cubicBezTo>
                <a:cubicBezTo>
                  <a:pt x="7498320" y="6278911"/>
                  <a:pt x="7500133" y="6278108"/>
                  <a:pt x="7503021" y="6277954"/>
                </a:cubicBezTo>
                <a:cubicBezTo>
                  <a:pt x="7507157" y="6277680"/>
                  <a:pt x="7512246" y="6276812"/>
                  <a:pt x="7512489" y="6270376"/>
                </a:cubicBezTo>
                <a:cubicBezTo>
                  <a:pt x="7512629" y="6267975"/>
                  <a:pt x="7515129" y="6267733"/>
                  <a:pt x="7515780" y="6266665"/>
                </a:cubicBezTo>
                <a:cubicBezTo>
                  <a:pt x="7519123" y="6260936"/>
                  <a:pt x="7524386" y="6259296"/>
                  <a:pt x="7529861" y="6258515"/>
                </a:cubicBezTo>
                <a:close/>
                <a:moveTo>
                  <a:pt x="11340656" y="6256183"/>
                </a:moveTo>
                <a:cubicBezTo>
                  <a:pt x="11346150" y="6255544"/>
                  <a:pt x="11351657" y="6255790"/>
                  <a:pt x="11356349" y="6260477"/>
                </a:cubicBezTo>
                <a:cubicBezTo>
                  <a:pt x="11357250" y="6261345"/>
                  <a:pt x="11359730" y="6260942"/>
                  <a:pt x="11360476" y="6263228"/>
                </a:cubicBezTo>
                <a:cubicBezTo>
                  <a:pt x="11362351" y="6269389"/>
                  <a:pt x="11367492" y="6268934"/>
                  <a:pt x="11371564" y="6268145"/>
                </a:cubicBezTo>
                <a:cubicBezTo>
                  <a:pt x="11374395" y="6267558"/>
                  <a:pt x="11376352" y="6267874"/>
                  <a:pt x="11378493" y="6268539"/>
                </a:cubicBezTo>
                <a:cubicBezTo>
                  <a:pt x="11384733" y="6270187"/>
                  <a:pt x="11387129" y="6275629"/>
                  <a:pt x="11390751" y="6279983"/>
                </a:cubicBezTo>
                <a:cubicBezTo>
                  <a:pt x="11393836" y="6284173"/>
                  <a:pt x="11393556" y="6288782"/>
                  <a:pt x="11393810" y="6293558"/>
                </a:cubicBezTo>
                <a:cubicBezTo>
                  <a:pt x="11394249" y="6298684"/>
                  <a:pt x="11393263" y="6303661"/>
                  <a:pt x="11387982" y="6306421"/>
                </a:cubicBezTo>
                <a:cubicBezTo>
                  <a:pt x="11387277" y="6306790"/>
                  <a:pt x="11387108" y="6307324"/>
                  <a:pt x="11387658" y="6308376"/>
                </a:cubicBezTo>
                <a:cubicBezTo>
                  <a:pt x="11385194" y="6309664"/>
                  <a:pt x="11383081" y="6310769"/>
                  <a:pt x="11380617" y="6312056"/>
                </a:cubicBezTo>
                <a:cubicBezTo>
                  <a:pt x="11377573" y="6310523"/>
                  <a:pt x="11374235" y="6312714"/>
                  <a:pt x="11370855" y="6312248"/>
                </a:cubicBezTo>
                <a:cubicBezTo>
                  <a:pt x="11367474" y="6311785"/>
                  <a:pt x="11364629" y="6311487"/>
                  <a:pt x="11362276" y="6308699"/>
                </a:cubicBezTo>
                <a:cubicBezTo>
                  <a:pt x="11360092" y="6305379"/>
                  <a:pt x="11356682" y="6303144"/>
                  <a:pt x="11353456" y="6301260"/>
                </a:cubicBezTo>
                <a:cubicBezTo>
                  <a:pt x="11350047" y="6299025"/>
                  <a:pt x="11346990" y="6296606"/>
                  <a:pt x="11343764" y="6294723"/>
                </a:cubicBezTo>
                <a:cubicBezTo>
                  <a:pt x="11340707" y="6292305"/>
                  <a:pt x="11336424" y="6290972"/>
                  <a:pt x="11331987" y="6291060"/>
                </a:cubicBezTo>
                <a:cubicBezTo>
                  <a:pt x="11329790" y="6286853"/>
                  <a:pt x="11327592" y="6282647"/>
                  <a:pt x="11325393" y="6278441"/>
                </a:cubicBezTo>
                <a:cubicBezTo>
                  <a:pt x="11326956" y="6276285"/>
                  <a:pt x="11327279" y="6274331"/>
                  <a:pt x="11327054" y="6271326"/>
                </a:cubicBezTo>
                <a:cubicBezTo>
                  <a:pt x="11326996" y="6267785"/>
                  <a:pt x="11329065" y="6264026"/>
                  <a:pt x="11332234" y="6262370"/>
                </a:cubicBezTo>
                <a:cubicBezTo>
                  <a:pt x="11335404" y="6260713"/>
                  <a:pt x="11337853" y="6258541"/>
                  <a:pt x="11340656" y="6256183"/>
                </a:cubicBezTo>
                <a:close/>
                <a:moveTo>
                  <a:pt x="667131" y="6254575"/>
                </a:moveTo>
                <a:lnTo>
                  <a:pt x="667623" y="6254852"/>
                </a:lnTo>
                <a:lnTo>
                  <a:pt x="667257" y="6255054"/>
                </a:lnTo>
                <a:close/>
                <a:moveTo>
                  <a:pt x="7718045" y="6253207"/>
                </a:moveTo>
                <a:cubicBezTo>
                  <a:pt x="7719645" y="6251468"/>
                  <a:pt x="7724756" y="6254134"/>
                  <a:pt x="7727266" y="6255007"/>
                </a:cubicBezTo>
                <a:cubicBezTo>
                  <a:pt x="7733078" y="6257233"/>
                  <a:pt x="7741077" y="6255149"/>
                  <a:pt x="7744378" y="6263115"/>
                </a:cubicBezTo>
                <a:cubicBezTo>
                  <a:pt x="7744976" y="6264453"/>
                  <a:pt x="7746367" y="6266273"/>
                  <a:pt x="7748655" y="6266794"/>
                </a:cubicBezTo>
                <a:cubicBezTo>
                  <a:pt x="7751867" y="6267226"/>
                  <a:pt x="7753193" y="6269331"/>
                  <a:pt x="7753049" y="6272605"/>
                </a:cubicBezTo>
                <a:cubicBezTo>
                  <a:pt x="7753166" y="6274735"/>
                  <a:pt x="7754336" y="6276204"/>
                  <a:pt x="7755441" y="6277959"/>
                </a:cubicBezTo>
                <a:cubicBezTo>
                  <a:pt x="7758379" y="6282234"/>
                  <a:pt x="7759183" y="6286626"/>
                  <a:pt x="7756581" y="6291443"/>
                </a:cubicBezTo>
                <a:cubicBezTo>
                  <a:pt x="7755071" y="6294105"/>
                  <a:pt x="7755214" y="6297443"/>
                  <a:pt x="7757684" y="6299809"/>
                </a:cubicBezTo>
                <a:cubicBezTo>
                  <a:pt x="7757424" y="6300952"/>
                  <a:pt x="7757163" y="6302095"/>
                  <a:pt x="7756903" y="6303238"/>
                </a:cubicBezTo>
                <a:cubicBezTo>
                  <a:pt x="7754003" y="6304080"/>
                  <a:pt x="7752467" y="6305533"/>
                  <a:pt x="7751907" y="6309313"/>
                </a:cubicBezTo>
                <a:cubicBezTo>
                  <a:pt x="7751021" y="6314521"/>
                  <a:pt x="7747821" y="6318000"/>
                  <a:pt x="7741840" y="6317840"/>
                </a:cubicBezTo>
                <a:cubicBezTo>
                  <a:pt x="7739199" y="6317539"/>
                  <a:pt x="7739316" y="6319669"/>
                  <a:pt x="7738925" y="6321383"/>
                </a:cubicBezTo>
                <a:cubicBezTo>
                  <a:pt x="7738274" y="6324240"/>
                  <a:pt x="7736999" y="6324550"/>
                  <a:pt x="7735166" y="6322029"/>
                </a:cubicBezTo>
                <a:cubicBezTo>
                  <a:pt x="7732384" y="6318390"/>
                  <a:pt x="7730096" y="6317868"/>
                  <a:pt x="7728130" y="6322530"/>
                </a:cubicBezTo>
                <a:cubicBezTo>
                  <a:pt x="7727584" y="6323607"/>
                  <a:pt x="7726400" y="6324841"/>
                  <a:pt x="7725581" y="6323151"/>
                </a:cubicBezTo>
                <a:cubicBezTo>
                  <a:pt x="7722709" y="6318590"/>
                  <a:pt x="7719613" y="6320289"/>
                  <a:pt x="7716166" y="6322208"/>
                </a:cubicBezTo>
                <a:cubicBezTo>
                  <a:pt x="7715749" y="6322714"/>
                  <a:pt x="7714605" y="6322454"/>
                  <a:pt x="7714033" y="6322323"/>
                </a:cubicBezTo>
                <a:cubicBezTo>
                  <a:pt x="7708079" y="6316759"/>
                  <a:pt x="7702540" y="6310687"/>
                  <a:pt x="7696651" y="6304837"/>
                </a:cubicBezTo>
                <a:cubicBezTo>
                  <a:pt x="7693960" y="6302121"/>
                  <a:pt x="7693480" y="6296300"/>
                  <a:pt x="7693026" y="6291688"/>
                </a:cubicBezTo>
                <a:cubicBezTo>
                  <a:pt x="7692845" y="6289843"/>
                  <a:pt x="7693522" y="6288195"/>
                  <a:pt x="7692130" y="6286374"/>
                </a:cubicBezTo>
                <a:cubicBezTo>
                  <a:pt x="7690740" y="6284555"/>
                  <a:pt x="7691416" y="6282905"/>
                  <a:pt x="7692951" y="6281452"/>
                </a:cubicBezTo>
                <a:cubicBezTo>
                  <a:pt x="7693783" y="6280440"/>
                  <a:pt x="7695253" y="6279272"/>
                  <a:pt x="7694655" y="6277933"/>
                </a:cubicBezTo>
                <a:cubicBezTo>
                  <a:pt x="7692576" y="6273853"/>
                  <a:pt x="7692876" y="6271217"/>
                  <a:pt x="7697844" y="6270545"/>
                </a:cubicBezTo>
                <a:cubicBezTo>
                  <a:pt x="7699054" y="6270520"/>
                  <a:pt x="7699730" y="6268871"/>
                  <a:pt x="7698781" y="6267752"/>
                </a:cubicBezTo>
                <a:cubicBezTo>
                  <a:pt x="7695778" y="6263762"/>
                  <a:pt x="7700109" y="6263246"/>
                  <a:pt x="7701202" y="6261091"/>
                </a:cubicBezTo>
                <a:cubicBezTo>
                  <a:pt x="7704962" y="6253833"/>
                  <a:pt x="7713310" y="6258139"/>
                  <a:pt x="7718045" y="6253207"/>
                </a:cubicBezTo>
                <a:close/>
                <a:moveTo>
                  <a:pt x="1146984" y="6234822"/>
                </a:moveTo>
                <a:lnTo>
                  <a:pt x="1146985" y="6234822"/>
                </a:lnTo>
                <a:lnTo>
                  <a:pt x="1146986" y="6234822"/>
                </a:lnTo>
                <a:cubicBezTo>
                  <a:pt x="1148805" y="6233057"/>
                  <a:pt x="1154116" y="6236226"/>
                  <a:pt x="1156749" y="6237313"/>
                </a:cubicBezTo>
                <a:cubicBezTo>
                  <a:pt x="1162838" y="6240052"/>
                  <a:pt x="1171530" y="6238308"/>
                  <a:pt x="1174579" y="6247040"/>
                </a:cubicBezTo>
                <a:cubicBezTo>
                  <a:pt x="1175138" y="6248509"/>
                  <a:pt x="1176515" y="6250543"/>
                  <a:pt x="1178934" y="6251241"/>
                </a:cubicBezTo>
                <a:cubicBezTo>
                  <a:pt x="1182348" y="6251899"/>
                  <a:pt x="1183640" y="6254235"/>
                  <a:pt x="1183285" y="6257732"/>
                </a:cubicBezTo>
                <a:cubicBezTo>
                  <a:pt x="1183279" y="6260020"/>
                  <a:pt x="1184443" y="6261664"/>
                  <a:pt x="1185519" y="6263610"/>
                </a:cubicBezTo>
                <a:cubicBezTo>
                  <a:pt x="1188404" y="6268369"/>
                  <a:pt x="1188998" y="6273121"/>
                  <a:pt x="1185917" y="6278120"/>
                </a:cubicBezTo>
                <a:cubicBezTo>
                  <a:pt x="1184139" y="6280878"/>
                  <a:pt x="1184087" y="6284463"/>
                  <a:pt x="1186588" y="6287147"/>
                </a:cubicBezTo>
                <a:cubicBezTo>
                  <a:pt x="1186239" y="6288355"/>
                  <a:pt x="1185890" y="6289563"/>
                  <a:pt x="1185541" y="6290771"/>
                </a:cubicBezTo>
                <a:cubicBezTo>
                  <a:pt x="1182385" y="6291496"/>
                  <a:pt x="1180652" y="6292958"/>
                  <a:pt x="1179820" y="6296972"/>
                </a:cubicBezTo>
                <a:cubicBezTo>
                  <a:pt x="1178554" y="6302495"/>
                  <a:pt x="1174915" y="6306025"/>
                  <a:pt x="1168519" y="6305487"/>
                </a:cubicBezTo>
                <a:cubicBezTo>
                  <a:pt x="1165710" y="6305003"/>
                  <a:pt x="1165705" y="6307292"/>
                  <a:pt x="1165181" y="6309104"/>
                </a:cubicBezTo>
                <a:cubicBezTo>
                  <a:pt x="1164310" y="6312123"/>
                  <a:pt x="1162927" y="6312378"/>
                  <a:pt x="1161117" y="6309566"/>
                </a:cubicBezTo>
                <a:lnTo>
                  <a:pt x="1161117" y="6309566"/>
                </a:lnTo>
                <a:lnTo>
                  <a:pt x="1161115" y="6309567"/>
                </a:lnTo>
                <a:lnTo>
                  <a:pt x="1157196" y="6306268"/>
                </a:lnTo>
                <a:lnTo>
                  <a:pt x="1153552" y="6309673"/>
                </a:lnTo>
                <a:cubicBezTo>
                  <a:pt x="1152901" y="6310793"/>
                  <a:pt x="1151558" y="6312042"/>
                  <a:pt x="1150785" y="6310183"/>
                </a:cubicBezTo>
                <a:lnTo>
                  <a:pt x="1150784" y="6310183"/>
                </a:lnTo>
                <a:lnTo>
                  <a:pt x="1146150" y="6306802"/>
                </a:lnTo>
                <a:lnTo>
                  <a:pt x="1140760" y="6308598"/>
                </a:lnTo>
                <a:lnTo>
                  <a:pt x="1140758" y="6308598"/>
                </a:lnTo>
                <a:cubicBezTo>
                  <a:pt x="1140281" y="6309115"/>
                  <a:pt x="1139072" y="6308766"/>
                  <a:pt x="1138468" y="6308591"/>
                </a:cubicBezTo>
                <a:cubicBezTo>
                  <a:pt x="1132430" y="6302268"/>
                  <a:pt x="1126870" y="6295429"/>
                  <a:pt x="1120920" y="6288804"/>
                </a:cubicBezTo>
                <a:cubicBezTo>
                  <a:pt x="1118205" y="6285730"/>
                  <a:pt x="1118046" y="6279469"/>
                  <a:pt x="1117843" y="6274503"/>
                </a:cubicBezTo>
                <a:cubicBezTo>
                  <a:pt x="1117761" y="6272516"/>
                  <a:pt x="1118586" y="6270791"/>
                  <a:pt x="1117208" y="6268758"/>
                </a:cubicBezTo>
                <a:cubicBezTo>
                  <a:pt x="1115828" y="6266724"/>
                  <a:pt x="1116654" y="6264999"/>
                  <a:pt x="1118387" y="6263536"/>
                </a:cubicBezTo>
                <a:cubicBezTo>
                  <a:pt x="1119341" y="6262503"/>
                  <a:pt x="1120985" y="6261343"/>
                  <a:pt x="1120428" y="6259873"/>
                </a:cubicBezTo>
                <a:cubicBezTo>
                  <a:pt x="1118449" y="6255375"/>
                  <a:pt x="1118932" y="6252570"/>
                  <a:pt x="1124293" y="6252155"/>
                </a:cubicBezTo>
                <a:cubicBezTo>
                  <a:pt x="1125589" y="6252203"/>
                  <a:pt x="1126414" y="6250478"/>
                  <a:pt x="1125467" y="6249222"/>
                </a:cubicBezTo>
                <a:cubicBezTo>
                  <a:pt x="1122494" y="6244766"/>
                  <a:pt x="1127164" y="6244478"/>
                  <a:pt x="1128466" y="6242236"/>
                </a:cubicBezTo>
                <a:cubicBezTo>
                  <a:pt x="1132937" y="6234693"/>
                  <a:pt x="1141613" y="6239814"/>
                  <a:pt x="1146984" y="6234822"/>
                </a:cubicBezTo>
                <a:close/>
                <a:moveTo>
                  <a:pt x="1500181" y="6234254"/>
                </a:moveTo>
                <a:cubicBezTo>
                  <a:pt x="1503252" y="6236407"/>
                  <a:pt x="1506010" y="6236818"/>
                  <a:pt x="1510237" y="6236431"/>
                </a:cubicBezTo>
                <a:cubicBezTo>
                  <a:pt x="1515221" y="6236270"/>
                  <a:pt x="1520561" y="6239099"/>
                  <a:pt x="1522965" y="6243523"/>
                </a:cubicBezTo>
                <a:cubicBezTo>
                  <a:pt x="1525369" y="6247948"/>
                  <a:pt x="1528484" y="6251349"/>
                  <a:pt x="1531868" y="6255242"/>
                </a:cubicBezTo>
                <a:cubicBezTo>
                  <a:pt x="1532893" y="6262962"/>
                  <a:pt x="1532673" y="6270722"/>
                  <a:pt x="1526177" y="6277435"/>
                </a:cubicBezTo>
                <a:cubicBezTo>
                  <a:pt x="1524976" y="6278724"/>
                  <a:pt x="1525600" y="6282205"/>
                  <a:pt x="1522397" y="6283309"/>
                </a:cubicBezTo>
                <a:cubicBezTo>
                  <a:pt x="1513765" y="6286089"/>
                  <a:pt x="1514524" y="6293317"/>
                  <a:pt x="1515726" y="6299031"/>
                </a:cubicBezTo>
                <a:cubicBezTo>
                  <a:pt x="1516617" y="6303004"/>
                  <a:pt x="1516217" y="6305768"/>
                  <a:pt x="1515328" y="6308798"/>
                </a:cubicBezTo>
                <a:cubicBezTo>
                  <a:pt x="1513150" y="6317622"/>
                  <a:pt x="1505542" y="6321119"/>
                  <a:pt x="1499492" y="6326316"/>
                </a:cubicBezTo>
                <a:cubicBezTo>
                  <a:pt x="1493664" y="6330756"/>
                  <a:pt x="1487168" y="6330466"/>
                  <a:pt x="1480449" y="6330933"/>
                </a:cubicBezTo>
                <a:cubicBezTo>
                  <a:pt x="1473241" y="6331665"/>
                  <a:pt x="1466211" y="6330392"/>
                  <a:pt x="1462205" y="6323018"/>
                </a:cubicBezTo>
                <a:cubicBezTo>
                  <a:pt x="1461670" y="6322035"/>
                  <a:pt x="1460913" y="6321808"/>
                  <a:pt x="1459445" y="6322606"/>
                </a:cubicBezTo>
                <a:cubicBezTo>
                  <a:pt x="1457575" y="6319166"/>
                  <a:pt x="1455972" y="6316216"/>
                  <a:pt x="1454104" y="6312774"/>
                </a:cubicBezTo>
                <a:cubicBezTo>
                  <a:pt x="1456194" y="6308455"/>
                  <a:pt x="1453033" y="6303805"/>
                  <a:pt x="1453610" y="6299035"/>
                </a:cubicBezTo>
                <a:cubicBezTo>
                  <a:pt x="1454187" y="6294264"/>
                  <a:pt x="1454542" y="6290251"/>
                  <a:pt x="1458412" y="6286875"/>
                </a:cubicBezTo>
                <a:cubicBezTo>
                  <a:pt x="1463040" y="6283724"/>
                  <a:pt x="1466109" y="6278873"/>
                  <a:pt x="1468688" y="6274287"/>
                </a:cubicBezTo>
                <a:cubicBezTo>
                  <a:pt x="1471758" y="6269437"/>
                  <a:pt x="1475094" y="6265077"/>
                  <a:pt x="1477674" y="6260492"/>
                </a:cubicBezTo>
                <a:cubicBezTo>
                  <a:pt x="1481009" y="6256132"/>
                  <a:pt x="1482787" y="6250072"/>
                  <a:pt x="1482564" y="6243827"/>
                </a:cubicBezTo>
                <a:cubicBezTo>
                  <a:pt x="1488436" y="6240636"/>
                  <a:pt x="1494309" y="6237445"/>
                  <a:pt x="1500181" y="6234254"/>
                </a:cubicBezTo>
                <a:close/>
                <a:moveTo>
                  <a:pt x="5453324" y="6205687"/>
                </a:moveTo>
                <a:cubicBezTo>
                  <a:pt x="5454555" y="6205728"/>
                  <a:pt x="5455949" y="6206304"/>
                  <a:pt x="5457123" y="6206003"/>
                </a:cubicBezTo>
                <a:cubicBezTo>
                  <a:pt x="5465052" y="6204030"/>
                  <a:pt x="5467333" y="6213141"/>
                  <a:pt x="5474169" y="6213437"/>
                </a:cubicBezTo>
                <a:cubicBezTo>
                  <a:pt x="5476530" y="6213489"/>
                  <a:pt x="5477906" y="6219087"/>
                  <a:pt x="5478907" y="6221547"/>
                </a:cubicBezTo>
                <a:cubicBezTo>
                  <a:pt x="5481073" y="6227382"/>
                  <a:pt x="5487923" y="6232009"/>
                  <a:pt x="5484127" y="6239750"/>
                </a:cubicBezTo>
                <a:cubicBezTo>
                  <a:pt x="5483515" y="6241082"/>
                  <a:pt x="5483069" y="6243329"/>
                  <a:pt x="5484190" y="6245391"/>
                </a:cubicBezTo>
                <a:cubicBezTo>
                  <a:pt x="5485989" y="6248088"/>
                  <a:pt x="5485286" y="6250474"/>
                  <a:pt x="5482728" y="6252528"/>
                </a:cubicBezTo>
                <a:cubicBezTo>
                  <a:pt x="5481207" y="6254023"/>
                  <a:pt x="5480879" y="6255872"/>
                  <a:pt x="5480292" y="6257860"/>
                </a:cubicBezTo>
                <a:cubicBezTo>
                  <a:pt x="5479027" y="6262891"/>
                  <a:pt x="5476261" y="6266397"/>
                  <a:pt x="5470927" y="6267626"/>
                </a:cubicBezTo>
                <a:cubicBezTo>
                  <a:pt x="5467931" y="6268252"/>
                  <a:pt x="5465519" y="6270564"/>
                  <a:pt x="5465373" y="6273982"/>
                </a:cubicBezTo>
                <a:cubicBezTo>
                  <a:pt x="5464343" y="6274542"/>
                  <a:pt x="5463313" y="6275102"/>
                  <a:pt x="5462283" y="6275660"/>
                </a:cubicBezTo>
                <a:cubicBezTo>
                  <a:pt x="5459737" y="6274040"/>
                  <a:pt x="5457631" y="6273848"/>
                  <a:pt x="5454427" y="6275925"/>
                </a:cubicBezTo>
                <a:cubicBezTo>
                  <a:pt x="5449931" y="6278701"/>
                  <a:pt x="5445206" y="6278596"/>
                  <a:pt x="5441372" y="6274000"/>
                </a:cubicBezTo>
                <a:cubicBezTo>
                  <a:pt x="5439858" y="6271819"/>
                  <a:pt x="5438333" y="6273315"/>
                  <a:pt x="5436788" y="6274155"/>
                </a:cubicBezTo>
                <a:cubicBezTo>
                  <a:pt x="5434214" y="6275553"/>
                  <a:pt x="5433136" y="6274801"/>
                  <a:pt x="5433819" y="6271760"/>
                </a:cubicBezTo>
                <a:cubicBezTo>
                  <a:pt x="5434717" y="6267267"/>
                  <a:pt x="5433593" y="6265204"/>
                  <a:pt x="5428800" y="6266809"/>
                </a:cubicBezTo>
                <a:cubicBezTo>
                  <a:pt x="5427629" y="6267111"/>
                  <a:pt x="5425924" y="6267037"/>
                  <a:pt x="5426644" y="6265306"/>
                </a:cubicBezTo>
                <a:cubicBezTo>
                  <a:pt x="5428176" y="6260136"/>
                  <a:pt x="5424851" y="6258934"/>
                  <a:pt x="5421138" y="6257616"/>
                </a:cubicBezTo>
                <a:cubicBezTo>
                  <a:pt x="5420478" y="6257637"/>
                  <a:pt x="5419918" y="6256606"/>
                  <a:pt x="5419638" y="6256090"/>
                </a:cubicBezTo>
                <a:cubicBezTo>
                  <a:pt x="5419884" y="6247944"/>
                  <a:pt x="5420780" y="6239776"/>
                  <a:pt x="5421283" y="6231489"/>
                </a:cubicBezTo>
                <a:cubicBezTo>
                  <a:pt x="5421543" y="6227673"/>
                  <a:pt x="5425590" y="6223468"/>
                  <a:pt x="5428754" y="6220081"/>
                </a:cubicBezTo>
                <a:cubicBezTo>
                  <a:pt x="5430023" y="6218725"/>
                  <a:pt x="5431705" y="6218144"/>
                  <a:pt x="5432152" y="6215898"/>
                </a:cubicBezTo>
                <a:cubicBezTo>
                  <a:pt x="5432601" y="6213651"/>
                  <a:pt x="5434282" y="6213070"/>
                  <a:pt x="5436390" y="6213262"/>
                </a:cubicBezTo>
                <a:cubicBezTo>
                  <a:pt x="5437697" y="6213218"/>
                  <a:pt x="5439547" y="6213549"/>
                  <a:pt x="5440157" y="6212216"/>
                </a:cubicBezTo>
                <a:cubicBezTo>
                  <a:pt x="5441843" y="6207959"/>
                  <a:pt x="5444021" y="6206442"/>
                  <a:pt x="5447808" y="6209728"/>
                </a:cubicBezTo>
                <a:cubicBezTo>
                  <a:pt x="5448628" y="6210619"/>
                  <a:pt x="5450309" y="6210038"/>
                  <a:pt x="5450528" y="6208587"/>
                </a:cubicBezTo>
                <a:cubicBezTo>
                  <a:pt x="5451032" y="6206142"/>
                  <a:pt x="5452091" y="6205647"/>
                  <a:pt x="5453324" y="6205687"/>
                </a:cubicBezTo>
                <a:close/>
                <a:moveTo>
                  <a:pt x="11645733" y="6195621"/>
                </a:moveTo>
                <a:cubicBezTo>
                  <a:pt x="11647506" y="6196466"/>
                  <a:pt x="11650506" y="6197113"/>
                  <a:pt x="11653293" y="6195656"/>
                </a:cubicBezTo>
                <a:cubicBezTo>
                  <a:pt x="11656944" y="6193306"/>
                  <a:pt x="11660126" y="6194301"/>
                  <a:pt x="11662822" y="6197764"/>
                </a:cubicBezTo>
                <a:cubicBezTo>
                  <a:pt x="11664792" y="6199836"/>
                  <a:pt x="11667261" y="6200317"/>
                  <a:pt x="11669912" y="6201146"/>
                </a:cubicBezTo>
                <a:cubicBezTo>
                  <a:pt x="11676625" y="6202955"/>
                  <a:pt x="11681261" y="6206733"/>
                  <a:pt x="11682791" y="6213907"/>
                </a:cubicBezTo>
                <a:cubicBezTo>
                  <a:pt x="11683565" y="6217932"/>
                  <a:pt x="11686610" y="6221214"/>
                  <a:pt x="11691185" y="6221481"/>
                </a:cubicBezTo>
                <a:cubicBezTo>
                  <a:pt x="11691913" y="6222873"/>
                  <a:pt x="11692640" y="6224264"/>
                  <a:pt x="11693368" y="6225656"/>
                </a:cubicBezTo>
                <a:cubicBezTo>
                  <a:pt x="11691141" y="6229035"/>
                  <a:pt x="11690839" y="6231851"/>
                  <a:pt x="11693552" y="6236193"/>
                </a:cubicBezTo>
                <a:cubicBezTo>
                  <a:pt x="11697173" y="6242273"/>
                  <a:pt x="11696933" y="6248601"/>
                  <a:pt x="11690692" y="6253635"/>
                </a:cubicBezTo>
                <a:cubicBezTo>
                  <a:pt x="11687738" y="6255621"/>
                  <a:pt x="11689708" y="6257693"/>
                  <a:pt x="11690799" y="6259781"/>
                </a:cubicBezTo>
                <a:cubicBezTo>
                  <a:pt x="11692617" y="6263260"/>
                  <a:pt x="11691588" y="6264685"/>
                  <a:pt x="11687527" y="6263706"/>
                </a:cubicBezTo>
                <a:cubicBezTo>
                  <a:pt x="11681529" y="6262412"/>
                  <a:pt x="11678741" y="6263868"/>
                  <a:pt x="11680788" y="6270329"/>
                </a:cubicBezTo>
                <a:cubicBezTo>
                  <a:pt x="11681166" y="6271904"/>
                  <a:pt x="11681031" y="6274189"/>
                  <a:pt x="11678727" y="6273178"/>
                </a:cubicBezTo>
                <a:cubicBezTo>
                  <a:pt x="11671834" y="6271022"/>
                  <a:pt x="11670154" y="6275444"/>
                  <a:pt x="11668306" y="6280396"/>
                </a:cubicBezTo>
                <a:cubicBezTo>
                  <a:pt x="11668322" y="6281274"/>
                  <a:pt x="11666929" y="6282003"/>
                  <a:pt x="11666232" y="6282367"/>
                </a:cubicBezTo>
                <a:cubicBezTo>
                  <a:pt x="11655323" y="6281866"/>
                  <a:pt x="11644402" y="6280487"/>
                  <a:pt x="11633312" y="6279637"/>
                </a:cubicBezTo>
                <a:cubicBezTo>
                  <a:pt x="11628206" y="6279204"/>
                  <a:pt x="11622660" y="6273685"/>
                  <a:pt x="11618191" y="6269376"/>
                </a:cubicBezTo>
                <a:cubicBezTo>
                  <a:pt x="11616403" y="6267653"/>
                  <a:pt x="11615660" y="6265384"/>
                  <a:pt x="11612661" y="6264736"/>
                </a:cubicBezTo>
                <a:cubicBezTo>
                  <a:pt x="11609661" y="6264088"/>
                  <a:pt x="11608919" y="6261819"/>
                  <a:pt x="11609220" y="6259004"/>
                </a:cubicBezTo>
                <a:cubicBezTo>
                  <a:pt x="11609190" y="6257247"/>
                  <a:pt x="11609674" y="6254779"/>
                  <a:pt x="11607902" y="6253934"/>
                </a:cubicBezTo>
                <a:cubicBezTo>
                  <a:pt x="11602236" y="6251578"/>
                  <a:pt x="11600251" y="6248629"/>
                  <a:pt x="11604734" y="6243628"/>
                </a:cubicBezTo>
                <a:cubicBezTo>
                  <a:pt x="11605945" y="6242552"/>
                  <a:pt x="11605202" y="6240282"/>
                  <a:pt x="11603264" y="6239967"/>
                </a:cubicBezTo>
                <a:cubicBezTo>
                  <a:pt x="11596734" y="6238506"/>
                  <a:pt x="11600703" y="6234217"/>
                  <a:pt x="11599944" y="6231069"/>
                </a:cubicBezTo>
                <a:cubicBezTo>
                  <a:pt x="11597473" y="6220400"/>
                  <a:pt x="11609728" y="6217539"/>
                  <a:pt x="11610271" y="6208395"/>
                </a:cubicBezTo>
                <a:cubicBezTo>
                  <a:pt x="11610392" y="6205231"/>
                  <a:pt x="11617921" y="6203511"/>
                  <a:pt x="11621238" y="6202220"/>
                </a:cubicBezTo>
                <a:cubicBezTo>
                  <a:pt x="11629100" y="6199440"/>
                  <a:pt x="11635446" y="6190365"/>
                  <a:pt x="11645733" y="6195621"/>
                </a:cubicBezTo>
                <a:close/>
                <a:moveTo>
                  <a:pt x="10783451" y="6186207"/>
                </a:moveTo>
                <a:lnTo>
                  <a:pt x="10783342" y="6186553"/>
                </a:lnTo>
                <a:lnTo>
                  <a:pt x="10782978" y="6186328"/>
                </a:lnTo>
                <a:close/>
                <a:moveTo>
                  <a:pt x="8137660" y="6176348"/>
                </a:moveTo>
                <a:cubicBezTo>
                  <a:pt x="8139260" y="6174609"/>
                  <a:pt x="8144371" y="6177275"/>
                  <a:pt x="8146879" y="6178148"/>
                </a:cubicBezTo>
                <a:cubicBezTo>
                  <a:pt x="8152693" y="6180374"/>
                  <a:pt x="8160691" y="6178290"/>
                  <a:pt x="8163991" y="6186256"/>
                </a:cubicBezTo>
                <a:cubicBezTo>
                  <a:pt x="8164589" y="6187594"/>
                  <a:pt x="8165981" y="6189414"/>
                  <a:pt x="8168269" y="6189935"/>
                </a:cubicBezTo>
                <a:cubicBezTo>
                  <a:pt x="8171482" y="6190367"/>
                  <a:pt x="8172807" y="6192472"/>
                  <a:pt x="8172663" y="6195745"/>
                </a:cubicBezTo>
                <a:cubicBezTo>
                  <a:pt x="8172780" y="6197876"/>
                  <a:pt x="8173949" y="6199345"/>
                  <a:pt x="8175054" y="6201100"/>
                </a:cubicBezTo>
                <a:cubicBezTo>
                  <a:pt x="8177993" y="6205375"/>
                  <a:pt x="8178797" y="6209767"/>
                  <a:pt x="8176195" y="6214584"/>
                </a:cubicBezTo>
                <a:cubicBezTo>
                  <a:pt x="8174686" y="6217245"/>
                  <a:pt x="8174828" y="6220584"/>
                  <a:pt x="8177299" y="6222950"/>
                </a:cubicBezTo>
                <a:cubicBezTo>
                  <a:pt x="8177038" y="6224093"/>
                  <a:pt x="8176777" y="6225236"/>
                  <a:pt x="8176517" y="6226379"/>
                </a:cubicBezTo>
                <a:cubicBezTo>
                  <a:pt x="8173616" y="6227221"/>
                  <a:pt x="8172081" y="6228674"/>
                  <a:pt x="8171521" y="6232454"/>
                </a:cubicBezTo>
                <a:cubicBezTo>
                  <a:pt x="8170636" y="6237662"/>
                  <a:pt x="8167435" y="6241142"/>
                  <a:pt x="8161453" y="6240981"/>
                </a:cubicBezTo>
                <a:cubicBezTo>
                  <a:pt x="8158813" y="6240679"/>
                  <a:pt x="8158930" y="6242810"/>
                  <a:pt x="8158538" y="6244524"/>
                </a:cubicBezTo>
                <a:cubicBezTo>
                  <a:pt x="8157888" y="6247381"/>
                  <a:pt x="8156614" y="6247691"/>
                  <a:pt x="8154780" y="6245170"/>
                </a:cubicBezTo>
                <a:cubicBezTo>
                  <a:pt x="8151998" y="6241531"/>
                  <a:pt x="8149709" y="6241009"/>
                  <a:pt x="8147744" y="6245671"/>
                </a:cubicBezTo>
                <a:cubicBezTo>
                  <a:pt x="8147198" y="6246748"/>
                  <a:pt x="8146014" y="6247982"/>
                  <a:pt x="8145196" y="6246292"/>
                </a:cubicBezTo>
                <a:cubicBezTo>
                  <a:pt x="8142323" y="6241731"/>
                  <a:pt x="8139227" y="6243430"/>
                  <a:pt x="8135780" y="6245350"/>
                </a:cubicBezTo>
                <a:cubicBezTo>
                  <a:pt x="8135364" y="6245855"/>
                  <a:pt x="8134219" y="6245595"/>
                  <a:pt x="8133647" y="6245465"/>
                </a:cubicBezTo>
                <a:cubicBezTo>
                  <a:pt x="8127693" y="6239900"/>
                  <a:pt x="8122154" y="6233828"/>
                  <a:pt x="8116265" y="6227978"/>
                </a:cubicBezTo>
                <a:cubicBezTo>
                  <a:pt x="8113574" y="6225262"/>
                  <a:pt x="8113094" y="6219441"/>
                  <a:pt x="8112640" y="6214829"/>
                </a:cubicBezTo>
                <a:cubicBezTo>
                  <a:pt x="8112459" y="6212984"/>
                  <a:pt x="8113135" y="6211335"/>
                  <a:pt x="8111745" y="6209515"/>
                </a:cubicBezTo>
                <a:cubicBezTo>
                  <a:pt x="8110354" y="6207696"/>
                  <a:pt x="8111030" y="6206047"/>
                  <a:pt x="8112565" y="6204593"/>
                </a:cubicBezTo>
                <a:cubicBezTo>
                  <a:pt x="8113398" y="6203581"/>
                  <a:pt x="8114868" y="6202413"/>
                  <a:pt x="8114269" y="6201074"/>
                </a:cubicBezTo>
                <a:cubicBezTo>
                  <a:pt x="8112190" y="6196994"/>
                  <a:pt x="8112490" y="6194357"/>
                  <a:pt x="8117458" y="6193686"/>
                </a:cubicBezTo>
                <a:cubicBezTo>
                  <a:pt x="8118668" y="6193661"/>
                  <a:pt x="8119344" y="6192012"/>
                  <a:pt x="8118395" y="6190894"/>
                </a:cubicBezTo>
                <a:cubicBezTo>
                  <a:pt x="8115392" y="6186903"/>
                  <a:pt x="8119723" y="6186387"/>
                  <a:pt x="8120816" y="6184232"/>
                </a:cubicBezTo>
                <a:cubicBezTo>
                  <a:pt x="8124576" y="6176974"/>
                  <a:pt x="8132924" y="6181280"/>
                  <a:pt x="8137660" y="6176348"/>
                </a:cubicBezTo>
                <a:close/>
                <a:moveTo>
                  <a:pt x="1086212" y="6170798"/>
                </a:moveTo>
                <a:cubicBezTo>
                  <a:pt x="1087358" y="6170836"/>
                  <a:pt x="1088659" y="6171371"/>
                  <a:pt x="1089748" y="6171090"/>
                </a:cubicBezTo>
                <a:cubicBezTo>
                  <a:pt x="1097129" y="6169255"/>
                  <a:pt x="1099254" y="6177734"/>
                  <a:pt x="1105610" y="6178009"/>
                </a:cubicBezTo>
                <a:cubicBezTo>
                  <a:pt x="1107810" y="6178058"/>
                  <a:pt x="1109088" y="6183267"/>
                  <a:pt x="1110021" y="6185557"/>
                </a:cubicBezTo>
                <a:cubicBezTo>
                  <a:pt x="1112040" y="6190986"/>
                  <a:pt x="1118414" y="6195291"/>
                  <a:pt x="1114879" y="6202495"/>
                </a:cubicBezTo>
                <a:cubicBezTo>
                  <a:pt x="1114313" y="6203735"/>
                  <a:pt x="1113896" y="6205826"/>
                  <a:pt x="1114939" y="6207745"/>
                </a:cubicBezTo>
                <a:cubicBezTo>
                  <a:pt x="1116613" y="6210254"/>
                  <a:pt x="1115957" y="6212475"/>
                  <a:pt x="1113582" y="6214387"/>
                </a:cubicBezTo>
                <a:cubicBezTo>
                  <a:pt x="1112165" y="6215778"/>
                  <a:pt x="1111859" y="6217498"/>
                  <a:pt x="1111312" y="6219349"/>
                </a:cubicBezTo>
                <a:cubicBezTo>
                  <a:pt x="1110132" y="6224030"/>
                  <a:pt x="1107559" y="6227293"/>
                  <a:pt x="1102595" y="6228436"/>
                </a:cubicBezTo>
                <a:cubicBezTo>
                  <a:pt x="1099807" y="6229019"/>
                  <a:pt x="1097562" y="6231171"/>
                  <a:pt x="1097429" y="6234351"/>
                </a:cubicBezTo>
                <a:cubicBezTo>
                  <a:pt x="1096470" y="6234872"/>
                  <a:pt x="1095511" y="6235392"/>
                  <a:pt x="1094553" y="6235913"/>
                </a:cubicBezTo>
                <a:cubicBezTo>
                  <a:pt x="1092181" y="6234405"/>
                  <a:pt x="1090223" y="6234226"/>
                  <a:pt x="1087238" y="6236158"/>
                </a:cubicBezTo>
                <a:cubicBezTo>
                  <a:pt x="1083055" y="6238743"/>
                  <a:pt x="1078657" y="6238645"/>
                  <a:pt x="1075092" y="6234367"/>
                </a:cubicBezTo>
                <a:cubicBezTo>
                  <a:pt x="1073679" y="6232339"/>
                  <a:pt x="1072262" y="6233729"/>
                  <a:pt x="1070824" y="6234511"/>
                </a:cubicBezTo>
                <a:cubicBezTo>
                  <a:pt x="1068428" y="6235813"/>
                  <a:pt x="1067428" y="6235114"/>
                  <a:pt x="1068062" y="6232283"/>
                </a:cubicBezTo>
                <a:cubicBezTo>
                  <a:pt x="1068893" y="6228102"/>
                  <a:pt x="1067851" y="6226183"/>
                  <a:pt x="1063387" y="6227677"/>
                </a:cubicBezTo>
                <a:cubicBezTo>
                  <a:pt x="1062297" y="6227957"/>
                  <a:pt x="1060709" y="6227888"/>
                  <a:pt x="1061385" y="6226277"/>
                </a:cubicBezTo>
                <a:cubicBezTo>
                  <a:pt x="1062806" y="6221465"/>
                  <a:pt x="1059716" y="6220348"/>
                  <a:pt x="1056255" y="6219120"/>
                </a:cubicBezTo>
                <a:cubicBezTo>
                  <a:pt x="1055645" y="6219141"/>
                  <a:pt x="1055124" y="6218181"/>
                  <a:pt x="1054863" y="6217702"/>
                </a:cubicBezTo>
                <a:cubicBezTo>
                  <a:pt x="1055089" y="6210121"/>
                  <a:pt x="1055925" y="6202519"/>
                  <a:pt x="1056390" y="6194808"/>
                </a:cubicBezTo>
                <a:cubicBezTo>
                  <a:pt x="1056634" y="6191257"/>
                  <a:pt x="1060405" y="6187345"/>
                  <a:pt x="1063348" y="6184192"/>
                </a:cubicBezTo>
                <a:cubicBezTo>
                  <a:pt x="1064524" y="6182931"/>
                  <a:pt x="1066092" y="6182389"/>
                  <a:pt x="1066509" y="6180299"/>
                </a:cubicBezTo>
                <a:cubicBezTo>
                  <a:pt x="1066925" y="6178208"/>
                  <a:pt x="1068493" y="6177668"/>
                  <a:pt x="1070451" y="6177846"/>
                </a:cubicBezTo>
                <a:cubicBezTo>
                  <a:pt x="1071670" y="6177805"/>
                  <a:pt x="1073390" y="6178114"/>
                  <a:pt x="1073958" y="6176873"/>
                </a:cubicBezTo>
                <a:cubicBezTo>
                  <a:pt x="1075530" y="6172912"/>
                  <a:pt x="1077555" y="6171500"/>
                  <a:pt x="1081079" y="6174557"/>
                </a:cubicBezTo>
                <a:cubicBezTo>
                  <a:pt x="1081840" y="6175387"/>
                  <a:pt x="1083409" y="6174845"/>
                  <a:pt x="1083605" y="6173496"/>
                </a:cubicBezTo>
                <a:cubicBezTo>
                  <a:pt x="1084076" y="6171220"/>
                  <a:pt x="1085067" y="6170760"/>
                  <a:pt x="1086212" y="6170798"/>
                </a:cubicBezTo>
                <a:close/>
                <a:moveTo>
                  <a:pt x="893435" y="6150484"/>
                </a:moveTo>
                <a:cubicBezTo>
                  <a:pt x="895317" y="6149864"/>
                  <a:pt x="895683" y="6151280"/>
                  <a:pt x="896587" y="6152201"/>
                </a:cubicBezTo>
                <a:cubicBezTo>
                  <a:pt x="897082" y="6152741"/>
                  <a:pt x="897504" y="6153520"/>
                  <a:pt x="898084" y="6154214"/>
                </a:cubicBezTo>
                <a:cubicBezTo>
                  <a:pt x="900836" y="6158167"/>
                  <a:pt x="903680" y="6157832"/>
                  <a:pt x="905907" y="6153393"/>
                </a:cubicBezTo>
                <a:cubicBezTo>
                  <a:pt x="906205" y="6152828"/>
                  <a:pt x="906347" y="6152346"/>
                  <a:pt x="906730" y="6151937"/>
                </a:cubicBezTo>
                <a:cubicBezTo>
                  <a:pt x="907410" y="6150962"/>
                  <a:pt x="908487" y="6149974"/>
                  <a:pt x="909617" y="6150571"/>
                </a:cubicBezTo>
                <a:cubicBezTo>
                  <a:pt x="910664" y="6151011"/>
                  <a:pt x="910633" y="6152440"/>
                  <a:pt x="910349" y="6153402"/>
                </a:cubicBezTo>
                <a:cubicBezTo>
                  <a:pt x="910065" y="6154363"/>
                  <a:pt x="909696" y="6155168"/>
                  <a:pt x="909172" y="6156059"/>
                </a:cubicBezTo>
                <a:cubicBezTo>
                  <a:pt x="908589" y="6157587"/>
                  <a:pt x="908786" y="6158690"/>
                  <a:pt x="910397" y="6159429"/>
                </a:cubicBezTo>
                <a:cubicBezTo>
                  <a:pt x="914030" y="6161290"/>
                  <a:pt x="916119" y="6164392"/>
                  <a:pt x="918052" y="6167580"/>
                </a:cubicBezTo>
                <a:cubicBezTo>
                  <a:pt x="920480" y="6171306"/>
                  <a:pt x="922214" y="6175610"/>
                  <a:pt x="925264" y="6178998"/>
                </a:cubicBezTo>
                <a:cubicBezTo>
                  <a:pt x="926338" y="6180231"/>
                  <a:pt x="925827" y="6181518"/>
                  <a:pt x="925388" y="6182564"/>
                </a:cubicBezTo>
                <a:cubicBezTo>
                  <a:pt x="924080" y="6186099"/>
                  <a:pt x="922690" y="6189478"/>
                  <a:pt x="926052" y="6192696"/>
                </a:cubicBezTo>
                <a:cubicBezTo>
                  <a:pt x="926631" y="6193391"/>
                  <a:pt x="926262" y="6194197"/>
                  <a:pt x="925808" y="6194847"/>
                </a:cubicBezTo>
                <a:cubicBezTo>
                  <a:pt x="923625" y="6198252"/>
                  <a:pt x="922657" y="6202411"/>
                  <a:pt x="921280" y="6206186"/>
                </a:cubicBezTo>
                <a:cubicBezTo>
                  <a:pt x="919178" y="6211969"/>
                  <a:pt x="915762" y="6216448"/>
                  <a:pt x="909550" y="6218008"/>
                </a:cubicBezTo>
                <a:cubicBezTo>
                  <a:pt x="907116" y="6218725"/>
                  <a:pt x="906391" y="6220734"/>
                  <a:pt x="905822" y="6222657"/>
                </a:cubicBezTo>
                <a:cubicBezTo>
                  <a:pt x="904388" y="6227068"/>
                  <a:pt x="902746" y="6227758"/>
                  <a:pt x="898717" y="6225912"/>
                </a:cubicBezTo>
                <a:cubicBezTo>
                  <a:pt x="894519" y="6223753"/>
                  <a:pt x="894519" y="6223753"/>
                  <a:pt x="892617" y="6228419"/>
                </a:cubicBezTo>
                <a:cubicBezTo>
                  <a:pt x="892177" y="6229465"/>
                  <a:pt x="891808" y="6230271"/>
                  <a:pt x="890365" y="6229844"/>
                </a:cubicBezTo>
                <a:cubicBezTo>
                  <a:pt x="885090" y="6228674"/>
                  <a:pt x="879985" y="6227816"/>
                  <a:pt x="874782" y="6226406"/>
                </a:cubicBezTo>
                <a:lnTo>
                  <a:pt x="865093" y="6220587"/>
                </a:lnTo>
                <a:lnTo>
                  <a:pt x="864378" y="6227868"/>
                </a:lnTo>
                <a:cubicBezTo>
                  <a:pt x="862571" y="6229231"/>
                  <a:pt x="863685" y="6231908"/>
                  <a:pt x="864054" y="6233898"/>
                </a:cubicBezTo>
                <a:cubicBezTo>
                  <a:pt x="865041" y="6237009"/>
                  <a:pt x="864724" y="6239744"/>
                  <a:pt x="861485" y="6241164"/>
                </a:cubicBezTo>
                <a:cubicBezTo>
                  <a:pt x="858245" y="6242584"/>
                  <a:pt x="857928" y="6245318"/>
                  <a:pt x="856304" y="6247675"/>
                </a:cubicBezTo>
                <a:cubicBezTo>
                  <a:pt x="852245" y="6253569"/>
                  <a:pt x="847249" y="6261076"/>
                  <a:pt x="841581" y="6262737"/>
                </a:cubicBezTo>
                <a:cubicBezTo>
                  <a:pt x="829251" y="6266243"/>
                  <a:pt x="817230" y="6270309"/>
                  <a:pt x="805025" y="6273380"/>
                </a:cubicBezTo>
                <a:cubicBezTo>
                  <a:pt x="804154" y="6273130"/>
                  <a:pt x="802413" y="6272626"/>
                  <a:pt x="802229" y="6271631"/>
                </a:cubicBezTo>
                <a:cubicBezTo>
                  <a:pt x="799005" y="6266462"/>
                  <a:pt x="796090" y="6261853"/>
                  <a:pt x="788800" y="6265871"/>
                </a:cubicBezTo>
                <a:cubicBezTo>
                  <a:pt x="786431" y="6267543"/>
                  <a:pt x="785752" y="6264992"/>
                  <a:pt x="785819" y="6263127"/>
                </a:cubicBezTo>
                <a:cubicBezTo>
                  <a:pt x="786646" y="6255359"/>
                  <a:pt x="783164" y="6254354"/>
                  <a:pt x="776685" y="6257194"/>
                </a:cubicBezTo>
                <a:cubicBezTo>
                  <a:pt x="772324" y="6259232"/>
                  <a:pt x="770834" y="6257860"/>
                  <a:pt x="772088" y="6253512"/>
                </a:cubicBezTo>
                <a:cubicBezTo>
                  <a:pt x="772841" y="6250904"/>
                  <a:pt x="774590" y="6248111"/>
                  <a:pt x="770798" y="6246545"/>
                </a:cubicBezTo>
                <a:cubicBezTo>
                  <a:pt x="762593" y="6242293"/>
                  <a:pt x="760867" y="6235201"/>
                  <a:pt x="763562" y="6227500"/>
                </a:cubicBezTo>
                <a:cubicBezTo>
                  <a:pt x="765628" y="6221974"/>
                  <a:pt x="764640" y="6218862"/>
                  <a:pt x="761349" y="6215558"/>
                </a:cubicBezTo>
                <a:cubicBezTo>
                  <a:pt x="761851" y="6213818"/>
                  <a:pt x="762353" y="6212079"/>
                  <a:pt x="762855" y="6210341"/>
                </a:cubicBezTo>
                <a:cubicBezTo>
                  <a:pt x="767962" y="6208989"/>
                  <a:pt x="770648" y="6204583"/>
                  <a:pt x="770597" y="6199858"/>
                </a:cubicBezTo>
                <a:lnTo>
                  <a:pt x="775186" y="6192996"/>
                </a:lnTo>
                <a:lnTo>
                  <a:pt x="775089" y="6191780"/>
                </a:lnTo>
                <a:cubicBezTo>
                  <a:pt x="775021" y="6189799"/>
                  <a:pt x="775773" y="6188583"/>
                  <a:pt x="777811" y="6187879"/>
                </a:cubicBezTo>
                <a:cubicBezTo>
                  <a:pt x="783925" y="6185768"/>
                  <a:pt x="786717" y="6181627"/>
                  <a:pt x="786499" y="6175288"/>
                </a:cubicBezTo>
                <a:cubicBezTo>
                  <a:pt x="786544" y="6174255"/>
                  <a:pt x="785457" y="6172627"/>
                  <a:pt x="787027" y="6172176"/>
                </a:cubicBezTo>
                <a:cubicBezTo>
                  <a:pt x="788513" y="6171570"/>
                  <a:pt x="789587" y="6172804"/>
                  <a:pt x="790505" y="6174121"/>
                </a:cubicBezTo>
                <a:cubicBezTo>
                  <a:pt x="790589" y="6174278"/>
                  <a:pt x="790673" y="6174433"/>
                  <a:pt x="790759" y="6174589"/>
                </a:cubicBezTo>
                <a:lnTo>
                  <a:pt x="794845" y="6174638"/>
                </a:lnTo>
                <a:lnTo>
                  <a:pt x="799724" y="6172469"/>
                </a:lnTo>
                <a:lnTo>
                  <a:pt x="803969" y="6171584"/>
                </a:lnTo>
                <a:lnTo>
                  <a:pt x="805150" y="6171007"/>
                </a:lnTo>
                <a:cubicBezTo>
                  <a:pt x="809365" y="6171340"/>
                  <a:pt x="813481" y="6171121"/>
                  <a:pt x="816866" y="6168071"/>
                </a:cubicBezTo>
                <a:lnTo>
                  <a:pt x="819663" y="6168631"/>
                </a:lnTo>
                <a:lnTo>
                  <a:pt x="823181" y="6167995"/>
                </a:lnTo>
                <a:lnTo>
                  <a:pt x="831941" y="6170776"/>
                </a:lnTo>
                <a:lnTo>
                  <a:pt x="832508" y="6170874"/>
                </a:lnTo>
                <a:lnTo>
                  <a:pt x="832658" y="6171004"/>
                </a:lnTo>
                <a:lnTo>
                  <a:pt x="837438" y="6172522"/>
                </a:lnTo>
                <a:lnTo>
                  <a:pt x="847334" y="6175716"/>
                </a:lnTo>
                <a:lnTo>
                  <a:pt x="848445" y="6175333"/>
                </a:lnTo>
                <a:cubicBezTo>
                  <a:pt x="849562" y="6175533"/>
                  <a:pt x="850692" y="6176128"/>
                  <a:pt x="851653" y="6176414"/>
                </a:cubicBezTo>
                <a:cubicBezTo>
                  <a:pt x="853817" y="6177054"/>
                  <a:pt x="856109" y="6176818"/>
                  <a:pt x="856904" y="6174569"/>
                </a:cubicBezTo>
                <a:cubicBezTo>
                  <a:pt x="857473" y="6172646"/>
                  <a:pt x="855296" y="6171610"/>
                  <a:pt x="853684" y="6170870"/>
                </a:cubicBezTo>
                <a:cubicBezTo>
                  <a:pt x="852313" y="6170203"/>
                  <a:pt x="850488" y="6170185"/>
                  <a:pt x="849260" y="6169038"/>
                </a:cubicBezTo>
                <a:cubicBezTo>
                  <a:pt x="847380" y="6167435"/>
                  <a:pt x="847015" y="6166018"/>
                  <a:pt x="849591" y="6164822"/>
                </a:cubicBezTo>
                <a:cubicBezTo>
                  <a:pt x="853101" y="6163115"/>
                  <a:pt x="856666" y="6162995"/>
                  <a:pt x="860329" y="6163426"/>
                </a:cubicBezTo>
                <a:cubicBezTo>
                  <a:pt x="865025" y="6163901"/>
                  <a:pt x="866979" y="6163042"/>
                  <a:pt x="868893" y="6158772"/>
                </a:cubicBezTo>
                <a:cubicBezTo>
                  <a:pt x="869716" y="6157316"/>
                  <a:pt x="870129" y="6155478"/>
                  <a:pt x="870627" y="6153795"/>
                </a:cubicBezTo>
                <a:cubicBezTo>
                  <a:pt x="870840" y="6153074"/>
                  <a:pt x="870884" y="6152041"/>
                  <a:pt x="871832" y="6151929"/>
                </a:cubicBezTo>
                <a:cubicBezTo>
                  <a:pt x="872936" y="6151733"/>
                  <a:pt x="873514" y="6152427"/>
                  <a:pt x="873698" y="6153135"/>
                </a:cubicBezTo>
                <a:cubicBezTo>
                  <a:pt x="874599" y="6156278"/>
                  <a:pt x="876183" y="6156225"/>
                  <a:pt x="878590" y="6154715"/>
                </a:cubicBezTo>
                <a:cubicBezTo>
                  <a:pt x="881619" y="6152867"/>
                  <a:pt x="884900" y="6153708"/>
                  <a:pt x="887799" y="6154959"/>
                </a:cubicBezTo>
                <a:cubicBezTo>
                  <a:pt x="890131" y="6155910"/>
                  <a:pt x="891306" y="6155475"/>
                  <a:pt x="891621" y="6153084"/>
                </a:cubicBezTo>
                <a:cubicBezTo>
                  <a:pt x="891736" y="6151811"/>
                  <a:pt x="892019" y="6150849"/>
                  <a:pt x="893435" y="6150484"/>
                </a:cubicBezTo>
                <a:close/>
                <a:moveTo>
                  <a:pt x="785989" y="6149678"/>
                </a:moveTo>
                <a:lnTo>
                  <a:pt x="786267" y="6149988"/>
                </a:lnTo>
                <a:lnTo>
                  <a:pt x="785902" y="6149972"/>
                </a:lnTo>
                <a:close/>
                <a:moveTo>
                  <a:pt x="11114116" y="6133606"/>
                </a:moveTo>
                <a:cubicBezTo>
                  <a:pt x="11117286" y="6131951"/>
                  <a:pt x="11121553" y="6132397"/>
                  <a:pt x="11124427" y="6134465"/>
                </a:cubicBezTo>
                <a:cubicBezTo>
                  <a:pt x="11126765" y="6136367"/>
                  <a:pt x="11128556" y="6137217"/>
                  <a:pt x="11131217" y="6137164"/>
                </a:cubicBezTo>
                <a:cubicBezTo>
                  <a:pt x="11133415" y="6141370"/>
                  <a:pt x="11135613" y="6145576"/>
                  <a:pt x="11137812" y="6149783"/>
                </a:cubicBezTo>
                <a:cubicBezTo>
                  <a:pt x="11135207" y="6153376"/>
                  <a:pt x="11133855" y="6157652"/>
                  <a:pt x="11134096" y="6161543"/>
                </a:cubicBezTo>
                <a:cubicBezTo>
                  <a:pt x="11133802" y="6165267"/>
                  <a:pt x="11134041" y="6169158"/>
                  <a:pt x="11133930" y="6173233"/>
                </a:cubicBezTo>
                <a:cubicBezTo>
                  <a:pt x="11133635" y="6176957"/>
                  <a:pt x="11133523" y="6181032"/>
                  <a:pt x="11135004" y="6184721"/>
                </a:cubicBezTo>
                <a:cubicBezTo>
                  <a:pt x="11135947" y="6188244"/>
                  <a:pt x="11134567" y="6190749"/>
                  <a:pt x="11133019" y="6193790"/>
                </a:cubicBezTo>
                <a:cubicBezTo>
                  <a:pt x="11131470" y="6196832"/>
                  <a:pt x="11127766" y="6198321"/>
                  <a:pt x="11127288" y="6201695"/>
                </a:cubicBezTo>
                <a:cubicBezTo>
                  <a:pt x="11124824" y="6202983"/>
                  <a:pt x="11122711" y="6204086"/>
                  <a:pt x="11120246" y="6205376"/>
                </a:cubicBezTo>
                <a:cubicBezTo>
                  <a:pt x="11119696" y="6204324"/>
                  <a:pt x="11119161" y="6204158"/>
                  <a:pt x="11118457" y="6204525"/>
                </a:cubicBezTo>
                <a:cubicBezTo>
                  <a:pt x="11113175" y="6207285"/>
                  <a:pt x="11108527" y="6205252"/>
                  <a:pt x="11104569" y="6201966"/>
                </a:cubicBezTo>
                <a:cubicBezTo>
                  <a:pt x="11100792" y="6199030"/>
                  <a:pt x="11096847" y="6196630"/>
                  <a:pt x="11095170" y="6191704"/>
                </a:cubicBezTo>
                <a:cubicBezTo>
                  <a:pt x="11093662" y="6186245"/>
                  <a:pt x="11090562" y="6181172"/>
                  <a:pt x="11092772" y="6175107"/>
                </a:cubicBezTo>
                <a:cubicBezTo>
                  <a:pt x="11093447" y="6172969"/>
                  <a:pt x="11094307" y="6171182"/>
                  <a:pt x="11096404" y="6169193"/>
                </a:cubicBezTo>
                <a:cubicBezTo>
                  <a:pt x="11099377" y="6166301"/>
                  <a:pt x="11102686" y="6162340"/>
                  <a:pt x="11098698" y="6157284"/>
                </a:cubicBezTo>
                <a:cubicBezTo>
                  <a:pt x="11097246" y="6155365"/>
                  <a:pt x="11098992" y="6153559"/>
                  <a:pt x="11098796" y="6152324"/>
                </a:cubicBezTo>
                <a:cubicBezTo>
                  <a:pt x="11097625" y="6145796"/>
                  <a:pt x="11100567" y="6141133"/>
                  <a:pt x="11104228" y="6136989"/>
                </a:cubicBezTo>
                <a:cubicBezTo>
                  <a:pt x="11107765" y="6136034"/>
                  <a:pt x="11110947" y="6135262"/>
                  <a:pt x="11114116" y="6133606"/>
                </a:cubicBezTo>
                <a:close/>
                <a:moveTo>
                  <a:pt x="1546784" y="6118317"/>
                </a:moveTo>
                <a:cubicBezTo>
                  <a:pt x="1552003" y="6121161"/>
                  <a:pt x="1556605" y="6123825"/>
                  <a:pt x="1562181" y="6125434"/>
                </a:cubicBezTo>
                <a:cubicBezTo>
                  <a:pt x="1567756" y="6127043"/>
                  <a:pt x="1572264" y="6132353"/>
                  <a:pt x="1573318" y="6138003"/>
                </a:cubicBezTo>
                <a:cubicBezTo>
                  <a:pt x="1573930" y="6142858"/>
                  <a:pt x="1575077" y="6145861"/>
                  <a:pt x="1578261" y="6148785"/>
                </a:cubicBezTo>
                <a:cubicBezTo>
                  <a:pt x="1576124" y="6156185"/>
                  <a:pt x="1573988" y="6163587"/>
                  <a:pt x="1571852" y="6170988"/>
                </a:cubicBezTo>
                <a:cubicBezTo>
                  <a:pt x="1564766" y="6172284"/>
                  <a:pt x="1558386" y="6175787"/>
                  <a:pt x="1554305" y="6180623"/>
                </a:cubicBezTo>
                <a:cubicBezTo>
                  <a:pt x="1549783" y="6184663"/>
                  <a:pt x="1545702" y="6189499"/>
                  <a:pt x="1541003" y="6194155"/>
                </a:cubicBezTo>
                <a:cubicBezTo>
                  <a:pt x="1536480" y="6198196"/>
                  <a:pt x="1531780" y="6202852"/>
                  <a:pt x="1529380" y="6208841"/>
                </a:cubicBezTo>
                <a:cubicBezTo>
                  <a:pt x="1526540" y="6214035"/>
                  <a:pt x="1522110" y="6215429"/>
                  <a:pt x="1516883" y="6217262"/>
                </a:cubicBezTo>
                <a:cubicBezTo>
                  <a:pt x="1511655" y="6219094"/>
                  <a:pt x="1505638" y="6216688"/>
                  <a:pt x="1501294" y="6220112"/>
                </a:cubicBezTo>
                <a:cubicBezTo>
                  <a:pt x="1496957" y="6218861"/>
                  <a:pt x="1493239" y="6217787"/>
                  <a:pt x="1488903" y="6216535"/>
                </a:cubicBezTo>
                <a:cubicBezTo>
                  <a:pt x="1489436" y="6214685"/>
                  <a:pt x="1488995" y="6213889"/>
                  <a:pt x="1487756" y="6213531"/>
                </a:cubicBezTo>
                <a:cubicBezTo>
                  <a:pt x="1478463" y="6210850"/>
                  <a:pt x="1475286" y="6203250"/>
                  <a:pt x="1474325" y="6194955"/>
                </a:cubicBezTo>
                <a:cubicBezTo>
                  <a:pt x="1473186" y="6187277"/>
                  <a:pt x="1471249" y="6180036"/>
                  <a:pt x="1474802" y="6172376"/>
                </a:cubicBezTo>
                <a:cubicBezTo>
                  <a:pt x="1479153" y="6164277"/>
                  <a:pt x="1481204" y="6154847"/>
                  <a:pt x="1490597" y="6150208"/>
                </a:cubicBezTo>
                <a:cubicBezTo>
                  <a:pt x="1493786" y="6148456"/>
                  <a:pt x="1496799" y="6147321"/>
                  <a:pt x="1501492" y="6147338"/>
                </a:cubicBezTo>
                <a:cubicBezTo>
                  <a:pt x="1508222" y="6147277"/>
                  <a:pt x="1516546" y="6146339"/>
                  <a:pt x="1517537" y="6135933"/>
                </a:cubicBezTo>
                <a:cubicBezTo>
                  <a:pt x="1517985" y="6132054"/>
                  <a:pt x="1522059" y="6131893"/>
                  <a:pt x="1523212" y="6130222"/>
                </a:cubicBezTo>
                <a:cubicBezTo>
                  <a:pt x="1529158" y="6121248"/>
                  <a:pt x="1537839" y="6119076"/>
                  <a:pt x="1546784" y="6118317"/>
                </a:cubicBezTo>
                <a:close/>
                <a:moveTo>
                  <a:pt x="2020447" y="6105797"/>
                </a:moveTo>
                <a:lnTo>
                  <a:pt x="2018465" y="6107814"/>
                </a:lnTo>
                <a:cubicBezTo>
                  <a:pt x="2015253" y="6110683"/>
                  <a:pt x="2011916" y="6113990"/>
                  <a:pt x="2010212" y="6118243"/>
                </a:cubicBezTo>
                <a:lnTo>
                  <a:pt x="2005737" y="6121257"/>
                </a:lnTo>
                <a:lnTo>
                  <a:pt x="2103452" y="6187855"/>
                </a:lnTo>
                <a:cubicBezTo>
                  <a:pt x="2185151" y="6239760"/>
                  <a:pt x="2268659" y="6288753"/>
                  <a:pt x="2354403" y="6334019"/>
                </a:cubicBezTo>
                <a:lnTo>
                  <a:pt x="2364537" y="6338972"/>
                </a:lnTo>
                <a:lnTo>
                  <a:pt x="2365331" y="6336988"/>
                </a:lnTo>
                <a:cubicBezTo>
                  <a:pt x="2362358" y="6332532"/>
                  <a:pt x="2367029" y="6332244"/>
                  <a:pt x="2368331" y="6330002"/>
                </a:cubicBezTo>
                <a:cubicBezTo>
                  <a:pt x="2370566" y="6326230"/>
                  <a:pt x="2373852" y="6325625"/>
                  <a:pt x="2377252" y="6325339"/>
                </a:cubicBezTo>
                <a:lnTo>
                  <a:pt x="2382683" y="6323782"/>
                </a:lnTo>
                <a:lnTo>
                  <a:pt x="2305710" y="6284079"/>
                </a:lnTo>
                <a:cubicBezTo>
                  <a:pt x="2209751" y="6231269"/>
                  <a:pt x="2116457" y="6173071"/>
                  <a:pt x="2026223" y="6108861"/>
                </a:cubicBezTo>
                <a:close/>
                <a:moveTo>
                  <a:pt x="9958716" y="6095819"/>
                </a:moveTo>
                <a:lnTo>
                  <a:pt x="9957760" y="6096084"/>
                </a:lnTo>
                <a:cubicBezTo>
                  <a:pt x="9936809" y="6101814"/>
                  <a:pt x="9916662" y="6108207"/>
                  <a:pt x="9901208" y="6117114"/>
                </a:cubicBezTo>
                <a:cubicBezTo>
                  <a:pt x="9910025" y="6116263"/>
                  <a:pt x="9920310" y="6115270"/>
                  <a:pt x="9928866" y="6115556"/>
                </a:cubicBezTo>
                <a:lnTo>
                  <a:pt x="9931050" y="6116331"/>
                </a:lnTo>
                <a:lnTo>
                  <a:pt x="9933860" y="6115590"/>
                </a:lnTo>
                <a:cubicBezTo>
                  <a:pt x="9940591" y="6115529"/>
                  <a:pt x="9948915" y="6114591"/>
                  <a:pt x="9949905" y="6104185"/>
                </a:cubicBezTo>
                <a:cubicBezTo>
                  <a:pt x="9950353" y="6100306"/>
                  <a:pt x="9954427" y="6100145"/>
                  <a:pt x="9955581" y="6098474"/>
                </a:cubicBezTo>
                <a:close/>
                <a:moveTo>
                  <a:pt x="7253326" y="6087735"/>
                </a:moveTo>
                <a:lnTo>
                  <a:pt x="7253765" y="6087951"/>
                </a:lnTo>
                <a:lnTo>
                  <a:pt x="7253459" y="6088142"/>
                </a:lnTo>
                <a:close/>
                <a:moveTo>
                  <a:pt x="7667994" y="6046925"/>
                </a:moveTo>
                <a:cubicBezTo>
                  <a:pt x="7669483" y="6045306"/>
                  <a:pt x="7674239" y="6047789"/>
                  <a:pt x="7676574" y="6048601"/>
                </a:cubicBezTo>
                <a:cubicBezTo>
                  <a:pt x="7681983" y="6050673"/>
                  <a:pt x="7689426" y="6048732"/>
                  <a:pt x="7692498" y="6056144"/>
                </a:cubicBezTo>
                <a:cubicBezTo>
                  <a:pt x="7693055" y="6057390"/>
                  <a:pt x="7694349" y="6059083"/>
                  <a:pt x="7696478" y="6059569"/>
                </a:cubicBezTo>
                <a:cubicBezTo>
                  <a:pt x="7699467" y="6059971"/>
                  <a:pt x="7700702" y="6061930"/>
                  <a:pt x="7700568" y="6064976"/>
                </a:cubicBezTo>
                <a:cubicBezTo>
                  <a:pt x="7700676" y="6066958"/>
                  <a:pt x="7701765" y="6068326"/>
                  <a:pt x="7702793" y="6069958"/>
                </a:cubicBezTo>
                <a:cubicBezTo>
                  <a:pt x="7705527" y="6073938"/>
                  <a:pt x="7706276" y="6078024"/>
                  <a:pt x="7703854" y="6082507"/>
                </a:cubicBezTo>
                <a:cubicBezTo>
                  <a:pt x="7702450" y="6084984"/>
                  <a:pt x="7702582" y="6088090"/>
                  <a:pt x="7704880" y="6090292"/>
                </a:cubicBezTo>
                <a:cubicBezTo>
                  <a:pt x="7704638" y="6091355"/>
                  <a:pt x="7704396" y="6092420"/>
                  <a:pt x="7704154" y="6093483"/>
                </a:cubicBezTo>
                <a:cubicBezTo>
                  <a:pt x="7701455" y="6094267"/>
                  <a:pt x="7700027" y="6095619"/>
                  <a:pt x="7699506" y="6099136"/>
                </a:cubicBezTo>
                <a:cubicBezTo>
                  <a:pt x="7698680" y="6103983"/>
                  <a:pt x="7695703" y="6107220"/>
                  <a:pt x="7690136" y="6107070"/>
                </a:cubicBezTo>
                <a:cubicBezTo>
                  <a:pt x="7687679" y="6106790"/>
                  <a:pt x="7687787" y="6108773"/>
                  <a:pt x="7687424" y="6110368"/>
                </a:cubicBezTo>
                <a:cubicBezTo>
                  <a:pt x="7686818" y="6113028"/>
                  <a:pt x="7685632" y="6113316"/>
                  <a:pt x="7683926" y="6110969"/>
                </a:cubicBezTo>
                <a:cubicBezTo>
                  <a:pt x="7681337" y="6107583"/>
                  <a:pt x="7679208" y="6107097"/>
                  <a:pt x="7677378" y="6111435"/>
                </a:cubicBezTo>
                <a:cubicBezTo>
                  <a:pt x="7676871" y="6112438"/>
                  <a:pt x="7675769" y="6113586"/>
                  <a:pt x="7675007" y="6112014"/>
                </a:cubicBezTo>
                <a:cubicBezTo>
                  <a:pt x="7672333" y="6107769"/>
                  <a:pt x="7669453" y="6109350"/>
                  <a:pt x="7666245" y="6111136"/>
                </a:cubicBezTo>
                <a:cubicBezTo>
                  <a:pt x="7665857" y="6111607"/>
                  <a:pt x="7664793" y="6111364"/>
                  <a:pt x="7664260" y="6111244"/>
                </a:cubicBezTo>
                <a:cubicBezTo>
                  <a:pt x="7658719" y="6106065"/>
                  <a:pt x="7653565" y="6100416"/>
                  <a:pt x="7648085" y="6094971"/>
                </a:cubicBezTo>
                <a:cubicBezTo>
                  <a:pt x="7645580" y="6092443"/>
                  <a:pt x="7645134" y="6087027"/>
                  <a:pt x="7644711" y="6082735"/>
                </a:cubicBezTo>
                <a:cubicBezTo>
                  <a:pt x="7644542" y="6081018"/>
                  <a:pt x="7645173" y="6079484"/>
                  <a:pt x="7643878" y="6077790"/>
                </a:cubicBezTo>
                <a:cubicBezTo>
                  <a:pt x="7642583" y="6076097"/>
                  <a:pt x="7643214" y="6074563"/>
                  <a:pt x="7644642" y="6073209"/>
                </a:cubicBezTo>
                <a:cubicBezTo>
                  <a:pt x="7645416" y="6072267"/>
                  <a:pt x="7646784" y="6071180"/>
                  <a:pt x="7646228" y="6069935"/>
                </a:cubicBezTo>
                <a:cubicBezTo>
                  <a:pt x="7644293" y="6066137"/>
                  <a:pt x="7644572" y="6063684"/>
                  <a:pt x="7649195" y="6063060"/>
                </a:cubicBezTo>
                <a:cubicBezTo>
                  <a:pt x="7650321" y="6063037"/>
                  <a:pt x="7650950" y="6061501"/>
                  <a:pt x="7650067" y="6060461"/>
                </a:cubicBezTo>
                <a:cubicBezTo>
                  <a:pt x="7647273" y="6056748"/>
                  <a:pt x="7651303" y="6056268"/>
                  <a:pt x="7652320" y="6054262"/>
                </a:cubicBezTo>
                <a:cubicBezTo>
                  <a:pt x="7655820" y="6047507"/>
                  <a:pt x="7663588" y="6051515"/>
                  <a:pt x="7667994" y="6046925"/>
                </a:cubicBezTo>
                <a:close/>
                <a:moveTo>
                  <a:pt x="552329" y="6014419"/>
                </a:moveTo>
                <a:cubicBezTo>
                  <a:pt x="553978" y="6014473"/>
                  <a:pt x="555850" y="6015246"/>
                  <a:pt x="557417" y="6014841"/>
                </a:cubicBezTo>
                <a:cubicBezTo>
                  <a:pt x="568045" y="6012199"/>
                  <a:pt x="571103" y="6024407"/>
                  <a:pt x="580255" y="6024802"/>
                </a:cubicBezTo>
                <a:cubicBezTo>
                  <a:pt x="583420" y="6024871"/>
                  <a:pt x="585261" y="6032372"/>
                  <a:pt x="586605" y="6035668"/>
                </a:cubicBezTo>
                <a:cubicBezTo>
                  <a:pt x="589512" y="6043484"/>
                  <a:pt x="598688" y="6049683"/>
                  <a:pt x="593599" y="6060054"/>
                </a:cubicBezTo>
                <a:cubicBezTo>
                  <a:pt x="592783" y="6061840"/>
                  <a:pt x="592184" y="6064850"/>
                  <a:pt x="593685" y="6067613"/>
                </a:cubicBezTo>
                <a:cubicBezTo>
                  <a:pt x="596094" y="6071225"/>
                  <a:pt x="595151" y="6074421"/>
                  <a:pt x="591731" y="6077175"/>
                </a:cubicBezTo>
                <a:lnTo>
                  <a:pt x="590375" y="6080141"/>
                </a:lnTo>
                <a:lnTo>
                  <a:pt x="605575" y="6085633"/>
                </a:lnTo>
                <a:cubicBezTo>
                  <a:pt x="610347" y="6087259"/>
                  <a:pt x="615052" y="6089116"/>
                  <a:pt x="618566" y="6093373"/>
                </a:cubicBezTo>
                <a:cubicBezTo>
                  <a:pt x="620011" y="6095287"/>
                  <a:pt x="621526" y="6095225"/>
                  <a:pt x="623373" y="6094013"/>
                </a:cubicBezTo>
                <a:cubicBezTo>
                  <a:pt x="624397" y="6093061"/>
                  <a:pt x="625354" y="6092339"/>
                  <a:pt x="626542" y="6091684"/>
                </a:cubicBezTo>
                <a:cubicBezTo>
                  <a:pt x="627729" y="6091028"/>
                  <a:pt x="629607" y="6090573"/>
                  <a:pt x="630494" y="6091827"/>
                </a:cubicBezTo>
                <a:cubicBezTo>
                  <a:pt x="631610" y="6093148"/>
                  <a:pt x="630618" y="6094857"/>
                  <a:pt x="629528" y="6096039"/>
                </a:cubicBezTo>
                <a:cubicBezTo>
                  <a:pt x="629097" y="6096663"/>
                  <a:pt x="628504" y="6096990"/>
                  <a:pt x="627844" y="6097548"/>
                </a:cubicBezTo>
                <a:cubicBezTo>
                  <a:pt x="622629" y="6101781"/>
                  <a:pt x="623015" y="6105633"/>
                  <a:pt x="629035" y="6108121"/>
                </a:cubicBezTo>
                <a:cubicBezTo>
                  <a:pt x="630120" y="6108682"/>
                  <a:pt x="631273" y="6109015"/>
                  <a:pt x="632128" y="6109512"/>
                </a:cubicBezTo>
                <a:cubicBezTo>
                  <a:pt x="633608" y="6110437"/>
                  <a:pt x="635584" y="6110509"/>
                  <a:pt x="635314" y="6113176"/>
                </a:cubicBezTo>
                <a:cubicBezTo>
                  <a:pt x="635242" y="6115150"/>
                  <a:pt x="634056" y="6115805"/>
                  <a:pt x="632407" y="6116327"/>
                </a:cubicBezTo>
                <a:cubicBezTo>
                  <a:pt x="629340" y="6117439"/>
                  <a:pt x="629106" y="6119117"/>
                  <a:pt x="631042" y="6121921"/>
                </a:cubicBezTo>
                <a:cubicBezTo>
                  <a:pt x="633537" y="6125386"/>
                  <a:pt x="635602" y="6129474"/>
                  <a:pt x="634041" y="6134013"/>
                </a:cubicBezTo>
                <a:cubicBezTo>
                  <a:pt x="632748" y="6137631"/>
                  <a:pt x="633137" y="6139740"/>
                  <a:pt x="637551" y="6140015"/>
                </a:cubicBezTo>
                <a:cubicBezTo>
                  <a:pt x="638538" y="6140050"/>
                  <a:pt x="639624" y="6140613"/>
                  <a:pt x="639686" y="6142129"/>
                </a:cubicBezTo>
                <a:cubicBezTo>
                  <a:pt x="639814" y="6143413"/>
                  <a:pt x="638464" y="6143771"/>
                  <a:pt x="637573" y="6144262"/>
                </a:cubicBezTo>
                <a:cubicBezTo>
                  <a:pt x="635494" y="6145409"/>
                  <a:pt x="633186" y="6146488"/>
                  <a:pt x="631503" y="6147998"/>
                </a:cubicBezTo>
                <a:cubicBezTo>
                  <a:pt x="626421" y="6151770"/>
                  <a:pt x="625853" y="6154600"/>
                  <a:pt x="627847" y="6160663"/>
                </a:cubicBezTo>
                <a:cubicBezTo>
                  <a:pt x="629482" y="6165377"/>
                  <a:pt x="630358" y="6170121"/>
                  <a:pt x="629127" y="6175253"/>
                </a:cubicBezTo>
                <a:cubicBezTo>
                  <a:pt x="628294" y="6179004"/>
                  <a:pt x="626318" y="6178933"/>
                  <a:pt x="623655" y="6176917"/>
                </a:cubicBezTo>
                <a:cubicBezTo>
                  <a:pt x="621781" y="6175627"/>
                  <a:pt x="621227" y="6173223"/>
                  <a:pt x="619947" y="6171605"/>
                </a:cubicBezTo>
                <a:cubicBezTo>
                  <a:pt x="618502" y="6169691"/>
                  <a:pt x="616499" y="6167118"/>
                  <a:pt x="614124" y="6168428"/>
                </a:cubicBezTo>
                <a:cubicBezTo>
                  <a:pt x="611386" y="6170132"/>
                  <a:pt x="611740" y="6173228"/>
                  <a:pt x="613216" y="6175899"/>
                </a:cubicBezTo>
                <a:cubicBezTo>
                  <a:pt x="613872" y="6177086"/>
                  <a:pt x="614988" y="6178406"/>
                  <a:pt x="615577" y="6179823"/>
                </a:cubicBezTo>
                <a:cubicBezTo>
                  <a:pt x="616398" y="6181308"/>
                  <a:pt x="616920" y="6182955"/>
                  <a:pt x="615072" y="6184168"/>
                </a:cubicBezTo>
                <a:cubicBezTo>
                  <a:pt x="613522" y="6185218"/>
                  <a:pt x="612339" y="6184127"/>
                  <a:pt x="611289" y="6182577"/>
                </a:cubicBezTo>
                <a:cubicBezTo>
                  <a:pt x="610172" y="6181257"/>
                  <a:pt x="609122" y="6179707"/>
                  <a:pt x="607939" y="6178617"/>
                </a:cubicBezTo>
                <a:cubicBezTo>
                  <a:pt x="606264" y="6176637"/>
                  <a:pt x="603761" y="6176663"/>
                  <a:pt x="601749" y="6177579"/>
                </a:cubicBezTo>
                <a:cubicBezTo>
                  <a:pt x="599738" y="6178495"/>
                  <a:pt x="600061" y="6180833"/>
                  <a:pt x="600286" y="6182645"/>
                </a:cubicBezTo>
                <a:cubicBezTo>
                  <a:pt x="601417" y="6191702"/>
                  <a:pt x="611940" y="6198481"/>
                  <a:pt x="621169" y="6195906"/>
                </a:cubicBezTo>
                <a:cubicBezTo>
                  <a:pt x="625520" y="6194668"/>
                  <a:pt x="626703" y="6195758"/>
                  <a:pt x="626100" y="6199576"/>
                </a:cubicBezTo>
                <a:cubicBezTo>
                  <a:pt x="625063" y="6205762"/>
                  <a:pt x="626698" y="6210475"/>
                  <a:pt x="632090" y="6214276"/>
                </a:cubicBezTo>
                <a:cubicBezTo>
                  <a:pt x="633570" y="6215202"/>
                  <a:pt x="635772" y="6217085"/>
                  <a:pt x="634350" y="6219419"/>
                </a:cubicBezTo>
                <a:cubicBezTo>
                  <a:pt x="631305" y="6224776"/>
                  <a:pt x="632213" y="6230278"/>
                  <a:pt x="633879" y="6235748"/>
                </a:cubicBezTo>
                <a:cubicBezTo>
                  <a:pt x="635186" y="6239867"/>
                  <a:pt x="634947" y="6243291"/>
                  <a:pt x="631217" y="6246704"/>
                </a:cubicBezTo>
                <a:cubicBezTo>
                  <a:pt x="627189" y="6250281"/>
                  <a:pt x="628071" y="6253280"/>
                  <a:pt x="633333" y="6255798"/>
                </a:cubicBezTo>
                <a:cubicBezTo>
                  <a:pt x="633565" y="6255863"/>
                  <a:pt x="633795" y="6255930"/>
                  <a:pt x="634025" y="6255996"/>
                </a:cubicBezTo>
                <a:cubicBezTo>
                  <a:pt x="636032" y="6256825"/>
                  <a:pt x="637973" y="6257884"/>
                  <a:pt x="637605" y="6260023"/>
                </a:cubicBezTo>
                <a:cubicBezTo>
                  <a:pt x="637468" y="6262229"/>
                  <a:pt x="635000" y="6261267"/>
                  <a:pt x="633648" y="6261625"/>
                </a:cubicBezTo>
                <a:cubicBezTo>
                  <a:pt x="625212" y="6263181"/>
                  <a:pt x="620556" y="6268074"/>
                  <a:pt x="619545" y="6276764"/>
                </a:cubicBezTo>
                <a:cubicBezTo>
                  <a:pt x="619209" y="6279660"/>
                  <a:pt x="617821" y="6281006"/>
                  <a:pt x="615185" y="6281493"/>
                </a:cubicBezTo>
                <a:cubicBezTo>
                  <a:pt x="613604" y="6281784"/>
                  <a:pt x="612088" y="6281846"/>
                  <a:pt x="610506" y="6282138"/>
                </a:cubicBezTo>
                <a:cubicBezTo>
                  <a:pt x="608397" y="6282527"/>
                  <a:pt x="607307" y="6283708"/>
                  <a:pt x="607170" y="6285914"/>
                </a:cubicBezTo>
                <a:lnTo>
                  <a:pt x="607778" y="6287675"/>
                </a:lnTo>
                <a:lnTo>
                  <a:pt x="584602" y="6300386"/>
                </a:lnTo>
                <a:lnTo>
                  <a:pt x="585995" y="6297015"/>
                </a:lnTo>
                <a:cubicBezTo>
                  <a:pt x="586987" y="6295307"/>
                  <a:pt x="587253" y="6294386"/>
                  <a:pt x="585512" y="6292635"/>
                </a:cubicBezTo>
                <a:cubicBezTo>
                  <a:pt x="583474" y="6291049"/>
                  <a:pt x="582219" y="6291935"/>
                  <a:pt x="580900" y="6293050"/>
                </a:cubicBezTo>
                <a:cubicBezTo>
                  <a:pt x="579943" y="6293772"/>
                  <a:pt x="579447" y="6294626"/>
                  <a:pt x="578654" y="6295645"/>
                </a:cubicBezTo>
                <a:cubicBezTo>
                  <a:pt x="575184" y="6299882"/>
                  <a:pt x="573735" y="6299713"/>
                  <a:pt x="571409" y="6294802"/>
                </a:cubicBezTo>
                <a:cubicBezTo>
                  <a:pt x="570983" y="6293681"/>
                  <a:pt x="570395" y="6292263"/>
                  <a:pt x="569012" y="6291864"/>
                </a:cubicBezTo>
                <a:cubicBezTo>
                  <a:pt x="567333" y="6291630"/>
                  <a:pt x="566801" y="6293472"/>
                  <a:pt x="566008" y="6294490"/>
                </a:cubicBezTo>
                <a:cubicBezTo>
                  <a:pt x="565282" y="6295278"/>
                  <a:pt x="564784" y="6296132"/>
                  <a:pt x="564519" y="6297053"/>
                </a:cubicBezTo>
                <a:cubicBezTo>
                  <a:pt x="563609" y="6298912"/>
                  <a:pt x="562594" y="6299616"/>
                  <a:pt x="561556" y="6299535"/>
                </a:cubicBezTo>
                <a:cubicBezTo>
                  <a:pt x="560520" y="6299454"/>
                  <a:pt x="559459" y="6298586"/>
                  <a:pt x="558458" y="6297300"/>
                </a:cubicBezTo>
                <a:cubicBezTo>
                  <a:pt x="556521" y="6294495"/>
                  <a:pt x="554719" y="6291231"/>
                  <a:pt x="552782" y="6288427"/>
                </a:cubicBezTo>
                <a:cubicBezTo>
                  <a:pt x="550518" y="6285029"/>
                  <a:pt x="547594" y="6282190"/>
                  <a:pt x="543309" y="6283199"/>
                </a:cubicBezTo>
                <a:cubicBezTo>
                  <a:pt x="539916" y="6283716"/>
                  <a:pt x="538866" y="6282165"/>
                  <a:pt x="537851" y="6279627"/>
                </a:cubicBezTo>
                <a:cubicBezTo>
                  <a:pt x="535725" y="6274024"/>
                  <a:pt x="532575" y="6269372"/>
                  <a:pt x="525724" y="6268893"/>
                </a:cubicBezTo>
                <a:cubicBezTo>
                  <a:pt x="523978" y="6268888"/>
                  <a:pt x="523717" y="6268064"/>
                  <a:pt x="523952" y="6266386"/>
                </a:cubicBezTo>
                <a:cubicBezTo>
                  <a:pt x="526288" y="6254836"/>
                  <a:pt x="524240" y="6243767"/>
                  <a:pt x="520315" y="6233154"/>
                </a:cubicBezTo>
                <a:cubicBezTo>
                  <a:pt x="519301" y="6230616"/>
                  <a:pt x="520160" y="6229368"/>
                  <a:pt x="521680" y="6227562"/>
                </a:cubicBezTo>
                <a:cubicBezTo>
                  <a:pt x="525181" y="6224081"/>
                  <a:pt x="529044" y="6220207"/>
                  <a:pt x="528760" y="6215135"/>
                </a:cubicBezTo>
                <a:cubicBezTo>
                  <a:pt x="528477" y="6210065"/>
                  <a:pt x="530559" y="6207173"/>
                  <a:pt x="533927" y="6204154"/>
                </a:cubicBezTo>
                <a:cubicBezTo>
                  <a:pt x="534951" y="6203202"/>
                  <a:pt x="535744" y="6202184"/>
                  <a:pt x="536835" y="6201001"/>
                </a:cubicBezTo>
                <a:cubicBezTo>
                  <a:pt x="541757" y="6195187"/>
                  <a:pt x="547007" y="6189967"/>
                  <a:pt x="555081" y="6188805"/>
                </a:cubicBezTo>
                <a:cubicBezTo>
                  <a:pt x="556595" y="6188744"/>
                  <a:pt x="556861" y="6187823"/>
                  <a:pt x="557194" y="6186671"/>
                </a:cubicBezTo>
                <a:cubicBezTo>
                  <a:pt x="557960" y="6183150"/>
                  <a:pt x="554133" y="6173065"/>
                  <a:pt x="551173" y="6171213"/>
                </a:cubicBezTo>
                <a:cubicBezTo>
                  <a:pt x="546436" y="6168599"/>
                  <a:pt x="542789" y="6164801"/>
                  <a:pt x="540463" y="6159889"/>
                </a:cubicBezTo>
                <a:cubicBezTo>
                  <a:pt x="537088" y="6153427"/>
                  <a:pt x="534469" y="6146933"/>
                  <a:pt x="531390" y="6140307"/>
                </a:cubicBezTo>
                <a:cubicBezTo>
                  <a:pt x="530407" y="6138526"/>
                  <a:pt x="531364" y="6137804"/>
                  <a:pt x="532618" y="6136919"/>
                </a:cubicBezTo>
                <a:cubicBezTo>
                  <a:pt x="538227" y="6133049"/>
                  <a:pt x="538227" y="6133049"/>
                  <a:pt x="534155" y="6128133"/>
                </a:cubicBezTo>
                <a:cubicBezTo>
                  <a:pt x="530544" y="6123349"/>
                  <a:pt x="530978" y="6120979"/>
                  <a:pt x="536388" y="6117801"/>
                </a:cubicBezTo>
                <a:cubicBezTo>
                  <a:pt x="538763" y="6116490"/>
                  <a:pt x="541205" y="6114950"/>
                  <a:pt x="541444" y="6111527"/>
                </a:cubicBezTo>
                <a:lnTo>
                  <a:pt x="542629" y="6109689"/>
                </a:lnTo>
                <a:lnTo>
                  <a:pt x="536317" y="6105942"/>
                </a:lnTo>
                <a:cubicBezTo>
                  <a:pt x="534283" y="6103019"/>
                  <a:pt x="532244" y="6105023"/>
                  <a:pt x="530173" y="6106147"/>
                </a:cubicBezTo>
                <a:cubicBezTo>
                  <a:pt x="526723" y="6108021"/>
                  <a:pt x="525284" y="6107014"/>
                  <a:pt x="526197" y="6102940"/>
                </a:cubicBezTo>
                <a:cubicBezTo>
                  <a:pt x="527394" y="6096921"/>
                  <a:pt x="525893" y="6094156"/>
                  <a:pt x="519465" y="6096306"/>
                </a:cubicBezTo>
                <a:cubicBezTo>
                  <a:pt x="517898" y="6096712"/>
                  <a:pt x="515610" y="6096612"/>
                  <a:pt x="516584" y="6094293"/>
                </a:cubicBezTo>
                <a:cubicBezTo>
                  <a:pt x="518629" y="6087366"/>
                  <a:pt x="514180" y="6085757"/>
                  <a:pt x="509199" y="6083989"/>
                </a:cubicBezTo>
                <a:cubicBezTo>
                  <a:pt x="508321" y="6084019"/>
                  <a:pt x="507569" y="6082637"/>
                  <a:pt x="507195" y="6081947"/>
                </a:cubicBezTo>
                <a:cubicBezTo>
                  <a:pt x="507520" y="6071033"/>
                  <a:pt x="508724" y="6060089"/>
                  <a:pt x="509394" y="6048987"/>
                </a:cubicBezTo>
                <a:cubicBezTo>
                  <a:pt x="509744" y="6043875"/>
                  <a:pt x="515173" y="6038242"/>
                  <a:pt x="519409" y="6033703"/>
                </a:cubicBezTo>
                <a:cubicBezTo>
                  <a:pt x="521103" y="6031888"/>
                  <a:pt x="523361" y="6031109"/>
                  <a:pt x="523960" y="6028098"/>
                </a:cubicBezTo>
                <a:cubicBezTo>
                  <a:pt x="524559" y="6025089"/>
                  <a:pt x="526816" y="6024310"/>
                  <a:pt x="529637" y="6024568"/>
                </a:cubicBezTo>
                <a:cubicBezTo>
                  <a:pt x="531392" y="6024508"/>
                  <a:pt x="533868" y="6024953"/>
                  <a:pt x="534684" y="6023167"/>
                </a:cubicBezTo>
                <a:cubicBezTo>
                  <a:pt x="536948" y="6017463"/>
                  <a:pt x="539864" y="6015431"/>
                  <a:pt x="544937" y="6019833"/>
                </a:cubicBezTo>
                <a:cubicBezTo>
                  <a:pt x="546033" y="6021027"/>
                  <a:pt x="548291" y="6020248"/>
                  <a:pt x="548575" y="6018304"/>
                </a:cubicBezTo>
                <a:cubicBezTo>
                  <a:pt x="549252" y="6015028"/>
                  <a:pt x="550679" y="6014364"/>
                  <a:pt x="552329" y="6014419"/>
                </a:cubicBezTo>
                <a:close/>
                <a:moveTo>
                  <a:pt x="9283161" y="6013625"/>
                </a:moveTo>
                <a:lnTo>
                  <a:pt x="9283853" y="6014195"/>
                </a:lnTo>
                <a:lnTo>
                  <a:pt x="9277283" y="6014191"/>
                </a:lnTo>
                <a:cubicBezTo>
                  <a:pt x="9277283" y="6014191"/>
                  <a:pt x="9283161" y="6013625"/>
                  <a:pt x="9283161" y="6013625"/>
                </a:cubicBezTo>
                <a:close/>
                <a:moveTo>
                  <a:pt x="11738761" y="6004428"/>
                </a:moveTo>
                <a:lnTo>
                  <a:pt x="11738740" y="6004792"/>
                </a:lnTo>
                <a:lnTo>
                  <a:pt x="11738446" y="6004701"/>
                </a:lnTo>
                <a:close/>
                <a:moveTo>
                  <a:pt x="1320630" y="6004156"/>
                </a:moveTo>
                <a:cubicBezTo>
                  <a:pt x="1321861" y="6004197"/>
                  <a:pt x="1323258" y="6004773"/>
                  <a:pt x="1324428" y="6004471"/>
                </a:cubicBezTo>
                <a:cubicBezTo>
                  <a:pt x="1332361" y="6002499"/>
                  <a:pt x="1334644" y="6011611"/>
                  <a:pt x="1341475" y="6011906"/>
                </a:cubicBezTo>
                <a:cubicBezTo>
                  <a:pt x="1343838" y="6011958"/>
                  <a:pt x="1345212" y="6017556"/>
                  <a:pt x="1346214" y="6020017"/>
                </a:cubicBezTo>
                <a:cubicBezTo>
                  <a:pt x="1348384" y="6025851"/>
                  <a:pt x="1355234" y="6030478"/>
                  <a:pt x="1351435" y="6038218"/>
                </a:cubicBezTo>
                <a:cubicBezTo>
                  <a:pt x="1350826" y="6039551"/>
                  <a:pt x="1350378" y="6041798"/>
                  <a:pt x="1351499" y="6043861"/>
                </a:cubicBezTo>
                <a:cubicBezTo>
                  <a:pt x="1353297" y="6046556"/>
                  <a:pt x="1352593" y="6048943"/>
                  <a:pt x="1350040" y="6050998"/>
                </a:cubicBezTo>
                <a:cubicBezTo>
                  <a:pt x="1348519" y="6052493"/>
                  <a:pt x="1348189" y="6054341"/>
                  <a:pt x="1347602" y="6056329"/>
                </a:cubicBezTo>
                <a:cubicBezTo>
                  <a:pt x="1346334" y="6061360"/>
                  <a:pt x="1343569" y="6064866"/>
                  <a:pt x="1338233" y="6066095"/>
                </a:cubicBezTo>
                <a:cubicBezTo>
                  <a:pt x="1335238" y="6066721"/>
                  <a:pt x="1332825" y="6069033"/>
                  <a:pt x="1332681" y="6072451"/>
                </a:cubicBezTo>
                <a:cubicBezTo>
                  <a:pt x="1331652" y="6073011"/>
                  <a:pt x="1330621" y="6073570"/>
                  <a:pt x="1329592" y="6074129"/>
                </a:cubicBezTo>
                <a:cubicBezTo>
                  <a:pt x="1327043" y="6072509"/>
                  <a:pt x="1324938" y="6072318"/>
                  <a:pt x="1321731" y="6074394"/>
                </a:cubicBezTo>
                <a:cubicBezTo>
                  <a:pt x="1317236" y="6077169"/>
                  <a:pt x="1312510" y="6077066"/>
                  <a:pt x="1308678" y="6072469"/>
                </a:cubicBezTo>
                <a:cubicBezTo>
                  <a:pt x="1307161" y="6070289"/>
                  <a:pt x="1305638" y="6071783"/>
                  <a:pt x="1304094" y="6072623"/>
                </a:cubicBezTo>
                <a:cubicBezTo>
                  <a:pt x="1301518" y="6074023"/>
                  <a:pt x="1300444" y="6073271"/>
                  <a:pt x="1301125" y="6070228"/>
                </a:cubicBezTo>
                <a:cubicBezTo>
                  <a:pt x="1302019" y="6065736"/>
                  <a:pt x="1300898" y="6063673"/>
                  <a:pt x="1296101" y="6065278"/>
                </a:cubicBezTo>
                <a:cubicBezTo>
                  <a:pt x="1294931" y="6065580"/>
                  <a:pt x="1293223" y="6065506"/>
                  <a:pt x="1293950" y="6063775"/>
                </a:cubicBezTo>
                <a:cubicBezTo>
                  <a:pt x="1295476" y="6058604"/>
                  <a:pt x="1292156" y="6057403"/>
                  <a:pt x="1288437" y="6056085"/>
                </a:cubicBezTo>
                <a:cubicBezTo>
                  <a:pt x="1287782" y="6056106"/>
                  <a:pt x="1287222" y="6055075"/>
                  <a:pt x="1286942" y="6054559"/>
                </a:cubicBezTo>
                <a:cubicBezTo>
                  <a:pt x="1287185" y="6046413"/>
                  <a:pt x="1288083" y="6038244"/>
                  <a:pt x="1288583" y="6029958"/>
                </a:cubicBezTo>
                <a:cubicBezTo>
                  <a:pt x="1288845" y="6026143"/>
                  <a:pt x="1292897" y="6021938"/>
                  <a:pt x="1296059" y="6018550"/>
                </a:cubicBezTo>
                <a:cubicBezTo>
                  <a:pt x="1297323" y="6017195"/>
                  <a:pt x="1299008" y="6016613"/>
                  <a:pt x="1299455" y="6014367"/>
                </a:cubicBezTo>
                <a:cubicBezTo>
                  <a:pt x="1299902" y="6012121"/>
                  <a:pt x="1301587" y="6011538"/>
                  <a:pt x="1303694" y="6011730"/>
                </a:cubicBezTo>
                <a:cubicBezTo>
                  <a:pt x="1305003" y="6011687"/>
                  <a:pt x="1306850" y="6012018"/>
                  <a:pt x="1307461" y="6010685"/>
                </a:cubicBezTo>
                <a:cubicBezTo>
                  <a:pt x="1309149" y="6006428"/>
                  <a:pt x="1311327" y="6004911"/>
                  <a:pt x="1315113" y="6008197"/>
                </a:cubicBezTo>
                <a:cubicBezTo>
                  <a:pt x="1315931" y="6009089"/>
                  <a:pt x="1317616" y="6008507"/>
                  <a:pt x="1317828" y="6007056"/>
                </a:cubicBezTo>
                <a:cubicBezTo>
                  <a:pt x="1318334" y="6004611"/>
                  <a:pt x="1319399" y="6004115"/>
                  <a:pt x="1320630" y="6004156"/>
                </a:cubicBezTo>
                <a:close/>
                <a:moveTo>
                  <a:pt x="11270502" y="6001372"/>
                </a:moveTo>
                <a:cubicBezTo>
                  <a:pt x="11271825" y="6002004"/>
                  <a:pt x="11274063" y="6002487"/>
                  <a:pt x="11276144" y="6001399"/>
                </a:cubicBezTo>
                <a:cubicBezTo>
                  <a:pt x="11278870" y="5999645"/>
                  <a:pt x="11281244" y="6000387"/>
                  <a:pt x="11283258" y="6002972"/>
                </a:cubicBezTo>
                <a:cubicBezTo>
                  <a:pt x="11284727" y="6004518"/>
                  <a:pt x="11286571" y="6004878"/>
                  <a:pt x="11288549" y="6005497"/>
                </a:cubicBezTo>
                <a:cubicBezTo>
                  <a:pt x="11293559" y="6006847"/>
                  <a:pt x="11297020" y="6009667"/>
                  <a:pt x="11298162" y="6015021"/>
                </a:cubicBezTo>
                <a:cubicBezTo>
                  <a:pt x="11298740" y="6018026"/>
                  <a:pt x="11301014" y="6020476"/>
                  <a:pt x="11304427" y="6020675"/>
                </a:cubicBezTo>
                <a:cubicBezTo>
                  <a:pt x="11304970" y="6021714"/>
                  <a:pt x="11305513" y="6022752"/>
                  <a:pt x="11306056" y="6023791"/>
                </a:cubicBezTo>
                <a:cubicBezTo>
                  <a:pt x="11304395" y="6026313"/>
                  <a:pt x="11304170" y="6028416"/>
                  <a:pt x="11306194" y="6031655"/>
                </a:cubicBezTo>
                <a:cubicBezTo>
                  <a:pt x="11308898" y="6036194"/>
                  <a:pt x="11308717" y="6040918"/>
                  <a:pt x="11304059" y="6044675"/>
                </a:cubicBezTo>
                <a:cubicBezTo>
                  <a:pt x="11301855" y="6046157"/>
                  <a:pt x="11303324" y="6047705"/>
                  <a:pt x="11304140" y="6049262"/>
                </a:cubicBezTo>
                <a:cubicBezTo>
                  <a:pt x="11305496" y="6051860"/>
                  <a:pt x="11304728" y="6052922"/>
                  <a:pt x="11301697" y="6052191"/>
                </a:cubicBezTo>
                <a:cubicBezTo>
                  <a:pt x="11297219" y="6051225"/>
                  <a:pt x="11295139" y="6052313"/>
                  <a:pt x="11296666" y="6057136"/>
                </a:cubicBezTo>
                <a:cubicBezTo>
                  <a:pt x="11296950" y="6058311"/>
                  <a:pt x="11296848" y="6060017"/>
                  <a:pt x="11295130" y="6059263"/>
                </a:cubicBezTo>
                <a:cubicBezTo>
                  <a:pt x="11289983" y="6057653"/>
                  <a:pt x="11288729" y="6060953"/>
                  <a:pt x="11287350" y="6064650"/>
                </a:cubicBezTo>
                <a:cubicBezTo>
                  <a:pt x="11287361" y="6065305"/>
                  <a:pt x="11286321" y="6065849"/>
                  <a:pt x="11285801" y="6066120"/>
                </a:cubicBezTo>
                <a:cubicBezTo>
                  <a:pt x="11277660" y="6065747"/>
                  <a:pt x="11269508" y="6064718"/>
                  <a:pt x="11261231" y="6064083"/>
                </a:cubicBezTo>
                <a:cubicBezTo>
                  <a:pt x="11257419" y="6063760"/>
                  <a:pt x="11253280" y="6059642"/>
                  <a:pt x="11249944" y="6056425"/>
                </a:cubicBezTo>
                <a:cubicBezTo>
                  <a:pt x="11248610" y="6055138"/>
                  <a:pt x="11248054" y="6053445"/>
                  <a:pt x="11245815" y="6052961"/>
                </a:cubicBezTo>
                <a:cubicBezTo>
                  <a:pt x="11243577" y="6052478"/>
                  <a:pt x="11243022" y="6050783"/>
                  <a:pt x="11243248" y="6048682"/>
                </a:cubicBezTo>
                <a:cubicBezTo>
                  <a:pt x="11243226" y="6047371"/>
                  <a:pt x="11243586" y="6045528"/>
                  <a:pt x="11242263" y="6044897"/>
                </a:cubicBezTo>
                <a:cubicBezTo>
                  <a:pt x="11238034" y="6043140"/>
                  <a:pt x="11236552" y="6040939"/>
                  <a:pt x="11239899" y="6037206"/>
                </a:cubicBezTo>
                <a:cubicBezTo>
                  <a:pt x="11240804" y="6036402"/>
                  <a:pt x="11240249" y="6034708"/>
                  <a:pt x="11238801" y="6034472"/>
                </a:cubicBezTo>
                <a:cubicBezTo>
                  <a:pt x="11233928" y="6033383"/>
                  <a:pt x="11236889" y="6030181"/>
                  <a:pt x="11236325" y="6027832"/>
                </a:cubicBezTo>
                <a:cubicBezTo>
                  <a:pt x="11234479" y="6019869"/>
                  <a:pt x="11243626" y="6017733"/>
                  <a:pt x="11244032" y="6010907"/>
                </a:cubicBezTo>
                <a:cubicBezTo>
                  <a:pt x="11244122" y="6008545"/>
                  <a:pt x="11249742" y="6007262"/>
                  <a:pt x="11252219" y="6006298"/>
                </a:cubicBezTo>
                <a:cubicBezTo>
                  <a:pt x="11258087" y="6004223"/>
                  <a:pt x="11262823" y="5997449"/>
                  <a:pt x="11270502" y="6001372"/>
                </a:cubicBezTo>
                <a:close/>
                <a:moveTo>
                  <a:pt x="9822375" y="5976414"/>
                </a:moveTo>
                <a:cubicBezTo>
                  <a:pt x="9822375" y="5976414"/>
                  <a:pt x="9825598" y="5979069"/>
                  <a:pt x="9825598" y="5979069"/>
                </a:cubicBezTo>
                <a:cubicBezTo>
                  <a:pt x="9825598" y="5979069"/>
                  <a:pt x="9822942" y="5982293"/>
                  <a:pt x="9819719" y="5979637"/>
                </a:cubicBezTo>
                <a:cubicBezTo>
                  <a:pt x="9822375" y="5976414"/>
                  <a:pt x="9822375" y="5976414"/>
                  <a:pt x="9822375" y="5976414"/>
                </a:cubicBezTo>
                <a:close/>
                <a:moveTo>
                  <a:pt x="782721" y="5966194"/>
                </a:moveTo>
                <a:cubicBezTo>
                  <a:pt x="786427" y="5968212"/>
                  <a:pt x="789694" y="5970104"/>
                  <a:pt x="793653" y="5971247"/>
                </a:cubicBezTo>
                <a:cubicBezTo>
                  <a:pt x="797614" y="5972391"/>
                  <a:pt x="800814" y="5976162"/>
                  <a:pt x="801562" y="5980172"/>
                </a:cubicBezTo>
                <a:cubicBezTo>
                  <a:pt x="801998" y="5983620"/>
                  <a:pt x="802812" y="5985752"/>
                  <a:pt x="805072" y="5987829"/>
                </a:cubicBezTo>
                <a:cubicBezTo>
                  <a:pt x="803555" y="5993084"/>
                  <a:pt x="802038" y="5998341"/>
                  <a:pt x="800521" y="6003596"/>
                </a:cubicBezTo>
                <a:cubicBezTo>
                  <a:pt x="795490" y="6004517"/>
                  <a:pt x="790959" y="6007004"/>
                  <a:pt x="788062" y="6010438"/>
                </a:cubicBezTo>
                <a:cubicBezTo>
                  <a:pt x="784850" y="6013307"/>
                  <a:pt x="781952" y="6016741"/>
                  <a:pt x="778615" y="6020047"/>
                </a:cubicBezTo>
                <a:cubicBezTo>
                  <a:pt x="775403" y="6022917"/>
                  <a:pt x="772066" y="6026223"/>
                  <a:pt x="770362" y="6030477"/>
                </a:cubicBezTo>
                <a:cubicBezTo>
                  <a:pt x="768344" y="6034165"/>
                  <a:pt x="765199" y="6035154"/>
                  <a:pt x="761487" y="6036455"/>
                </a:cubicBezTo>
                <a:cubicBezTo>
                  <a:pt x="757775" y="6037756"/>
                  <a:pt x="753502" y="6036049"/>
                  <a:pt x="750417" y="6038480"/>
                </a:cubicBezTo>
                <a:cubicBezTo>
                  <a:pt x="747338" y="6037591"/>
                  <a:pt x="744698" y="6036828"/>
                  <a:pt x="741619" y="6035940"/>
                </a:cubicBezTo>
                <a:cubicBezTo>
                  <a:pt x="741997" y="6034626"/>
                  <a:pt x="741684" y="6034062"/>
                  <a:pt x="740804" y="6033807"/>
                </a:cubicBezTo>
                <a:cubicBezTo>
                  <a:pt x="734204" y="6031902"/>
                  <a:pt x="731949" y="6026507"/>
                  <a:pt x="731266" y="6020616"/>
                </a:cubicBezTo>
                <a:cubicBezTo>
                  <a:pt x="730458" y="6015162"/>
                  <a:pt x="729082" y="6010021"/>
                  <a:pt x="731606" y="6004581"/>
                </a:cubicBezTo>
                <a:cubicBezTo>
                  <a:pt x="734694" y="5998830"/>
                  <a:pt x="736152" y="5992134"/>
                  <a:pt x="742822" y="5988839"/>
                </a:cubicBezTo>
                <a:cubicBezTo>
                  <a:pt x="745088" y="5987595"/>
                  <a:pt x="747227" y="5986789"/>
                  <a:pt x="750558" y="5986802"/>
                </a:cubicBezTo>
                <a:cubicBezTo>
                  <a:pt x="755338" y="5986758"/>
                  <a:pt x="761249" y="5986092"/>
                  <a:pt x="761951" y="5978704"/>
                </a:cubicBezTo>
                <a:cubicBezTo>
                  <a:pt x="762270" y="5975949"/>
                  <a:pt x="765163" y="5975834"/>
                  <a:pt x="765982" y="5974648"/>
                </a:cubicBezTo>
                <a:cubicBezTo>
                  <a:pt x="770205" y="5968275"/>
                  <a:pt x="776369" y="5966733"/>
                  <a:pt x="782721" y="5966194"/>
                </a:cubicBezTo>
                <a:close/>
                <a:moveTo>
                  <a:pt x="9812142" y="5962571"/>
                </a:moveTo>
                <a:cubicBezTo>
                  <a:pt x="9809486" y="5965794"/>
                  <a:pt x="9809486" y="5965794"/>
                  <a:pt x="9809486" y="5965794"/>
                </a:cubicBezTo>
                <a:cubicBezTo>
                  <a:pt x="9800953" y="5969584"/>
                  <a:pt x="9800953" y="5969584"/>
                  <a:pt x="9806264" y="5963138"/>
                </a:cubicBezTo>
                <a:cubicBezTo>
                  <a:pt x="9812142" y="5962571"/>
                  <a:pt x="9812142" y="5962571"/>
                  <a:pt x="9812142" y="5962571"/>
                </a:cubicBezTo>
                <a:close/>
                <a:moveTo>
                  <a:pt x="11514286" y="5956658"/>
                </a:moveTo>
                <a:cubicBezTo>
                  <a:pt x="11515609" y="5957289"/>
                  <a:pt x="11517848" y="5957772"/>
                  <a:pt x="11519930" y="5956685"/>
                </a:cubicBezTo>
                <a:cubicBezTo>
                  <a:pt x="11522654" y="5954930"/>
                  <a:pt x="11525028" y="5955673"/>
                  <a:pt x="11527042" y="5958258"/>
                </a:cubicBezTo>
                <a:cubicBezTo>
                  <a:pt x="11528513" y="5959804"/>
                  <a:pt x="11530355" y="5960164"/>
                  <a:pt x="11532334" y="5960782"/>
                </a:cubicBezTo>
                <a:cubicBezTo>
                  <a:pt x="11537343" y="5962133"/>
                  <a:pt x="11540804" y="5964953"/>
                  <a:pt x="11541947" y="5970308"/>
                </a:cubicBezTo>
                <a:cubicBezTo>
                  <a:pt x="11542524" y="5973313"/>
                  <a:pt x="11544798" y="5975761"/>
                  <a:pt x="11548212" y="5975961"/>
                </a:cubicBezTo>
                <a:cubicBezTo>
                  <a:pt x="11548755" y="5977000"/>
                  <a:pt x="11549298" y="5978039"/>
                  <a:pt x="11549841" y="5979077"/>
                </a:cubicBezTo>
                <a:cubicBezTo>
                  <a:pt x="11548181" y="5981599"/>
                  <a:pt x="11547954" y="5983701"/>
                  <a:pt x="11549978" y="5986942"/>
                </a:cubicBezTo>
                <a:cubicBezTo>
                  <a:pt x="11552682" y="5991481"/>
                  <a:pt x="11552502" y="5996203"/>
                  <a:pt x="11547845" y="5999961"/>
                </a:cubicBezTo>
                <a:cubicBezTo>
                  <a:pt x="11545639" y="6001444"/>
                  <a:pt x="11547110" y="6002990"/>
                  <a:pt x="11547924" y="6004548"/>
                </a:cubicBezTo>
                <a:cubicBezTo>
                  <a:pt x="11549282" y="6007145"/>
                  <a:pt x="11548512" y="6008209"/>
                  <a:pt x="11545483" y="6007478"/>
                </a:cubicBezTo>
                <a:cubicBezTo>
                  <a:pt x="11541005" y="6006512"/>
                  <a:pt x="11538925" y="6007599"/>
                  <a:pt x="11540451" y="6012421"/>
                </a:cubicBezTo>
                <a:cubicBezTo>
                  <a:pt x="11540734" y="6013597"/>
                  <a:pt x="11540632" y="6015303"/>
                  <a:pt x="11538914" y="6014548"/>
                </a:cubicBezTo>
                <a:cubicBezTo>
                  <a:pt x="11533769" y="6012939"/>
                  <a:pt x="11532514" y="6016240"/>
                  <a:pt x="11531135" y="6019936"/>
                </a:cubicBezTo>
                <a:cubicBezTo>
                  <a:pt x="11531146" y="6020592"/>
                  <a:pt x="11530106" y="6021136"/>
                  <a:pt x="11529586" y="6021407"/>
                </a:cubicBezTo>
                <a:cubicBezTo>
                  <a:pt x="11521446" y="6021033"/>
                  <a:pt x="11513292" y="6020003"/>
                  <a:pt x="11505015" y="6019370"/>
                </a:cubicBezTo>
                <a:cubicBezTo>
                  <a:pt x="11501205" y="6019046"/>
                  <a:pt x="11497065" y="6014927"/>
                  <a:pt x="11493728" y="6011711"/>
                </a:cubicBezTo>
                <a:cubicBezTo>
                  <a:pt x="11492394" y="6010425"/>
                  <a:pt x="11491839" y="6008730"/>
                  <a:pt x="11489600" y="6008247"/>
                </a:cubicBezTo>
                <a:cubicBezTo>
                  <a:pt x="11487361" y="6007763"/>
                  <a:pt x="11486808" y="6006070"/>
                  <a:pt x="11487033" y="6003968"/>
                </a:cubicBezTo>
                <a:cubicBezTo>
                  <a:pt x="11487010" y="6002657"/>
                  <a:pt x="11487371" y="6000815"/>
                  <a:pt x="11486048" y="6000184"/>
                </a:cubicBezTo>
                <a:cubicBezTo>
                  <a:pt x="11481820" y="5998426"/>
                  <a:pt x="11480338" y="5996224"/>
                  <a:pt x="11483685" y="5992491"/>
                </a:cubicBezTo>
                <a:cubicBezTo>
                  <a:pt x="11484588" y="5991689"/>
                  <a:pt x="11484035" y="5989994"/>
                  <a:pt x="11482586" y="5989759"/>
                </a:cubicBezTo>
                <a:cubicBezTo>
                  <a:pt x="11477713" y="5988668"/>
                  <a:pt x="11480675" y="5985467"/>
                  <a:pt x="11480109" y="5983117"/>
                </a:cubicBezTo>
                <a:cubicBezTo>
                  <a:pt x="11478265" y="5975154"/>
                  <a:pt x="11487411" y="5973019"/>
                  <a:pt x="11487818" y="5966193"/>
                </a:cubicBezTo>
                <a:cubicBezTo>
                  <a:pt x="11487908" y="5963832"/>
                  <a:pt x="11493528" y="5962548"/>
                  <a:pt x="11496003" y="5961584"/>
                </a:cubicBezTo>
                <a:cubicBezTo>
                  <a:pt x="11501871" y="5959509"/>
                  <a:pt x="11506608" y="5952735"/>
                  <a:pt x="11514286" y="5956658"/>
                </a:cubicBezTo>
                <a:close/>
                <a:moveTo>
                  <a:pt x="9991148" y="5926814"/>
                </a:moveTo>
                <a:lnTo>
                  <a:pt x="9975596" y="5928335"/>
                </a:lnTo>
                <a:lnTo>
                  <a:pt x="9978232" y="5931710"/>
                </a:lnTo>
                <a:close/>
                <a:moveTo>
                  <a:pt x="10023063" y="5923690"/>
                </a:moveTo>
                <a:lnTo>
                  <a:pt x="9995354" y="5926402"/>
                </a:lnTo>
                <a:lnTo>
                  <a:pt x="10001741" y="5929442"/>
                </a:lnTo>
                <a:cubicBezTo>
                  <a:pt x="10014542" y="5923757"/>
                  <a:pt x="10024674" y="5925004"/>
                  <a:pt x="10023740" y="5923982"/>
                </a:cubicBezTo>
                <a:close/>
                <a:moveTo>
                  <a:pt x="10084246" y="5912296"/>
                </a:moveTo>
                <a:lnTo>
                  <a:pt x="10066843" y="5916828"/>
                </a:lnTo>
                <a:lnTo>
                  <a:pt x="10065828" y="5917325"/>
                </a:lnTo>
                <a:lnTo>
                  <a:pt x="10063600" y="5917673"/>
                </a:lnTo>
                <a:lnTo>
                  <a:pt x="10059679" y="5918693"/>
                </a:lnTo>
                <a:lnTo>
                  <a:pt x="10059749" y="5919162"/>
                </a:lnTo>
                <a:cubicBezTo>
                  <a:pt x="10061028" y="5919456"/>
                  <a:pt x="10063837" y="5919741"/>
                  <a:pt x="10069052" y="5919979"/>
                </a:cubicBezTo>
                <a:cubicBezTo>
                  <a:pt x="10066112" y="5920263"/>
                  <a:pt x="10062510" y="5921352"/>
                  <a:pt x="10060780" y="5922631"/>
                </a:cubicBezTo>
                <a:lnTo>
                  <a:pt x="10063661" y="5926324"/>
                </a:lnTo>
                <a:lnTo>
                  <a:pt x="10063965" y="5926270"/>
                </a:lnTo>
                <a:close/>
                <a:moveTo>
                  <a:pt x="1085900" y="5911880"/>
                </a:moveTo>
                <a:cubicBezTo>
                  <a:pt x="1087131" y="5911920"/>
                  <a:pt x="1088529" y="5912497"/>
                  <a:pt x="1089698" y="5912195"/>
                </a:cubicBezTo>
                <a:cubicBezTo>
                  <a:pt x="1097631" y="5910223"/>
                  <a:pt x="1099914" y="5919334"/>
                  <a:pt x="1106745" y="5919630"/>
                </a:cubicBezTo>
                <a:cubicBezTo>
                  <a:pt x="1109108" y="5919682"/>
                  <a:pt x="1110482" y="5925280"/>
                  <a:pt x="1111485" y="5927741"/>
                </a:cubicBezTo>
                <a:cubicBezTo>
                  <a:pt x="1113655" y="5933575"/>
                  <a:pt x="1120504" y="5938202"/>
                  <a:pt x="1116706" y="5945942"/>
                </a:cubicBezTo>
                <a:cubicBezTo>
                  <a:pt x="1116095" y="5947275"/>
                  <a:pt x="1115649" y="5949521"/>
                  <a:pt x="1116769" y="5951584"/>
                </a:cubicBezTo>
                <a:cubicBezTo>
                  <a:pt x="1118568" y="5954280"/>
                  <a:pt x="1117864" y="5956667"/>
                  <a:pt x="1115311" y="5958721"/>
                </a:cubicBezTo>
                <a:cubicBezTo>
                  <a:pt x="1113789" y="5960216"/>
                  <a:pt x="1113459" y="5962065"/>
                  <a:pt x="1112873" y="5964054"/>
                </a:cubicBezTo>
                <a:cubicBezTo>
                  <a:pt x="1111603" y="5969085"/>
                  <a:pt x="1108839" y="5972591"/>
                  <a:pt x="1103504" y="5973820"/>
                </a:cubicBezTo>
                <a:cubicBezTo>
                  <a:pt x="1100508" y="5974444"/>
                  <a:pt x="1098096" y="5976758"/>
                  <a:pt x="1097952" y="5980176"/>
                </a:cubicBezTo>
                <a:cubicBezTo>
                  <a:pt x="1096923" y="5980734"/>
                  <a:pt x="1095892" y="5981294"/>
                  <a:pt x="1094862" y="5981854"/>
                </a:cubicBezTo>
                <a:cubicBezTo>
                  <a:pt x="1092314" y="5980233"/>
                  <a:pt x="1090209" y="5980041"/>
                  <a:pt x="1087001" y="5982117"/>
                </a:cubicBezTo>
                <a:cubicBezTo>
                  <a:pt x="1082506" y="5984894"/>
                  <a:pt x="1077781" y="5984790"/>
                  <a:pt x="1073949" y="5980193"/>
                </a:cubicBezTo>
                <a:cubicBezTo>
                  <a:pt x="1072430" y="5978012"/>
                  <a:pt x="1070909" y="5979507"/>
                  <a:pt x="1069363" y="5980347"/>
                </a:cubicBezTo>
                <a:cubicBezTo>
                  <a:pt x="1066789" y="5981746"/>
                  <a:pt x="1065713" y="5980995"/>
                  <a:pt x="1066395" y="5977952"/>
                </a:cubicBezTo>
                <a:cubicBezTo>
                  <a:pt x="1067289" y="5973459"/>
                  <a:pt x="1066168" y="5971397"/>
                  <a:pt x="1061371" y="5973003"/>
                </a:cubicBezTo>
                <a:cubicBezTo>
                  <a:pt x="1060201" y="5973304"/>
                  <a:pt x="1058494" y="5973230"/>
                  <a:pt x="1059221" y="5971500"/>
                </a:cubicBezTo>
                <a:cubicBezTo>
                  <a:pt x="1060747" y="5966329"/>
                  <a:pt x="1057427" y="5965127"/>
                  <a:pt x="1053708" y="5963808"/>
                </a:cubicBezTo>
                <a:cubicBezTo>
                  <a:pt x="1053053" y="5963830"/>
                  <a:pt x="1052492" y="5962799"/>
                  <a:pt x="1052212" y="5962283"/>
                </a:cubicBezTo>
                <a:cubicBezTo>
                  <a:pt x="1052455" y="5954137"/>
                  <a:pt x="1053353" y="5945968"/>
                  <a:pt x="1053854" y="5937682"/>
                </a:cubicBezTo>
                <a:cubicBezTo>
                  <a:pt x="1054115" y="5933867"/>
                  <a:pt x="1058167" y="5929662"/>
                  <a:pt x="1061329" y="5926273"/>
                </a:cubicBezTo>
                <a:cubicBezTo>
                  <a:pt x="1062594" y="5924918"/>
                  <a:pt x="1064278" y="5924337"/>
                  <a:pt x="1064725" y="5922091"/>
                </a:cubicBezTo>
                <a:cubicBezTo>
                  <a:pt x="1065172" y="5919844"/>
                  <a:pt x="1066858" y="5919262"/>
                  <a:pt x="1068963" y="5919455"/>
                </a:cubicBezTo>
                <a:cubicBezTo>
                  <a:pt x="1070273" y="5919410"/>
                  <a:pt x="1072121" y="5919742"/>
                  <a:pt x="1072731" y="5918410"/>
                </a:cubicBezTo>
                <a:cubicBezTo>
                  <a:pt x="1074420" y="5914152"/>
                  <a:pt x="1076597" y="5912636"/>
                  <a:pt x="1080383" y="5915921"/>
                </a:cubicBezTo>
                <a:cubicBezTo>
                  <a:pt x="1081201" y="5916812"/>
                  <a:pt x="1082887" y="5916230"/>
                  <a:pt x="1083099" y="5914780"/>
                </a:cubicBezTo>
                <a:cubicBezTo>
                  <a:pt x="1083604" y="5912334"/>
                  <a:pt x="1084669" y="5911839"/>
                  <a:pt x="1085900" y="5911880"/>
                </a:cubicBezTo>
                <a:close/>
                <a:moveTo>
                  <a:pt x="9132277" y="5899042"/>
                </a:moveTo>
                <a:lnTo>
                  <a:pt x="9141942" y="5902676"/>
                </a:lnTo>
                <a:lnTo>
                  <a:pt x="9146325" y="5901942"/>
                </a:lnTo>
                <a:close/>
                <a:moveTo>
                  <a:pt x="10141842" y="5897299"/>
                </a:moveTo>
                <a:lnTo>
                  <a:pt x="10118708" y="5903323"/>
                </a:lnTo>
                <a:lnTo>
                  <a:pt x="10120814" y="5903119"/>
                </a:lnTo>
                <a:cubicBezTo>
                  <a:pt x="10124036" y="5905774"/>
                  <a:pt x="10132569" y="5901985"/>
                  <a:pt x="10141103" y="5898194"/>
                </a:cubicBezTo>
                <a:close/>
                <a:moveTo>
                  <a:pt x="799605" y="5890711"/>
                </a:moveTo>
                <a:cubicBezTo>
                  <a:pt x="800836" y="5890752"/>
                  <a:pt x="802232" y="5891328"/>
                  <a:pt x="803403" y="5891026"/>
                </a:cubicBezTo>
                <a:cubicBezTo>
                  <a:pt x="811336" y="5889053"/>
                  <a:pt x="813618" y="5898165"/>
                  <a:pt x="820449" y="5898462"/>
                </a:cubicBezTo>
                <a:cubicBezTo>
                  <a:pt x="822812" y="5898513"/>
                  <a:pt x="824186" y="5904111"/>
                  <a:pt x="825190" y="5906572"/>
                </a:cubicBezTo>
                <a:cubicBezTo>
                  <a:pt x="827358" y="5912405"/>
                  <a:pt x="834208" y="5917033"/>
                  <a:pt x="830409" y="5924773"/>
                </a:cubicBezTo>
                <a:cubicBezTo>
                  <a:pt x="829800" y="5926107"/>
                  <a:pt x="829353" y="5928353"/>
                  <a:pt x="830475" y="5930415"/>
                </a:cubicBezTo>
                <a:cubicBezTo>
                  <a:pt x="832271" y="5933112"/>
                  <a:pt x="831567" y="5935497"/>
                  <a:pt x="829016" y="5937553"/>
                </a:cubicBezTo>
                <a:cubicBezTo>
                  <a:pt x="827493" y="5939048"/>
                  <a:pt x="827164" y="5940896"/>
                  <a:pt x="826577" y="5942885"/>
                </a:cubicBezTo>
                <a:cubicBezTo>
                  <a:pt x="825308" y="5947915"/>
                  <a:pt x="822543" y="5951421"/>
                  <a:pt x="817207" y="5952650"/>
                </a:cubicBezTo>
                <a:cubicBezTo>
                  <a:pt x="814212" y="5953276"/>
                  <a:pt x="811801" y="5955588"/>
                  <a:pt x="811656" y="5959006"/>
                </a:cubicBezTo>
                <a:cubicBezTo>
                  <a:pt x="810626" y="5959566"/>
                  <a:pt x="809596" y="5960125"/>
                  <a:pt x="808566" y="5960685"/>
                </a:cubicBezTo>
                <a:cubicBezTo>
                  <a:pt x="806019" y="5959064"/>
                  <a:pt x="803913" y="5958872"/>
                  <a:pt x="800705" y="5960949"/>
                </a:cubicBezTo>
                <a:cubicBezTo>
                  <a:pt x="796211" y="5963725"/>
                  <a:pt x="791485" y="5963620"/>
                  <a:pt x="787654" y="5959024"/>
                </a:cubicBezTo>
                <a:cubicBezTo>
                  <a:pt x="786135" y="5956844"/>
                  <a:pt x="784613" y="5958339"/>
                  <a:pt x="783068" y="5959179"/>
                </a:cubicBezTo>
                <a:cubicBezTo>
                  <a:pt x="780493" y="5960577"/>
                  <a:pt x="779418" y="5959826"/>
                  <a:pt x="780099" y="5956784"/>
                </a:cubicBezTo>
                <a:cubicBezTo>
                  <a:pt x="780993" y="5952291"/>
                  <a:pt x="779873" y="5950228"/>
                  <a:pt x="775075" y="5951833"/>
                </a:cubicBezTo>
                <a:cubicBezTo>
                  <a:pt x="773906" y="5952135"/>
                  <a:pt x="772197" y="5952060"/>
                  <a:pt x="772925" y="5950330"/>
                </a:cubicBezTo>
                <a:cubicBezTo>
                  <a:pt x="774451" y="5945160"/>
                  <a:pt x="771130" y="5943958"/>
                  <a:pt x="767411" y="5942639"/>
                </a:cubicBezTo>
                <a:cubicBezTo>
                  <a:pt x="766757" y="5942661"/>
                  <a:pt x="766196" y="5941630"/>
                  <a:pt x="765916" y="5941114"/>
                </a:cubicBezTo>
                <a:cubicBezTo>
                  <a:pt x="766159" y="5932968"/>
                  <a:pt x="767057" y="5924800"/>
                  <a:pt x="767558" y="5916513"/>
                </a:cubicBezTo>
                <a:cubicBezTo>
                  <a:pt x="767819" y="5912697"/>
                  <a:pt x="771871" y="5908492"/>
                  <a:pt x="775033" y="5905105"/>
                </a:cubicBezTo>
                <a:cubicBezTo>
                  <a:pt x="776297" y="5903750"/>
                  <a:pt x="777983" y="5903168"/>
                  <a:pt x="778429" y="5900922"/>
                </a:cubicBezTo>
                <a:cubicBezTo>
                  <a:pt x="778877" y="5898675"/>
                  <a:pt x="780562" y="5898094"/>
                  <a:pt x="782668" y="5898286"/>
                </a:cubicBezTo>
                <a:cubicBezTo>
                  <a:pt x="783977" y="5898242"/>
                  <a:pt x="785825" y="5898573"/>
                  <a:pt x="786435" y="5897240"/>
                </a:cubicBezTo>
                <a:cubicBezTo>
                  <a:pt x="788124" y="5892984"/>
                  <a:pt x="790302" y="5891466"/>
                  <a:pt x="794087" y="5894752"/>
                </a:cubicBezTo>
                <a:cubicBezTo>
                  <a:pt x="794905" y="5895643"/>
                  <a:pt x="796591" y="5895062"/>
                  <a:pt x="796802" y="5893611"/>
                </a:cubicBezTo>
                <a:cubicBezTo>
                  <a:pt x="797309" y="5891165"/>
                  <a:pt x="798374" y="5890670"/>
                  <a:pt x="799605" y="5890711"/>
                </a:cubicBezTo>
                <a:close/>
                <a:moveTo>
                  <a:pt x="10169971" y="5889974"/>
                </a:moveTo>
                <a:lnTo>
                  <a:pt x="10154906" y="5893897"/>
                </a:lnTo>
                <a:lnTo>
                  <a:pt x="10161390" y="5893271"/>
                </a:lnTo>
                <a:cubicBezTo>
                  <a:pt x="10161390" y="5893271"/>
                  <a:pt x="10164613" y="5895927"/>
                  <a:pt x="10164613" y="5895927"/>
                </a:cubicBezTo>
                <a:cubicBezTo>
                  <a:pt x="10170490" y="5895358"/>
                  <a:pt x="10170490" y="5895358"/>
                  <a:pt x="10170490" y="5895358"/>
                </a:cubicBezTo>
                <a:close/>
                <a:moveTo>
                  <a:pt x="11783717" y="5865349"/>
                </a:moveTo>
                <a:cubicBezTo>
                  <a:pt x="11784421" y="5864782"/>
                  <a:pt x="11785221" y="5865163"/>
                  <a:pt x="11785862" y="5865627"/>
                </a:cubicBezTo>
                <a:cubicBezTo>
                  <a:pt x="11789234" y="5867865"/>
                  <a:pt x="11793376" y="5868899"/>
                  <a:pt x="11797128" y="5870338"/>
                </a:cubicBezTo>
                <a:cubicBezTo>
                  <a:pt x="11802877" y="5872533"/>
                  <a:pt x="11807300" y="5876020"/>
                  <a:pt x="11808759" y="5882257"/>
                </a:cubicBezTo>
                <a:cubicBezTo>
                  <a:pt x="11809437" y="5884702"/>
                  <a:pt x="11811433" y="5885459"/>
                  <a:pt x="11813347" y="5886058"/>
                </a:cubicBezTo>
                <a:cubicBezTo>
                  <a:pt x="11817735" y="5887564"/>
                  <a:pt x="11818399" y="5889216"/>
                  <a:pt x="11816488" y="5893216"/>
                </a:cubicBezTo>
                <a:cubicBezTo>
                  <a:pt x="11814262" y="5897378"/>
                  <a:pt x="11814262" y="5897378"/>
                  <a:pt x="11818897" y="5899356"/>
                </a:cubicBezTo>
                <a:cubicBezTo>
                  <a:pt x="11819935" y="5899812"/>
                  <a:pt x="11820735" y="5900193"/>
                  <a:pt x="11820284" y="5901630"/>
                </a:cubicBezTo>
                <a:cubicBezTo>
                  <a:pt x="11819029" y="5906884"/>
                  <a:pt x="11818089" y="5911975"/>
                  <a:pt x="11816596" y="5917155"/>
                </a:cubicBezTo>
                <a:cubicBezTo>
                  <a:pt x="11815633" y="5921058"/>
                  <a:pt x="11813551" y="5924346"/>
                  <a:pt x="11810503" y="5926938"/>
                </a:cubicBezTo>
                <a:cubicBezTo>
                  <a:pt x="11808633" y="5928716"/>
                  <a:pt x="11807345" y="5936588"/>
                  <a:pt x="11808419" y="5939026"/>
                </a:cubicBezTo>
                <a:cubicBezTo>
                  <a:pt x="11808828" y="5939812"/>
                  <a:pt x="11809157" y="5940440"/>
                  <a:pt x="11810265" y="5940261"/>
                </a:cubicBezTo>
                <a:cubicBezTo>
                  <a:pt x="11816285" y="5939914"/>
                  <a:pt x="11820858" y="5942923"/>
                  <a:pt x="11825282" y="5946411"/>
                </a:cubicBezTo>
                <a:cubicBezTo>
                  <a:pt x="11826246" y="5947107"/>
                  <a:pt x="11826972" y="5947727"/>
                  <a:pt x="11827853" y="5948266"/>
                </a:cubicBezTo>
                <a:cubicBezTo>
                  <a:pt x="11830738" y="5949958"/>
                  <a:pt x="11832674" y="5951746"/>
                  <a:pt x="11833215" y="5955463"/>
                </a:cubicBezTo>
                <a:cubicBezTo>
                  <a:pt x="11833757" y="5959179"/>
                  <a:pt x="11837127" y="5961417"/>
                  <a:pt x="11840176" y="5963423"/>
                </a:cubicBezTo>
                <a:cubicBezTo>
                  <a:pt x="11841543" y="5964508"/>
                  <a:pt x="11842350" y="5965286"/>
                  <a:pt x="11841989" y="5967275"/>
                </a:cubicBezTo>
                <a:cubicBezTo>
                  <a:pt x="11840708" y="5975543"/>
                  <a:pt x="11840857" y="5983865"/>
                  <a:pt x="11844249" y="5991889"/>
                </a:cubicBezTo>
                <a:cubicBezTo>
                  <a:pt x="11844667" y="5993071"/>
                  <a:pt x="11844600" y="5993707"/>
                  <a:pt x="11843335" y="5993967"/>
                </a:cubicBezTo>
                <a:cubicBezTo>
                  <a:pt x="11838443" y="5995325"/>
                  <a:pt x="11836845" y="5999160"/>
                  <a:pt x="11836129" y="6003532"/>
                </a:cubicBezTo>
                <a:cubicBezTo>
                  <a:pt x="11835769" y="6005521"/>
                  <a:pt x="11835236" y="6006800"/>
                  <a:pt x="11832700" y="6006924"/>
                </a:cubicBezTo>
                <a:cubicBezTo>
                  <a:pt x="11829447" y="6006825"/>
                  <a:pt x="11827746" y="6009313"/>
                  <a:pt x="11826606" y="6012109"/>
                </a:cubicBezTo>
                <a:cubicBezTo>
                  <a:pt x="11825617" y="6014426"/>
                  <a:pt x="11824791" y="6017057"/>
                  <a:pt x="11823801" y="6019374"/>
                </a:cubicBezTo>
                <a:cubicBezTo>
                  <a:pt x="11823266" y="6020454"/>
                  <a:pt x="11822626" y="6021239"/>
                  <a:pt x="11821886" y="6021450"/>
                </a:cubicBezTo>
                <a:cubicBezTo>
                  <a:pt x="11821145" y="6021662"/>
                  <a:pt x="11820306" y="6021301"/>
                  <a:pt x="11819374" y="6020089"/>
                </a:cubicBezTo>
                <a:cubicBezTo>
                  <a:pt x="11819044" y="6019461"/>
                  <a:pt x="11818559" y="6018914"/>
                  <a:pt x="11817917" y="6018450"/>
                </a:cubicBezTo>
                <a:cubicBezTo>
                  <a:pt x="11817191" y="6017829"/>
                  <a:pt x="11816536" y="6016573"/>
                  <a:pt x="11815354" y="6016990"/>
                </a:cubicBezTo>
                <a:cubicBezTo>
                  <a:pt x="11814410" y="6017483"/>
                  <a:pt x="11814192" y="6018597"/>
                  <a:pt x="11814049" y="6019472"/>
                </a:cubicBezTo>
                <a:cubicBezTo>
                  <a:pt x="11813088" y="6023374"/>
                  <a:pt x="11812062" y="6023710"/>
                  <a:pt x="11808924" y="6021150"/>
                </a:cubicBezTo>
                <a:cubicBezTo>
                  <a:pt x="11808200" y="6020529"/>
                  <a:pt x="11807714" y="6019983"/>
                  <a:pt x="11806915" y="6019602"/>
                </a:cubicBezTo>
                <a:cubicBezTo>
                  <a:pt x="11805792" y="6018988"/>
                  <a:pt x="11804754" y="6018531"/>
                  <a:pt x="11803510" y="6019980"/>
                </a:cubicBezTo>
                <a:cubicBezTo>
                  <a:pt x="11802506" y="6021506"/>
                  <a:pt x="11802836" y="6022133"/>
                  <a:pt x="11803807" y="6023225"/>
                </a:cubicBezTo>
                <a:lnTo>
                  <a:pt x="11805313" y="6025463"/>
                </a:lnTo>
                <a:lnTo>
                  <a:pt x="11786645" y="6019666"/>
                </a:lnTo>
                <a:lnTo>
                  <a:pt x="11786827" y="6018301"/>
                </a:lnTo>
                <a:cubicBezTo>
                  <a:pt x="11786403" y="6016724"/>
                  <a:pt x="11785438" y="6016028"/>
                  <a:pt x="11783853" y="6016056"/>
                </a:cubicBezTo>
                <a:cubicBezTo>
                  <a:pt x="11782664" y="6016078"/>
                  <a:pt x="11781557" y="6016257"/>
                  <a:pt x="11780368" y="6016279"/>
                </a:cubicBezTo>
                <a:cubicBezTo>
                  <a:pt x="11778386" y="6016314"/>
                  <a:pt x="11777182" y="6015543"/>
                  <a:pt x="11776511" y="6013494"/>
                </a:cubicBezTo>
                <a:cubicBezTo>
                  <a:pt x="11774499" y="6007346"/>
                  <a:pt x="11770404" y="6004488"/>
                  <a:pt x="11764062" y="6004603"/>
                </a:cubicBezTo>
                <a:cubicBezTo>
                  <a:pt x="11763031" y="6004542"/>
                  <a:pt x="11761383" y="6005603"/>
                  <a:pt x="11760960" y="6004025"/>
                </a:cubicBezTo>
                <a:cubicBezTo>
                  <a:pt x="11760378" y="6002529"/>
                  <a:pt x="11761627" y="6001476"/>
                  <a:pt x="11762960" y="6000579"/>
                </a:cubicBezTo>
                <a:cubicBezTo>
                  <a:pt x="11763116" y="6000497"/>
                  <a:pt x="11763275" y="6000415"/>
                  <a:pt x="11763431" y="6000333"/>
                </a:cubicBezTo>
                <a:cubicBezTo>
                  <a:pt x="11766874" y="5997734"/>
                  <a:pt x="11767072" y="5995431"/>
                  <a:pt x="11763625" y="5993432"/>
                </a:cubicBezTo>
                <a:cubicBezTo>
                  <a:pt x="11760420" y="5991509"/>
                  <a:pt x="11759742" y="5989063"/>
                  <a:pt x="11760083" y="5985885"/>
                </a:cubicBezTo>
                <a:cubicBezTo>
                  <a:pt x="11760483" y="5981677"/>
                  <a:pt x="11760330" y="5977557"/>
                  <a:pt x="11757335" y="5974123"/>
                </a:cubicBezTo>
                <a:cubicBezTo>
                  <a:pt x="11755961" y="5972642"/>
                  <a:pt x="11757279" y="5970953"/>
                  <a:pt x="11758216" y="5970064"/>
                </a:cubicBezTo>
                <a:cubicBezTo>
                  <a:pt x="11761562" y="5966515"/>
                  <a:pt x="11762053" y="5962859"/>
                  <a:pt x="11760389" y="5958529"/>
                </a:cubicBezTo>
                <a:cubicBezTo>
                  <a:pt x="11759390" y="5955852"/>
                  <a:pt x="11760088" y="5954888"/>
                  <a:pt x="11763423" y="5955144"/>
                </a:cubicBezTo>
                <a:cubicBezTo>
                  <a:pt x="11770489" y="5955650"/>
                  <a:pt x="11777115" y="5949187"/>
                  <a:pt x="11776599" y="5942459"/>
                </a:cubicBezTo>
                <a:cubicBezTo>
                  <a:pt x="11776496" y="5941112"/>
                  <a:pt x="11776387" y="5939370"/>
                  <a:pt x="11774794" y="5939002"/>
                </a:cubicBezTo>
                <a:cubicBezTo>
                  <a:pt x="11773201" y="5938635"/>
                  <a:pt x="11771383" y="5938985"/>
                  <a:pt x="11770461" y="5940667"/>
                </a:cubicBezTo>
                <a:cubicBezTo>
                  <a:pt x="11769764" y="5941631"/>
                  <a:pt x="11769233" y="5942909"/>
                  <a:pt x="11768618" y="5944031"/>
                </a:cubicBezTo>
                <a:cubicBezTo>
                  <a:pt x="11768085" y="5945308"/>
                  <a:pt x="11767389" y="5946273"/>
                  <a:pt x="11766111" y="5945741"/>
                </a:cubicBezTo>
                <a:cubicBezTo>
                  <a:pt x="11764592" y="5945134"/>
                  <a:pt x="11764728" y="5943863"/>
                  <a:pt x="11765104" y="5942667"/>
                </a:cubicBezTo>
                <a:cubicBezTo>
                  <a:pt x="11765322" y="5941552"/>
                  <a:pt x="11765937" y="5940432"/>
                  <a:pt x="11766237" y="5939475"/>
                </a:cubicBezTo>
                <a:cubicBezTo>
                  <a:pt x="11766913" y="5937322"/>
                  <a:pt x="11766713" y="5935027"/>
                  <a:pt x="11764479" y="5934195"/>
                </a:cubicBezTo>
                <a:cubicBezTo>
                  <a:pt x="11762564" y="5933596"/>
                  <a:pt x="11761493" y="5935756"/>
                  <a:pt x="11760727" y="5937355"/>
                </a:cubicBezTo>
                <a:cubicBezTo>
                  <a:pt x="11760038" y="5938715"/>
                  <a:pt x="11759991" y="5940540"/>
                  <a:pt x="11758823" y="5941750"/>
                </a:cubicBezTo>
                <a:cubicBezTo>
                  <a:pt x="11757190" y="5943603"/>
                  <a:pt x="11755770" y="5943947"/>
                  <a:pt x="11754613" y="5941352"/>
                </a:cubicBezTo>
                <a:cubicBezTo>
                  <a:pt x="11752965" y="5937813"/>
                  <a:pt x="11752900" y="5934247"/>
                  <a:pt x="11753391" y="5930591"/>
                </a:cubicBezTo>
                <a:cubicBezTo>
                  <a:pt x="11753942" y="5925903"/>
                  <a:pt x="11753114" y="5923936"/>
                  <a:pt x="11748876" y="5921952"/>
                </a:cubicBezTo>
                <a:cubicBezTo>
                  <a:pt x="11747434" y="5921106"/>
                  <a:pt x="11745601" y="5920664"/>
                  <a:pt x="11743927" y="5920140"/>
                </a:cubicBezTo>
                <a:cubicBezTo>
                  <a:pt x="11743210" y="5919915"/>
                  <a:pt x="11742177" y="5919854"/>
                  <a:pt x="11742081" y="5918905"/>
                </a:cubicBezTo>
                <a:cubicBezTo>
                  <a:pt x="11741903" y="5917798"/>
                  <a:pt x="11742606" y="5917230"/>
                  <a:pt x="11743317" y="5917059"/>
                </a:cubicBezTo>
                <a:cubicBezTo>
                  <a:pt x="11746474" y="5916209"/>
                  <a:pt x="11746447" y="5914624"/>
                  <a:pt x="11744976" y="5912192"/>
                </a:cubicBezTo>
                <a:cubicBezTo>
                  <a:pt x="11743176" y="5909133"/>
                  <a:pt x="11744071" y="5905867"/>
                  <a:pt x="11745367" y="5902989"/>
                </a:cubicBezTo>
                <a:cubicBezTo>
                  <a:pt x="11746357" y="5900672"/>
                  <a:pt x="11745940" y="5899491"/>
                  <a:pt x="11743555" y="5899137"/>
                </a:cubicBezTo>
                <a:cubicBezTo>
                  <a:pt x="11742284" y="5899002"/>
                  <a:pt x="11741326" y="5898702"/>
                  <a:pt x="11740983" y="5897281"/>
                </a:cubicBezTo>
                <a:cubicBezTo>
                  <a:pt x="11740395" y="5895389"/>
                  <a:pt x="11741816" y="5895046"/>
                  <a:pt x="11742753" y="5894157"/>
                </a:cubicBezTo>
                <a:cubicBezTo>
                  <a:pt x="11743298" y="5893671"/>
                  <a:pt x="11744084" y="5893261"/>
                  <a:pt x="11744788" y="5892693"/>
                </a:cubicBezTo>
                <a:cubicBezTo>
                  <a:pt x="11748785" y="5890004"/>
                  <a:pt x="11748496" y="5887156"/>
                  <a:pt x="11744094" y="5884857"/>
                </a:cubicBezTo>
                <a:cubicBezTo>
                  <a:pt x="11743533" y="5884550"/>
                  <a:pt x="11743056" y="5884400"/>
                  <a:pt x="11742651" y="5884011"/>
                </a:cubicBezTo>
                <a:cubicBezTo>
                  <a:pt x="11741688" y="5883315"/>
                  <a:pt x="11740717" y="5882223"/>
                  <a:pt x="11741332" y="5881102"/>
                </a:cubicBezTo>
                <a:cubicBezTo>
                  <a:pt x="11741788" y="5880063"/>
                  <a:pt x="11743218" y="5880116"/>
                  <a:pt x="11744174" y="5880416"/>
                </a:cubicBezTo>
                <a:cubicBezTo>
                  <a:pt x="11745130" y="5880716"/>
                  <a:pt x="11745930" y="5881097"/>
                  <a:pt x="11746812" y="5881637"/>
                </a:cubicBezTo>
                <a:cubicBezTo>
                  <a:pt x="11748331" y="5882243"/>
                  <a:pt x="11749437" y="5882065"/>
                  <a:pt x="11750201" y="5880465"/>
                </a:cubicBezTo>
                <a:cubicBezTo>
                  <a:pt x="11752120" y="5876862"/>
                  <a:pt x="11755257" y="5874823"/>
                  <a:pt x="11758474" y="5872942"/>
                </a:cubicBezTo>
                <a:cubicBezTo>
                  <a:pt x="11762239" y="5870575"/>
                  <a:pt x="11766572" y="5868910"/>
                  <a:pt x="11770007" y="5865915"/>
                </a:cubicBezTo>
                <a:cubicBezTo>
                  <a:pt x="11771257" y="5864861"/>
                  <a:pt x="11772535" y="5865394"/>
                  <a:pt x="11773574" y="5865850"/>
                </a:cubicBezTo>
                <a:cubicBezTo>
                  <a:pt x="11777089" y="5867213"/>
                  <a:pt x="11780444" y="5868659"/>
                  <a:pt x="11783717" y="5865349"/>
                </a:cubicBezTo>
                <a:close/>
                <a:moveTo>
                  <a:pt x="1182581" y="5811483"/>
                </a:moveTo>
                <a:cubicBezTo>
                  <a:pt x="1187384" y="5812811"/>
                  <a:pt x="1192077" y="5815343"/>
                  <a:pt x="1196837" y="5816009"/>
                </a:cubicBezTo>
                <a:cubicBezTo>
                  <a:pt x="1200880" y="5816706"/>
                  <a:pt x="1209779" y="5816919"/>
                  <a:pt x="1210642" y="5820465"/>
                </a:cubicBezTo>
                <a:cubicBezTo>
                  <a:pt x="1213357" y="5830669"/>
                  <a:pt x="1227856" y="5831086"/>
                  <a:pt x="1227515" y="5843705"/>
                </a:cubicBezTo>
                <a:cubicBezTo>
                  <a:pt x="1227382" y="5847434"/>
                  <a:pt x="1232849" y="5851368"/>
                  <a:pt x="1225809" y="5854516"/>
                </a:cubicBezTo>
                <a:cubicBezTo>
                  <a:pt x="1223691" y="5855317"/>
                  <a:pt x="1223373" y="5858052"/>
                  <a:pt x="1224989" y="5858990"/>
                </a:cubicBezTo>
                <a:cubicBezTo>
                  <a:pt x="1231202" y="5863609"/>
                  <a:pt x="1229637" y="5867396"/>
                  <a:pt x="1223778" y="5871357"/>
                </a:cubicBezTo>
                <a:cubicBezTo>
                  <a:pt x="1221969" y="5872719"/>
                  <a:pt x="1223084" y="5875396"/>
                  <a:pt x="1223452" y="5877386"/>
                </a:cubicBezTo>
                <a:cubicBezTo>
                  <a:pt x="1224441" y="5880497"/>
                  <a:pt x="1224123" y="5883231"/>
                  <a:pt x="1220884" y="5884651"/>
                </a:cubicBezTo>
                <a:cubicBezTo>
                  <a:pt x="1217644" y="5886071"/>
                  <a:pt x="1217327" y="5888806"/>
                  <a:pt x="1215703" y="5891163"/>
                </a:cubicBezTo>
                <a:cubicBezTo>
                  <a:pt x="1211644" y="5897057"/>
                  <a:pt x="1206647" y="5904563"/>
                  <a:pt x="1200980" y="5906225"/>
                </a:cubicBezTo>
                <a:cubicBezTo>
                  <a:pt x="1188650" y="5909731"/>
                  <a:pt x="1176629" y="5913797"/>
                  <a:pt x="1164424" y="5916869"/>
                </a:cubicBezTo>
                <a:cubicBezTo>
                  <a:pt x="1163553" y="5916617"/>
                  <a:pt x="1161812" y="5916115"/>
                  <a:pt x="1161628" y="5915119"/>
                </a:cubicBezTo>
                <a:cubicBezTo>
                  <a:pt x="1158404" y="5909950"/>
                  <a:pt x="1155490" y="5905341"/>
                  <a:pt x="1148199" y="5909359"/>
                </a:cubicBezTo>
                <a:cubicBezTo>
                  <a:pt x="1145830" y="5911031"/>
                  <a:pt x="1145152" y="5908479"/>
                  <a:pt x="1145217" y="5906615"/>
                </a:cubicBezTo>
                <a:cubicBezTo>
                  <a:pt x="1146046" y="5898846"/>
                  <a:pt x="1142563" y="5897842"/>
                  <a:pt x="1136084" y="5900682"/>
                </a:cubicBezTo>
                <a:cubicBezTo>
                  <a:pt x="1131723" y="5902720"/>
                  <a:pt x="1130233" y="5901347"/>
                  <a:pt x="1131487" y="5897000"/>
                </a:cubicBezTo>
                <a:cubicBezTo>
                  <a:pt x="1132240" y="5894391"/>
                  <a:pt x="1133989" y="5891598"/>
                  <a:pt x="1130197" y="5890033"/>
                </a:cubicBezTo>
                <a:cubicBezTo>
                  <a:pt x="1121992" y="5885782"/>
                  <a:pt x="1120267" y="5878688"/>
                  <a:pt x="1122960" y="5870989"/>
                </a:cubicBezTo>
                <a:cubicBezTo>
                  <a:pt x="1125027" y="5865462"/>
                  <a:pt x="1124039" y="5862351"/>
                  <a:pt x="1120749" y="5859046"/>
                </a:cubicBezTo>
                <a:cubicBezTo>
                  <a:pt x="1121251" y="5857307"/>
                  <a:pt x="1121752" y="5855568"/>
                  <a:pt x="1122254" y="5853829"/>
                </a:cubicBezTo>
                <a:cubicBezTo>
                  <a:pt x="1127360" y="5852477"/>
                  <a:pt x="1130047" y="5848071"/>
                  <a:pt x="1129996" y="5843346"/>
                </a:cubicBezTo>
                <a:cubicBezTo>
                  <a:pt x="1130078" y="5834892"/>
                  <a:pt x="1134447" y="5829558"/>
                  <a:pt x="1141612" y="5825975"/>
                </a:cubicBezTo>
                <a:cubicBezTo>
                  <a:pt x="1144417" y="5824429"/>
                  <a:pt x="1147095" y="5823318"/>
                  <a:pt x="1148844" y="5820526"/>
                </a:cubicBezTo>
                <a:cubicBezTo>
                  <a:pt x="1151095" y="5815995"/>
                  <a:pt x="1154460" y="5814140"/>
                  <a:pt x="1159123" y="5815957"/>
                </a:cubicBezTo>
                <a:cubicBezTo>
                  <a:pt x="1162606" y="5816963"/>
                  <a:pt x="1165845" y="5815543"/>
                  <a:pt x="1167654" y="5814180"/>
                </a:cubicBezTo>
                <a:cubicBezTo>
                  <a:pt x="1172860" y="5810031"/>
                  <a:pt x="1177776" y="5810155"/>
                  <a:pt x="1182581" y="5811483"/>
                </a:cubicBezTo>
                <a:close/>
                <a:moveTo>
                  <a:pt x="8493760" y="5763534"/>
                </a:moveTo>
                <a:cubicBezTo>
                  <a:pt x="8494326" y="5769412"/>
                  <a:pt x="8484660" y="5761446"/>
                  <a:pt x="8482005" y="5764669"/>
                </a:cubicBezTo>
                <a:cubicBezTo>
                  <a:pt x="8500204" y="5768845"/>
                  <a:pt x="8525417" y="5784208"/>
                  <a:pt x="8533948" y="5780419"/>
                </a:cubicBezTo>
                <a:cubicBezTo>
                  <a:pt x="8533948" y="5780419"/>
                  <a:pt x="8537172" y="5783075"/>
                  <a:pt x="8540394" y="5785730"/>
                </a:cubicBezTo>
                <a:cubicBezTo>
                  <a:pt x="8540394" y="5785730"/>
                  <a:pt x="8543616" y="5788384"/>
                  <a:pt x="8546271" y="5785162"/>
                </a:cubicBezTo>
                <a:cubicBezTo>
                  <a:pt x="8565605" y="5801093"/>
                  <a:pt x="8589683" y="5804701"/>
                  <a:pt x="8611105" y="5811533"/>
                </a:cubicBezTo>
                <a:cubicBezTo>
                  <a:pt x="8666272" y="5829938"/>
                  <a:pt x="8718783" y="5851565"/>
                  <a:pt x="8767507" y="5864660"/>
                </a:cubicBezTo>
                <a:cubicBezTo>
                  <a:pt x="8807129" y="5875668"/>
                  <a:pt x="8862861" y="5899948"/>
                  <a:pt x="8920116" y="5909254"/>
                </a:cubicBezTo>
                <a:cubicBezTo>
                  <a:pt x="8929217" y="5911342"/>
                  <a:pt x="8937749" y="5907552"/>
                  <a:pt x="8944193" y="5912863"/>
                </a:cubicBezTo>
                <a:cubicBezTo>
                  <a:pt x="8986471" y="5920646"/>
                  <a:pt x="9023437" y="5934875"/>
                  <a:pt x="9056615" y="5940572"/>
                </a:cubicBezTo>
                <a:cubicBezTo>
                  <a:pt x="9083349" y="5940958"/>
                  <a:pt x="9068371" y="5939438"/>
                  <a:pt x="9095670" y="5945702"/>
                </a:cubicBezTo>
                <a:cubicBezTo>
                  <a:pt x="9126192" y="5954619"/>
                  <a:pt x="9156148" y="5957662"/>
                  <a:pt x="9179659" y="5955392"/>
                </a:cubicBezTo>
                <a:lnTo>
                  <a:pt x="9180953" y="5955573"/>
                </a:lnTo>
                <a:lnTo>
                  <a:pt x="9182923" y="5955055"/>
                </a:lnTo>
                <a:cubicBezTo>
                  <a:pt x="9187703" y="5955011"/>
                  <a:pt x="9193614" y="5954344"/>
                  <a:pt x="9194318" y="5946956"/>
                </a:cubicBezTo>
                <a:cubicBezTo>
                  <a:pt x="9194635" y="5944201"/>
                  <a:pt x="9197528" y="5944086"/>
                  <a:pt x="9198347" y="5942900"/>
                </a:cubicBezTo>
                <a:lnTo>
                  <a:pt x="9212737" y="5935632"/>
                </a:lnTo>
                <a:lnTo>
                  <a:pt x="9129234" y="5924665"/>
                </a:lnTo>
                <a:cubicBezTo>
                  <a:pt x="9126011" y="5922010"/>
                  <a:pt x="9126011" y="5922010"/>
                  <a:pt x="9126011" y="5922010"/>
                </a:cubicBezTo>
                <a:cubicBezTo>
                  <a:pt x="9122791" y="5919356"/>
                  <a:pt x="9120136" y="5922577"/>
                  <a:pt x="9120136" y="5922577"/>
                </a:cubicBezTo>
                <a:cubicBezTo>
                  <a:pt x="9102501" y="5924279"/>
                  <a:pt x="9105158" y="5921057"/>
                  <a:pt x="9090179" y="5919535"/>
                </a:cubicBezTo>
                <a:cubicBezTo>
                  <a:pt x="9086957" y="5916880"/>
                  <a:pt x="9083734" y="5914225"/>
                  <a:pt x="9077857" y="5914792"/>
                </a:cubicBezTo>
                <a:cubicBezTo>
                  <a:pt x="9074636" y="5912138"/>
                  <a:pt x="9071980" y="5915361"/>
                  <a:pt x="9071980" y="5915361"/>
                </a:cubicBezTo>
                <a:cubicBezTo>
                  <a:pt x="9057003" y="5913839"/>
                  <a:pt x="9044679" y="5909097"/>
                  <a:pt x="9036147" y="5912885"/>
                </a:cubicBezTo>
                <a:cubicBezTo>
                  <a:pt x="9036147" y="5912885"/>
                  <a:pt x="9030269" y="5913454"/>
                  <a:pt x="9030269" y="5913454"/>
                </a:cubicBezTo>
                <a:cubicBezTo>
                  <a:pt x="9027046" y="5910798"/>
                  <a:pt x="9023825" y="5908143"/>
                  <a:pt x="9020602" y="5905488"/>
                </a:cubicBezTo>
                <a:cubicBezTo>
                  <a:pt x="9017948" y="5908710"/>
                  <a:pt x="8996525" y="5901879"/>
                  <a:pt x="8984771" y="5903014"/>
                </a:cubicBezTo>
                <a:cubicBezTo>
                  <a:pt x="8984771" y="5903014"/>
                  <a:pt x="8981548" y="5900359"/>
                  <a:pt x="8978893" y="5903582"/>
                </a:cubicBezTo>
                <a:cubicBezTo>
                  <a:pt x="8975671" y="5900926"/>
                  <a:pt x="8975671" y="5900926"/>
                  <a:pt x="8975671" y="5900926"/>
                </a:cubicBezTo>
                <a:cubicBezTo>
                  <a:pt x="8936048" y="5889919"/>
                  <a:pt x="8893204" y="5876257"/>
                  <a:pt x="8850925" y="5868473"/>
                </a:cubicBezTo>
                <a:cubicBezTo>
                  <a:pt x="8847705" y="5865819"/>
                  <a:pt x="8841827" y="5866385"/>
                  <a:pt x="8835949" y="5866952"/>
                </a:cubicBezTo>
                <a:cubicBezTo>
                  <a:pt x="8832726" y="5864297"/>
                  <a:pt x="8829503" y="5861642"/>
                  <a:pt x="8826280" y="5858987"/>
                </a:cubicBezTo>
                <a:cubicBezTo>
                  <a:pt x="8829503" y="5861642"/>
                  <a:pt x="8823626" y="5862209"/>
                  <a:pt x="8820970" y="5865432"/>
                </a:cubicBezTo>
                <a:cubicBezTo>
                  <a:pt x="8817749" y="5862777"/>
                  <a:pt x="8811871" y="5863343"/>
                  <a:pt x="8811871" y="5863343"/>
                </a:cubicBezTo>
                <a:cubicBezTo>
                  <a:pt x="8790448" y="5856512"/>
                  <a:pt x="8771682" y="5846459"/>
                  <a:pt x="8753480" y="5842284"/>
                </a:cubicBezTo>
                <a:cubicBezTo>
                  <a:pt x="8753480" y="5842284"/>
                  <a:pt x="8750259" y="5839629"/>
                  <a:pt x="8750259" y="5839629"/>
                </a:cubicBezTo>
                <a:cubicBezTo>
                  <a:pt x="8747038" y="5836973"/>
                  <a:pt x="8747038" y="5836973"/>
                  <a:pt x="8743815" y="5834319"/>
                </a:cubicBezTo>
                <a:cubicBezTo>
                  <a:pt x="8741160" y="5837541"/>
                  <a:pt x="8741160" y="5837541"/>
                  <a:pt x="8741160" y="5837541"/>
                </a:cubicBezTo>
                <a:cubicBezTo>
                  <a:pt x="8713860" y="5831277"/>
                  <a:pt x="8689781" y="5827668"/>
                  <a:pt x="8674238" y="5820270"/>
                </a:cubicBezTo>
                <a:cubicBezTo>
                  <a:pt x="8656605" y="5821973"/>
                  <a:pt x="8622293" y="5804520"/>
                  <a:pt x="8588548" y="5792947"/>
                </a:cubicBezTo>
                <a:cubicBezTo>
                  <a:pt x="8576794" y="5794081"/>
                  <a:pt x="8551581" y="5778718"/>
                  <a:pt x="8542481" y="5776629"/>
                </a:cubicBezTo>
                <a:cubicBezTo>
                  <a:pt x="8542481" y="5776629"/>
                  <a:pt x="8539258" y="5773974"/>
                  <a:pt x="8539258" y="5773974"/>
                </a:cubicBezTo>
                <a:cubicBezTo>
                  <a:pt x="8539258" y="5773974"/>
                  <a:pt x="8536036" y="5771320"/>
                  <a:pt x="8536036" y="5771320"/>
                </a:cubicBezTo>
                <a:cubicBezTo>
                  <a:pt x="8532815" y="5768664"/>
                  <a:pt x="8532815" y="5768664"/>
                  <a:pt x="8532815" y="5768664"/>
                </a:cubicBezTo>
                <a:cubicBezTo>
                  <a:pt x="8526938" y="5769231"/>
                  <a:pt x="8526938" y="5769231"/>
                  <a:pt x="8530159" y="5771886"/>
                </a:cubicBezTo>
                <a:cubicBezTo>
                  <a:pt x="8517836" y="5767144"/>
                  <a:pt x="8524282" y="5772453"/>
                  <a:pt x="8521626" y="5775676"/>
                </a:cubicBezTo>
                <a:cubicBezTo>
                  <a:pt x="8514614" y="5764487"/>
                  <a:pt x="8506649" y="5774154"/>
                  <a:pt x="8493760" y="5763534"/>
                </a:cubicBezTo>
                <a:close/>
                <a:moveTo>
                  <a:pt x="8394795" y="5752323"/>
                </a:moveTo>
                <a:cubicBezTo>
                  <a:pt x="8398584" y="5760855"/>
                  <a:pt x="8373940" y="5751369"/>
                  <a:pt x="8389484" y="5758768"/>
                </a:cubicBezTo>
                <a:cubicBezTo>
                  <a:pt x="8392139" y="5755545"/>
                  <a:pt x="8401807" y="5763511"/>
                  <a:pt x="8401807" y="5763511"/>
                </a:cubicBezTo>
                <a:cubicBezTo>
                  <a:pt x="8392706" y="5761423"/>
                  <a:pt x="8395929" y="5764078"/>
                  <a:pt x="8399152" y="5766733"/>
                </a:cubicBezTo>
                <a:cubicBezTo>
                  <a:pt x="8407685" y="5762944"/>
                  <a:pt x="8420573" y="5773565"/>
                  <a:pt x="8435552" y="5775084"/>
                </a:cubicBezTo>
                <a:cubicBezTo>
                  <a:pt x="8435552" y="5775084"/>
                  <a:pt x="8438773" y="5777740"/>
                  <a:pt x="8441996" y="5780395"/>
                </a:cubicBezTo>
                <a:cubicBezTo>
                  <a:pt x="8441996" y="5780395"/>
                  <a:pt x="8445218" y="5783049"/>
                  <a:pt x="8445218" y="5783049"/>
                </a:cubicBezTo>
                <a:cubicBezTo>
                  <a:pt x="8448442" y="5785706"/>
                  <a:pt x="8448442" y="5785706"/>
                  <a:pt x="8448442" y="5785706"/>
                </a:cubicBezTo>
                <a:cubicBezTo>
                  <a:pt x="8448442" y="5785706"/>
                  <a:pt x="8451097" y="5782482"/>
                  <a:pt x="8451097" y="5782482"/>
                </a:cubicBezTo>
                <a:cubicBezTo>
                  <a:pt x="8454320" y="5785138"/>
                  <a:pt x="8454320" y="5785138"/>
                  <a:pt x="8457542" y="5787794"/>
                </a:cubicBezTo>
                <a:cubicBezTo>
                  <a:pt x="8458108" y="5793672"/>
                  <a:pt x="8451664" y="5788360"/>
                  <a:pt x="8449007" y="5791583"/>
                </a:cubicBezTo>
                <a:cubicBezTo>
                  <a:pt x="8455452" y="5796893"/>
                  <a:pt x="8458108" y="5793672"/>
                  <a:pt x="8461330" y="5796325"/>
                </a:cubicBezTo>
                <a:cubicBezTo>
                  <a:pt x="8461330" y="5796325"/>
                  <a:pt x="8461330" y="5796325"/>
                  <a:pt x="8464554" y="5798981"/>
                </a:cubicBezTo>
                <a:cubicBezTo>
                  <a:pt x="8464554" y="5798981"/>
                  <a:pt x="8467776" y="5801636"/>
                  <a:pt x="8467776" y="5801636"/>
                </a:cubicBezTo>
                <a:cubicBezTo>
                  <a:pt x="8470997" y="5804291"/>
                  <a:pt x="8470997" y="5804291"/>
                  <a:pt x="8470997" y="5804291"/>
                </a:cubicBezTo>
                <a:cubicBezTo>
                  <a:pt x="8486544" y="5811688"/>
                  <a:pt x="8486544" y="5811688"/>
                  <a:pt x="8486544" y="5811688"/>
                </a:cubicBezTo>
                <a:cubicBezTo>
                  <a:pt x="8492420" y="5811122"/>
                  <a:pt x="8492420" y="5811122"/>
                  <a:pt x="8492420" y="5811122"/>
                </a:cubicBezTo>
                <a:cubicBezTo>
                  <a:pt x="8492987" y="5817000"/>
                  <a:pt x="8495642" y="5813778"/>
                  <a:pt x="8495642" y="5813778"/>
                </a:cubicBezTo>
                <a:lnTo>
                  <a:pt x="8492420" y="5811122"/>
                </a:lnTo>
                <a:cubicBezTo>
                  <a:pt x="8517066" y="5820608"/>
                  <a:pt x="8510619" y="5815298"/>
                  <a:pt x="8532608" y="5828007"/>
                </a:cubicBezTo>
                <a:cubicBezTo>
                  <a:pt x="8535831" y="5830662"/>
                  <a:pt x="8535831" y="5830662"/>
                  <a:pt x="8539055" y="5833316"/>
                </a:cubicBezTo>
                <a:cubicBezTo>
                  <a:pt x="8544932" y="5832750"/>
                  <a:pt x="8544932" y="5832750"/>
                  <a:pt x="8541709" y="5830095"/>
                </a:cubicBezTo>
                <a:cubicBezTo>
                  <a:pt x="8551376" y="5838061"/>
                  <a:pt x="8570142" y="5848113"/>
                  <a:pt x="8578675" y="5844324"/>
                </a:cubicBezTo>
                <a:cubicBezTo>
                  <a:pt x="8569577" y="5842236"/>
                  <a:pt x="8572232" y="5839012"/>
                  <a:pt x="8581332" y="5841101"/>
                </a:cubicBezTo>
                <a:lnTo>
                  <a:pt x="8584553" y="5843757"/>
                </a:lnTo>
                <a:cubicBezTo>
                  <a:pt x="8581898" y="5846978"/>
                  <a:pt x="8581898" y="5846978"/>
                  <a:pt x="8581898" y="5846978"/>
                </a:cubicBezTo>
                <a:cubicBezTo>
                  <a:pt x="8581898" y="5846978"/>
                  <a:pt x="8581898" y="5846978"/>
                  <a:pt x="8585121" y="5849635"/>
                </a:cubicBezTo>
                <a:cubicBezTo>
                  <a:pt x="8585121" y="5849635"/>
                  <a:pt x="8585121" y="5849635"/>
                  <a:pt x="8590998" y="5849066"/>
                </a:cubicBezTo>
                <a:cubicBezTo>
                  <a:pt x="8610333" y="5864997"/>
                  <a:pt x="8677256" y="5882268"/>
                  <a:pt x="8705122" y="5894409"/>
                </a:cubicBezTo>
                <a:cubicBezTo>
                  <a:pt x="8720666" y="5901807"/>
                  <a:pt x="8721234" y="5907685"/>
                  <a:pt x="8736210" y="5909205"/>
                </a:cubicBezTo>
                <a:cubicBezTo>
                  <a:pt x="8742655" y="5914516"/>
                  <a:pt x="8751188" y="5910725"/>
                  <a:pt x="8760288" y="5912815"/>
                </a:cubicBezTo>
                <a:cubicBezTo>
                  <a:pt x="8775833" y="5920213"/>
                  <a:pt x="8785501" y="5928179"/>
                  <a:pt x="8796688" y="5921166"/>
                </a:cubicBezTo>
                <a:cubicBezTo>
                  <a:pt x="8873844" y="5952280"/>
                  <a:pt x="8970722" y="5972592"/>
                  <a:pt x="9057931" y="5984938"/>
                </a:cubicBezTo>
                <a:cubicBezTo>
                  <a:pt x="9058498" y="5990816"/>
                  <a:pt x="9058498" y="5990816"/>
                  <a:pt x="9061721" y="5993470"/>
                </a:cubicBezTo>
                <a:cubicBezTo>
                  <a:pt x="9061721" y="5993470"/>
                  <a:pt x="9058498" y="5990816"/>
                  <a:pt x="9058498" y="5990816"/>
                </a:cubicBezTo>
                <a:cubicBezTo>
                  <a:pt x="9055843" y="5994037"/>
                  <a:pt x="9055843" y="5994037"/>
                  <a:pt x="9055843" y="5994037"/>
                </a:cubicBezTo>
                <a:cubicBezTo>
                  <a:pt x="9055843" y="5994037"/>
                  <a:pt x="9059065" y="5996693"/>
                  <a:pt x="9064944" y="5996125"/>
                </a:cubicBezTo>
                <a:cubicBezTo>
                  <a:pt x="9068166" y="5998780"/>
                  <a:pt x="9065510" y="6002003"/>
                  <a:pt x="9074610" y="6004090"/>
                </a:cubicBezTo>
                <a:cubicBezTo>
                  <a:pt x="9074044" y="5998213"/>
                  <a:pt x="9079920" y="5997646"/>
                  <a:pt x="9094898" y="5999167"/>
                </a:cubicBezTo>
                <a:cubicBezTo>
                  <a:pt x="9098119" y="6001821"/>
                  <a:pt x="9098119" y="6001821"/>
                  <a:pt x="9098119" y="6001821"/>
                </a:cubicBezTo>
                <a:cubicBezTo>
                  <a:pt x="9098119" y="6001821"/>
                  <a:pt x="9100774" y="5998599"/>
                  <a:pt x="9103998" y="6001254"/>
                </a:cubicBezTo>
                <a:cubicBezTo>
                  <a:pt x="9103998" y="6001254"/>
                  <a:pt x="9107220" y="6003909"/>
                  <a:pt x="9107220" y="6003909"/>
                </a:cubicBezTo>
                <a:cubicBezTo>
                  <a:pt x="9109875" y="6000687"/>
                  <a:pt x="9109875" y="6000687"/>
                  <a:pt x="9109875" y="6000687"/>
                </a:cubicBezTo>
                <a:cubicBezTo>
                  <a:pt x="9113098" y="6003343"/>
                  <a:pt x="9113098" y="6003343"/>
                  <a:pt x="9118976" y="6002774"/>
                </a:cubicBezTo>
                <a:cubicBezTo>
                  <a:pt x="9122764" y="6011308"/>
                  <a:pt x="9143052" y="6006383"/>
                  <a:pt x="9140396" y="6009607"/>
                </a:cubicBezTo>
                <a:cubicBezTo>
                  <a:pt x="9140396" y="6009607"/>
                  <a:pt x="9137743" y="6012828"/>
                  <a:pt x="9137743" y="6012828"/>
                </a:cubicBezTo>
                <a:cubicBezTo>
                  <a:pt x="9134520" y="6010175"/>
                  <a:pt x="9131865" y="6013396"/>
                  <a:pt x="9131865" y="6013396"/>
                </a:cubicBezTo>
                <a:cubicBezTo>
                  <a:pt x="9135088" y="6016051"/>
                  <a:pt x="9137743" y="6012828"/>
                  <a:pt x="9140965" y="6015484"/>
                </a:cubicBezTo>
                <a:cubicBezTo>
                  <a:pt x="9140965" y="6015484"/>
                  <a:pt x="9146843" y="6014917"/>
                  <a:pt x="9146843" y="6014917"/>
                </a:cubicBezTo>
                <a:cubicBezTo>
                  <a:pt x="9155942" y="6017004"/>
                  <a:pt x="9165042" y="6019091"/>
                  <a:pt x="9167696" y="6015869"/>
                </a:cubicBezTo>
                <a:cubicBezTo>
                  <a:pt x="9167696" y="6015869"/>
                  <a:pt x="9167696" y="6015869"/>
                  <a:pt x="9170919" y="6018524"/>
                </a:cubicBezTo>
                <a:cubicBezTo>
                  <a:pt x="9170919" y="6018524"/>
                  <a:pt x="9174143" y="6021180"/>
                  <a:pt x="9180020" y="6020613"/>
                </a:cubicBezTo>
                <a:cubicBezTo>
                  <a:pt x="9180020" y="6020613"/>
                  <a:pt x="9182675" y="6017390"/>
                  <a:pt x="9182675" y="6017390"/>
                </a:cubicBezTo>
                <a:cubicBezTo>
                  <a:pt x="9182675" y="6017390"/>
                  <a:pt x="9179452" y="6014735"/>
                  <a:pt x="9179452" y="6014735"/>
                </a:cubicBezTo>
                <a:cubicBezTo>
                  <a:pt x="9182675" y="6017390"/>
                  <a:pt x="9185897" y="6020044"/>
                  <a:pt x="9191775" y="6019479"/>
                </a:cubicBezTo>
                <a:cubicBezTo>
                  <a:pt x="9188553" y="6016822"/>
                  <a:pt x="9191207" y="6013601"/>
                  <a:pt x="9197085" y="6013033"/>
                </a:cubicBezTo>
                <a:cubicBezTo>
                  <a:pt x="9194430" y="6016257"/>
                  <a:pt x="9200307" y="6015689"/>
                  <a:pt x="9203530" y="6018343"/>
                </a:cubicBezTo>
                <a:cubicBezTo>
                  <a:pt x="9209408" y="6017776"/>
                  <a:pt x="9209408" y="6017776"/>
                  <a:pt x="9209408" y="6017776"/>
                </a:cubicBezTo>
                <a:cubicBezTo>
                  <a:pt x="9212630" y="6020431"/>
                  <a:pt x="9212630" y="6020431"/>
                  <a:pt x="9212630" y="6020431"/>
                </a:cubicBezTo>
                <a:cubicBezTo>
                  <a:pt x="9215286" y="6017210"/>
                  <a:pt x="9215286" y="6017210"/>
                  <a:pt x="9215286" y="6017210"/>
                </a:cubicBezTo>
                <a:cubicBezTo>
                  <a:pt x="9215286" y="6017210"/>
                  <a:pt x="9215286" y="6017210"/>
                  <a:pt x="9212063" y="6014554"/>
                </a:cubicBezTo>
                <a:cubicBezTo>
                  <a:pt x="9236140" y="6018161"/>
                  <a:pt x="9260218" y="6021772"/>
                  <a:pt x="9268750" y="6017981"/>
                </a:cubicBezTo>
                <a:cubicBezTo>
                  <a:pt x="9274628" y="6017414"/>
                  <a:pt x="9274628" y="6017414"/>
                  <a:pt x="9277850" y="6020069"/>
                </a:cubicBezTo>
                <a:cubicBezTo>
                  <a:pt x="9283728" y="6019503"/>
                  <a:pt x="9283728" y="6019503"/>
                  <a:pt x="9286383" y="6016280"/>
                </a:cubicBezTo>
                <a:lnTo>
                  <a:pt x="9283853" y="6014195"/>
                </a:lnTo>
                <a:lnTo>
                  <a:pt x="9300688" y="6014205"/>
                </a:lnTo>
                <a:cubicBezTo>
                  <a:pt x="9319786" y="6014725"/>
                  <a:pt x="9329421" y="6016575"/>
                  <a:pt x="9360702" y="6018005"/>
                </a:cubicBezTo>
                <a:cubicBezTo>
                  <a:pt x="9375114" y="6013648"/>
                  <a:pt x="9380991" y="6013083"/>
                  <a:pt x="9383647" y="6009858"/>
                </a:cubicBezTo>
                <a:cubicBezTo>
                  <a:pt x="9386868" y="6012513"/>
                  <a:pt x="9384212" y="6015736"/>
                  <a:pt x="9393313" y="6017824"/>
                </a:cubicBezTo>
                <a:cubicBezTo>
                  <a:pt x="9398623" y="6011379"/>
                  <a:pt x="9408292" y="6019345"/>
                  <a:pt x="9425924" y="6017643"/>
                </a:cubicBezTo>
                <a:cubicBezTo>
                  <a:pt x="9443557" y="6015941"/>
                  <a:pt x="9422133" y="6009111"/>
                  <a:pt x="9442988" y="6010064"/>
                </a:cubicBezTo>
                <a:cubicBezTo>
                  <a:pt x="9428579" y="6014421"/>
                  <a:pt x="9449433" y="6015374"/>
                  <a:pt x="9467067" y="6013672"/>
                </a:cubicBezTo>
                <a:cubicBezTo>
                  <a:pt x="9464411" y="6016895"/>
                  <a:pt x="9464411" y="6016895"/>
                  <a:pt x="9464411" y="6016895"/>
                </a:cubicBezTo>
                <a:cubicBezTo>
                  <a:pt x="9458533" y="6017462"/>
                  <a:pt x="9452655" y="6018030"/>
                  <a:pt x="9455878" y="6020685"/>
                </a:cubicBezTo>
                <a:cubicBezTo>
                  <a:pt x="9455878" y="6020685"/>
                  <a:pt x="9459101" y="6023340"/>
                  <a:pt x="9464978" y="6022773"/>
                </a:cubicBezTo>
                <a:cubicBezTo>
                  <a:pt x="9470857" y="6022205"/>
                  <a:pt x="9470857" y="6022205"/>
                  <a:pt x="9470857" y="6022205"/>
                </a:cubicBezTo>
                <a:cubicBezTo>
                  <a:pt x="9468201" y="6025428"/>
                  <a:pt x="9455878" y="6020685"/>
                  <a:pt x="9456447" y="6026562"/>
                </a:cubicBezTo>
                <a:cubicBezTo>
                  <a:pt x="9468201" y="6025428"/>
                  <a:pt x="9477300" y="6027515"/>
                  <a:pt x="9479956" y="6024292"/>
                </a:cubicBezTo>
                <a:cubicBezTo>
                  <a:pt x="9482611" y="6021072"/>
                  <a:pt x="9482611" y="6021072"/>
                  <a:pt x="9485833" y="6023725"/>
                </a:cubicBezTo>
                <a:cubicBezTo>
                  <a:pt x="9491710" y="6023159"/>
                  <a:pt x="9497588" y="6022591"/>
                  <a:pt x="9500244" y="6019369"/>
                </a:cubicBezTo>
                <a:cubicBezTo>
                  <a:pt x="9500244" y="6019369"/>
                  <a:pt x="9497022" y="6016714"/>
                  <a:pt x="9491144" y="6017280"/>
                </a:cubicBezTo>
                <a:cubicBezTo>
                  <a:pt x="9487921" y="6014625"/>
                  <a:pt x="9487921" y="6014625"/>
                  <a:pt x="9487921" y="6014625"/>
                </a:cubicBezTo>
                <a:cubicBezTo>
                  <a:pt x="9496453" y="6010837"/>
                  <a:pt x="9490010" y="6005526"/>
                  <a:pt x="9505555" y="6012923"/>
                </a:cubicBezTo>
                <a:cubicBezTo>
                  <a:pt x="9504987" y="6007046"/>
                  <a:pt x="9493231" y="6008181"/>
                  <a:pt x="9490010" y="6005526"/>
                </a:cubicBezTo>
                <a:cubicBezTo>
                  <a:pt x="9510863" y="6006480"/>
                  <a:pt x="9511432" y="6012356"/>
                  <a:pt x="9523187" y="6011222"/>
                </a:cubicBezTo>
                <a:cubicBezTo>
                  <a:pt x="9520531" y="6014445"/>
                  <a:pt x="9517308" y="6011790"/>
                  <a:pt x="9517308" y="6011790"/>
                </a:cubicBezTo>
                <a:cubicBezTo>
                  <a:pt x="9511432" y="6012356"/>
                  <a:pt x="9511432" y="6012356"/>
                  <a:pt x="9511999" y="6018234"/>
                </a:cubicBezTo>
                <a:cubicBezTo>
                  <a:pt x="9511999" y="6018234"/>
                  <a:pt x="9517876" y="6017666"/>
                  <a:pt x="9523752" y="6017099"/>
                </a:cubicBezTo>
                <a:cubicBezTo>
                  <a:pt x="9515220" y="6020889"/>
                  <a:pt x="9518443" y="6023544"/>
                  <a:pt x="9526976" y="6019755"/>
                </a:cubicBezTo>
                <a:cubicBezTo>
                  <a:pt x="9530198" y="6022411"/>
                  <a:pt x="9530198" y="6022411"/>
                  <a:pt x="9530198" y="6022411"/>
                </a:cubicBezTo>
                <a:cubicBezTo>
                  <a:pt x="9524321" y="6022977"/>
                  <a:pt x="9527545" y="6025632"/>
                  <a:pt x="9527545" y="6025632"/>
                </a:cubicBezTo>
                <a:cubicBezTo>
                  <a:pt x="9533422" y="6025066"/>
                  <a:pt x="9533422" y="6025066"/>
                  <a:pt x="9536076" y="6021842"/>
                </a:cubicBezTo>
                <a:cubicBezTo>
                  <a:pt x="9539299" y="6024497"/>
                  <a:pt x="9539299" y="6024497"/>
                  <a:pt x="9541955" y="6021275"/>
                </a:cubicBezTo>
                <a:cubicBezTo>
                  <a:pt x="9551054" y="6023363"/>
                  <a:pt x="9551054" y="6023363"/>
                  <a:pt x="9560153" y="6025452"/>
                </a:cubicBezTo>
                <a:cubicBezTo>
                  <a:pt x="9554276" y="6026018"/>
                  <a:pt x="9554276" y="6026018"/>
                  <a:pt x="9554276" y="6026018"/>
                </a:cubicBezTo>
                <a:cubicBezTo>
                  <a:pt x="9548398" y="6026586"/>
                  <a:pt x="9545743" y="6029808"/>
                  <a:pt x="9545743" y="6029808"/>
                </a:cubicBezTo>
                <a:cubicBezTo>
                  <a:pt x="9548965" y="6032463"/>
                  <a:pt x="9554843" y="6031896"/>
                  <a:pt x="9560720" y="6031328"/>
                </a:cubicBezTo>
                <a:cubicBezTo>
                  <a:pt x="9566598" y="6030762"/>
                  <a:pt x="9566598" y="6030762"/>
                  <a:pt x="9566598" y="6030762"/>
                </a:cubicBezTo>
                <a:cubicBezTo>
                  <a:pt x="9572476" y="6030194"/>
                  <a:pt x="9572476" y="6030194"/>
                  <a:pt x="9572476" y="6030194"/>
                </a:cubicBezTo>
                <a:cubicBezTo>
                  <a:pt x="9578354" y="6029627"/>
                  <a:pt x="9581009" y="6026405"/>
                  <a:pt x="9577785" y="6023749"/>
                </a:cubicBezTo>
                <a:cubicBezTo>
                  <a:pt x="9577785" y="6023749"/>
                  <a:pt x="9574563" y="6021094"/>
                  <a:pt x="9568686" y="6021661"/>
                </a:cubicBezTo>
                <a:cubicBezTo>
                  <a:pt x="9568686" y="6021661"/>
                  <a:pt x="9568686" y="6021661"/>
                  <a:pt x="9566031" y="6024884"/>
                </a:cubicBezTo>
                <a:cubicBezTo>
                  <a:pt x="9560153" y="6025452"/>
                  <a:pt x="9560153" y="6025452"/>
                  <a:pt x="9560153" y="6025452"/>
                </a:cubicBezTo>
                <a:cubicBezTo>
                  <a:pt x="9579875" y="6014650"/>
                  <a:pt x="9559586" y="6019574"/>
                  <a:pt x="9544609" y="6018053"/>
                </a:cubicBezTo>
                <a:cubicBezTo>
                  <a:pt x="9550486" y="6017486"/>
                  <a:pt x="9550486" y="6017486"/>
                  <a:pt x="9550486" y="6017486"/>
                </a:cubicBezTo>
                <a:cubicBezTo>
                  <a:pt x="9550486" y="6017486"/>
                  <a:pt x="9547263" y="6014832"/>
                  <a:pt x="9547263" y="6014832"/>
                </a:cubicBezTo>
                <a:cubicBezTo>
                  <a:pt x="9547263" y="6014832"/>
                  <a:pt x="9547263" y="6014832"/>
                  <a:pt x="9544042" y="6012176"/>
                </a:cubicBezTo>
                <a:cubicBezTo>
                  <a:pt x="9541387" y="6015398"/>
                  <a:pt x="9541387" y="6015398"/>
                  <a:pt x="9541387" y="6015398"/>
                </a:cubicBezTo>
                <a:cubicBezTo>
                  <a:pt x="9535508" y="6015964"/>
                  <a:pt x="9535508" y="6015964"/>
                  <a:pt x="9535508" y="6015964"/>
                </a:cubicBezTo>
                <a:cubicBezTo>
                  <a:pt x="9538164" y="6012743"/>
                  <a:pt x="9538164" y="6012743"/>
                  <a:pt x="9538164" y="6012743"/>
                </a:cubicBezTo>
                <a:cubicBezTo>
                  <a:pt x="9538164" y="6012743"/>
                  <a:pt x="9534943" y="6010087"/>
                  <a:pt x="9532287" y="6013310"/>
                </a:cubicBezTo>
                <a:cubicBezTo>
                  <a:pt x="9529065" y="6010655"/>
                  <a:pt x="9529065" y="6010655"/>
                  <a:pt x="9529065" y="6010655"/>
                </a:cubicBezTo>
                <a:cubicBezTo>
                  <a:pt x="9540252" y="6003643"/>
                  <a:pt x="9549353" y="6005730"/>
                  <a:pt x="9570207" y="6006684"/>
                </a:cubicBezTo>
                <a:cubicBezTo>
                  <a:pt x="9567552" y="6009906"/>
                  <a:pt x="9567552" y="6009906"/>
                  <a:pt x="9567552" y="6009906"/>
                </a:cubicBezTo>
                <a:cubicBezTo>
                  <a:pt x="9564896" y="6013129"/>
                  <a:pt x="9564896" y="6013129"/>
                  <a:pt x="9564896" y="6013129"/>
                </a:cubicBezTo>
                <a:cubicBezTo>
                  <a:pt x="9570774" y="6012562"/>
                  <a:pt x="9570774" y="6012562"/>
                  <a:pt x="9570774" y="6012562"/>
                </a:cubicBezTo>
                <a:cubicBezTo>
                  <a:pt x="9573429" y="6009339"/>
                  <a:pt x="9573429" y="6009339"/>
                  <a:pt x="9573429" y="6009339"/>
                </a:cubicBezTo>
                <a:cubicBezTo>
                  <a:pt x="9579307" y="6008772"/>
                  <a:pt x="9579307" y="6008772"/>
                  <a:pt x="9579307" y="6008772"/>
                </a:cubicBezTo>
                <a:cubicBezTo>
                  <a:pt x="9585183" y="6008206"/>
                  <a:pt x="9585752" y="6014081"/>
                  <a:pt x="9597507" y="6012948"/>
                </a:cubicBezTo>
                <a:cubicBezTo>
                  <a:pt x="9600729" y="6015603"/>
                  <a:pt x="9600729" y="6015603"/>
                  <a:pt x="9600729" y="6015603"/>
                </a:cubicBezTo>
                <a:cubicBezTo>
                  <a:pt x="9603385" y="6012381"/>
                  <a:pt x="9606607" y="6015036"/>
                  <a:pt x="9606607" y="6015036"/>
                </a:cubicBezTo>
                <a:cubicBezTo>
                  <a:pt x="9609263" y="6011813"/>
                  <a:pt x="9609263" y="6011813"/>
                  <a:pt x="9609263" y="6011813"/>
                </a:cubicBezTo>
                <a:cubicBezTo>
                  <a:pt x="9606041" y="6009158"/>
                  <a:pt x="9606041" y="6009158"/>
                  <a:pt x="9606041" y="6009158"/>
                </a:cubicBezTo>
                <a:cubicBezTo>
                  <a:pt x="9617795" y="6008023"/>
                  <a:pt x="9627461" y="6015989"/>
                  <a:pt x="9632771" y="6009544"/>
                </a:cubicBezTo>
                <a:cubicBezTo>
                  <a:pt x="9632771" y="6009544"/>
                  <a:pt x="9635428" y="6006322"/>
                  <a:pt x="9638649" y="6008977"/>
                </a:cubicBezTo>
                <a:cubicBezTo>
                  <a:pt x="9638649" y="6008977"/>
                  <a:pt x="9641305" y="6005754"/>
                  <a:pt x="9641305" y="6005754"/>
                </a:cubicBezTo>
                <a:cubicBezTo>
                  <a:pt x="9638082" y="6003098"/>
                  <a:pt x="9638082" y="6003098"/>
                  <a:pt x="9638082" y="6003098"/>
                </a:cubicBezTo>
                <a:cubicBezTo>
                  <a:pt x="9671260" y="6008796"/>
                  <a:pt x="9649838" y="6001965"/>
                  <a:pt x="9655148" y="5995520"/>
                </a:cubicBezTo>
                <a:cubicBezTo>
                  <a:pt x="9670693" y="6002918"/>
                  <a:pt x="9705958" y="5999515"/>
                  <a:pt x="9735346" y="5996679"/>
                </a:cubicBezTo>
                <a:cubicBezTo>
                  <a:pt x="9734778" y="5990802"/>
                  <a:pt x="9734778" y="5990802"/>
                  <a:pt x="9734778" y="5990802"/>
                </a:cubicBezTo>
                <a:cubicBezTo>
                  <a:pt x="9738000" y="5993456"/>
                  <a:pt x="9738000" y="5993456"/>
                  <a:pt x="9738000" y="5993456"/>
                </a:cubicBezTo>
                <a:cubicBezTo>
                  <a:pt x="9738000" y="5993456"/>
                  <a:pt x="9741224" y="5996112"/>
                  <a:pt x="9743878" y="5992889"/>
                </a:cubicBezTo>
                <a:cubicBezTo>
                  <a:pt x="9743878" y="5992889"/>
                  <a:pt x="9740656" y="5990234"/>
                  <a:pt x="9740656" y="5990234"/>
                </a:cubicBezTo>
                <a:cubicBezTo>
                  <a:pt x="9758288" y="5988532"/>
                  <a:pt x="9776489" y="5992707"/>
                  <a:pt x="9785588" y="5994796"/>
                </a:cubicBezTo>
                <a:cubicBezTo>
                  <a:pt x="9785023" y="5988918"/>
                  <a:pt x="9781800" y="5986263"/>
                  <a:pt x="9787678" y="5985696"/>
                </a:cubicBezTo>
                <a:cubicBezTo>
                  <a:pt x="9790899" y="5988351"/>
                  <a:pt x="9790899" y="5988351"/>
                  <a:pt x="9796776" y="5987784"/>
                </a:cubicBezTo>
                <a:cubicBezTo>
                  <a:pt x="9796210" y="5981906"/>
                  <a:pt x="9799432" y="5984561"/>
                  <a:pt x="9808531" y="5986648"/>
                </a:cubicBezTo>
                <a:cubicBezTo>
                  <a:pt x="9808531" y="5986648"/>
                  <a:pt x="9808531" y="5986648"/>
                  <a:pt x="9805876" y="5989872"/>
                </a:cubicBezTo>
                <a:cubicBezTo>
                  <a:pt x="9805876" y="5989872"/>
                  <a:pt x="9805876" y="5989872"/>
                  <a:pt x="9809099" y="5992528"/>
                </a:cubicBezTo>
                <a:cubicBezTo>
                  <a:pt x="9811754" y="5989304"/>
                  <a:pt x="9814976" y="5991959"/>
                  <a:pt x="9817632" y="5988737"/>
                </a:cubicBezTo>
                <a:cubicBezTo>
                  <a:pt x="9817632" y="5988737"/>
                  <a:pt x="9820287" y="5985515"/>
                  <a:pt x="9820287" y="5985515"/>
                </a:cubicBezTo>
                <a:cubicBezTo>
                  <a:pt x="9826732" y="5990824"/>
                  <a:pt x="9869962" y="5977754"/>
                  <a:pt x="9858207" y="5978888"/>
                </a:cubicBezTo>
                <a:cubicBezTo>
                  <a:pt x="9850242" y="5988556"/>
                  <a:pt x="9847972" y="5965046"/>
                  <a:pt x="9843230" y="5977368"/>
                </a:cubicBezTo>
                <a:cubicBezTo>
                  <a:pt x="9843796" y="5983245"/>
                  <a:pt x="9835263" y="5987035"/>
                  <a:pt x="9826164" y="5984947"/>
                </a:cubicBezTo>
                <a:cubicBezTo>
                  <a:pt x="9828819" y="5981726"/>
                  <a:pt x="9828819" y="5981726"/>
                  <a:pt x="9832042" y="5984380"/>
                </a:cubicBezTo>
                <a:cubicBezTo>
                  <a:pt x="9834697" y="5981157"/>
                  <a:pt x="9834697" y="5981157"/>
                  <a:pt x="9834697" y="5981157"/>
                </a:cubicBezTo>
                <a:cubicBezTo>
                  <a:pt x="9837353" y="5977936"/>
                  <a:pt x="9831476" y="5978502"/>
                  <a:pt x="9831476" y="5978502"/>
                </a:cubicBezTo>
                <a:cubicBezTo>
                  <a:pt x="9825598" y="5979069"/>
                  <a:pt x="9825598" y="5979069"/>
                  <a:pt x="9825598" y="5979069"/>
                </a:cubicBezTo>
                <a:cubicBezTo>
                  <a:pt x="9828253" y="5975848"/>
                  <a:pt x="9828253" y="5975848"/>
                  <a:pt x="9828253" y="5975848"/>
                </a:cubicBezTo>
                <a:cubicBezTo>
                  <a:pt x="9831476" y="5978502"/>
                  <a:pt x="9834130" y="5975280"/>
                  <a:pt x="9834130" y="5975280"/>
                </a:cubicBezTo>
                <a:cubicBezTo>
                  <a:pt x="9834130" y="5975280"/>
                  <a:pt x="9830907" y="5972625"/>
                  <a:pt x="9830907" y="5972625"/>
                </a:cubicBezTo>
                <a:cubicBezTo>
                  <a:pt x="9825030" y="5973191"/>
                  <a:pt x="9825030" y="5973191"/>
                  <a:pt x="9825030" y="5973191"/>
                </a:cubicBezTo>
                <a:cubicBezTo>
                  <a:pt x="9819151" y="5973760"/>
                  <a:pt x="9819151" y="5973760"/>
                  <a:pt x="9819151" y="5973760"/>
                </a:cubicBezTo>
                <a:cubicBezTo>
                  <a:pt x="9819151" y="5973760"/>
                  <a:pt x="9827684" y="5969971"/>
                  <a:pt x="9827684" y="5969971"/>
                </a:cubicBezTo>
                <a:cubicBezTo>
                  <a:pt x="9833562" y="5969403"/>
                  <a:pt x="9833562" y="5969403"/>
                  <a:pt x="9833562" y="5969403"/>
                </a:cubicBezTo>
                <a:cubicBezTo>
                  <a:pt x="9839440" y="5968835"/>
                  <a:pt x="9839440" y="5968835"/>
                  <a:pt x="9839440" y="5968835"/>
                </a:cubicBezTo>
                <a:cubicBezTo>
                  <a:pt x="9842663" y="5971490"/>
                  <a:pt x="9848541" y="5970923"/>
                  <a:pt x="9851195" y="5967701"/>
                </a:cubicBezTo>
                <a:cubicBezTo>
                  <a:pt x="9853850" y="5964478"/>
                  <a:pt x="9850628" y="5961824"/>
                  <a:pt x="9844750" y="5962391"/>
                </a:cubicBezTo>
                <a:cubicBezTo>
                  <a:pt x="9844750" y="5962391"/>
                  <a:pt x="9844750" y="5962391"/>
                  <a:pt x="9841529" y="5959736"/>
                </a:cubicBezTo>
                <a:cubicBezTo>
                  <a:pt x="9859160" y="5958034"/>
                  <a:pt x="9851195" y="5967701"/>
                  <a:pt x="9868259" y="5960120"/>
                </a:cubicBezTo>
                <a:cubicBezTo>
                  <a:pt x="9865605" y="5963344"/>
                  <a:pt x="9865605" y="5963344"/>
                  <a:pt x="9865605" y="5963344"/>
                </a:cubicBezTo>
                <a:cubicBezTo>
                  <a:pt x="9865605" y="5963344"/>
                  <a:pt x="9865605" y="5963344"/>
                  <a:pt x="9868827" y="5965999"/>
                </a:cubicBezTo>
                <a:cubicBezTo>
                  <a:pt x="9871483" y="5962776"/>
                  <a:pt x="9871483" y="5962776"/>
                  <a:pt x="9871483" y="5962776"/>
                </a:cubicBezTo>
                <a:cubicBezTo>
                  <a:pt x="9871483" y="5962776"/>
                  <a:pt x="9874138" y="5959554"/>
                  <a:pt x="9874138" y="5959554"/>
                </a:cubicBezTo>
                <a:cubicBezTo>
                  <a:pt x="9880015" y="5958987"/>
                  <a:pt x="9880015" y="5958987"/>
                  <a:pt x="9880015" y="5958987"/>
                </a:cubicBezTo>
                <a:cubicBezTo>
                  <a:pt x="9885893" y="5958419"/>
                  <a:pt x="9885893" y="5958419"/>
                  <a:pt x="9897649" y="5957285"/>
                </a:cubicBezTo>
                <a:cubicBezTo>
                  <a:pt x="9896515" y="5945530"/>
                  <a:pt x="9923247" y="5945917"/>
                  <a:pt x="9913579" y="5937950"/>
                </a:cubicBezTo>
                <a:cubicBezTo>
                  <a:pt x="9908270" y="5944396"/>
                  <a:pt x="9899168" y="5942307"/>
                  <a:pt x="9890637" y="5946098"/>
                </a:cubicBezTo>
                <a:cubicBezTo>
                  <a:pt x="9899168" y="5942307"/>
                  <a:pt x="9899168" y="5942307"/>
                  <a:pt x="9895947" y="5939653"/>
                </a:cubicBezTo>
                <a:cubicBezTo>
                  <a:pt x="9895947" y="5939653"/>
                  <a:pt x="9895947" y="5939653"/>
                  <a:pt x="9892724" y="5936998"/>
                </a:cubicBezTo>
                <a:cubicBezTo>
                  <a:pt x="9907702" y="5938518"/>
                  <a:pt x="9925334" y="5936816"/>
                  <a:pt x="9939745" y="5932459"/>
                </a:cubicBezTo>
                <a:lnTo>
                  <a:pt x="9949039" y="5930932"/>
                </a:lnTo>
                <a:lnTo>
                  <a:pt x="9781481" y="5947325"/>
                </a:lnTo>
                <a:cubicBezTo>
                  <a:pt x="9691504" y="5953699"/>
                  <a:pt x="9601312" y="5956453"/>
                  <a:pt x="9510682" y="5951964"/>
                </a:cubicBezTo>
                <a:cubicBezTo>
                  <a:pt x="9416730" y="5946586"/>
                  <a:pt x="9324489" y="5935925"/>
                  <a:pt x="9233903" y="5920018"/>
                </a:cubicBezTo>
                <a:lnTo>
                  <a:pt x="9166105" y="5906024"/>
                </a:lnTo>
                <a:lnTo>
                  <a:pt x="9158019" y="5906454"/>
                </a:lnTo>
                <a:cubicBezTo>
                  <a:pt x="9141622" y="5905116"/>
                  <a:pt x="9119334" y="5898925"/>
                  <a:pt x="9106109" y="5900202"/>
                </a:cubicBezTo>
                <a:cubicBezTo>
                  <a:pt x="9106109" y="5900202"/>
                  <a:pt x="9102888" y="5897546"/>
                  <a:pt x="9102888" y="5897546"/>
                </a:cubicBezTo>
                <a:cubicBezTo>
                  <a:pt x="9099666" y="5894892"/>
                  <a:pt x="9099666" y="5894892"/>
                  <a:pt x="9099666" y="5894892"/>
                </a:cubicBezTo>
                <a:cubicBezTo>
                  <a:pt x="9099666" y="5894892"/>
                  <a:pt x="9097010" y="5898113"/>
                  <a:pt x="9097010" y="5898113"/>
                </a:cubicBezTo>
                <a:cubicBezTo>
                  <a:pt x="9082034" y="5896592"/>
                  <a:pt x="9084688" y="5893371"/>
                  <a:pt x="9075589" y="5891284"/>
                </a:cubicBezTo>
                <a:cubicBezTo>
                  <a:pt x="9075589" y="5891284"/>
                  <a:pt x="9072366" y="5888627"/>
                  <a:pt x="9072366" y="5888627"/>
                </a:cubicBezTo>
                <a:cubicBezTo>
                  <a:pt x="9072366" y="5888627"/>
                  <a:pt x="9066488" y="5889194"/>
                  <a:pt x="9066488" y="5889194"/>
                </a:cubicBezTo>
                <a:cubicBezTo>
                  <a:pt x="9069711" y="5891850"/>
                  <a:pt x="9069711" y="5891850"/>
                  <a:pt x="9069711" y="5891850"/>
                </a:cubicBezTo>
                <a:cubicBezTo>
                  <a:pt x="9045634" y="5888240"/>
                  <a:pt x="9033310" y="5883498"/>
                  <a:pt x="9015678" y="5885201"/>
                </a:cubicBezTo>
                <a:cubicBezTo>
                  <a:pt x="9018333" y="5881977"/>
                  <a:pt x="9018333" y="5881977"/>
                  <a:pt x="9018333" y="5881977"/>
                </a:cubicBezTo>
                <a:lnTo>
                  <a:pt x="9015111" y="5879322"/>
                </a:lnTo>
                <a:cubicBezTo>
                  <a:pt x="9011889" y="5876668"/>
                  <a:pt x="9009234" y="5879889"/>
                  <a:pt x="9009234" y="5879889"/>
                </a:cubicBezTo>
                <a:cubicBezTo>
                  <a:pt x="9009234" y="5879889"/>
                  <a:pt x="9009234" y="5879889"/>
                  <a:pt x="9006578" y="5883113"/>
                </a:cubicBezTo>
                <a:cubicBezTo>
                  <a:pt x="9003356" y="5880458"/>
                  <a:pt x="9003356" y="5880458"/>
                  <a:pt x="9003356" y="5880458"/>
                </a:cubicBezTo>
                <a:cubicBezTo>
                  <a:pt x="8988378" y="5878937"/>
                  <a:pt x="8987812" y="5873059"/>
                  <a:pt x="8978711" y="5870971"/>
                </a:cubicBezTo>
                <a:cubicBezTo>
                  <a:pt x="8976056" y="5874193"/>
                  <a:pt x="8979278" y="5876849"/>
                  <a:pt x="8970178" y="5874762"/>
                </a:cubicBezTo>
                <a:cubicBezTo>
                  <a:pt x="8966957" y="5872106"/>
                  <a:pt x="8964301" y="5875328"/>
                  <a:pt x="8961079" y="5872672"/>
                </a:cubicBezTo>
                <a:cubicBezTo>
                  <a:pt x="8963734" y="5869450"/>
                  <a:pt x="8963734" y="5869450"/>
                  <a:pt x="8960511" y="5866796"/>
                </a:cubicBezTo>
                <a:cubicBezTo>
                  <a:pt x="8960511" y="5866796"/>
                  <a:pt x="8957289" y="5864140"/>
                  <a:pt x="8954634" y="5867363"/>
                </a:cubicBezTo>
                <a:cubicBezTo>
                  <a:pt x="8954634" y="5867363"/>
                  <a:pt x="8951411" y="5864708"/>
                  <a:pt x="8948756" y="5867930"/>
                </a:cubicBezTo>
                <a:cubicBezTo>
                  <a:pt x="8939655" y="5865841"/>
                  <a:pt x="8900601" y="5860712"/>
                  <a:pt x="8906479" y="5860146"/>
                </a:cubicBezTo>
                <a:cubicBezTo>
                  <a:pt x="8904391" y="5869245"/>
                  <a:pt x="8924112" y="5858443"/>
                  <a:pt x="8922024" y="5867544"/>
                </a:cubicBezTo>
                <a:cubicBezTo>
                  <a:pt x="8927901" y="5866976"/>
                  <a:pt x="8933779" y="5866409"/>
                  <a:pt x="8942878" y="5868496"/>
                </a:cubicBezTo>
                <a:cubicBezTo>
                  <a:pt x="8942878" y="5868496"/>
                  <a:pt x="8942878" y="5868496"/>
                  <a:pt x="8946101" y="5871153"/>
                </a:cubicBezTo>
                <a:cubicBezTo>
                  <a:pt x="8946101" y="5871153"/>
                  <a:pt x="8949324" y="5873807"/>
                  <a:pt x="8949324" y="5873807"/>
                </a:cubicBezTo>
                <a:cubicBezTo>
                  <a:pt x="8952546" y="5876462"/>
                  <a:pt x="8958423" y="5875895"/>
                  <a:pt x="8958423" y="5875895"/>
                </a:cubicBezTo>
                <a:cubicBezTo>
                  <a:pt x="8968091" y="5883860"/>
                  <a:pt x="8979278" y="5876849"/>
                  <a:pt x="8997480" y="5881024"/>
                </a:cubicBezTo>
                <a:cubicBezTo>
                  <a:pt x="8994822" y="5884246"/>
                  <a:pt x="8998045" y="5886902"/>
                  <a:pt x="9003923" y="5886334"/>
                </a:cubicBezTo>
                <a:cubicBezTo>
                  <a:pt x="9007146" y="5888990"/>
                  <a:pt x="9007146" y="5888990"/>
                  <a:pt x="9007146" y="5888990"/>
                </a:cubicBezTo>
                <a:cubicBezTo>
                  <a:pt x="9007146" y="5888990"/>
                  <a:pt x="9010369" y="5891645"/>
                  <a:pt x="9013592" y="5894300"/>
                </a:cubicBezTo>
                <a:cubicBezTo>
                  <a:pt x="9016244" y="5891079"/>
                  <a:pt x="9019469" y="5893734"/>
                  <a:pt x="9016244" y="5891079"/>
                </a:cubicBezTo>
                <a:cubicBezTo>
                  <a:pt x="9016244" y="5891079"/>
                  <a:pt x="9018900" y="5887855"/>
                  <a:pt x="9018900" y="5887855"/>
                </a:cubicBezTo>
                <a:cubicBezTo>
                  <a:pt x="9028567" y="5895820"/>
                  <a:pt x="9030656" y="5886720"/>
                  <a:pt x="9039757" y="5888810"/>
                </a:cubicBezTo>
                <a:cubicBezTo>
                  <a:pt x="9052078" y="5893552"/>
                  <a:pt x="9061178" y="5895640"/>
                  <a:pt x="9067055" y="5895073"/>
                </a:cubicBezTo>
                <a:cubicBezTo>
                  <a:pt x="9067055" y="5895073"/>
                  <a:pt x="9070278" y="5897728"/>
                  <a:pt x="9070278" y="5897728"/>
                </a:cubicBezTo>
                <a:cubicBezTo>
                  <a:pt x="9070278" y="5897728"/>
                  <a:pt x="9070278" y="5897728"/>
                  <a:pt x="9073499" y="5900383"/>
                </a:cubicBezTo>
                <a:cubicBezTo>
                  <a:pt x="9085255" y="5899249"/>
                  <a:pt x="9085255" y="5899249"/>
                  <a:pt x="9094355" y="5901336"/>
                </a:cubicBezTo>
                <a:cubicBezTo>
                  <a:pt x="9091133" y="5898681"/>
                  <a:pt x="9091133" y="5898681"/>
                  <a:pt x="9088477" y="5901903"/>
                </a:cubicBezTo>
                <a:cubicBezTo>
                  <a:pt x="9088477" y="5901903"/>
                  <a:pt x="9088477" y="5901903"/>
                  <a:pt x="9091700" y="5904558"/>
                </a:cubicBezTo>
                <a:cubicBezTo>
                  <a:pt x="9091700" y="5904558"/>
                  <a:pt x="9097578" y="5903990"/>
                  <a:pt x="9097578" y="5903990"/>
                </a:cubicBezTo>
                <a:cubicBezTo>
                  <a:pt x="9103455" y="5903424"/>
                  <a:pt x="9103455" y="5903424"/>
                  <a:pt x="9103455" y="5903424"/>
                </a:cubicBezTo>
                <a:cubicBezTo>
                  <a:pt x="9106677" y="5906080"/>
                  <a:pt x="9106677" y="5906080"/>
                  <a:pt x="9115777" y="5908166"/>
                </a:cubicBezTo>
                <a:cubicBezTo>
                  <a:pt x="9112556" y="5905512"/>
                  <a:pt x="9118433" y="5904944"/>
                  <a:pt x="9127533" y="5907034"/>
                </a:cubicBezTo>
                <a:cubicBezTo>
                  <a:pt x="9124877" y="5910255"/>
                  <a:pt x="9121655" y="5907599"/>
                  <a:pt x="9119000" y="5910822"/>
                </a:cubicBezTo>
                <a:cubicBezTo>
                  <a:pt x="9133977" y="5912342"/>
                  <a:pt x="9127533" y="5907034"/>
                  <a:pt x="9136631" y="5909121"/>
                </a:cubicBezTo>
                <a:cubicBezTo>
                  <a:pt x="9148955" y="5913863"/>
                  <a:pt x="9139856" y="5911775"/>
                  <a:pt x="9160711" y="5912729"/>
                </a:cubicBezTo>
                <a:cubicBezTo>
                  <a:pt x="9161277" y="5918607"/>
                  <a:pt x="9155399" y="5919174"/>
                  <a:pt x="9152744" y="5922396"/>
                </a:cubicBezTo>
                <a:cubicBezTo>
                  <a:pt x="9164499" y="5921262"/>
                  <a:pt x="9170377" y="5920694"/>
                  <a:pt x="9176254" y="5920127"/>
                </a:cubicBezTo>
                <a:cubicBezTo>
                  <a:pt x="9173600" y="5923349"/>
                  <a:pt x="9173600" y="5923349"/>
                  <a:pt x="9173600" y="5923349"/>
                </a:cubicBezTo>
                <a:cubicBezTo>
                  <a:pt x="9173600" y="5923349"/>
                  <a:pt x="9173600" y="5923349"/>
                  <a:pt x="9176822" y="5926005"/>
                </a:cubicBezTo>
                <a:cubicBezTo>
                  <a:pt x="9176822" y="5926005"/>
                  <a:pt x="9179477" y="5922783"/>
                  <a:pt x="9182699" y="5925437"/>
                </a:cubicBezTo>
                <a:cubicBezTo>
                  <a:pt x="9188577" y="5924871"/>
                  <a:pt x="9197677" y="5926958"/>
                  <a:pt x="9200332" y="5923735"/>
                </a:cubicBezTo>
                <a:cubicBezTo>
                  <a:pt x="9200332" y="5923735"/>
                  <a:pt x="9206209" y="5923169"/>
                  <a:pt x="9209431" y="5925823"/>
                </a:cubicBezTo>
                <a:cubicBezTo>
                  <a:pt x="9209431" y="5925823"/>
                  <a:pt x="9209431" y="5925823"/>
                  <a:pt x="9215309" y="5925256"/>
                </a:cubicBezTo>
                <a:cubicBezTo>
                  <a:pt x="9215309" y="5925256"/>
                  <a:pt x="9215309" y="5925256"/>
                  <a:pt x="9212087" y="5922601"/>
                </a:cubicBezTo>
                <a:cubicBezTo>
                  <a:pt x="9212087" y="5922601"/>
                  <a:pt x="9212087" y="5922601"/>
                  <a:pt x="9208865" y="5919946"/>
                </a:cubicBezTo>
                <a:cubicBezTo>
                  <a:pt x="9226497" y="5918244"/>
                  <a:pt x="9238820" y="5922986"/>
                  <a:pt x="9247920" y="5925076"/>
                </a:cubicBezTo>
                <a:cubicBezTo>
                  <a:pt x="9245264" y="5928297"/>
                  <a:pt x="9239385" y="5928864"/>
                  <a:pt x="9236731" y="5932087"/>
                </a:cubicBezTo>
                <a:cubicBezTo>
                  <a:pt x="9260810" y="5935696"/>
                  <a:pt x="9284886" y="5939303"/>
                  <a:pt x="9271997" y="5928683"/>
                </a:cubicBezTo>
                <a:cubicBezTo>
                  <a:pt x="9293419" y="5935514"/>
                  <a:pt x="9293419" y="5935514"/>
                  <a:pt x="9311052" y="5933813"/>
                </a:cubicBezTo>
                <a:cubicBezTo>
                  <a:pt x="9311052" y="5933813"/>
                  <a:pt x="9308396" y="5937036"/>
                  <a:pt x="9305174" y="5934380"/>
                </a:cubicBezTo>
                <a:cubicBezTo>
                  <a:pt x="9305174" y="5934380"/>
                  <a:pt x="9302519" y="5937601"/>
                  <a:pt x="9302519" y="5937601"/>
                </a:cubicBezTo>
                <a:cubicBezTo>
                  <a:pt x="9296641" y="5938170"/>
                  <a:pt x="9299863" y="5940826"/>
                  <a:pt x="9299863" y="5940826"/>
                </a:cubicBezTo>
                <a:cubicBezTo>
                  <a:pt x="9303087" y="5943479"/>
                  <a:pt x="9303087" y="5943479"/>
                  <a:pt x="9308964" y="5942913"/>
                </a:cubicBezTo>
                <a:cubicBezTo>
                  <a:pt x="9306310" y="5946135"/>
                  <a:pt x="9306310" y="5946135"/>
                  <a:pt x="9306310" y="5946135"/>
                </a:cubicBezTo>
                <a:cubicBezTo>
                  <a:pt x="9303087" y="5943479"/>
                  <a:pt x="9300431" y="5946703"/>
                  <a:pt x="9300431" y="5946703"/>
                </a:cubicBezTo>
                <a:cubicBezTo>
                  <a:pt x="9297209" y="5944047"/>
                  <a:pt x="9297209" y="5944047"/>
                  <a:pt x="9297209" y="5944047"/>
                </a:cubicBezTo>
                <a:cubicBezTo>
                  <a:pt x="9297209" y="5944047"/>
                  <a:pt x="9291332" y="5944614"/>
                  <a:pt x="9291332" y="5944614"/>
                </a:cubicBezTo>
                <a:cubicBezTo>
                  <a:pt x="9291332" y="5944614"/>
                  <a:pt x="9285454" y="5945182"/>
                  <a:pt x="9285454" y="5945182"/>
                </a:cubicBezTo>
                <a:lnTo>
                  <a:pt x="9219601" y="5936533"/>
                </a:lnTo>
                <a:lnTo>
                  <a:pt x="9226019" y="5939499"/>
                </a:lnTo>
                <a:cubicBezTo>
                  <a:pt x="9229979" y="5940642"/>
                  <a:pt x="9233180" y="5944413"/>
                  <a:pt x="9233929" y="5948425"/>
                </a:cubicBezTo>
                <a:cubicBezTo>
                  <a:pt x="9234364" y="5951872"/>
                  <a:pt x="9235177" y="5954005"/>
                  <a:pt x="9237439" y="5956081"/>
                </a:cubicBezTo>
                <a:lnTo>
                  <a:pt x="9235387" y="5963185"/>
                </a:lnTo>
                <a:lnTo>
                  <a:pt x="9251820" y="5965482"/>
                </a:lnTo>
                <a:cubicBezTo>
                  <a:pt x="9277959" y="5967410"/>
                  <a:pt x="9304028" y="5968601"/>
                  <a:pt x="9323555" y="5971167"/>
                </a:cubicBezTo>
                <a:cubicBezTo>
                  <a:pt x="9338534" y="5972687"/>
                  <a:pt x="9337965" y="5966809"/>
                  <a:pt x="9352944" y="5968330"/>
                </a:cubicBezTo>
                <a:cubicBezTo>
                  <a:pt x="9350855" y="5977430"/>
                  <a:pt x="9377588" y="5977815"/>
                  <a:pt x="9395220" y="5976114"/>
                </a:cubicBezTo>
                <a:cubicBezTo>
                  <a:pt x="9395220" y="5976114"/>
                  <a:pt x="9397876" y="5972892"/>
                  <a:pt x="9403754" y="5972324"/>
                </a:cubicBezTo>
                <a:cubicBezTo>
                  <a:pt x="9421386" y="5970623"/>
                  <a:pt x="9449253" y="5982764"/>
                  <a:pt x="9475418" y="5977272"/>
                </a:cubicBezTo>
                <a:cubicBezTo>
                  <a:pt x="9481295" y="5976705"/>
                  <a:pt x="9480729" y="5970828"/>
                  <a:pt x="9492484" y="5969693"/>
                </a:cubicBezTo>
                <a:cubicBezTo>
                  <a:pt x="9492484" y="5969693"/>
                  <a:pt x="9502150" y="5977658"/>
                  <a:pt x="9510684" y="5973869"/>
                </a:cubicBezTo>
                <a:cubicBezTo>
                  <a:pt x="9567371" y="5977297"/>
                  <a:pt x="9640558" y="5967266"/>
                  <a:pt x="9693454" y="5962162"/>
                </a:cubicBezTo>
                <a:cubicBezTo>
                  <a:pt x="9716965" y="5959893"/>
                  <a:pt x="9743697" y="5960279"/>
                  <a:pt x="9773086" y="5957442"/>
                </a:cubicBezTo>
                <a:cubicBezTo>
                  <a:pt x="9784841" y="5956308"/>
                  <a:pt x="9801906" y="5948729"/>
                  <a:pt x="9813662" y="5947594"/>
                </a:cubicBezTo>
                <a:cubicBezTo>
                  <a:pt x="9813662" y="5947594"/>
                  <a:pt x="9828638" y="5949115"/>
                  <a:pt x="9828638" y="5949115"/>
                </a:cubicBezTo>
                <a:cubicBezTo>
                  <a:pt x="9840393" y="5947980"/>
                  <a:pt x="9843048" y="5944758"/>
                  <a:pt x="9848925" y="5944189"/>
                </a:cubicBezTo>
                <a:cubicBezTo>
                  <a:pt x="9852149" y="5946845"/>
                  <a:pt x="9852149" y="5946845"/>
                  <a:pt x="9852149" y="5946845"/>
                </a:cubicBezTo>
                <a:cubicBezTo>
                  <a:pt x="9844184" y="5956513"/>
                  <a:pt x="9825417" y="5946459"/>
                  <a:pt x="9829206" y="5954993"/>
                </a:cubicBezTo>
                <a:cubicBezTo>
                  <a:pt x="9829206" y="5954993"/>
                  <a:pt x="9829206" y="5954993"/>
                  <a:pt x="9825983" y="5952337"/>
                </a:cubicBezTo>
                <a:cubicBezTo>
                  <a:pt x="9817450" y="5956126"/>
                  <a:pt x="9817450" y="5956126"/>
                  <a:pt x="9817450" y="5956126"/>
                </a:cubicBezTo>
                <a:cubicBezTo>
                  <a:pt x="9817450" y="5956126"/>
                  <a:pt x="9814795" y="5959350"/>
                  <a:pt x="9814795" y="5959350"/>
                </a:cubicBezTo>
                <a:cubicBezTo>
                  <a:pt x="9814795" y="5959350"/>
                  <a:pt x="9811573" y="5956694"/>
                  <a:pt x="9808918" y="5959916"/>
                </a:cubicBezTo>
                <a:cubicBezTo>
                  <a:pt x="9808918" y="5959916"/>
                  <a:pt x="9806264" y="5963138"/>
                  <a:pt x="9806264" y="5963138"/>
                </a:cubicBezTo>
                <a:cubicBezTo>
                  <a:pt x="9788630" y="5964840"/>
                  <a:pt x="9791853" y="5967495"/>
                  <a:pt x="9774219" y="5969197"/>
                </a:cubicBezTo>
                <a:cubicBezTo>
                  <a:pt x="9774219" y="5969197"/>
                  <a:pt x="9768342" y="5969766"/>
                  <a:pt x="9768342" y="5969766"/>
                </a:cubicBezTo>
                <a:cubicBezTo>
                  <a:pt x="9768342" y="5969766"/>
                  <a:pt x="9768342" y="5969766"/>
                  <a:pt x="9765688" y="5972987"/>
                </a:cubicBezTo>
                <a:cubicBezTo>
                  <a:pt x="9765688" y="5972987"/>
                  <a:pt x="9762465" y="5970332"/>
                  <a:pt x="9762465" y="5970332"/>
                </a:cubicBezTo>
                <a:cubicBezTo>
                  <a:pt x="9753365" y="5968245"/>
                  <a:pt x="9776307" y="5960098"/>
                  <a:pt x="9761897" y="5964454"/>
                </a:cubicBezTo>
                <a:cubicBezTo>
                  <a:pt x="9756020" y="5965021"/>
                  <a:pt x="9756587" y="5970899"/>
                  <a:pt x="9745400" y="5977912"/>
                </a:cubicBezTo>
                <a:cubicBezTo>
                  <a:pt x="9733076" y="5973168"/>
                  <a:pt x="9727766" y="5979613"/>
                  <a:pt x="9701034" y="5979227"/>
                </a:cubicBezTo>
                <a:cubicBezTo>
                  <a:pt x="9703689" y="5976005"/>
                  <a:pt x="9703689" y="5976005"/>
                  <a:pt x="9703689" y="5976005"/>
                </a:cubicBezTo>
                <a:cubicBezTo>
                  <a:pt x="9697811" y="5976572"/>
                  <a:pt x="9697811" y="5976572"/>
                  <a:pt x="9697811" y="5976572"/>
                </a:cubicBezTo>
                <a:cubicBezTo>
                  <a:pt x="9691366" y="5971262"/>
                  <a:pt x="9706345" y="5972782"/>
                  <a:pt x="9709000" y="5969559"/>
                </a:cubicBezTo>
                <a:cubicBezTo>
                  <a:pt x="9694022" y="5968039"/>
                  <a:pt x="9691366" y="5971262"/>
                  <a:pt x="9686057" y="5977706"/>
                </a:cubicBezTo>
                <a:cubicBezTo>
                  <a:pt x="9682835" y="5975051"/>
                  <a:pt x="9682835" y="5975051"/>
                  <a:pt x="9676957" y="5975618"/>
                </a:cubicBezTo>
                <a:cubicBezTo>
                  <a:pt x="9673734" y="5972964"/>
                  <a:pt x="9671078" y="5976186"/>
                  <a:pt x="9671078" y="5976186"/>
                </a:cubicBezTo>
                <a:cubicBezTo>
                  <a:pt x="9671646" y="5982064"/>
                  <a:pt x="9671646" y="5982064"/>
                  <a:pt x="9671646" y="5982064"/>
                </a:cubicBezTo>
                <a:cubicBezTo>
                  <a:pt x="9656102" y="5974666"/>
                  <a:pt x="9660458" y="5989075"/>
                  <a:pt x="9636382" y="5985467"/>
                </a:cubicBezTo>
                <a:cubicBezTo>
                  <a:pt x="9630503" y="5986035"/>
                  <a:pt x="9630503" y="5986035"/>
                  <a:pt x="9630503" y="5986035"/>
                </a:cubicBezTo>
                <a:cubicBezTo>
                  <a:pt x="9630503" y="5986035"/>
                  <a:pt x="9627849" y="5989257"/>
                  <a:pt x="9627849" y="5989257"/>
                </a:cubicBezTo>
                <a:cubicBezTo>
                  <a:pt x="9583483" y="5990572"/>
                  <a:pt x="9548217" y="5993975"/>
                  <a:pt x="9516174" y="6000033"/>
                </a:cubicBezTo>
                <a:cubicBezTo>
                  <a:pt x="9518830" y="5996811"/>
                  <a:pt x="9505940" y="5986191"/>
                  <a:pt x="9503852" y="5995291"/>
                </a:cubicBezTo>
                <a:cubicBezTo>
                  <a:pt x="9512953" y="5997379"/>
                  <a:pt x="9504420" y="6001169"/>
                  <a:pt x="9495319" y="5999082"/>
                </a:cubicBezTo>
                <a:cubicBezTo>
                  <a:pt x="9474465" y="5998127"/>
                  <a:pt x="9439199" y="6001531"/>
                  <a:pt x="9403367" y="5999057"/>
                </a:cubicBezTo>
                <a:cubicBezTo>
                  <a:pt x="9370757" y="5999238"/>
                  <a:pt x="9334924" y="5996764"/>
                  <a:pt x="9308192" y="5996378"/>
                </a:cubicBezTo>
                <a:cubicBezTo>
                  <a:pt x="9314068" y="5995810"/>
                  <a:pt x="9298523" y="5988412"/>
                  <a:pt x="9295869" y="5991635"/>
                </a:cubicBezTo>
                <a:cubicBezTo>
                  <a:pt x="9304970" y="5993723"/>
                  <a:pt x="9302314" y="5996946"/>
                  <a:pt x="9296437" y="5997513"/>
                </a:cubicBezTo>
                <a:cubicBezTo>
                  <a:pt x="9289991" y="5992202"/>
                  <a:pt x="9263258" y="5991816"/>
                  <a:pt x="9242404" y="5990863"/>
                </a:cubicBezTo>
                <a:cubicBezTo>
                  <a:pt x="9231976" y="5990386"/>
                  <a:pt x="9222355" y="5990574"/>
                  <a:pt x="9215671" y="5990476"/>
                </a:cubicBezTo>
                <a:lnTo>
                  <a:pt x="9210243" y="5989231"/>
                </a:lnTo>
                <a:lnTo>
                  <a:pt x="9202728" y="5998729"/>
                </a:lnTo>
                <a:cubicBezTo>
                  <a:pt x="9200709" y="6002417"/>
                  <a:pt x="9197564" y="6003407"/>
                  <a:pt x="9193852" y="6004708"/>
                </a:cubicBezTo>
                <a:cubicBezTo>
                  <a:pt x="9190141" y="6006008"/>
                  <a:pt x="9185867" y="6004301"/>
                  <a:pt x="9182782" y="6006731"/>
                </a:cubicBezTo>
                <a:cubicBezTo>
                  <a:pt x="9179703" y="6005843"/>
                  <a:pt x="9177063" y="6005081"/>
                  <a:pt x="9173983" y="6004191"/>
                </a:cubicBezTo>
                <a:cubicBezTo>
                  <a:pt x="9174363" y="6002879"/>
                  <a:pt x="9174049" y="6002313"/>
                  <a:pt x="9173169" y="6002059"/>
                </a:cubicBezTo>
                <a:cubicBezTo>
                  <a:pt x="9166571" y="6000154"/>
                  <a:pt x="9164314" y="5994759"/>
                  <a:pt x="9163631" y="5988868"/>
                </a:cubicBezTo>
                <a:lnTo>
                  <a:pt x="9163699" y="5985631"/>
                </a:lnTo>
                <a:lnTo>
                  <a:pt x="9146661" y="5982305"/>
                </a:lnTo>
                <a:cubicBezTo>
                  <a:pt x="9122584" y="5978698"/>
                  <a:pt x="9101162" y="5971866"/>
                  <a:pt x="9068551" y="5972048"/>
                </a:cubicBezTo>
                <a:cubicBezTo>
                  <a:pt x="9068551" y="5972048"/>
                  <a:pt x="9065329" y="5969393"/>
                  <a:pt x="9062108" y="5966737"/>
                </a:cubicBezTo>
                <a:cubicBezTo>
                  <a:pt x="9048263" y="5976971"/>
                  <a:pt x="8998407" y="5952122"/>
                  <a:pt x="8977553" y="5951168"/>
                </a:cubicBezTo>
                <a:cubicBezTo>
                  <a:pt x="8971675" y="5951738"/>
                  <a:pt x="8974897" y="5954391"/>
                  <a:pt x="8965798" y="5952303"/>
                </a:cubicBezTo>
                <a:cubicBezTo>
                  <a:pt x="8950819" y="5950783"/>
                  <a:pt x="8941153" y="5942817"/>
                  <a:pt x="8926175" y="5941296"/>
                </a:cubicBezTo>
                <a:cubicBezTo>
                  <a:pt x="8917074" y="5939209"/>
                  <a:pt x="8911197" y="5939777"/>
                  <a:pt x="8899443" y="5940911"/>
                </a:cubicBezTo>
                <a:cubicBezTo>
                  <a:pt x="8872142" y="5934646"/>
                  <a:pt x="8837831" y="5917195"/>
                  <a:pt x="8807309" y="5908276"/>
                </a:cubicBezTo>
                <a:cubicBezTo>
                  <a:pt x="8770909" y="5899924"/>
                  <a:pt x="8721619" y="5880953"/>
                  <a:pt x="8681998" y="5869946"/>
                </a:cubicBezTo>
                <a:cubicBezTo>
                  <a:pt x="8669675" y="5865202"/>
                  <a:pt x="8654698" y="5863683"/>
                  <a:pt x="8645599" y="5861594"/>
                </a:cubicBezTo>
                <a:cubicBezTo>
                  <a:pt x="8645599" y="5861594"/>
                  <a:pt x="8651476" y="5861028"/>
                  <a:pt x="8651476" y="5861028"/>
                </a:cubicBezTo>
                <a:cubicBezTo>
                  <a:pt x="8635930" y="5853629"/>
                  <a:pt x="8617731" y="5849453"/>
                  <a:pt x="8605408" y="5844710"/>
                </a:cubicBezTo>
                <a:cubicBezTo>
                  <a:pt x="8602186" y="5842055"/>
                  <a:pt x="8595742" y="5836745"/>
                  <a:pt x="8595742" y="5836745"/>
                </a:cubicBezTo>
                <a:cubicBezTo>
                  <a:pt x="8555551" y="5819860"/>
                  <a:pt x="8503039" y="5798232"/>
                  <a:pt x="8466075" y="5784003"/>
                </a:cubicBezTo>
                <a:cubicBezTo>
                  <a:pt x="8466075" y="5784003"/>
                  <a:pt x="8466075" y="5784003"/>
                  <a:pt x="8468730" y="5780781"/>
                </a:cubicBezTo>
                <a:cubicBezTo>
                  <a:pt x="8468730" y="5780781"/>
                  <a:pt x="8465506" y="5778126"/>
                  <a:pt x="8465506" y="5778126"/>
                </a:cubicBezTo>
                <a:cubicBezTo>
                  <a:pt x="8465506" y="5778126"/>
                  <a:pt x="8459629" y="5778692"/>
                  <a:pt x="8459629" y="5778692"/>
                </a:cubicBezTo>
                <a:cubicBezTo>
                  <a:pt x="8447306" y="5773950"/>
                  <a:pt x="8409206" y="5747966"/>
                  <a:pt x="8416217" y="5759154"/>
                </a:cubicBezTo>
                <a:cubicBezTo>
                  <a:pt x="8412994" y="5756499"/>
                  <a:pt x="8412994" y="5756499"/>
                  <a:pt x="8412994" y="5756499"/>
                </a:cubicBezTo>
                <a:cubicBezTo>
                  <a:pt x="8409772" y="5753843"/>
                  <a:pt x="8409772" y="5753843"/>
                  <a:pt x="8409772" y="5753843"/>
                </a:cubicBezTo>
                <a:cubicBezTo>
                  <a:pt x="8407116" y="5757066"/>
                  <a:pt x="8407116" y="5757066"/>
                  <a:pt x="8407116" y="5757066"/>
                </a:cubicBezTo>
                <a:cubicBezTo>
                  <a:pt x="8410339" y="5759722"/>
                  <a:pt x="8410339" y="5759722"/>
                  <a:pt x="8410339" y="5759722"/>
                </a:cubicBezTo>
                <a:cubicBezTo>
                  <a:pt x="8408251" y="5768820"/>
                  <a:pt x="8398016" y="5754978"/>
                  <a:pt x="8394795" y="5752323"/>
                </a:cubicBezTo>
                <a:close/>
                <a:moveTo>
                  <a:pt x="505628" y="5741089"/>
                </a:moveTo>
                <a:cubicBezTo>
                  <a:pt x="507809" y="5742617"/>
                  <a:pt x="509769" y="5742909"/>
                  <a:pt x="512770" y="5742635"/>
                </a:cubicBezTo>
                <a:cubicBezTo>
                  <a:pt x="516309" y="5742521"/>
                  <a:pt x="520101" y="5744529"/>
                  <a:pt x="521809" y="5747672"/>
                </a:cubicBezTo>
                <a:cubicBezTo>
                  <a:pt x="523515" y="5750812"/>
                  <a:pt x="525727" y="5753228"/>
                  <a:pt x="528130" y="5755992"/>
                </a:cubicBezTo>
                <a:cubicBezTo>
                  <a:pt x="528858" y="5761475"/>
                  <a:pt x="528701" y="5766985"/>
                  <a:pt x="524089" y="5771752"/>
                </a:cubicBezTo>
                <a:cubicBezTo>
                  <a:pt x="523237" y="5772668"/>
                  <a:pt x="523679" y="5775139"/>
                  <a:pt x="521404" y="5775923"/>
                </a:cubicBezTo>
                <a:cubicBezTo>
                  <a:pt x="515275" y="5777897"/>
                  <a:pt x="515813" y="5783030"/>
                  <a:pt x="516667" y="5787088"/>
                </a:cubicBezTo>
                <a:cubicBezTo>
                  <a:pt x="517301" y="5789909"/>
                  <a:pt x="517017" y="5791872"/>
                  <a:pt x="516384" y="5794023"/>
                </a:cubicBezTo>
                <a:cubicBezTo>
                  <a:pt x="514838" y="5800289"/>
                  <a:pt x="509435" y="5802773"/>
                  <a:pt x="505139" y="5806463"/>
                </a:cubicBezTo>
                <a:cubicBezTo>
                  <a:pt x="501001" y="5809616"/>
                  <a:pt x="496387" y="5809410"/>
                  <a:pt x="491617" y="5809741"/>
                </a:cubicBezTo>
                <a:cubicBezTo>
                  <a:pt x="486498" y="5810261"/>
                  <a:pt x="481506" y="5809358"/>
                  <a:pt x="478661" y="5804121"/>
                </a:cubicBezTo>
                <a:cubicBezTo>
                  <a:pt x="478282" y="5803423"/>
                  <a:pt x="477744" y="5803263"/>
                  <a:pt x="476701" y="5803829"/>
                </a:cubicBezTo>
                <a:cubicBezTo>
                  <a:pt x="475374" y="5801385"/>
                  <a:pt x="474236" y="5799290"/>
                  <a:pt x="472908" y="5796848"/>
                </a:cubicBezTo>
                <a:cubicBezTo>
                  <a:pt x="474393" y="5793780"/>
                  <a:pt x="472148" y="5790478"/>
                  <a:pt x="472558" y="5787090"/>
                </a:cubicBezTo>
                <a:cubicBezTo>
                  <a:pt x="472968" y="5783703"/>
                  <a:pt x="473220" y="5780853"/>
                  <a:pt x="475968" y="5778455"/>
                </a:cubicBezTo>
                <a:cubicBezTo>
                  <a:pt x="479254" y="5776218"/>
                  <a:pt x="481433" y="5772773"/>
                  <a:pt x="483265" y="5769517"/>
                </a:cubicBezTo>
                <a:cubicBezTo>
                  <a:pt x="485445" y="5766072"/>
                  <a:pt x="487813" y="5762977"/>
                  <a:pt x="489645" y="5759720"/>
                </a:cubicBezTo>
                <a:cubicBezTo>
                  <a:pt x="492014" y="5756625"/>
                  <a:pt x="493278" y="5752321"/>
                  <a:pt x="493118" y="5747887"/>
                </a:cubicBezTo>
                <a:cubicBezTo>
                  <a:pt x="497288" y="5745620"/>
                  <a:pt x="501458" y="5743354"/>
                  <a:pt x="505628" y="5741089"/>
                </a:cubicBezTo>
                <a:close/>
                <a:moveTo>
                  <a:pt x="1886246" y="5722665"/>
                </a:moveTo>
                <a:cubicBezTo>
                  <a:pt x="1905546" y="5747279"/>
                  <a:pt x="1930317" y="5766760"/>
                  <a:pt x="1950679" y="5788877"/>
                </a:cubicBezTo>
                <a:lnTo>
                  <a:pt x="1957059" y="5797744"/>
                </a:lnTo>
                <a:lnTo>
                  <a:pt x="2006132" y="5833966"/>
                </a:lnTo>
                <a:lnTo>
                  <a:pt x="2117821" y="5904706"/>
                </a:lnTo>
                <a:lnTo>
                  <a:pt x="1996551" y="5807152"/>
                </a:lnTo>
                <a:cubicBezTo>
                  <a:pt x="1968905" y="5783089"/>
                  <a:pt x="1942901" y="5758752"/>
                  <a:pt x="1913614" y="5734963"/>
                </a:cubicBezTo>
                <a:cubicBezTo>
                  <a:pt x="1907591" y="5729221"/>
                  <a:pt x="1902662" y="5719920"/>
                  <a:pt x="1886246" y="5722665"/>
                </a:cubicBezTo>
                <a:close/>
                <a:moveTo>
                  <a:pt x="1468787" y="5703656"/>
                </a:moveTo>
                <a:cubicBezTo>
                  <a:pt x="1453328" y="5724902"/>
                  <a:pt x="1454889" y="5740945"/>
                  <a:pt x="1474672" y="5761870"/>
                </a:cubicBezTo>
                <a:cubicBezTo>
                  <a:pt x="1607691" y="5906879"/>
                  <a:pt x="1737911" y="6055044"/>
                  <a:pt x="1892344" y="6178449"/>
                </a:cubicBezTo>
                <a:lnTo>
                  <a:pt x="2021322" y="6271362"/>
                </a:lnTo>
                <a:lnTo>
                  <a:pt x="2022063" y="6270253"/>
                </a:lnTo>
                <a:cubicBezTo>
                  <a:pt x="2024867" y="6268707"/>
                  <a:pt x="2027546" y="6267596"/>
                  <a:pt x="2029295" y="6264804"/>
                </a:cubicBezTo>
                <a:cubicBezTo>
                  <a:pt x="2031547" y="6260273"/>
                  <a:pt x="2034912" y="6258418"/>
                  <a:pt x="2039575" y="6260236"/>
                </a:cubicBezTo>
                <a:cubicBezTo>
                  <a:pt x="2043057" y="6261240"/>
                  <a:pt x="2046296" y="6259820"/>
                  <a:pt x="2048105" y="6258458"/>
                </a:cubicBezTo>
                <a:lnTo>
                  <a:pt x="2062315" y="6255890"/>
                </a:lnTo>
                <a:lnTo>
                  <a:pt x="2026126" y="6234070"/>
                </a:lnTo>
                <a:cubicBezTo>
                  <a:pt x="1939620" y="6176958"/>
                  <a:pt x="1858213" y="6112668"/>
                  <a:pt x="1783014" y="6039788"/>
                </a:cubicBezTo>
                <a:cubicBezTo>
                  <a:pt x="1769055" y="6026283"/>
                  <a:pt x="1751809" y="6017755"/>
                  <a:pt x="1760467" y="5992733"/>
                </a:cubicBezTo>
                <a:cubicBezTo>
                  <a:pt x="1764241" y="5985933"/>
                  <a:pt x="1758416" y="5978513"/>
                  <a:pt x="1751616" y="5974738"/>
                </a:cubicBezTo>
                <a:cubicBezTo>
                  <a:pt x="1654129" y="5893932"/>
                  <a:pt x="1565037" y="5803660"/>
                  <a:pt x="1479232" y="5708408"/>
                </a:cubicBezTo>
                <a:cubicBezTo>
                  <a:pt x="1477898" y="5706099"/>
                  <a:pt x="1474253" y="5705120"/>
                  <a:pt x="1468787" y="5703656"/>
                </a:cubicBezTo>
                <a:close/>
                <a:moveTo>
                  <a:pt x="1516558" y="5693020"/>
                </a:moveTo>
                <a:cubicBezTo>
                  <a:pt x="1551731" y="5751270"/>
                  <a:pt x="1600898" y="5793738"/>
                  <a:pt x="1648599" y="5841675"/>
                </a:cubicBezTo>
                <a:cubicBezTo>
                  <a:pt x="1709642" y="5912715"/>
                  <a:pt x="1786502" y="5968462"/>
                  <a:pt x="1863360" y="6024210"/>
                </a:cubicBezTo>
                <a:lnTo>
                  <a:pt x="1971340" y="6097811"/>
                </a:lnTo>
                <a:lnTo>
                  <a:pt x="1971455" y="6092347"/>
                </a:lnTo>
                <a:cubicBezTo>
                  <a:pt x="1974545" y="6086596"/>
                  <a:pt x="1976001" y="6079900"/>
                  <a:pt x="1982671" y="6076605"/>
                </a:cubicBezTo>
                <a:cubicBezTo>
                  <a:pt x="1984936" y="6075362"/>
                  <a:pt x="1987075" y="6074556"/>
                  <a:pt x="1990409" y="6074568"/>
                </a:cubicBezTo>
                <a:cubicBezTo>
                  <a:pt x="1995187" y="6074524"/>
                  <a:pt x="2001099" y="6073858"/>
                  <a:pt x="2001801" y="6066470"/>
                </a:cubicBezTo>
                <a:cubicBezTo>
                  <a:pt x="2002120" y="6063715"/>
                  <a:pt x="2005012" y="6063601"/>
                  <a:pt x="2005832" y="6062414"/>
                </a:cubicBezTo>
                <a:cubicBezTo>
                  <a:pt x="2010054" y="6056041"/>
                  <a:pt x="2016219" y="6054499"/>
                  <a:pt x="2022570" y="6053959"/>
                </a:cubicBezTo>
                <a:cubicBezTo>
                  <a:pt x="2026277" y="6055979"/>
                  <a:pt x="2029544" y="6057870"/>
                  <a:pt x="2033503" y="6059014"/>
                </a:cubicBezTo>
                <a:cubicBezTo>
                  <a:pt x="2037463" y="6060156"/>
                  <a:pt x="2040664" y="6063927"/>
                  <a:pt x="2041413" y="6067938"/>
                </a:cubicBezTo>
                <a:cubicBezTo>
                  <a:pt x="2041847" y="6071386"/>
                  <a:pt x="2042662" y="6073518"/>
                  <a:pt x="2044922" y="6075595"/>
                </a:cubicBezTo>
                <a:lnTo>
                  <a:pt x="2042651" y="6083466"/>
                </a:lnTo>
                <a:lnTo>
                  <a:pt x="2044480" y="6084459"/>
                </a:lnTo>
                <a:cubicBezTo>
                  <a:pt x="2102419" y="6123415"/>
                  <a:pt x="2156569" y="6169171"/>
                  <a:pt x="2219597" y="6203638"/>
                </a:cubicBezTo>
                <a:cubicBezTo>
                  <a:pt x="2287851" y="6240479"/>
                  <a:pt x="2356524" y="6276213"/>
                  <a:pt x="2425937" y="6309977"/>
                </a:cubicBezTo>
                <a:lnTo>
                  <a:pt x="2481634" y="6334956"/>
                </a:lnTo>
                <a:lnTo>
                  <a:pt x="2485678" y="6333736"/>
                </a:lnTo>
                <a:cubicBezTo>
                  <a:pt x="2486816" y="6333778"/>
                  <a:pt x="2488147" y="6334161"/>
                  <a:pt x="2489553" y="6334278"/>
                </a:cubicBezTo>
                <a:cubicBezTo>
                  <a:pt x="2496961" y="6335553"/>
                  <a:pt x="2499707" y="6332029"/>
                  <a:pt x="2497218" y="6324689"/>
                </a:cubicBezTo>
                <a:cubicBezTo>
                  <a:pt x="2496915" y="6323738"/>
                  <a:pt x="2496537" y="6323054"/>
                  <a:pt x="2496501" y="6322180"/>
                </a:cubicBezTo>
                <a:cubicBezTo>
                  <a:pt x="2496165" y="6320355"/>
                  <a:pt x="2496247" y="6318075"/>
                  <a:pt x="2498148" y="6317473"/>
                </a:cubicBezTo>
                <a:cubicBezTo>
                  <a:pt x="2499783" y="6316795"/>
                  <a:pt x="2501337" y="6318394"/>
                  <a:pt x="2502095" y="6319764"/>
                </a:cubicBezTo>
                <a:cubicBezTo>
                  <a:pt x="2502852" y="6321134"/>
                  <a:pt x="2503341" y="6322427"/>
                  <a:pt x="2503757" y="6323986"/>
                </a:cubicBezTo>
                <a:cubicBezTo>
                  <a:pt x="2504814" y="6326306"/>
                  <a:pt x="2506255" y="6327298"/>
                  <a:pt x="2508844" y="6326318"/>
                </a:cubicBezTo>
                <a:cubicBezTo>
                  <a:pt x="2514891" y="6324321"/>
                  <a:pt x="2520627" y="6325401"/>
                  <a:pt x="2526286" y="6326746"/>
                </a:cubicBezTo>
                <a:lnTo>
                  <a:pt x="2528198" y="6327165"/>
                </a:lnTo>
                <a:lnTo>
                  <a:pt x="2480913" y="6306063"/>
                </a:lnTo>
                <a:cubicBezTo>
                  <a:pt x="2336338" y="6236747"/>
                  <a:pt x="2198780" y="6155581"/>
                  <a:pt x="2071007" y="6058365"/>
                </a:cubicBezTo>
                <a:cubicBezTo>
                  <a:pt x="2019039" y="6019053"/>
                  <a:pt x="1980089" y="5967602"/>
                  <a:pt x="1918751" y="5941403"/>
                </a:cubicBezTo>
                <a:cubicBezTo>
                  <a:pt x="1902839" y="5935185"/>
                  <a:pt x="1885235" y="5920706"/>
                  <a:pt x="1872932" y="5944750"/>
                </a:cubicBezTo>
                <a:cubicBezTo>
                  <a:pt x="1858808" y="5968307"/>
                  <a:pt x="1883473" y="5971010"/>
                  <a:pt x="1896099" y="5982204"/>
                </a:cubicBezTo>
                <a:cubicBezTo>
                  <a:pt x="1912857" y="5992555"/>
                  <a:pt x="1935572" y="6002545"/>
                  <a:pt x="1939669" y="6030987"/>
                </a:cubicBezTo>
                <a:cubicBezTo>
                  <a:pt x="1828283" y="5987469"/>
                  <a:pt x="1746349" y="5906926"/>
                  <a:pt x="1659665" y="5836827"/>
                </a:cubicBezTo>
                <a:cubicBezTo>
                  <a:pt x="1609652" y="5790226"/>
                  <a:pt x="1572168" y="5733310"/>
                  <a:pt x="1516558" y="5693020"/>
                </a:cubicBezTo>
                <a:close/>
                <a:moveTo>
                  <a:pt x="10702562" y="5680374"/>
                </a:moveTo>
                <a:lnTo>
                  <a:pt x="10574792" y="5744619"/>
                </a:lnTo>
                <a:cubicBezTo>
                  <a:pt x="10544138" y="5758574"/>
                  <a:pt x="10513878" y="5771049"/>
                  <a:pt x="10482829" y="5786482"/>
                </a:cubicBezTo>
                <a:cubicBezTo>
                  <a:pt x="10475733" y="5789332"/>
                  <a:pt x="10466076" y="5789911"/>
                  <a:pt x="10462119" y="5804685"/>
                </a:cubicBezTo>
                <a:cubicBezTo>
                  <a:pt x="10490055" y="5797920"/>
                  <a:pt x="10515784" y="5784624"/>
                  <a:pt x="10542035" y="5776021"/>
                </a:cubicBezTo>
                <a:lnTo>
                  <a:pt x="10551882" y="5774063"/>
                </a:lnTo>
                <a:lnTo>
                  <a:pt x="10600867" y="5746819"/>
                </a:lnTo>
                <a:close/>
                <a:moveTo>
                  <a:pt x="11796556" y="5676702"/>
                </a:moveTo>
                <a:cubicBezTo>
                  <a:pt x="11797788" y="5677289"/>
                  <a:pt x="11799871" y="5677739"/>
                  <a:pt x="11801807" y="5676727"/>
                </a:cubicBezTo>
                <a:cubicBezTo>
                  <a:pt x="11804344" y="5675094"/>
                  <a:pt x="11806553" y="5675786"/>
                  <a:pt x="11808426" y="5678191"/>
                </a:cubicBezTo>
                <a:cubicBezTo>
                  <a:pt x="11809795" y="5679630"/>
                  <a:pt x="11811510" y="5679964"/>
                  <a:pt x="11813351" y="5680540"/>
                </a:cubicBezTo>
                <a:cubicBezTo>
                  <a:pt x="11818013" y="5681796"/>
                  <a:pt x="11821233" y="5684421"/>
                  <a:pt x="11822298" y="5689403"/>
                </a:cubicBezTo>
                <a:cubicBezTo>
                  <a:pt x="11822835" y="5692200"/>
                  <a:pt x="11824950" y="5694479"/>
                  <a:pt x="11828127" y="5694664"/>
                </a:cubicBezTo>
                <a:cubicBezTo>
                  <a:pt x="11828632" y="5695631"/>
                  <a:pt x="11829138" y="5696599"/>
                  <a:pt x="11829643" y="5697564"/>
                </a:cubicBezTo>
                <a:cubicBezTo>
                  <a:pt x="11828097" y="5699912"/>
                  <a:pt x="11827886" y="5701867"/>
                  <a:pt x="11829771" y="5704883"/>
                </a:cubicBezTo>
                <a:cubicBezTo>
                  <a:pt x="11832287" y="5709107"/>
                  <a:pt x="11832120" y="5713502"/>
                  <a:pt x="11827784" y="5716999"/>
                </a:cubicBezTo>
                <a:cubicBezTo>
                  <a:pt x="11825732" y="5718379"/>
                  <a:pt x="11827102" y="5719818"/>
                  <a:pt x="11827858" y="5721267"/>
                </a:cubicBezTo>
                <a:cubicBezTo>
                  <a:pt x="11829122" y="5723684"/>
                  <a:pt x="11828406" y="5724674"/>
                  <a:pt x="11825586" y="5723994"/>
                </a:cubicBezTo>
                <a:cubicBezTo>
                  <a:pt x="11821420" y="5723094"/>
                  <a:pt x="11819483" y="5724106"/>
                  <a:pt x="11820905" y="5728594"/>
                </a:cubicBezTo>
                <a:cubicBezTo>
                  <a:pt x="11821168" y="5729688"/>
                  <a:pt x="11821073" y="5731276"/>
                  <a:pt x="11819474" y="5730572"/>
                </a:cubicBezTo>
                <a:cubicBezTo>
                  <a:pt x="11814686" y="5729076"/>
                  <a:pt x="11813518" y="5732147"/>
                  <a:pt x="11812236" y="5735586"/>
                </a:cubicBezTo>
                <a:cubicBezTo>
                  <a:pt x="11812247" y="5736197"/>
                  <a:pt x="11811278" y="5736702"/>
                  <a:pt x="11810794" y="5736956"/>
                </a:cubicBezTo>
                <a:cubicBezTo>
                  <a:pt x="11803219" y="5736607"/>
                  <a:pt x="11795631" y="5735649"/>
                  <a:pt x="11787929" y="5735059"/>
                </a:cubicBezTo>
                <a:cubicBezTo>
                  <a:pt x="11784382" y="5734759"/>
                  <a:pt x="11780530" y="5730926"/>
                  <a:pt x="11777426" y="5727933"/>
                </a:cubicBezTo>
                <a:cubicBezTo>
                  <a:pt x="11776185" y="5726735"/>
                  <a:pt x="11775669" y="5725158"/>
                  <a:pt x="11773584" y="5724709"/>
                </a:cubicBezTo>
                <a:cubicBezTo>
                  <a:pt x="11771501" y="5724260"/>
                  <a:pt x="11770985" y="5722683"/>
                  <a:pt x="11771196" y="5720728"/>
                </a:cubicBezTo>
                <a:cubicBezTo>
                  <a:pt x="11771175" y="5719508"/>
                  <a:pt x="11771510" y="5717794"/>
                  <a:pt x="11770279" y="5717206"/>
                </a:cubicBezTo>
                <a:cubicBezTo>
                  <a:pt x="11766343" y="5715571"/>
                  <a:pt x="11764965" y="5713522"/>
                  <a:pt x="11768078" y="5710047"/>
                </a:cubicBezTo>
                <a:cubicBezTo>
                  <a:pt x="11768921" y="5709300"/>
                  <a:pt x="11768405" y="5707724"/>
                  <a:pt x="11767057" y="5707505"/>
                </a:cubicBezTo>
                <a:cubicBezTo>
                  <a:pt x="11762522" y="5706490"/>
                  <a:pt x="11765278" y="5703511"/>
                  <a:pt x="11764751" y="5701325"/>
                </a:cubicBezTo>
                <a:cubicBezTo>
                  <a:pt x="11763035" y="5693914"/>
                  <a:pt x="11771547" y="5691926"/>
                  <a:pt x="11771926" y="5685575"/>
                </a:cubicBezTo>
                <a:cubicBezTo>
                  <a:pt x="11772010" y="5683377"/>
                  <a:pt x="11777238" y="5682183"/>
                  <a:pt x="11779542" y="5681287"/>
                </a:cubicBezTo>
                <a:cubicBezTo>
                  <a:pt x="11785004" y="5679356"/>
                  <a:pt x="11789411" y="5673051"/>
                  <a:pt x="11796556" y="5676702"/>
                </a:cubicBezTo>
                <a:close/>
                <a:moveTo>
                  <a:pt x="11540067" y="5670740"/>
                </a:moveTo>
                <a:cubicBezTo>
                  <a:pt x="11541391" y="5671371"/>
                  <a:pt x="11543629" y="5671855"/>
                  <a:pt x="11545710" y="5670767"/>
                </a:cubicBezTo>
                <a:cubicBezTo>
                  <a:pt x="11548436" y="5669012"/>
                  <a:pt x="11550809" y="5669755"/>
                  <a:pt x="11552824" y="5672340"/>
                </a:cubicBezTo>
                <a:cubicBezTo>
                  <a:pt x="11554294" y="5673886"/>
                  <a:pt x="11556136" y="5674245"/>
                  <a:pt x="11558115" y="5674865"/>
                </a:cubicBezTo>
                <a:cubicBezTo>
                  <a:pt x="11563125" y="5676215"/>
                  <a:pt x="11566585" y="5679035"/>
                  <a:pt x="11567728" y="5684389"/>
                </a:cubicBezTo>
                <a:cubicBezTo>
                  <a:pt x="11568306" y="5687394"/>
                  <a:pt x="11570579" y="5689844"/>
                  <a:pt x="11573993" y="5690042"/>
                </a:cubicBezTo>
                <a:cubicBezTo>
                  <a:pt x="11574536" y="5691081"/>
                  <a:pt x="11575079" y="5692120"/>
                  <a:pt x="11575622" y="5693159"/>
                </a:cubicBezTo>
                <a:cubicBezTo>
                  <a:pt x="11573961" y="5695681"/>
                  <a:pt x="11573735" y="5697783"/>
                  <a:pt x="11575759" y="5701023"/>
                </a:cubicBezTo>
                <a:cubicBezTo>
                  <a:pt x="11578464" y="5705563"/>
                  <a:pt x="11578283" y="5710286"/>
                  <a:pt x="11573625" y="5714044"/>
                </a:cubicBezTo>
                <a:cubicBezTo>
                  <a:pt x="11571421" y="5715525"/>
                  <a:pt x="11572890" y="5717073"/>
                  <a:pt x="11573705" y="5718630"/>
                </a:cubicBezTo>
                <a:cubicBezTo>
                  <a:pt x="11575063" y="5721228"/>
                  <a:pt x="11574293" y="5722290"/>
                  <a:pt x="11571263" y="5721559"/>
                </a:cubicBezTo>
                <a:cubicBezTo>
                  <a:pt x="11566786" y="5720593"/>
                  <a:pt x="11564705" y="5721681"/>
                  <a:pt x="11566232" y="5726504"/>
                </a:cubicBezTo>
                <a:cubicBezTo>
                  <a:pt x="11566515" y="5727679"/>
                  <a:pt x="11566413" y="5729385"/>
                  <a:pt x="11564695" y="5728630"/>
                </a:cubicBezTo>
                <a:cubicBezTo>
                  <a:pt x="11559550" y="5727021"/>
                  <a:pt x="11558295" y="5730321"/>
                  <a:pt x="11556916" y="5734018"/>
                </a:cubicBezTo>
                <a:cubicBezTo>
                  <a:pt x="11556927" y="5734673"/>
                  <a:pt x="11555887" y="5735217"/>
                  <a:pt x="11555368" y="5735489"/>
                </a:cubicBezTo>
                <a:cubicBezTo>
                  <a:pt x="11547226" y="5735114"/>
                  <a:pt x="11539073" y="5734086"/>
                  <a:pt x="11530796" y="5733451"/>
                </a:cubicBezTo>
                <a:cubicBezTo>
                  <a:pt x="11526986" y="5733128"/>
                  <a:pt x="11522847" y="5729010"/>
                  <a:pt x="11519509" y="5725793"/>
                </a:cubicBezTo>
                <a:cubicBezTo>
                  <a:pt x="11518175" y="5724506"/>
                  <a:pt x="11517621" y="5722812"/>
                  <a:pt x="11515381" y="5722329"/>
                </a:cubicBezTo>
                <a:cubicBezTo>
                  <a:pt x="11513142" y="5721846"/>
                  <a:pt x="11512589" y="5720152"/>
                  <a:pt x="11512814" y="5718050"/>
                </a:cubicBezTo>
                <a:cubicBezTo>
                  <a:pt x="11512792" y="5716740"/>
                  <a:pt x="11513152" y="5714896"/>
                  <a:pt x="11511829" y="5714265"/>
                </a:cubicBezTo>
                <a:cubicBezTo>
                  <a:pt x="11507600" y="5712509"/>
                  <a:pt x="11506118" y="5710307"/>
                  <a:pt x="11509465" y="5706574"/>
                </a:cubicBezTo>
                <a:cubicBezTo>
                  <a:pt x="11510370" y="5705771"/>
                  <a:pt x="11509816" y="5704076"/>
                  <a:pt x="11508367" y="5703840"/>
                </a:cubicBezTo>
                <a:cubicBezTo>
                  <a:pt x="11503494" y="5702751"/>
                  <a:pt x="11506455" y="5699549"/>
                  <a:pt x="11505890" y="5697200"/>
                </a:cubicBezTo>
                <a:cubicBezTo>
                  <a:pt x="11504046" y="5689237"/>
                  <a:pt x="11513192" y="5687100"/>
                  <a:pt x="11513599" y="5680275"/>
                </a:cubicBezTo>
                <a:cubicBezTo>
                  <a:pt x="11513688" y="5677914"/>
                  <a:pt x="11519308" y="5676630"/>
                  <a:pt x="11521785" y="5675666"/>
                </a:cubicBezTo>
                <a:cubicBezTo>
                  <a:pt x="11527652" y="5673591"/>
                  <a:pt x="11532389" y="5666817"/>
                  <a:pt x="11540067" y="5670740"/>
                </a:cubicBezTo>
                <a:close/>
                <a:moveTo>
                  <a:pt x="750968" y="5647678"/>
                </a:moveTo>
                <a:cubicBezTo>
                  <a:pt x="752199" y="5647718"/>
                  <a:pt x="753597" y="5648295"/>
                  <a:pt x="754766" y="5647993"/>
                </a:cubicBezTo>
                <a:cubicBezTo>
                  <a:pt x="762699" y="5646021"/>
                  <a:pt x="764982" y="5655132"/>
                  <a:pt x="771813" y="5655428"/>
                </a:cubicBezTo>
                <a:cubicBezTo>
                  <a:pt x="774176" y="5655481"/>
                  <a:pt x="775551" y="5661078"/>
                  <a:pt x="776554" y="5663539"/>
                </a:cubicBezTo>
                <a:cubicBezTo>
                  <a:pt x="778723" y="5669373"/>
                  <a:pt x="785572" y="5674000"/>
                  <a:pt x="781773" y="5681740"/>
                </a:cubicBezTo>
                <a:cubicBezTo>
                  <a:pt x="781164" y="5683073"/>
                  <a:pt x="780717" y="5685319"/>
                  <a:pt x="781838" y="5687382"/>
                </a:cubicBezTo>
                <a:cubicBezTo>
                  <a:pt x="783636" y="5690079"/>
                  <a:pt x="782931" y="5692465"/>
                  <a:pt x="780380" y="5694519"/>
                </a:cubicBezTo>
                <a:cubicBezTo>
                  <a:pt x="778857" y="5696014"/>
                  <a:pt x="778527" y="5697863"/>
                  <a:pt x="777940" y="5699852"/>
                </a:cubicBezTo>
                <a:cubicBezTo>
                  <a:pt x="776672" y="5704883"/>
                  <a:pt x="773907" y="5708389"/>
                  <a:pt x="768572" y="5709618"/>
                </a:cubicBezTo>
                <a:cubicBezTo>
                  <a:pt x="765577" y="5710242"/>
                  <a:pt x="763165" y="5712556"/>
                  <a:pt x="763020" y="5715974"/>
                </a:cubicBezTo>
                <a:cubicBezTo>
                  <a:pt x="761991" y="5716532"/>
                  <a:pt x="760960" y="5717092"/>
                  <a:pt x="759931" y="5717652"/>
                </a:cubicBezTo>
                <a:cubicBezTo>
                  <a:pt x="757382" y="5716031"/>
                  <a:pt x="755276" y="5715839"/>
                  <a:pt x="752069" y="5717915"/>
                </a:cubicBezTo>
                <a:cubicBezTo>
                  <a:pt x="747574" y="5720692"/>
                  <a:pt x="742848" y="5720587"/>
                  <a:pt x="739018" y="5715991"/>
                </a:cubicBezTo>
                <a:cubicBezTo>
                  <a:pt x="737500" y="5713810"/>
                  <a:pt x="735977" y="5715306"/>
                  <a:pt x="734432" y="5716145"/>
                </a:cubicBezTo>
                <a:cubicBezTo>
                  <a:pt x="731856" y="5717544"/>
                  <a:pt x="730782" y="5716793"/>
                  <a:pt x="731464" y="5713751"/>
                </a:cubicBezTo>
                <a:cubicBezTo>
                  <a:pt x="732357" y="5709257"/>
                  <a:pt x="731237" y="5707195"/>
                  <a:pt x="726439" y="5708801"/>
                </a:cubicBezTo>
                <a:cubicBezTo>
                  <a:pt x="725269" y="5709102"/>
                  <a:pt x="723561" y="5709028"/>
                  <a:pt x="724288" y="5707297"/>
                </a:cubicBezTo>
                <a:cubicBezTo>
                  <a:pt x="725815" y="5702127"/>
                  <a:pt x="722494" y="5700925"/>
                  <a:pt x="718776" y="5699606"/>
                </a:cubicBezTo>
                <a:cubicBezTo>
                  <a:pt x="718121" y="5699629"/>
                  <a:pt x="717560" y="5698597"/>
                  <a:pt x="717281" y="5698081"/>
                </a:cubicBezTo>
                <a:cubicBezTo>
                  <a:pt x="717524" y="5689936"/>
                  <a:pt x="718421" y="5681767"/>
                  <a:pt x="718922" y="5673480"/>
                </a:cubicBezTo>
                <a:cubicBezTo>
                  <a:pt x="719183" y="5669664"/>
                  <a:pt x="723235" y="5665460"/>
                  <a:pt x="726397" y="5662071"/>
                </a:cubicBezTo>
                <a:cubicBezTo>
                  <a:pt x="727662" y="5660716"/>
                  <a:pt x="729347" y="5660135"/>
                  <a:pt x="729794" y="5657889"/>
                </a:cubicBezTo>
                <a:cubicBezTo>
                  <a:pt x="730241" y="5655642"/>
                  <a:pt x="731926" y="5655061"/>
                  <a:pt x="734031" y="5655253"/>
                </a:cubicBezTo>
                <a:cubicBezTo>
                  <a:pt x="735341" y="5655208"/>
                  <a:pt x="737190" y="5655540"/>
                  <a:pt x="737799" y="5654207"/>
                </a:cubicBezTo>
                <a:cubicBezTo>
                  <a:pt x="739488" y="5649950"/>
                  <a:pt x="741666" y="5648434"/>
                  <a:pt x="745451" y="5651719"/>
                </a:cubicBezTo>
                <a:cubicBezTo>
                  <a:pt x="746269" y="5652610"/>
                  <a:pt x="747955" y="5652028"/>
                  <a:pt x="748166" y="5650578"/>
                </a:cubicBezTo>
                <a:cubicBezTo>
                  <a:pt x="748672" y="5648133"/>
                  <a:pt x="749737" y="5647637"/>
                  <a:pt x="750968" y="5647678"/>
                </a:cubicBezTo>
                <a:close/>
                <a:moveTo>
                  <a:pt x="121418" y="5646776"/>
                </a:moveTo>
                <a:cubicBezTo>
                  <a:pt x="124081" y="5647566"/>
                  <a:pt x="126399" y="5648543"/>
                  <a:pt x="129189" y="5647922"/>
                </a:cubicBezTo>
                <a:cubicBezTo>
                  <a:pt x="133360" y="5646551"/>
                  <a:pt x="136555" y="5647498"/>
                  <a:pt x="138275" y="5651486"/>
                </a:cubicBezTo>
                <a:cubicBezTo>
                  <a:pt x="139776" y="5654249"/>
                  <a:pt x="142627" y="5655384"/>
                  <a:pt x="144570" y="5655670"/>
                </a:cubicBezTo>
                <a:cubicBezTo>
                  <a:pt x="156040" y="5657044"/>
                  <a:pt x="156247" y="5668117"/>
                  <a:pt x="161223" y="5674808"/>
                </a:cubicBezTo>
                <a:cubicBezTo>
                  <a:pt x="163257" y="5677730"/>
                  <a:pt x="168548" y="5683355"/>
                  <a:pt x="166884" y="5686049"/>
                </a:cubicBezTo>
                <a:cubicBezTo>
                  <a:pt x="162236" y="5693943"/>
                  <a:pt x="170814" y="5703151"/>
                  <a:pt x="162814" y="5710630"/>
                </a:cubicBezTo>
                <a:cubicBezTo>
                  <a:pt x="160429" y="5712820"/>
                  <a:pt x="161332" y="5718593"/>
                  <a:pt x="155098" y="5716165"/>
                </a:cubicBezTo>
                <a:cubicBezTo>
                  <a:pt x="153312" y="5715346"/>
                  <a:pt x="151430" y="5716815"/>
                  <a:pt x="151836" y="5718384"/>
                </a:cubicBezTo>
                <a:cubicBezTo>
                  <a:pt x="152769" y="5725036"/>
                  <a:pt x="149476" y="5726377"/>
                  <a:pt x="143460" y="5725172"/>
                </a:cubicBezTo>
                <a:cubicBezTo>
                  <a:pt x="141516" y="5724885"/>
                  <a:pt x="140542" y="5727205"/>
                  <a:pt x="139537" y="5728645"/>
                </a:cubicBezTo>
                <a:cubicBezTo>
                  <a:pt x="138219" y="5731152"/>
                  <a:pt x="136336" y="5732622"/>
                  <a:pt x="133485" y="5731486"/>
                </a:cubicBezTo>
                <a:cubicBezTo>
                  <a:pt x="130635" y="5730350"/>
                  <a:pt x="128752" y="5731821"/>
                  <a:pt x="126307" y="5732255"/>
                </a:cubicBezTo>
                <a:cubicBezTo>
                  <a:pt x="120194" y="5733339"/>
                  <a:pt x="112513" y="5734828"/>
                  <a:pt x="108034" y="5732341"/>
                </a:cubicBezTo>
                <a:cubicBezTo>
                  <a:pt x="98355" y="5726862"/>
                  <a:pt x="88519" y="5721917"/>
                  <a:pt x="79186" y="5716250"/>
                </a:cubicBezTo>
                <a:cubicBezTo>
                  <a:pt x="78810" y="5715560"/>
                  <a:pt x="78059" y="5714178"/>
                  <a:pt x="78562" y="5713458"/>
                </a:cubicBezTo>
                <a:cubicBezTo>
                  <a:pt x="79789" y="5708316"/>
                  <a:pt x="80861" y="5703709"/>
                  <a:pt x="73936" y="5701654"/>
                </a:cubicBezTo>
                <a:cubicBezTo>
                  <a:pt x="71460" y="5701211"/>
                  <a:pt x="72622" y="5699237"/>
                  <a:pt x="73814" y="5698142"/>
                </a:cubicBezTo>
                <a:cubicBezTo>
                  <a:pt x="79116" y="5693918"/>
                  <a:pt x="77614" y="5691156"/>
                  <a:pt x="71912" y="5688885"/>
                </a:cubicBezTo>
                <a:cubicBezTo>
                  <a:pt x="67997" y="5687434"/>
                  <a:pt x="67936" y="5685677"/>
                  <a:pt x="71385" y="5683802"/>
                </a:cubicBezTo>
                <a:cubicBezTo>
                  <a:pt x="73456" y="5682679"/>
                  <a:pt x="76245" y="5682057"/>
                  <a:pt x="74901" y="5678761"/>
                </a:cubicBezTo>
                <a:cubicBezTo>
                  <a:pt x="72528" y="5671102"/>
                  <a:pt x="75856" y="5665715"/>
                  <a:pt x="82254" y="5662686"/>
                </a:cubicBezTo>
                <a:cubicBezTo>
                  <a:pt x="86926" y="5660595"/>
                  <a:pt x="88245" y="5658089"/>
                  <a:pt x="88281" y="5654043"/>
                </a:cubicBezTo>
                <a:cubicBezTo>
                  <a:pt x="89660" y="5653293"/>
                  <a:pt x="91040" y="5652544"/>
                  <a:pt x="92420" y="5651794"/>
                </a:cubicBezTo>
                <a:cubicBezTo>
                  <a:pt x="96366" y="5654124"/>
                  <a:pt x="100725" y="5653098"/>
                  <a:pt x="103611" y="5650187"/>
                </a:cubicBezTo>
                <a:cubicBezTo>
                  <a:pt x="108882" y="5645086"/>
                  <a:pt x="114838" y="5644534"/>
                  <a:pt x="121418" y="5646776"/>
                </a:cubicBezTo>
                <a:close/>
                <a:moveTo>
                  <a:pt x="1143220" y="5642129"/>
                </a:moveTo>
                <a:cubicBezTo>
                  <a:pt x="1147019" y="5641100"/>
                  <a:pt x="1150935" y="5640724"/>
                  <a:pt x="1155228" y="5642211"/>
                </a:cubicBezTo>
                <a:cubicBezTo>
                  <a:pt x="1158255" y="5643113"/>
                  <a:pt x="1160791" y="5644283"/>
                  <a:pt x="1163639" y="5647192"/>
                </a:cubicBezTo>
                <a:cubicBezTo>
                  <a:pt x="1167778" y="5651310"/>
                  <a:pt x="1173431" y="5655880"/>
                  <a:pt x="1180460" y="5650150"/>
                </a:cubicBezTo>
                <a:cubicBezTo>
                  <a:pt x="1183129" y="5648063"/>
                  <a:pt x="1185710" y="5650482"/>
                  <a:pt x="1187445" y="5650175"/>
                </a:cubicBezTo>
                <a:cubicBezTo>
                  <a:pt x="1196611" y="5648379"/>
                  <a:pt x="1203242" y="5652417"/>
                  <a:pt x="1209161" y="5657478"/>
                </a:cubicBezTo>
                <a:cubicBezTo>
                  <a:pt x="1210586" y="5662434"/>
                  <a:pt x="1211745" y="5666899"/>
                  <a:pt x="1214148" y="5671323"/>
                </a:cubicBezTo>
                <a:cubicBezTo>
                  <a:pt x="1216552" y="5675748"/>
                  <a:pt x="1216020" y="5681768"/>
                  <a:pt x="1213172" y="5685861"/>
                </a:cubicBezTo>
                <a:cubicBezTo>
                  <a:pt x="1210548" y="5689197"/>
                  <a:pt x="1209392" y="5691735"/>
                  <a:pt x="1209527" y="5695483"/>
                </a:cubicBezTo>
                <a:cubicBezTo>
                  <a:pt x="1203654" y="5698674"/>
                  <a:pt x="1197782" y="5701864"/>
                  <a:pt x="1191909" y="5705055"/>
                </a:cubicBezTo>
                <a:cubicBezTo>
                  <a:pt x="1186792" y="5701469"/>
                  <a:pt x="1180739" y="5699663"/>
                  <a:pt x="1175266" y="5700090"/>
                </a:cubicBezTo>
                <a:cubicBezTo>
                  <a:pt x="1170016" y="5699759"/>
                  <a:pt x="1164544" y="5700185"/>
                  <a:pt x="1158803" y="5700121"/>
                </a:cubicBezTo>
                <a:cubicBezTo>
                  <a:pt x="1153552" y="5699791"/>
                  <a:pt x="1147813" y="5699725"/>
                  <a:pt x="1142651" y="5701892"/>
                </a:cubicBezTo>
                <a:cubicBezTo>
                  <a:pt x="1137713" y="5703303"/>
                  <a:pt x="1134152" y="5701417"/>
                  <a:pt x="1129836" y="5699304"/>
                </a:cubicBezTo>
                <a:cubicBezTo>
                  <a:pt x="1125519" y="5697193"/>
                  <a:pt x="1123337" y="5692011"/>
                  <a:pt x="1118576" y="5691415"/>
                </a:cubicBezTo>
                <a:cubicBezTo>
                  <a:pt x="1116707" y="5687973"/>
                  <a:pt x="1115105" y="5685024"/>
                  <a:pt x="1113234" y="5681582"/>
                </a:cubicBezTo>
                <a:cubicBezTo>
                  <a:pt x="1114703" y="5680786"/>
                  <a:pt x="1114925" y="5680027"/>
                  <a:pt x="1114390" y="5679044"/>
                </a:cubicBezTo>
                <a:cubicBezTo>
                  <a:pt x="1110384" y="5671670"/>
                  <a:pt x="1113141" y="5665079"/>
                  <a:pt x="1117679" y="5659430"/>
                </a:cubicBezTo>
                <a:cubicBezTo>
                  <a:pt x="1121726" y="5654046"/>
                  <a:pt x="1125018" y="5648438"/>
                  <a:pt x="1131914" y="5645965"/>
                </a:cubicBezTo>
                <a:cubicBezTo>
                  <a:pt x="1135740" y="5644841"/>
                  <a:pt x="1139422" y="5643159"/>
                  <a:pt x="1143220" y="5642129"/>
                </a:cubicBezTo>
                <a:close/>
                <a:moveTo>
                  <a:pt x="8024278" y="5627074"/>
                </a:moveTo>
                <a:lnTo>
                  <a:pt x="8007546" y="5642637"/>
                </a:lnTo>
                <a:lnTo>
                  <a:pt x="8054494" y="5676160"/>
                </a:lnTo>
                <a:cubicBezTo>
                  <a:pt x="8091790" y="5701480"/>
                  <a:pt x="8129749" y="5725995"/>
                  <a:pt x="8169179" y="5750369"/>
                </a:cubicBezTo>
                <a:cubicBezTo>
                  <a:pt x="8424521" y="5906660"/>
                  <a:pt x="8698834" y="6013663"/>
                  <a:pt x="8979798" y="6066632"/>
                </a:cubicBezTo>
                <a:lnTo>
                  <a:pt x="8982039" y="6067008"/>
                </a:lnTo>
                <a:lnTo>
                  <a:pt x="8982073" y="6066957"/>
                </a:lnTo>
                <a:lnTo>
                  <a:pt x="8979798" y="6066632"/>
                </a:lnTo>
                <a:cubicBezTo>
                  <a:pt x="8666938" y="5998202"/>
                  <a:pt x="8366435" y="5869535"/>
                  <a:pt x="8091875" y="5677332"/>
                </a:cubicBezTo>
                <a:close/>
                <a:moveTo>
                  <a:pt x="11245478" y="5595247"/>
                </a:moveTo>
                <a:lnTo>
                  <a:pt x="11243697" y="5596393"/>
                </a:lnTo>
                <a:cubicBezTo>
                  <a:pt x="11240882" y="5599128"/>
                  <a:pt x="11239681" y="5602631"/>
                  <a:pt x="11243812" y="5607158"/>
                </a:cubicBezTo>
                <a:lnTo>
                  <a:pt x="11246589" y="5607994"/>
                </a:lnTo>
                <a:lnTo>
                  <a:pt x="11245342" y="5602229"/>
                </a:lnTo>
                <a:close/>
                <a:moveTo>
                  <a:pt x="12040081" y="5570704"/>
                </a:moveTo>
                <a:cubicBezTo>
                  <a:pt x="12047899" y="5575477"/>
                  <a:pt x="12057243" y="5567049"/>
                  <a:pt x="12064592" y="5575170"/>
                </a:cubicBezTo>
                <a:cubicBezTo>
                  <a:pt x="12066744" y="5577589"/>
                  <a:pt x="12072530" y="5576780"/>
                  <a:pt x="12070002" y="5582974"/>
                </a:cubicBezTo>
                <a:cubicBezTo>
                  <a:pt x="12069154" y="5584746"/>
                  <a:pt x="12070594" y="5586652"/>
                  <a:pt x="12072169" y="5586271"/>
                </a:cubicBezTo>
                <a:cubicBezTo>
                  <a:pt x="12078834" y="5585446"/>
                  <a:pt x="12080123" y="5588760"/>
                  <a:pt x="12078822" y="5594756"/>
                </a:cubicBezTo>
                <a:cubicBezTo>
                  <a:pt x="12078503" y="5596695"/>
                  <a:pt x="12080807" y="5597706"/>
                  <a:pt x="12082231" y="5598733"/>
                </a:cubicBezTo>
                <a:cubicBezTo>
                  <a:pt x="12084716" y="5600093"/>
                  <a:pt x="12086154" y="5601998"/>
                  <a:pt x="12084973" y="5604830"/>
                </a:cubicBezTo>
                <a:cubicBezTo>
                  <a:pt x="12083792" y="5607662"/>
                  <a:pt x="12085232" y="5609568"/>
                  <a:pt x="12085626" y="5612020"/>
                </a:cubicBezTo>
                <a:cubicBezTo>
                  <a:pt x="12086612" y="5618150"/>
                  <a:pt x="12087978" y="5625853"/>
                  <a:pt x="12085417" y="5630293"/>
                </a:cubicBezTo>
                <a:cubicBezTo>
                  <a:pt x="12079784" y="5639882"/>
                  <a:pt x="12074681" y="5649636"/>
                  <a:pt x="12068865" y="5658878"/>
                </a:cubicBezTo>
                <a:cubicBezTo>
                  <a:pt x="12068168" y="5659242"/>
                  <a:pt x="12066775" y="5659970"/>
                  <a:pt x="12066062" y="5659457"/>
                </a:cubicBezTo>
                <a:cubicBezTo>
                  <a:pt x="12060942" y="5658146"/>
                  <a:pt x="12056351" y="5657001"/>
                  <a:pt x="12054186" y="5663892"/>
                </a:cubicBezTo>
                <a:cubicBezTo>
                  <a:pt x="12053702" y="5666360"/>
                  <a:pt x="12051747" y="5665167"/>
                  <a:pt x="12050672" y="5663956"/>
                </a:cubicBezTo>
                <a:cubicBezTo>
                  <a:pt x="12046535" y="5658588"/>
                  <a:pt x="12043748" y="5660044"/>
                  <a:pt x="12041386" y="5665709"/>
                </a:cubicBezTo>
                <a:cubicBezTo>
                  <a:pt x="12039872" y="5669601"/>
                  <a:pt x="12038115" y="5669634"/>
                  <a:pt x="12036295" y="5666155"/>
                </a:cubicBezTo>
                <a:cubicBezTo>
                  <a:pt x="12035204" y="5664067"/>
                  <a:pt x="12034628" y="5661267"/>
                  <a:pt x="12031311" y="5662558"/>
                </a:cubicBezTo>
                <a:cubicBezTo>
                  <a:pt x="12023616" y="5664808"/>
                  <a:pt x="12018283" y="5661393"/>
                  <a:pt x="12015357" y="5654948"/>
                </a:cubicBezTo>
                <a:cubicBezTo>
                  <a:pt x="12013341" y="5650242"/>
                  <a:pt x="12010857" y="5648882"/>
                  <a:pt x="12006812" y="5648782"/>
                </a:cubicBezTo>
                <a:cubicBezTo>
                  <a:pt x="12006084" y="5647390"/>
                  <a:pt x="12005357" y="5645998"/>
                  <a:pt x="12004629" y="5644606"/>
                </a:cubicBezTo>
                <a:cubicBezTo>
                  <a:pt x="12007022" y="5640698"/>
                  <a:pt x="12006068" y="5636324"/>
                  <a:pt x="12003203" y="5633391"/>
                </a:cubicBezTo>
                <a:cubicBezTo>
                  <a:pt x="11998188" y="5628037"/>
                  <a:pt x="11997732" y="5622074"/>
                  <a:pt x="12000079" y="5615531"/>
                </a:cubicBezTo>
                <a:cubicBezTo>
                  <a:pt x="12000912" y="5612881"/>
                  <a:pt x="12001928" y="5610579"/>
                  <a:pt x="12001351" y="5607779"/>
                </a:cubicBezTo>
                <a:cubicBezTo>
                  <a:pt x="12000048" y="5603587"/>
                  <a:pt x="12001046" y="5600407"/>
                  <a:pt x="12005061" y="5598753"/>
                </a:cubicBezTo>
                <a:cubicBezTo>
                  <a:pt x="12007847" y="5597296"/>
                  <a:pt x="12009029" y="5594464"/>
                  <a:pt x="12009347" y="5592525"/>
                </a:cubicBezTo>
                <a:cubicBezTo>
                  <a:pt x="12010906" y="5581079"/>
                  <a:pt x="12021980" y="5581050"/>
                  <a:pt x="12028750" y="5576182"/>
                </a:cubicBezTo>
                <a:cubicBezTo>
                  <a:pt x="12031703" y="5574196"/>
                  <a:pt x="12037413" y="5568997"/>
                  <a:pt x="12040081" y="5570704"/>
                </a:cubicBezTo>
                <a:close/>
                <a:moveTo>
                  <a:pt x="378601" y="5540013"/>
                </a:moveTo>
                <a:cubicBezTo>
                  <a:pt x="379747" y="5540051"/>
                  <a:pt x="381048" y="5540588"/>
                  <a:pt x="382136" y="5540307"/>
                </a:cubicBezTo>
                <a:cubicBezTo>
                  <a:pt x="389518" y="5538471"/>
                  <a:pt x="391643" y="5546951"/>
                  <a:pt x="397999" y="5547225"/>
                </a:cubicBezTo>
                <a:cubicBezTo>
                  <a:pt x="400198" y="5547273"/>
                  <a:pt x="401476" y="5552483"/>
                  <a:pt x="402410" y="5554773"/>
                </a:cubicBezTo>
                <a:cubicBezTo>
                  <a:pt x="404429" y="5560201"/>
                  <a:pt x="410803" y="5564508"/>
                  <a:pt x="407268" y="5571710"/>
                </a:cubicBezTo>
                <a:cubicBezTo>
                  <a:pt x="406701" y="5572951"/>
                  <a:pt x="406285" y="5575042"/>
                  <a:pt x="407328" y="5576962"/>
                </a:cubicBezTo>
                <a:cubicBezTo>
                  <a:pt x="409001" y="5579470"/>
                  <a:pt x="408345" y="5581690"/>
                  <a:pt x="405971" y="5583602"/>
                </a:cubicBezTo>
                <a:cubicBezTo>
                  <a:pt x="404554" y="5584994"/>
                  <a:pt x="404247" y="5586714"/>
                  <a:pt x="403701" y="5588565"/>
                </a:cubicBezTo>
                <a:cubicBezTo>
                  <a:pt x="402520" y="5593247"/>
                  <a:pt x="399947" y="5596509"/>
                  <a:pt x="394983" y="5597653"/>
                </a:cubicBezTo>
                <a:cubicBezTo>
                  <a:pt x="392196" y="5598234"/>
                  <a:pt x="389951" y="5600386"/>
                  <a:pt x="389817" y="5603566"/>
                </a:cubicBezTo>
                <a:cubicBezTo>
                  <a:pt x="388859" y="5604088"/>
                  <a:pt x="387900" y="5604608"/>
                  <a:pt x="386942" y="5605129"/>
                </a:cubicBezTo>
                <a:cubicBezTo>
                  <a:pt x="384570" y="5603620"/>
                  <a:pt x="382611" y="5603442"/>
                  <a:pt x="379626" y="5605375"/>
                </a:cubicBezTo>
                <a:cubicBezTo>
                  <a:pt x="375444" y="5607958"/>
                  <a:pt x="371046" y="5607862"/>
                  <a:pt x="367480" y="5603584"/>
                </a:cubicBezTo>
                <a:cubicBezTo>
                  <a:pt x="366068" y="5601555"/>
                  <a:pt x="364650" y="5602946"/>
                  <a:pt x="363213" y="5603727"/>
                </a:cubicBezTo>
                <a:cubicBezTo>
                  <a:pt x="360817" y="5605029"/>
                  <a:pt x="359816" y="5604329"/>
                  <a:pt x="360451" y="5601499"/>
                </a:cubicBezTo>
                <a:cubicBezTo>
                  <a:pt x="361282" y="5597318"/>
                  <a:pt x="360240" y="5595399"/>
                  <a:pt x="355775" y="5596892"/>
                </a:cubicBezTo>
                <a:cubicBezTo>
                  <a:pt x="354686" y="5597172"/>
                  <a:pt x="353097" y="5597104"/>
                  <a:pt x="353774" y="5595493"/>
                </a:cubicBezTo>
                <a:cubicBezTo>
                  <a:pt x="355194" y="5590682"/>
                  <a:pt x="352105" y="5589565"/>
                  <a:pt x="348644" y="5588337"/>
                </a:cubicBezTo>
                <a:cubicBezTo>
                  <a:pt x="348034" y="5588357"/>
                  <a:pt x="347513" y="5587397"/>
                  <a:pt x="347252" y="5586918"/>
                </a:cubicBezTo>
                <a:cubicBezTo>
                  <a:pt x="347478" y="5579337"/>
                  <a:pt x="348314" y="5571735"/>
                  <a:pt x="348780" y="5564024"/>
                </a:cubicBezTo>
                <a:cubicBezTo>
                  <a:pt x="349023" y="5560474"/>
                  <a:pt x="352794" y="5556561"/>
                  <a:pt x="355737" y="5553408"/>
                </a:cubicBezTo>
                <a:cubicBezTo>
                  <a:pt x="356913" y="5552147"/>
                  <a:pt x="358481" y="5551606"/>
                  <a:pt x="358897" y="5549516"/>
                </a:cubicBezTo>
                <a:cubicBezTo>
                  <a:pt x="359313" y="5547425"/>
                  <a:pt x="360881" y="5546883"/>
                  <a:pt x="362840" y="5547062"/>
                </a:cubicBezTo>
                <a:cubicBezTo>
                  <a:pt x="364059" y="5547022"/>
                  <a:pt x="365779" y="5547330"/>
                  <a:pt x="366346" y="5546090"/>
                </a:cubicBezTo>
                <a:cubicBezTo>
                  <a:pt x="367918" y="5542128"/>
                  <a:pt x="369944" y="5540716"/>
                  <a:pt x="373468" y="5543774"/>
                </a:cubicBezTo>
                <a:cubicBezTo>
                  <a:pt x="374229" y="5544603"/>
                  <a:pt x="375797" y="5544062"/>
                  <a:pt x="375994" y="5542712"/>
                </a:cubicBezTo>
                <a:cubicBezTo>
                  <a:pt x="376465" y="5540436"/>
                  <a:pt x="377455" y="5539975"/>
                  <a:pt x="378601" y="5540013"/>
                </a:cubicBezTo>
                <a:close/>
                <a:moveTo>
                  <a:pt x="8303664" y="5514927"/>
                </a:moveTo>
                <a:cubicBezTo>
                  <a:pt x="8303664" y="5514927"/>
                  <a:pt x="8306886" y="5517583"/>
                  <a:pt x="8312763" y="5517015"/>
                </a:cubicBezTo>
                <a:cubicBezTo>
                  <a:pt x="8319208" y="5522326"/>
                  <a:pt x="8322431" y="5524981"/>
                  <a:pt x="8325654" y="5527636"/>
                </a:cubicBezTo>
                <a:cubicBezTo>
                  <a:pt x="8319776" y="5528204"/>
                  <a:pt x="8316553" y="5525548"/>
                  <a:pt x="8313330" y="5522893"/>
                </a:cubicBezTo>
                <a:cubicBezTo>
                  <a:pt x="8313330" y="5522893"/>
                  <a:pt x="8313330" y="5522893"/>
                  <a:pt x="8310108" y="5520238"/>
                </a:cubicBezTo>
                <a:cubicBezTo>
                  <a:pt x="8306886" y="5517583"/>
                  <a:pt x="8306886" y="5517583"/>
                  <a:pt x="8306886" y="5517583"/>
                </a:cubicBezTo>
                <a:close/>
                <a:moveTo>
                  <a:pt x="596671" y="5506776"/>
                </a:moveTo>
                <a:cubicBezTo>
                  <a:pt x="599368" y="5506044"/>
                  <a:pt x="602148" y="5505777"/>
                  <a:pt x="605198" y="5506834"/>
                </a:cubicBezTo>
                <a:cubicBezTo>
                  <a:pt x="607346" y="5507475"/>
                  <a:pt x="609147" y="5508304"/>
                  <a:pt x="611171" y="5510371"/>
                </a:cubicBezTo>
                <a:cubicBezTo>
                  <a:pt x="614110" y="5513295"/>
                  <a:pt x="618124" y="5516540"/>
                  <a:pt x="623115" y="5512471"/>
                </a:cubicBezTo>
                <a:cubicBezTo>
                  <a:pt x="625010" y="5510989"/>
                  <a:pt x="626843" y="5512706"/>
                  <a:pt x="628076" y="5512489"/>
                </a:cubicBezTo>
                <a:cubicBezTo>
                  <a:pt x="634584" y="5511213"/>
                  <a:pt x="639293" y="5514080"/>
                  <a:pt x="643496" y="5517674"/>
                </a:cubicBezTo>
                <a:cubicBezTo>
                  <a:pt x="644508" y="5521194"/>
                  <a:pt x="645331" y="5524364"/>
                  <a:pt x="647038" y="5527506"/>
                </a:cubicBezTo>
                <a:cubicBezTo>
                  <a:pt x="648745" y="5530648"/>
                  <a:pt x="648366" y="5534922"/>
                  <a:pt x="646345" y="5537829"/>
                </a:cubicBezTo>
                <a:cubicBezTo>
                  <a:pt x="644481" y="5540198"/>
                  <a:pt x="643660" y="5542001"/>
                  <a:pt x="643756" y="5544661"/>
                </a:cubicBezTo>
                <a:cubicBezTo>
                  <a:pt x="639585" y="5546927"/>
                  <a:pt x="635415" y="5549194"/>
                  <a:pt x="631244" y="5551460"/>
                </a:cubicBezTo>
                <a:cubicBezTo>
                  <a:pt x="627610" y="5548913"/>
                  <a:pt x="623314" y="5547630"/>
                  <a:pt x="619427" y="5547934"/>
                </a:cubicBezTo>
                <a:cubicBezTo>
                  <a:pt x="615698" y="5547699"/>
                  <a:pt x="611812" y="5548002"/>
                  <a:pt x="607736" y="5547956"/>
                </a:cubicBezTo>
                <a:cubicBezTo>
                  <a:pt x="604007" y="5547720"/>
                  <a:pt x="599931" y="5547674"/>
                  <a:pt x="596266" y="5549214"/>
                </a:cubicBezTo>
                <a:cubicBezTo>
                  <a:pt x="592759" y="5550215"/>
                  <a:pt x="590231" y="5548876"/>
                  <a:pt x="587166" y="5547376"/>
                </a:cubicBezTo>
                <a:cubicBezTo>
                  <a:pt x="584101" y="5545877"/>
                  <a:pt x="582551" y="5542197"/>
                  <a:pt x="579171" y="5541773"/>
                </a:cubicBezTo>
                <a:cubicBezTo>
                  <a:pt x="577843" y="5539329"/>
                  <a:pt x="576705" y="5537235"/>
                  <a:pt x="575377" y="5534791"/>
                </a:cubicBezTo>
                <a:cubicBezTo>
                  <a:pt x="576419" y="5534225"/>
                  <a:pt x="576578" y="5533687"/>
                  <a:pt x="576198" y="5532990"/>
                </a:cubicBezTo>
                <a:cubicBezTo>
                  <a:pt x="573353" y="5527752"/>
                  <a:pt x="575312" y="5523072"/>
                  <a:pt x="578533" y="5519061"/>
                </a:cubicBezTo>
                <a:cubicBezTo>
                  <a:pt x="581407" y="5515238"/>
                  <a:pt x="583744" y="5511256"/>
                  <a:pt x="588642" y="5509499"/>
                </a:cubicBezTo>
                <a:cubicBezTo>
                  <a:pt x="591359" y="5508701"/>
                  <a:pt x="593973" y="5507506"/>
                  <a:pt x="596671" y="5506776"/>
                </a:cubicBezTo>
                <a:close/>
                <a:moveTo>
                  <a:pt x="1659334" y="5458672"/>
                </a:moveTo>
                <a:lnTo>
                  <a:pt x="1662878" y="5464811"/>
                </a:lnTo>
                <a:cubicBezTo>
                  <a:pt x="1662878" y="5464811"/>
                  <a:pt x="1661702" y="5469200"/>
                  <a:pt x="1661702" y="5469200"/>
                </a:cubicBezTo>
                <a:cubicBezTo>
                  <a:pt x="1664916" y="5474763"/>
                  <a:pt x="1664916" y="5474763"/>
                  <a:pt x="1664916" y="5474763"/>
                </a:cubicBezTo>
                <a:lnTo>
                  <a:pt x="1670015" y="5471820"/>
                </a:lnTo>
                <a:close/>
                <a:moveTo>
                  <a:pt x="8206133" y="5450796"/>
                </a:moveTo>
                <a:lnTo>
                  <a:pt x="8203558" y="5454085"/>
                </a:lnTo>
                <a:lnTo>
                  <a:pt x="8206038" y="5456128"/>
                </a:lnTo>
                <a:lnTo>
                  <a:pt x="8202750" y="5455116"/>
                </a:lnTo>
                <a:lnTo>
                  <a:pt x="8185580" y="5477043"/>
                </a:lnTo>
                <a:lnTo>
                  <a:pt x="8040223" y="5612243"/>
                </a:lnTo>
                <a:lnTo>
                  <a:pt x="8045530" y="5613995"/>
                </a:lnTo>
                <a:cubicBezTo>
                  <a:pt x="8065270" y="5618763"/>
                  <a:pt x="8083991" y="5620665"/>
                  <a:pt x="8103802" y="5626168"/>
                </a:cubicBezTo>
                <a:cubicBezTo>
                  <a:pt x="8103802" y="5626168"/>
                  <a:pt x="8100013" y="5617635"/>
                  <a:pt x="8093568" y="5612324"/>
                </a:cubicBezTo>
                <a:cubicBezTo>
                  <a:pt x="8111767" y="5616499"/>
                  <a:pt x="8134892" y="5640963"/>
                  <a:pt x="8156881" y="5653672"/>
                </a:cubicBezTo>
                <a:cubicBezTo>
                  <a:pt x="8178303" y="5660503"/>
                  <a:pt x="8212049" y="5672076"/>
                  <a:pt x="8212049" y="5672076"/>
                </a:cubicBezTo>
                <a:cubicBezTo>
                  <a:pt x="8214135" y="5662977"/>
                  <a:pt x="8201246" y="5652356"/>
                  <a:pt x="8185134" y="5639081"/>
                </a:cubicBezTo>
                <a:cubicBezTo>
                  <a:pt x="8187790" y="5635858"/>
                  <a:pt x="8191013" y="5638513"/>
                  <a:pt x="8191013" y="5638513"/>
                </a:cubicBezTo>
                <a:cubicBezTo>
                  <a:pt x="8194235" y="5641168"/>
                  <a:pt x="8194235" y="5641168"/>
                  <a:pt x="8194235" y="5641168"/>
                </a:cubicBezTo>
                <a:cubicBezTo>
                  <a:pt x="8194235" y="5641168"/>
                  <a:pt x="8197458" y="5643824"/>
                  <a:pt x="8197458" y="5643824"/>
                </a:cubicBezTo>
                <a:cubicBezTo>
                  <a:pt x="8197458" y="5643824"/>
                  <a:pt x="8200679" y="5646478"/>
                  <a:pt x="8203901" y="5649133"/>
                </a:cubicBezTo>
                <a:cubicBezTo>
                  <a:pt x="8206556" y="5645911"/>
                  <a:pt x="8206556" y="5645911"/>
                  <a:pt x="8203335" y="5643257"/>
                </a:cubicBezTo>
                <a:cubicBezTo>
                  <a:pt x="8203335" y="5643257"/>
                  <a:pt x="8200111" y="5640601"/>
                  <a:pt x="8200111" y="5640601"/>
                </a:cubicBezTo>
                <a:cubicBezTo>
                  <a:pt x="8196890" y="5637946"/>
                  <a:pt x="8196890" y="5637946"/>
                  <a:pt x="8196890" y="5637946"/>
                </a:cubicBezTo>
                <a:cubicBezTo>
                  <a:pt x="8221534" y="5647433"/>
                  <a:pt x="8195755" y="5626191"/>
                  <a:pt x="8189877" y="5626759"/>
                </a:cubicBezTo>
                <a:cubicBezTo>
                  <a:pt x="8186657" y="5624104"/>
                  <a:pt x="8184001" y="5627327"/>
                  <a:pt x="8184001" y="5627327"/>
                </a:cubicBezTo>
                <a:cubicBezTo>
                  <a:pt x="8184001" y="5627327"/>
                  <a:pt x="8187222" y="5629981"/>
                  <a:pt x="8187222" y="5629981"/>
                </a:cubicBezTo>
                <a:cubicBezTo>
                  <a:pt x="8187790" y="5635858"/>
                  <a:pt x="8187790" y="5635858"/>
                  <a:pt x="8187790" y="5635858"/>
                </a:cubicBezTo>
                <a:cubicBezTo>
                  <a:pt x="8187790" y="5635858"/>
                  <a:pt x="8181346" y="5630547"/>
                  <a:pt x="8178124" y="5627894"/>
                </a:cubicBezTo>
                <a:cubicBezTo>
                  <a:pt x="8174900" y="5625238"/>
                  <a:pt x="8174900" y="5625238"/>
                  <a:pt x="8174900" y="5625238"/>
                </a:cubicBezTo>
                <a:cubicBezTo>
                  <a:pt x="8152344" y="5606652"/>
                  <a:pt x="8141542" y="5586931"/>
                  <a:pt x="8162398" y="5587884"/>
                </a:cubicBezTo>
                <a:cubicBezTo>
                  <a:pt x="8178509" y="5601160"/>
                  <a:pt x="8181165" y="5597938"/>
                  <a:pt x="8203720" y="5616524"/>
                </a:cubicBezTo>
                <a:cubicBezTo>
                  <a:pt x="8212253" y="5612735"/>
                  <a:pt x="8199364" y="5602115"/>
                  <a:pt x="8201452" y="5593015"/>
                </a:cubicBezTo>
                <a:cubicBezTo>
                  <a:pt x="8238418" y="5607242"/>
                  <a:pt x="8292066" y="5640625"/>
                  <a:pt x="8305340" y="5624514"/>
                </a:cubicBezTo>
                <a:cubicBezTo>
                  <a:pt x="8305340" y="5624514"/>
                  <a:pt x="8308564" y="5627170"/>
                  <a:pt x="8308564" y="5627170"/>
                </a:cubicBezTo>
                <a:cubicBezTo>
                  <a:pt x="8308564" y="5627170"/>
                  <a:pt x="8315008" y="5632478"/>
                  <a:pt x="8315008" y="5632478"/>
                </a:cubicBezTo>
                <a:cubicBezTo>
                  <a:pt x="8320886" y="5631913"/>
                  <a:pt x="8324107" y="5634567"/>
                  <a:pt x="8320886" y="5631913"/>
                </a:cubicBezTo>
                <a:cubicBezTo>
                  <a:pt x="8329985" y="5633999"/>
                  <a:pt x="8339652" y="5641965"/>
                  <a:pt x="8364297" y="5651450"/>
                </a:cubicBezTo>
                <a:cubicBezTo>
                  <a:pt x="8373397" y="5653539"/>
                  <a:pt x="8376620" y="5656195"/>
                  <a:pt x="8379841" y="5658850"/>
                </a:cubicBezTo>
                <a:cubicBezTo>
                  <a:pt x="8379841" y="5658850"/>
                  <a:pt x="8385719" y="5658282"/>
                  <a:pt x="8385719" y="5658282"/>
                </a:cubicBezTo>
                <a:cubicBezTo>
                  <a:pt x="8388941" y="5660937"/>
                  <a:pt x="8388941" y="5660937"/>
                  <a:pt x="8388941" y="5660937"/>
                </a:cubicBezTo>
                <a:cubicBezTo>
                  <a:pt x="8392164" y="5663593"/>
                  <a:pt x="8391596" y="5657715"/>
                  <a:pt x="8391596" y="5657715"/>
                </a:cubicBezTo>
                <a:cubicBezTo>
                  <a:pt x="8394818" y="5660370"/>
                  <a:pt x="8394818" y="5660370"/>
                  <a:pt x="8394818" y="5660370"/>
                </a:cubicBezTo>
                <a:cubicBezTo>
                  <a:pt x="8397473" y="5657147"/>
                  <a:pt x="8410364" y="5667769"/>
                  <a:pt x="8413020" y="5664545"/>
                </a:cubicBezTo>
                <a:cubicBezTo>
                  <a:pt x="8394251" y="5654493"/>
                  <a:pt x="8409797" y="5661891"/>
                  <a:pt x="8406007" y="5653358"/>
                </a:cubicBezTo>
                <a:cubicBezTo>
                  <a:pt x="8427996" y="5666066"/>
                  <a:pt x="8402218" y="5644825"/>
                  <a:pt x="8417761" y="5652223"/>
                </a:cubicBezTo>
                <a:cubicBezTo>
                  <a:pt x="8439751" y="5664932"/>
                  <a:pt x="8442407" y="5661708"/>
                  <a:pt x="8449419" y="5672898"/>
                </a:cubicBezTo>
                <a:cubicBezTo>
                  <a:pt x="8457383" y="5663230"/>
                  <a:pt x="8507808" y="5693956"/>
                  <a:pt x="8547997" y="5710842"/>
                </a:cubicBezTo>
                <a:cubicBezTo>
                  <a:pt x="8551220" y="5713497"/>
                  <a:pt x="8560320" y="5715584"/>
                  <a:pt x="8572642" y="5720328"/>
                </a:cubicBezTo>
                <a:cubicBezTo>
                  <a:pt x="8609609" y="5734557"/>
                  <a:pt x="8634253" y="5744043"/>
                  <a:pt x="8655675" y="5750874"/>
                </a:cubicBezTo>
                <a:cubicBezTo>
                  <a:pt x="8664775" y="5752964"/>
                  <a:pt x="8658898" y="5753529"/>
                  <a:pt x="8665343" y="5758840"/>
                </a:cubicBezTo>
                <a:cubicBezTo>
                  <a:pt x="8667999" y="5755617"/>
                  <a:pt x="8673876" y="5755050"/>
                  <a:pt x="8677097" y="5757705"/>
                </a:cubicBezTo>
                <a:cubicBezTo>
                  <a:pt x="8680320" y="5760361"/>
                  <a:pt x="8665343" y="5758840"/>
                  <a:pt x="8677664" y="5763583"/>
                </a:cubicBezTo>
                <a:cubicBezTo>
                  <a:pt x="8701742" y="5767191"/>
                  <a:pt x="8702310" y="5773068"/>
                  <a:pt x="8738708" y="5781421"/>
                </a:cubicBezTo>
                <a:cubicBezTo>
                  <a:pt x="8733400" y="5787865"/>
                  <a:pt x="8733400" y="5787865"/>
                  <a:pt x="8733400" y="5787865"/>
                </a:cubicBezTo>
                <a:cubicBezTo>
                  <a:pt x="8754821" y="5794697"/>
                  <a:pt x="8763921" y="5796784"/>
                  <a:pt x="8751032" y="5786163"/>
                </a:cubicBezTo>
                <a:cubicBezTo>
                  <a:pt x="8766009" y="5787683"/>
                  <a:pt x="8763921" y="5796784"/>
                  <a:pt x="8781555" y="5795083"/>
                </a:cubicBezTo>
                <a:cubicBezTo>
                  <a:pt x="8775677" y="5795648"/>
                  <a:pt x="8778900" y="5798304"/>
                  <a:pt x="8784776" y="5797737"/>
                </a:cubicBezTo>
                <a:cubicBezTo>
                  <a:pt x="8782121" y="5800959"/>
                  <a:pt x="8782121" y="5800959"/>
                  <a:pt x="8782121" y="5800959"/>
                </a:cubicBezTo>
                <a:cubicBezTo>
                  <a:pt x="8776244" y="5801527"/>
                  <a:pt x="8779466" y="5804182"/>
                  <a:pt x="8779466" y="5804182"/>
                </a:cubicBezTo>
                <a:cubicBezTo>
                  <a:pt x="8782688" y="5806837"/>
                  <a:pt x="8782688" y="5806837"/>
                  <a:pt x="8782688" y="5806837"/>
                </a:cubicBezTo>
                <a:cubicBezTo>
                  <a:pt x="8764488" y="5802662"/>
                  <a:pt x="8786478" y="5815370"/>
                  <a:pt x="8801456" y="5816890"/>
                </a:cubicBezTo>
                <a:cubicBezTo>
                  <a:pt x="8798801" y="5820113"/>
                  <a:pt x="8798801" y="5820113"/>
                  <a:pt x="8798801" y="5820113"/>
                </a:cubicBezTo>
                <a:cubicBezTo>
                  <a:pt x="8798801" y="5820113"/>
                  <a:pt x="8798801" y="5820113"/>
                  <a:pt x="8802023" y="5822768"/>
                </a:cubicBezTo>
                <a:cubicBezTo>
                  <a:pt x="8802023" y="5822768"/>
                  <a:pt x="8807901" y="5822201"/>
                  <a:pt x="8807901" y="5822201"/>
                </a:cubicBezTo>
                <a:cubicBezTo>
                  <a:pt x="8829322" y="5829032"/>
                  <a:pt x="8859844" y="5837950"/>
                  <a:pt x="8890366" y="5846871"/>
                </a:cubicBezTo>
                <a:cubicBezTo>
                  <a:pt x="8923544" y="5852566"/>
                  <a:pt x="8956722" y="5858262"/>
                  <a:pt x="8980798" y="5861871"/>
                </a:cubicBezTo>
                <a:cubicBezTo>
                  <a:pt x="8988571" y="5865570"/>
                  <a:pt x="8999947" y="5868181"/>
                  <a:pt x="9013526" y="5870577"/>
                </a:cubicBezTo>
                <a:lnTo>
                  <a:pt x="9027059" y="5872765"/>
                </a:lnTo>
                <a:lnTo>
                  <a:pt x="8967041" y="5856588"/>
                </a:lnTo>
                <a:cubicBezTo>
                  <a:pt x="8792363" y="5803850"/>
                  <a:pt x="8624064" y="5730259"/>
                  <a:pt x="8461674" y="5636082"/>
                </a:cubicBezTo>
                <a:cubicBezTo>
                  <a:pt x="8399948" y="5600543"/>
                  <a:pt x="8336242" y="5572392"/>
                  <a:pt x="8282113" y="5526222"/>
                </a:cubicBezTo>
                <a:cubicBezTo>
                  <a:pt x="8276997" y="5521685"/>
                  <a:pt x="8269611" y="5519706"/>
                  <a:pt x="8270507" y="5510444"/>
                </a:cubicBezTo>
                <a:cubicBezTo>
                  <a:pt x="8273964" y="5503454"/>
                  <a:pt x="8279478" y="5506514"/>
                  <a:pt x="8282036" y="5508784"/>
                </a:cubicBezTo>
                <a:cubicBezTo>
                  <a:pt x="8471329" y="5635502"/>
                  <a:pt x="8679886" y="5719879"/>
                  <a:pt x="8891501" y="5798742"/>
                </a:cubicBezTo>
                <a:cubicBezTo>
                  <a:pt x="9002083" y="5841037"/>
                  <a:pt x="9118998" y="5859693"/>
                  <a:pt x="9234329" y="5884258"/>
                </a:cubicBezTo>
                <a:cubicBezTo>
                  <a:pt x="9248021" y="5886343"/>
                  <a:pt x="9262794" y="5890301"/>
                  <a:pt x="9276088" y="5893863"/>
                </a:cubicBezTo>
                <a:cubicBezTo>
                  <a:pt x="9283870" y="5894365"/>
                  <a:pt x="9292628" y="5903045"/>
                  <a:pt x="9296191" y="5889747"/>
                </a:cubicBezTo>
                <a:cubicBezTo>
                  <a:pt x="9299752" y="5876452"/>
                  <a:pt x="9290493" y="5875555"/>
                  <a:pt x="9280152" y="5872784"/>
                </a:cubicBezTo>
                <a:cubicBezTo>
                  <a:pt x="9225388" y="5864444"/>
                  <a:pt x="9169543" y="5854233"/>
                  <a:pt x="9115965" y="5841462"/>
                </a:cubicBezTo>
                <a:cubicBezTo>
                  <a:pt x="9060086" y="5827680"/>
                  <a:pt x="9005115" y="5812358"/>
                  <a:pt x="8951099" y="5795416"/>
                </a:cubicBezTo>
                <a:lnTo>
                  <a:pt x="8830912" y="5753291"/>
                </a:lnTo>
                <a:lnTo>
                  <a:pt x="8831050" y="5754713"/>
                </a:lnTo>
                <a:cubicBezTo>
                  <a:pt x="8812848" y="5750536"/>
                  <a:pt x="8797304" y="5743138"/>
                  <a:pt x="8779105" y="5738963"/>
                </a:cubicBezTo>
                <a:cubicBezTo>
                  <a:pt x="8781760" y="5735740"/>
                  <a:pt x="8781760" y="5735740"/>
                  <a:pt x="8781760" y="5735740"/>
                </a:cubicBezTo>
                <a:cubicBezTo>
                  <a:pt x="8784981" y="5738394"/>
                  <a:pt x="8794082" y="5740483"/>
                  <a:pt x="8797304" y="5743138"/>
                </a:cubicBezTo>
                <a:lnTo>
                  <a:pt x="8810745" y="5746222"/>
                </a:lnTo>
                <a:lnTo>
                  <a:pt x="8791975" y="5739643"/>
                </a:lnTo>
                <a:lnTo>
                  <a:pt x="8756766" y="5724464"/>
                </a:lnTo>
                <a:lnTo>
                  <a:pt x="8751973" y="5726749"/>
                </a:lnTo>
                <a:cubicBezTo>
                  <a:pt x="8750573" y="5727626"/>
                  <a:pt x="8749910" y="5728432"/>
                  <a:pt x="8748582" y="5730043"/>
                </a:cubicBezTo>
                <a:cubicBezTo>
                  <a:pt x="8745359" y="5727389"/>
                  <a:pt x="8742137" y="5724733"/>
                  <a:pt x="8742137" y="5724733"/>
                </a:cubicBezTo>
                <a:cubicBezTo>
                  <a:pt x="8744792" y="5721510"/>
                  <a:pt x="8748014" y="5724165"/>
                  <a:pt x="8744792" y="5721510"/>
                </a:cubicBezTo>
                <a:cubicBezTo>
                  <a:pt x="8744792" y="5721510"/>
                  <a:pt x="8744792" y="5721510"/>
                  <a:pt x="8741570" y="5718857"/>
                </a:cubicBezTo>
                <a:lnTo>
                  <a:pt x="8739173" y="5716880"/>
                </a:lnTo>
                <a:lnTo>
                  <a:pt x="8638893" y="5673651"/>
                </a:lnTo>
                <a:lnTo>
                  <a:pt x="8612911" y="5660070"/>
                </a:lnTo>
                <a:lnTo>
                  <a:pt x="8596357" y="5658716"/>
                </a:lnTo>
                <a:cubicBezTo>
                  <a:pt x="8589346" y="5647529"/>
                  <a:pt x="8583468" y="5648096"/>
                  <a:pt x="8574936" y="5651885"/>
                </a:cubicBezTo>
                <a:cubicBezTo>
                  <a:pt x="8568491" y="5646574"/>
                  <a:pt x="8562045" y="5641264"/>
                  <a:pt x="8552945" y="5639177"/>
                </a:cubicBezTo>
                <a:cubicBezTo>
                  <a:pt x="8543847" y="5637090"/>
                  <a:pt x="8534178" y="5629124"/>
                  <a:pt x="8525079" y="5627035"/>
                </a:cubicBezTo>
                <a:cubicBezTo>
                  <a:pt x="8512757" y="5622292"/>
                  <a:pt x="8499868" y="5611672"/>
                  <a:pt x="8487544" y="5606928"/>
                </a:cubicBezTo>
                <a:cubicBezTo>
                  <a:pt x="8481099" y="5601618"/>
                  <a:pt x="8468778" y="5596876"/>
                  <a:pt x="8462899" y="5597442"/>
                </a:cubicBezTo>
                <a:cubicBezTo>
                  <a:pt x="8459677" y="5594787"/>
                  <a:pt x="8459677" y="5594787"/>
                  <a:pt x="8459677" y="5594787"/>
                </a:cubicBezTo>
                <a:cubicBezTo>
                  <a:pt x="8447355" y="5590045"/>
                  <a:pt x="8440910" y="5584734"/>
                  <a:pt x="8428589" y="5579992"/>
                </a:cubicBezTo>
                <a:cubicBezTo>
                  <a:pt x="8422143" y="5574681"/>
                  <a:pt x="8413043" y="5572593"/>
                  <a:pt x="8400722" y="5567850"/>
                </a:cubicBezTo>
                <a:cubicBezTo>
                  <a:pt x="8393709" y="5556662"/>
                  <a:pt x="8391054" y="5559885"/>
                  <a:pt x="8388400" y="5563106"/>
                </a:cubicBezTo>
                <a:cubicBezTo>
                  <a:pt x="8385176" y="5560451"/>
                  <a:pt x="8385176" y="5560451"/>
                  <a:pt x="8385176" y="5560451"/>
                </a:cubicBezTo>
                <a:cubicBezTo>
                  <a:pt x="8381954" y="5557796"/>
                  <a:pt x="8381387" y="5551919"/>
                  <a:pt x="8378165" y="5549263"/>
                </a:cubicBezTo>
                <a:cubicBezTo>
                  <a:pt x="8378165" y="5549263"/>
                  <a:pt x="8374943" y="5546610"/>
                  <a:pt x="8374943" y="5546610"/>
                </a:cubicBezTo>
                <a:cubicBezTo>
                  <a:pt x="8371720" y="5543954"/>
                  <a:pt x="8371720" y="5543954"/>
                  <a:pt x="8365842" y="5544521"/>
                </a:cubicBezTo>
                <a:cubicBezTo>
                  <a:pt x="8365842" y="5544521"/>
                  <a:pt x="8365842" y="5544521"/>
                  <a:pt x="8363186" y="5547743"/>
                </a:cubicBezTo>
                <a:cubicBezTo>
                  <a:pt x="8347075" y="5534467"/>
                  <a:pt x="8347075" y="5534467"/>
                  <a:pt x="8347075" y="5534467"/>
                </a:cubicBezTo>
                <a:cubicBezTo>
                  <a:pt x="8347075" y="5534467"/>
                  <a:pt x="8341197" y="5535034"/>
                  <a:pt x="8341197" y="5535034"/>
                </a:cubicBezTo>
                <a:cubicBezTo>
                  <a:pt x="8341197" y="5535034"/>
                  <a:pt x="8344420" y="5537689"/>
                  <a:pt x="8344420" y="5537689"/>
                </a:cubicBezTo>
                <a:cubicBezTo>
                  <a:pt x="8363186" y="5547743"/>
                  <a:pt x="8363186" y="5547743"/>
                  <a:pt x="8363186" y="5547743"/>
                </a:cubicBezTo>
                <a:cubicBezTo>
                  <a:pt x="8363186" y="5547743"/>
                  <a:pt x="8360533" y="5550964"/>
                  <a:pt x="8360533" y="5550964"/>
                </a:cubicBezTo>
                <a:cubicBezTo>
                  <a:pt x="8357308" y="5548309"/>
                  <a:pt x="8354087" y="5545655"/>
                  <a:pt x="8354087" y="5545655"/>
                </a:cubicBezTo>
                <a:cubicBezTo>
                  <a:pt x="8350865" y="5543000"/>
                  <a:pt x="8350865" y="5543000"/>
                  <a:pt x="8350865" y="5543000"/>
                </a:cubicBezTo>
                <a:cubicBezTo>
                  <a:pt x="8347643" y="5540345"/>
                  <a:pt x="8341767" y="5540913"/>
                  <a:pt x="8338542" y="5538257"/>
                </a:cubicBezTo>
                <a:cubicBezTo>
                  <a:pt x="8335320" y="5535602"/>
                  <a:pt x="8332098" y="5532947"/>
                  <a:pt x="8325654" y="5527636"/>
                </a:cubicBezTo>
                <a:cubicBezTo>
                  <a:pt x="8328875" y="5530291"/>
                  <a:pt x="8331532" y="5527069"/>
                  <a:pt x="8331532" y="5527069"/>
                </a:cubicBezTo>
                <a:cubicBezTo>
                  <a:pt x="8331532" y="5527069"/>
                  <a:pt x="8328309" y="5524413"/>
                  <a:pt x="8325086" y="5521758"/>
                </a:cubicBezTo>
                <a:cubicBezTo>
                  <a:pt x="8325086" y="5521758"/>
                  <a:pt x="8321864" y="5519102"/>
                  <a:pt x="8318641" y="5516448"/>
                </a:cubicBezTo>
                <a:cubicBezTo>
                  <a:pt x="8312763" y="5517015"/>
                  <a:pt x="8309542" y="5514361"/>
                  <a:pt x="8306317" y="5511705"/>
                </a:cubicBezTo>
                <a:cubicBezTo>
                  <a:pt x="8303096" y="5509049"/>
                  <a:pt x="8303096" y="5509049"/>
                  <a:pt x="8299875" y="5506396"/>
                </a:cubicBezTo>
                <a:cubicBezTo>
                  <a:pt x="8293996" y="5506962"/>
                  <a:pt x="8293996" y="5506962"/>
                  <a:pt x="8293996" y="5506962"/>
                </a:cubicBezTo>
                <a:cubicBezTo>
                  <a:pt x="8290774" y="5504307"/>
                  <a:pt x="8284896" y="5504875"/>
                  <a:pt x="8281673" y="5502220"/>
                </a:cubicBezTo>
                <a:cubicBezTo>
                  <a:pt x="8278451" y="5499565"/>
                  <a:pt x="8275229" y="5496909"/>
                  <a:pt x="8275229" y="5496909"/>
                </a:cubicBezTo>
                <a:cubicBezTo>
                  <a:pt x="8277884" y="5493687"/>
                  <a:pt x="8277884" y="5493687"/>
                  <a:pt x="8274662" y="5491031"/>
                </a:cubicBezTo>
                <a:cubicBezTo>
                  <a:pt x="8274662" y="5491031"/>
                  <a:pt x="8271440" y="5488376"/>
                  <a:pt x="8268785" y="5491599"/>
                </a:cubicBezTo>
                <a:cubicBezTo>
                  <a:pt x="8268785" y="5491599"/>
                  <a:pt x="8265563" y="5488942"/>
                  <a:pt x="8264995" y="5483065"/>
                </a:cubicBezTo>
                <a:cubicBezTo>
                  <a:pt x="8255894" y="5480978"/>
                  <a:pt x="8255894" y="5480978"/>
                  <a:pt x="8255894" y="5480978"/>
                </a:cubicBezTo>
                <a:cubicBezTo>
                  <a:pt x="8255894" y="5480978"/>
                  <a:pt x="8259117" y="5483634"/>
                  <a:pt x="8256462" y="5486855"/>
                </a:cubicBezTo>
                <a:cubicBezTo>
                  <a:pt x="8253240" y="5484200"/>
                  <a:pt x="8250018" y="5481545"/>
                  <a:pt x="8246795" y="5478889"/>
                </a:cubicBezTo>
                <a:cubicBezTo>
                  <a:pt x="8243574" y="5476234"/>
                  <a:pt x="8243574" y="5476234"/>
                  <a:pt x="8243574" y="5476234"/>
                </a:cubicBezTo>
                <a:lnTo>
                  <a:pt x="8242763" y="5475848"/>
                </a:lnTo>
                <a:lnTo>
                  <a:pt x="8123803" y="5596115"/>
                </a:lnTo>
                <a:cubicBezTo>
                  <a:pt x="8118788" y="5568369"/>
                  <a:pt x="8138398" y="5553920"/>
                  <a:pt x="8152870" y="5537327"/>
                </a:cubicBezTo>
                <a:cubicBezTo>
                  <a:pt x="8169163" y="5519986"/>
                  <a:pt x="8183634" y="5503393"/>
                  <a:pt x="8194038" y="5482084"/>
                </a:cubicBezTo>
                <a:lnTo>
                  <a:pt x="8215650" y="5458636"/>
                </a:lnTo>
                <a:lnTo>
                  <a:pt x="8215139" y="5458216"/>
                </a:lnTo>
                <a:cubicBezTo>
                  <a:pt x="8213527" y="5456889"/>
                  <a:pt x="8212722" y="5456225"/>
                  <a:pt x="8211513" y="5455228"/>
                </a:cubicBezTo>
                <a:close/>
                <a:moveTo>
                  <a:pt x="11636113" y="5437527"/>
                </a:moveTo>
                <a:cubicBezTo>
                  <a:pt x="11637436" y="5438158"/>
                  <a:pt x="11639676" y="5438641"/>
                  <a:pt x="11641756" y="5437554"/>
                </a:cubicBezTo>
                <a:cubicBezTo>
                  <a:pt x="11644481" y="5435799"/>
                  <a:pt x="11646855" y="5436542"/>
                  <a:pt x="11648869" y="5439127"/>
                </a:cubicBezTo>
                <a:cubicBezTo>
                  <a:pt x="11650339" y="5440673"/>
                  <a:pt x="11652183" y="5441033"/>
                  <a:pt x="11654162" y="5441651"/>
                </a:cubicBezTo>
                <a:cubicBezTo>
                  <a:pt x="11659170" y="5443002"/>
                  <a:pt x="11662632" y="5445822"/>
                  <a:pt x="11663775" y="5451177"/>
                </a:cubicBezTo>
                <a:cubicBezTo>
                  <a:pt x="11664351" y="5454182"/>
                  <a:pt x="11666626" y="5456630"/>
                  <a:pt x="11670040" y="5456830"/>
                </a:cubicBezTo>
                <a:cubicBezTo>
                  <a:pt x="11670583" y="5457869"/>
                  <a:pt x="11671126" y="5458908"/>
                  <a:pt x="11671669" y="5459946"/>
                </a:cubicBezTo>
                <a:cubicBezTo>
                  <a:pt x="11670007" y="5462468"/>
                  <a:pt x="11669781" y="5464570"/>
                  <a:pt x="11671805" y="5467811"/>
                </a:cubicBezTo>
                <a:cubicBezTo>
                  <a:pt x="11674509" y="5472350"/>
                  <a:pt x="11674330" y="5477072"/>
                  <a:pt x="11669671" y="5480830"/>
                </a:cubicBezTo>
                <a:cubicBezTo>
                  <a:pt x="11667466" y="5482313"/>
                  <a:pt x="11668936" y="5483859"/>
                  <a:pt x="11669752" y="5485417"/>
                </a:cubicBezTo>
                <a:cubicBezTo>
                  <a:pt x="11671108" y="5488014"/>
                  <a:pt x="11670339" y="5489078"/>
                  <a:pt x="11667309" y="5488347"/>
                </a:cubicBezTo>
                <a:cubicBezTo>
                  <a:pt x="11662831" y="5487381"/>
                  <a:pt x="11660751" y="5488468"/>
                  <a:pt x="11662278" y="5493290"/>
                </a:cubicBezTo>
                <a:cubicBezTo>
                  <a:pt x="11662562" y="5494466"/>
                  <a:pt x="11662460" y="5496172"/>
                  <a:pt x="11660742" y="5495417"/>
                </a:cubicBezTo>
                <a:cubicBezTo>
                  <a:pt x="11655595" y="5493808"/>
                  <a:pt x="11654342" y="5497109"/>
                  <a:pt x="11652963" y="5500805"/>
                </a:cubicBezTo>
                <a:cubicBezTo>
                  <a:pt x="11652973" y="5501461"/>
                  <a:pt x="11651934" y="5502005"/>
                  <a:pt x="11651413" y="5502276"/>
                </a:cubicBezTo>
                <a:cubicBezTo>
                  <a:pt x="11643272" y="5501902"/>
                  <a:pt x="11635120" y="5500872"/>
                  <a:pt x="11626843" y="5500239"/>
                </a:cubicBezTo>
                <a:cubicBezTo>
                  <a:pt x="11623031" y="5499916"/>
                  <a:pt x="11618892" y="5495796"/>
                  <a:pt x="11615556" y="5492580"/>
                </a:cubicBezTo>
                <a:cubicBezTo>
                  <a:pt x="11614221" y="5491294"/>
                  <a:pt x="11613666" y="5489599"/>
                  <a:pt x="11611428" y="5489116"/>
                </a:cubicBezTo>
                <a:cubicBezTo>
                  <a:pt x="11609188" y="5488632"/>
                  <a:pt x="11608634" y="5486939"/>
                  <a:pt x="11608861" y="5484837"/>
                </a:cubicBezTo>
                <a:cubicBezTo>
                  <a:pt x="11608837" y="5483526"/>
                  <a:pt x="11609199" y="5481684"/>
                  <a:pt x="11607876" y="5481053"/>
                </a:cubicBezTo>
                <a:cubicBezTo>
                  <a:pt x="11603646" y="5479295"/>
                  <a:pt x="11602164" y="5477093"/>
                  <a:pt x="11605511" y="5473361"/>
                </a:cubicBezTo>
                <a:cubicBezTo>
                  <a:pt x="11606415" y="5472558"/>
                  <a:pt x="11605861" y="5470863"/>
                  <a:pt x="11604414" y="5470628"/>
                </a:cubicBezTo>
                <a:cubicBezTo>
                  <a:pt x="11599541" y="5469537"/>
                  <a:pt x="11602501" y="5466336"/>
                  <a:pt x="11601937" y="5463986"/>
                </a:cubicBezTo>
                <a:cubicBezTo>
                  <a:pt x="11600091" y="5456023"/>
                  <a:pt x="11609239" y="5453888"/>
                  <a:pt x="11609644" y="5447062"/>
                </a:cubicBezTo>
                <a:cubicBezTo>
                  <a:pt x="11609734" y="5444701"/>
                  <a:pt x="11615354" y="5443417"/>
                  <a:pt x="11617830" y="5442453"/>
                </a:cubicBezTo>
                <a:cubicBezTo>
                  <a:pt x="11623699" y="5440378"/>
                  <a:pt x="11628436" y="5433604"/>
                  <a:pt x="11636113" y="5437527"/>
                </a:cubicBezTo>
                <a:close/>
                <a:moveTo>
                  <a:pt x="1633673" y="5427074"/>
                </a:moveTo>
                <a:lnTo>
                  <a:pt x="1634824" y="5429070"/>
                </a:lnTo>
                <a:cubicBezTo>
                  <a:pt x="1633648" y="5433458"/>
                  <a:pt x="1641251" y="5440199"/>
                  <a:pt x="1648853" y="5446940"/>
                </a:cubicBezTo>
                <a:lnTo>
                  <a:pt x="1650072" y="5447267"/>
                </a:lnTo>
                <a:close/>
                <a:moveTo>
                  <a:pt x="1591827" y="5375552"/>
                </a:moveTo>
                <a:lnTo>
                  <a:pt x="1591395" y="5375834"/>
                </a:lnTo>
                <a:cubicBezTo>
                  <a:pt x="1591681" y="5377232"/>
                  <a:pt x="1592666" y="5380143"/>
                  <a:pt x="1594782" y="5385413"/>
                </a:cubicBezTo>
                <a:cubicBezTo>
                  <a:pt x="1593175" y="5382631"/>
                  <a:pt x="1590471" y="5379554"/>
                  <a:pt x="1588422" y="5378418"/>
                </a:cubicBezTo>
                <a:lnTo>
                  <a:pt x="1586067" y="5382938"/>
                </a:lnTo>
                <a:lnTo>
                  <a:pt x="1586257" y="5383215"/>
                </a:lnTo>
                <a:lnTo>
                  <a:pt x="1609242" y="5396996"/>
                </a:lnTo>
                <a:lnTo>
                  <a:pt x="1596906" y="5381805"/>
                </a:lnTo>
                <a:lnTo>
                  <a:pt x="1595956" y="5381024"/>
                </a:lnTo>
                <a:lnTo>
                  <a:pt x="1594606" y="5378975"/>
                </a:lnTo>
                <a:close/>
                <a:moveTo>
                  <a:pt x="59700" y="5360465"/>
                </a:moveTo>
                <a:cubicBezTo>
                  <a:pt x="63526" y="5361071"/>
                  <a:pt x="67192" y="5362921"/>
                  <a:pt x="70622" y="5365302"/>
                </a:cubicBezTo>
                <a:cubicBezTo>
                  <a:pt x="77137" y="5369523"/>
                  <a:pt x="83850" y="5372856"/>
                  <a:pt x="87249" y="5380588"/>
                </a:cubicBezTo>
                <a:cubicBezTo>
                  <a:pt x="90450" y="5389206"/>
                  <a:pt x="96169" y="5396978"/>
                  <a:pt x="93441" y="5407092"/>
                </a:cubicBezTo>
                <a:cubicBezTo>
                  <a:pt x="92646" y="5410644"/>
                  <a:pt x="91506" y="5413656"/>
                  <a:pt x="88390" y="5417164"/>
                </a:cubicBezTo>
                <a:cubicBezTo>
                  <a:pt x="83988" y="5422255"/>
                  <a:pt x="79188" y="5429122"/>
                  <a:pt x="86341" y="5436742"/>
                </a:cubicBezTo>
                <a:cubicBezTo>
                  <a:pt x="88956" y="5439643"/>
                  <a:pt x="86383" y="5442806"/>
                  <a:pt x="86875" y="5444776"/>
                </a:cubicBezTo>
                <a:cubicBezTo>
                  <a:pt x="89677" y="5455171"/>
                  <a:pt x="85568" y="5463119"/>
                  <a:pt x="80225" y="5470334"/>
                </a:cubicBezTo>
                <a:cubicBezTo>
                  <a:pt x="74641" y="5472371"/>
                  <a:pt x="69601" y="5474061"/>
                  <a:pt x="64707" y="5477181"/>
                </a:cubicBezTo>
                <a:cubicBezTo>
                  <a:pt x="59813" y="5480300"/>
                  <a:pt x="52849" y="5480172"/>
                  <a:pt x="47913" y="5477229"/>
                </a:cubicBezTo>
                <a:cubicBezTo>
                  <a:pt x="43867" y="5474480"/>
                  <a:pt x="40854" y="5473354"/>
                  <a:pt x="36557" y="5473810"/>
                </a:cubicBezTo>
                <a:cubicBezTo>
                  <a:pt x="32416" y="5467315"/>
                  <a:pt x="28274" y="5460819"/>
                  <a:pt x="24133" y="5454323"/>
                </a:cubicBezTo>
                <a:cubicBezTo>
                  <a:pt x="27845" y="5448151"/>
                  <a:pt x="29434" y="5441047"/>
                  <a:pt x="28504" y="5434788"/>
                </a:cubicBezTo>
                <a:cubicBezTo>
                  <a:pt x="28462" y="5428724"/>
                  <a:pt x="27530" y="5422465"/>
                  <a:pt x="27143" y="5415861"/>
                </a:cubicBezTo>
                <a:cubicBezTo>
                  <a:pt x="27101" y="5409797"/>
                  <a:pt x="26714" y="5403191"/>
                  <a:pt x="23807" y="5397432"/>
                </a:cubicBezTo>
                <a:cubicBezTo>
                  <a:pt x="21788" y="5391867"/>
                  <a:pt x="23671" y="5387621"/>
                  <a:pt x="25752" y="5382488"/>
                </a:cubicBezTo>
                <a:cubicBezTo>
                  <a:pt x="27832" y="5377355"/>
                  <a:pt x="33615" y="5374430"/>
                  <a:pt x="33917" y="5368908"/>
                </a:cubicBezTo>
                <a:cubicBezTo>
                  <a:pt x="37725" y="5366481"/>
                  <a:pt x="40987" y="5364401"/>
                  <a:pt x="44793" y="5361974"/>
                </a:cubicBezTo>
                <a:cubicBezTo>
                  <a:pt x="45828" y="5363598"/>
                  <a:pt x="46717" y="5363794"/>
                  <a:pt x="47805" y="5363100"/>
                </a:cubicBezTo>
                <a:cubicBezTo>
                  <a:pt x="51883" y="5360500"/>
                  <a:pt x="55872" y="5359860"/>
                  <a:pt x="59700" y="5360465"/>
                </a:cubicBezTo>
                <a:close/>
                <a:moveTo>
                  <a:pt x="8041692" y="5348396"/>
                </a:moveTo>
                <a:lnTo>
                  <a:pt x="7998314" y="5387913"/>
                </a:lnTo>
                <a:lnTo>
                  <a:pt x="7965104" y="5433632"/>
                </a:lnTo>
                <a:lnTo>
                  <a:pt x="8047196" y="5352809"/>
                </a:lnTo>
                <a:close/>
                <a:moveTo>
                  <a:pt x="1555181" y="5315328"/>
                </a:moveTo>
                <a:lnTo>
                  <a:pt x="1555051" y="5323024"/>
                </a:lnTo>
                <a:cubicBezTo>
                  <a:pt x="1566454" y="5333137"/>
                  <a:pt x="1569788" y="5343732"/>
                  <a:pt x="1570379" y="5342347"/>
                </a:cubicBezTo>
                <a:lnTo>
                  <a:pt x="1570362" y="5341545"/>
                </a:lnTo>
                <a:close/>
                <a:moveTo>
                  <a:pt x="8078670" y="5314125"/>
                </a:moveTo>
                <a:lnTo>
                  <a:pt x="8075219" y="5317854"/>
                </a:lnTo>
                <a:lnTo>
                  <a:pt x="8043174" y="5347046"/>
                </a:lnTo>
                <a:lnTo>
                  <a:pt x="8044532" y="5350103"/>
                </a:lnTo>
                <a:cubicBezTo>
                  <a:pt x="8045861" y="5348491"/>
                  <a:pt x="8047330" y="5348350"/>
                  <a:pt x="8048870" y="5348944"/>
                </a:cubicBezTo>
                <a:lnTo>
                  <a:pt x="8050200" y="5349851"/>
                </a:lnTo>
                <a:lnTo>
                  <a:pt x="8067707" y="5332616"/>
                </a:lnTo>
                <a:lnTo>
                  <a:pt x="8069239" y="5329120"/>
                </a:lnTo>
                <a:lnTo>
                  <a:pt x="8079534" y="5315147"/>
                </a:lnTo>
                <a:close/>
                <a:moveTo>
                  <a:pt x="723119" y="5305066"/>
                </a:moveTo>
                <a:lnTo>
                  <a:pt x="721754" y="5306274"/>
                </a:lnTo>
                <a:cubicBezTo>
                  <a:pt x="720434" y="5308781"/>
                  <a:pt x="718552" y="5310251"/>
                  <a:pt x="715701" y="5309115"/>
                </a:cubicBezTo>
                <a:lnTo>
                  <a:pt x="715689" y="5309117"/>
                </a:lnTo>
                <a:lnTo>
                  <a:pt x="716662" y="5310760"/>
                </a:lnTo>
                <a:cubicBezTo>
                  <a:pt x="725335" y="5319584"/>
                  <a:pt x="724502" y="5314765"/>
                  <a:pt x="723456" y="5309286"/>
                </a:cubicBezTo>
                <a:close/>
                <a:moveTo>
                  <a:pt x="520826" y="5305029"/>
                </a:moveTo>
                <a:cubicBezTo>
                  <a:pt x="522285" y="5307318"/>
                  <a:pt x="523223" y="5310477"/>
                  <a:pt x="526906" y="5308666"/>
                </a:cubicBezTo>
                <a:cubicBezTo>
                  <a:pt x="535521" y="5305321"/>
                  <a:pt x="541983" y="5308715"/>
                  <a:pt x="545980" y="5315827"/>
                </a:cubicBezTo>
                <a:cubicBezTo>
                  <a:pt x="548759" y="5321031"/>
                  <a:pt x="551748" y="5322345"/>
                  <a:pt x="556403" y="5322062"/>
                </a:cubicBezTo>
                <a:cubicBezTo>
                  <a:pt x="557375" y="5323587"/>
                  <a:pt x="558348" y="5325114"/>
                  <a:pt x="559322" y="5326641"/>
                </a:cubicBezTo>
                <a:cubicBezTo>
                  <a:pt x="556960" y="5331366"/>
                  <a:pt x="558489" y="5336294"/>
                  <a:pt x="562069" y="5339378"/>
                </a:cubicBezTo>
                <a:cubicBezTo>
                  <a:pt x="568358" y="5345029"/>
                  <a:pt x="569471" y="5351833"/>
                  <a:pt x="567423" y="5359579"/>
                </a:cubicBezTo>
                <a:cubicBezTo>
                  <a:pt x="566729" y="5362704"/>
                  <a:pt x="565792" y="5365449"/>
                  <a:pt x="566732" y="5368607"/>
                </a:cubicBezTo>
                <a:cubicBezTo>
                  <a:pt x="568643" y="5373291"/>
                  <a:pt x="567811" y="5377043"/>
                  <a:pt x="563364" y="5379340"/>
                </a:cubicBezTo>
                <a:cubicBezTo>
                  <a:pt x="560307" y="5381289"/>
                  <a:pt x="559232" y="5384659"/>
                  <a:pt x="559058" y="5386915"/>
                </a:cubicBezTo>
                <a:cubicBezTo>
                  <a:pt x="558402" y="5400214"/>
                  <a:pt x="545688" y="5401342"/>
                  <a:pt x="538393" y="5407603"/>
                </a:cubicBezTo>
                <a:cubicBezTo>
                  <a:pt x="535198" y="5410177"/>
                  <a:pt x="529155" y="5416712"/>
                  <a:pt x="525924" y="5415016"/>
                </a:cubicBezTo>
                <a:cubicBezTo>
                  <a:pt x="516474" y="5410307"/>
                  <a:pt x="506576" y="5420910"/>
                  <a:pt x="497334" y="5412313"/>
                </a:cubicBezTo>
                <a:cubicBezTo>
                  <a:pt x="494623" y="5409747"/>
                  <a:pt x="488058" y="5411250"/>
                  <a:pt x="490349" y="5403885"/>
                </a:cubicBezTo>
                <a:cubicBezTo>
                  <a:pt x="491147" y="5401767"/>
                  <a:pt x="489306" y="5399721"/>
                  <a:pt x="487534" y="5400313"/>
                </a:cubicBezTo>
                <a:cubicBezTo>
                  <a:pt x="479961" y="5401922"/>
                  <a:pt x="478154" y="5398244"/>
                  <a:pt x="479055" y="5391228"/>
                </a:cubicBezTo>
                <a:cubicBezTo>
                  <a:pt x="479229" y="5388972"/>
                  <a:pt x="476484" y="5388038"/>
                  <a:pt x="474747" y="5386999"/>
                </a:cubicBezTo>
                <a:cubicBezTo>
                  <a:pt x="471759" y="5385684"/>
                  <a:pt x="469917" y="5383638"/>
                  <a:pt x="470994" y="5380269"/>
                </a:cubicBezTo>
                <a:cubicBezTo>
                  <a:pt x="472069" y="5376899"/>
                  <a:pt x="470228" y="5374854"/>
                  <a:pt x="469533" y="5372077"/>
                </a:cubicBezTo>
                <a:cubicBezTo>
                  <a:pt x="467794" y="5365135"/>
                  <a:pt x="465464" y="5356424"/>
                  <a:pt x="467964" y="5351073"/>
                </a:cubicBezTo>
                <a:cubicBezTo>
                  <a:pt x="473485" y="5339504"/>
                  <a:pt x="478380" y="5327796"/>
                  <a:pt x="484144" y="5316608"/>
                </a:cubicBezTo>
                <a:cubicBezTo>
                  <a:pt x="484908" y="5316121"/>
                  <a:pt x="486436" y="5315146"/>
                  <a:pt x="487305" y="5315667"/>
                </a:cubicBezTo>
                <a:cubicBezTo>
                  <a:pt x="493315" y="5316664"/>
                  <a:pt x="498700" y="5317524"/>
                  <a:pt x="500504" y="5309398"/>
                </a:cubicBezTo>
                <a:cubicBezTo>
                  <a:pt x="500816" y="5306516"/>
                  <a:pt x="503179" y="5307692"/>
                  <a:pt x="504533" y="5308975"/>
                </a:cubicBezTo>
                <a:cubicBezTo>
                  <a:pt x="509815" y="5314731"/>
                  <a:pt x="512872" y="5312783"/>
                  <a:pt x="515024" y="5306044"/>
                </a:cubicBezTo>
                <a:cubicBezTo>
                  <a:pt x="516378" y="5301424"/>
                  <a:pt x="518393" y="5301213"/>
                  <a:pt x="520826" y="5305029"/>
                </a:cubicBezTo>
                <a:close/>
                <a:moveTo>
                  <a:pt x="329966" y="5296981"/>
                </a:moveTo>
                <a:cubicBezTo>
                  <a:pt x="331111" y="5297019"/>
                  <a:pt x="332411" y="5297555"/>
                  <a:pt x="333500" y="5297273"/>
                </a:cubicBezTo>
                <a:cubicBezTo>
                  <a:pt x="340882" y="5295438"/>
                  <a:pt x="343007" y="5303917"/>
                  <a:pt x="349364" y="5304192"/>
                </a:cubicBezTo>
                <a:cubicBezTo>
                  <a:pt x="351561" y="5304240"/>
                  <a:pt x="352841" y="5309451"/>
                  <a:pt x="353774" y="5311740"/>
                </a:cubicBezTo>
                <a:cubicBezTo>
                  <a:pt x="355793" y="5317169"/>
                  <a:pt x="362167" y="5321474"/>
                  <a:pt x="358632" y="5328677"/>
                </a:cubicBezTo>
                <a:cubicBezTo>
                  <a:pt x="358064" y="5329918"/>
                  <a:pt x="357648" y="5332009"/>
                  <a:pt x="358691" y="5333928"/>
                </a:cubicBezTo>
                <a:cubicBezTo>
                  <a:pt x="360365" y="5336438"/>
                  <a:pt x="359709" y="5338658"/>
                  <a:pt x="357335" y="5340570"/>
                </a:cubicBezTo>
                <a:cubicBezTo>
                  <a:pt x="355918" y="5341961"/>
                  <a:pt x="355612" y="5343681"/>
                  <a:pt x="355065" y="5345532"/>
                </a:cubicBezTo>
                <a:cubicBezTo>
                  <a:pt x="353884" y="5350213"/>
                  <a:pt x="351311" y="5353476"/>
                  <a:pt x="346346" y="5354619"/>
                </a:cubicBezTo>
                <a:cubicBezTo>
                  <a:pt x="343560" y="5355202"/>
                  <a:pt x="341315" y="5357353"/>
                  <a:pt x="341181" y="5360533"/>
                </a:cubicBezTo>
                <a:cubicBezTo>
                  <a:pt x="340222" y="5361055"/>
                  <a:pt x="339264" y="5361576"/>
                  <a:pt x="338305" y="5362096"/>
                </a:cubicBezTo>
                <a:cubicBezTo>
                  <a:pt x="335933" y="5360588"/>
                  <a:pt x="333975" y="5360409"/>
                  <a:pt x="330991" y="5362341"/>
                </a:cubicBezTo>
                <a:cubicBezTo>
                  <a:pt x="326807" y="5364925"/>
                  <a:pt x="322410" y="5364828"/>
                  <a:pt x="318844" y="5360551"/>
                </a:cubicBezTo>
                <a:cubicBezTo>
                  <a:pt x="317431" y="5358522"/>
                  <a:pt x="316014" y="5359912"/>
                  <a:pt x="314577" y="5360695"/>
                </a:cubicBezTo>
                <a:cubicBezTo>
                  <a:pt x="312181" y="5361996"/>
                  <a:pt x="311181" y="5361297"/>
                  <a:pt x="311814" y="5358466"/>
                </a:cubicBezTo>
                <a:cubicBezTo>
                  <a:pt x="312646" y="5354285"/>
                  <a:pt x="311604" y="5352366"/>
                  <a:pt x="307139" y="5353860"/>
                </a:cubicBezTo>
                <a:cubicBezTo>
                  <a:pt x="306050" y="5354139"/>
                  <a:pt x="304461" y="5354071"/>
                  <a:pt x="305137" y="5352460"/>
                </a:cubicBezTo>
                <a:cubicBezTo>
                  <a:pt x="306558" y="5347648"/>
                  <a:pt x="303468" y="5346531"/>
                  <a:pt x="300008" y="5345304"/>
                </a:cubicBezTo>
                <a:cubicBezTo>
                  <a:pt x="299398" y="5345324"/>
                  <a:pt x="298877" y="5344364"/>
                  <a:pt x="298616" y="5343885"/>
                </a:cubicBezTo>
                <a:cubicBezTo>
                  <a:pt x="298843" y="5336304"/>
                  <a:pt x="299678" y="5328702"/>
                  <a:pt x="300143" y="5320991"/>
                </a:cubicBezTo>
                <a:cubicBezTo>
                  <a:pt x="300387" y="5317441"/>
                  <a:pt x="304157" y="5313528"/>
                  <a:pt x="307100" y="5310375"/>
                </a:cubicBezTo>
                <a:cubicBezTo>
                  <a:pt x="308277" y="5309114"/>
                  <a:pt x="309845" y="5308572"/>
                  <a:pt x="310261" y="5306482"/>
                </a:cubicBezTo>
                <a:cubicBezTo>
                  <a:pt x="310676" y="5304392"/>
                  <a:pt x="312245" y="5303850"/>
                  <a:pt x="314204" y="5304029"/>
                </a:cubicBezTo>
                <a:cubicBezTo>
                  <a:pt x="315423" y="5303988"/>
                  <a:pt x="317143" y="5304297"/>
                  <a:pt x="317710" y="5303056"/>
                </a:cubicBezTo>
                <a:cubicBezTo>
                  <a:pt x="319282" y="5299094"/>
                  <a:pt x="321309" y="5297683"/>
                  <a:pt x="324832" y="5300740"/>
                </a:cubicBezTo>
                <a:cubicBezTo>
                  <a:pt x="325593" y="5301570"/>
                  <a:pt x="327160" y="5301029"/>
                  <a:pt x="327358" y="5299679"/>
                </a:cubicBezTo>
                <a:cubicBezTo>
                  <a:pt x="327829" y="5297403"/>
                  <a:pt x="328820" y="5296943"/>
                  <a:pt x="329966" y="5296981"/>
                </a:cubicBezTo>
                <a:close/>
                <a:moveTo>
                  <a:pt x="1544355" y="5296633"/>
                </a:moveTo>
                <a:lnTo>
                  <a:pt x="1542201" y="5300767"/>
                </a:lnTo>
                <a:lnTo>
                  <a:pt x="1552876" y="5311349"/>
                </a:lnTo>
                <a:close/>
                <a:moveTo>
                  <a:pt x="11965802" y="5295377"/>
                </a:moveTo>
                <a:lnTo>
                  <a:pt x="11965775" y="5295870"/>
                </a:lnTo>
                <a:lnTo>
                  <a:pt x="11965376" y="5295747"/>
                </a:lnTo>
                <a:close/>
                <a:moveTo>
                  <a:pt x="11856017" y="5260615"/>
                </a:moveTo>
                <a:cubicBezTo>
                  <a:pt x="11863752" y="5259714"/>
                  <a:pt x="11871509" y="5260060"/>
                  <a:pt x="11878115" y="5266662"/>
                </a:cubicBezTo>
                <a:cubicBezTo>
                  <a:pt x="11879386" y="5267884"/>
                  <a:pt x="11882876" y="5267316"/>
                  <a:pt x="11883929" y="5270537"/>
                </a:cubicBezTo>
                <a:cubicBezTo>
                  <a:pt x="11886568" y="5279212"/>
                  <a:pt x="11893808" y="5278570"/>
                  <a:pt x="11899540" y="5277460"/>
                </a:cubicBezTo>
                <a:cubicBezTo>
                  <a:pt x="11903527" y="5276633"/>
                  <a:pt x="11906284" y="5277077"/>
                  <a:pt x="11909299" y="5278015"/>
                </a:cubicBezTo>
                <a:cubicBezTo>
                  <a:pt x="11918087" y="5280335"/>
                  <a:pt x="11921462" y="5287998"/>
                  <a:pt x="11926561" y="5294131"/>
                </a:cubicBezTo>
                <a:cubicBezTo>
                  <a:pt x="11930906" y="5300030"/>
                  <a:pt x="11930511" y="5306521"/>
                  <a:pt x="11930870" y="5313247"/>
                </a:cubicBezTo>
                <a:cubicBezTo>
                  <a:pt x="11931486" y="5320465"/>
                  <a:pt x="11930099" y="5327475"/>
                  <a:pt x="11922662" y="5331361"/>
                </a:cubicBezTo>
                <a:cubicBezTo>
                  <a:pt x="11921670" y="5331880"/>
                  <a:pt x="11921432" y="5332633"/>
                  <a:pt x="11922206" y="5334114"/>
                </a:cubicBezTo>
                <a:cubicBezTo>
                  <a:pt x="11918735" y="5335928"/>
                  <a:pt x="11915761" y="5337483"/>
                  <a:pt x="11912290" y="5339297"/>
                </a:cubicBezTo>
                <a:cubicBezTo>
                  <a:pt x="11908004" y="5337138"/>
                  <a:pt x="11903305" y="5340222"/>
                  <a:pt x="11898543" y="5339568"/>
                </a:cubicBezTo>
                <a:cubicBezTo>
                  <a:pt x="11893782" y="5338913"/>
                  <a:pt x="11889775" y="5338495"/>
                  <a:pt x="11886463" y="5334570"/>
                </a:cubicBezTo>
                <a:cubicBezTo>
                  <a:pt x="11883386" y="5329893"/>
                  <a:pt x="11878585" y="5326747"/>
                  <a:pt x="11874042" y="5324093"/>
                </a:cubicBezTo>
                <a:cubicBezTo>
                  <a:pt x="11869242" y="5320947"/>
                  <a:pt x="11864937" y="5317541"/>
                  <a:pt x="11860394" y="5314887"/>
                </a:cubicBezTo>
                <a:cubicBezTo>
                  <a:pt x="11856088" y="5311481"/>
                  <a:pt x="11850057" y="5309605"/>
                  <a:pt x="11843809" y="5309729"/>
                </a:cubicBezTo>
                <a:cubicBezTo>
                  <a:pt x="11840714" y="5303805"/>
                  <a:pt x="11837617" y="5297883"/>
                  <a:pt x="11834523" y="5291959"/>
                </a:cubicBezTo>
                <a:cubicBezTo>
                  <a:pt x="11836723" y="5288923"/>
                  <a:pt x="11837178" y="5286172"/>
                  <a:pt x="11836860" y="5281939"/>
                </a:cubicBezTo>
                <a:cubicBezTo>
                  <a:pt x="11836780" y="5276953"/>
                  <a:pt x="11839695" y="5271660"/>
                  <a:pt x="11844157" y="5269328"/>
                </a:cubicBezTo>
                <a:cubicBezTo>
                  <a:pt x="11848619" y="5266996"/>
                  <a:pt x="11852070" y="5263935"/>
                  <a:pt x="11856017" y="5260615"/>
                </a:cubicBezTo>
                <a:close/>
                <a:moveTo>
                  <a:pt x="11408705" y="5226425"/>
                </a:moveTo>
                <a:lnTo>
                  <a:pt x="11322103" y="5317014"/>
                </a:lnTo>
                <a:cubicBezTo>
                  <a:pt x="11258130" y="5376472"/>
                  <a:pt x="11188249" y="5428805"/>
                  <a:pt x="11116824" y="5479141"/>
                </a:cubicBezTo>
                <a:lnTo>
                  <a:pt x="11043288" y="5530086"/>
                </a:lnTo>
                <a:lnTo>
                  <a:pt x="11033710" y="5538790"/>
                </a:lnTo>
                <a:lnTo>
                  <a:pt x="10909239" y="5634797"/>
                </a:lnTo>
                <a:lnTo>
                  <a:pt x="10909089" y="5647853"/>
                </a:lnTo>
                <a:cubicBezTo>
                  <a:pt x="10903456" y="5657442"/>
                  <a:pt x="10898352" y="5667197"/>
                  <a:pt x="10892537" y="5676439"/>
                </a:cubicBezTo>
                <a:cubicBezTo>
                  <a:pt x="10891840" y="5676803"/>
                  <a:pt x="10890446" y="5677531"/>
                  <a:pt x="10889735" y="5677018"/>
                </a:cubicBezTo>
                <a:cubicBezTo>
                  <a:pt x="10884614" y="5675707"/>
                  <a:pt x="10880023" y="5674562"/>
                  <a:pt x="10877858" y="5681452"/>
                </a:cubicBezTo>
                <a:cubicBezTo>
                  <a:pt x="10877374" y="5683921"/>
                  <a:pt x="10875419" y="5682728"/>
                  <a:pt x="10874344" y="5681517"/>
                </a:cubicBezTo>
                <a:cubicBezTo>
                  <a:pt x="10870207" y="5676149"/>
                  <a:pt x="10867419" y="5677606"/>
                  <a:pt x="10865057" y="5683270"/>
                </a:cubicBezTo>
                <a:cubicBezTo>
                  <a:pt x="10863544" y="5687162"/>
                  <a:pt x="10861787" y="5687195"/>
                  <a:pt x="10859967" y="5683716"/>
                </a:cubicBezTo>
                <a:cubicBezTo>
                  <a:pt x="10858876" y="5681628"/>
                  <a:pt x="10858300" y="5678828"/>
                  <a:pt x="10854983" y="5680119"/>
                </a:cubicBezTo>
                <a:lnTo>
                  <a:pt x="10846009" y="5679619"/>
                </a:lnTo>
                <a:lnTo>
                  <a:pt x="10716076" y="5764239"/>
                </a:lnTo>
                <a:cubicBezTo>
                  <a:pt x="10605068" y="5830429"/>
                  <a:pt x="10489342" y="5887573"/>
                  <a:pt x="10370122" y="5935415"/>
                </a:cubicBezTo>
                <a:cubicBezTo>
                  <a:pt x="10375432" y="5928970"/>
                  <a:pt x="10381310" y="5928403"/>
                  <a:pt x="10378087" y="5925747"/>
                </a:cubicBezTo>
                <a:cubicBezTo>
                  <a:pt x="10340168" y="5932374"/>
                  <a:pt x="10338078" y="5941474"/>
                  <a:pt x="10309825" y="5956065"/>
                </a:cubicBezTo>
                <a:cubicBezTo>
                  <a:pt x="10284227" y="5967433"/>
                  <a:pt x="10252751" y="5979371"/>
                  <a:pt x="10223931" y="5988084"/>
                </a:cubicBezTo>
                <a:cubicBezTo>
                  <a:pt x="10214830" y="5985996"/>
                  <a:pt x="10177478" y="5998499"/>
                  <a:pt x="10172167" y="6004945"/>
                </a:cubicBezTo>
                <a:cubicBezTo>
                  <a:pt x="10168946" y="6002289"/>
                  <a:pt x="10168946" y="6002289"/>
                  <a:pt x="10168946" y="6002289"/>
                </a:cubicBezTo>
                <a:cubicBezTo>
                  <a:pt x="10166290" y="6005512"/>
                  <a:pt x="10166290" y="6005512"/>
                  <a:pt x="10166290" y="6005512"/>
                </a:cubicBezTo>
                <a:cubicBezTo>
                  <a:pt x="10163068" y="6002857"/>
                  <a:pt x="10163068" y="6002857"/>
                  <a:pt x="10160412" y="6006079"/>
                </a:cubicBezTo>
                <a:cubicBezTo>
                  <a:pt x="10157757" y="6009302"/>
                  <a:pt x="10157757" y="6009302"/>
                  <a:pt x="10151879" y="6009868"/>
                </a:cubicBezTo>
                <a:cubicBezTo>
                  <a:pt x="10146001" y="6010435"/>
                  <a:pt x="10131591" y="6014792"/>
                  <a:pt x="10128937" y="6018016"/>
                </a:cubicBezTo>
                <a:cubicBezTo>
                  <a:pt x="10102771" y="6023507"/>
                  <a:pt x="10076605" y="6028998"/>
                  <a:pt x="10051007" y="6040367"/>
                </a:cubicBezTo>
                <a:cubicBezTo>
                  <a:pt x="10039252" y="6041502"/>
                  <a:pt x="10027497" y="6042636"/>
                  <a:pt x="10018964" y="6046426"/>
                </a:cubicBezTo>
                <a:cubicBezTo>
                  <a:pt x="9992799" y="6051918"/>
                  <a:pt x="9966633" y="6057409"/>
                  <a:pt x="9946346" y="6062333"/>
                </a:cubicBezTo>
                <a:cubicBezTo>
                  <a:pt x="9946346" y="6062333"/>
                  <a:pt x="9949001" y="6059110"/>
                  <a:pt x="9949001" y="6059110"/>
                </a:cubicBezTo>
                <a:cubicBezTo>
                  <a:pt x="9943123" y="6059677"/>
                  <a:pt x="9937246" y="6060246"/>
                  <a:pt x="9934591" y="6063467"/>
                </a:cubicBezTo>
                <a:cubicBezTo>
                  <a:pt x="9701094" y="6110473"/>
                  <a:pt x="9459289" y="6123243"/>
                  <a:pt x="9219091" y="6100821"/>
                </a:cubicBezTo>
                <a:lnTo>
                  <a:pt x="9065454" y="6078870"/>
                </a:lnTo>
                <a:lnTo>
                  <a:pt x="9067656" y="6081402"/>
                </a:lnTo>
                <a:lnTo>
                  <a:pt x="9217986" y="6106675"/>
                </a:lnTo>
                <a:cubicBezTo>
                  <a:pt x="9298963" y="6115915"/>
                  <a:pt x="9381057" y="6121340"/>
                  <a:pt x="9462867" y="6123826"/>
                </a:cubicBezTo>
                <a:cubicBezTo>
                  <a:pt x="9456989" y="6124392"/>
                  <a:pt x="9456989" y="6124392"/>
                  <a:pt x="9454334" y="6127616"/>
                </a:cubicBezTo>
                <a:cubicBezTo>
                  <a:pt x="9469309" y="6129137"/>
                  <a:pt x="9501920" y="6128954"/>
                  <a:pt x="9528654" y="6129341"/>
                </a:cubicBezTo>
                <a:cubicBezTo>
                  <a:pt x="9546285" y="6127639"/>
                  <a:pt x="9561264" y="6129159"/>
                  <a:pt x="9569796" y="6125371"/>
                </a:cubicBezTo>
                <a:cubicBezTo>
                  <a:pt x="9610938" y="6121399"/>
                  <a:pt x="9655304" y="6120083"/>
                  <a:pt x="9696447" y="6116114"/>
                </a:cubicBezTo>
                <a:cubicBezTo>
                  <a:pt x="9711426" y="6117633"/>
                  <a:pt x="9729058" y="6115932"/>
                  <a:pt x="9743467" y="6111574"/>
                </a:cubicBezTo>
                <a:cubicBezTo>
                  <a:pt x="9881874" y="6101182"/>
                  <a:pt x="10018578" y="6073159"/>
                  <a:pt x="10157371" y="6036034"/>
                </a:cubicBezTo>
                <a:cubicBezTo>
                  <a:pt x="10117362" y="6051761"/>
                  <a:pt x="10077354" y="6067485"/>
                  <a:pt x="10045879" y="6079422"/>
                </a:cubicBezTo>
                <a:cubicBezTo>
                  <a:pt x="10039433" y="6074112"/>
                  <a:pt x="10022369" y="6081691"/>
                  <a:pt x="10019145" y="6079036"/>
                </a:cubicBezTo>
                <a:lnTo>
                  <a:pt x="9983981" y="6088801"/>
                </a:lnTo>
                <a:lnTo>
                  <a:pt x="9994550" y="6093686"/>
                </a:lnTo>
                <a:cubicBezTo>
                  <a:pt x="10000126" y="6095295"/>
                  <a:pt x="10004633" y="6100606"/>
                  <a:pt x="10005687" y="6106256"/>
                </a:cubicBezTo>
                <a:lnTo>
                  <a:pt x="10005906" y="6106734"/>
                </a:lnTo>
                <a:lnTo>
                  <a:pt x="10029090" y="6099488"/>
                </a:lnTo>
                <a:cubicBezTo>
                  <a:pt x="10037151" y="6096578"/>
                  <a:pt x="10043551" y="6093736"/>
                  <a:pt x="10047012" y="6091177"/>
                </a:cubicBezTo>
                <a:cubicBezTo>
                  <a:pt x="10058768" y="6090043"/>
                  <a:pt x="10067868" y="6092131"/>
                  <a:pt x="10073745" y="6091563"/>
                </a:cubicBezTo>
                <a:cubicBezTo>
                  <a:pt x="10102566" y="6082850"/>
                  <a:pt x="10122286" y="6072049"/>
                  <a:pt x="10147884" y="6060680"/>
                </a:cubicBezTo>
                <a:cubicBezTo>
                  <a:pt x="10168172" y="6055756"/>
                  <a:pt x="10206093" y="6049128"/>
                  <a:pt x="10229035" y="6040983"/>
                </a:cubicBezTo>
                <a:cubicBezTo>
                  <a:pt x="10237569" y="6037194"/>
                  <a:pt x="10237000" y="6031316"/>
                  <a:pt x="10245534" y="6027527"/>
                </a:cubicBezTo>
                <a:cubicBezTo>
                  <a:pt x="10254066" y="6023735"/>
                  <a:pt x="10274921" y="6024690"/>
                  <a:pt x="10283454" y="6020900"/>
                </a:cubicBezTo>
                <a:cubicBezTo>
                  <a:pt x="10312276" y="6012186"/>
                  <a:pt x="10320242" y="6002519"/>
                  <a:pt x="10326686" y="6007829"/>
                </a:cubicBezTo>
                <a:cubicBezTo>
                  <a:pt x="10340529" y="5997594"/>
                  <a:pt x="10366127" y="5986225"/>
                  <a:pt x="10364993" y="5974470"/>
                </a:cubicBezTo>
                <a:cubicBezTo>
                  <a:pt x="10351148" y="5984706"/>
                  <a:pt x="10350582" y="5978828"/>
                  <a:pt x="10347361" y="5976172"/>
                </a:cubicBezTo>
                <a:cubicBezTo>
                  <a:pt x="10748578" y="5830668"/>
                  <a:pt x="11116076" y="5581638"/>
                  <a:pt x="11408147" y="5227171"/>
                </a:cubicBezTo>
                <a:close/>
                <a:moveTo>
                  <a:pt x="588988" y="5197260"/>
                </a:moveTo>
                <a:lnTo>
                  <a:pt x="589116" y="5197732"/>
                </a:lnTo>
                <a:lnTo>
                  <a:pt x="588770" y="5197629"/>
                </a:lnTo>
                <a:close/>
                <a:moveTo>
                  <a:pt x="1423244" y="5165408"/>
                </a:moveTo>
                <a:cubicBezTo>
                  <a:pt x="1427633" y="5166584"/>
                  <a:pt x="1427633" y="5166584"/>
                  <a:pt x="1427633" y="5166584"/>
                </a:cubicBezTo>
                <a:cubicBezTo>
                  <a:pt x="1427633" y="5166584"/>
                  <a:pt x="1426456" y="5170973"/>
                  <a:pt x="1426456" y="5170973"/>
                </a:cubicBezTo>
                <a:cubicBezTo>
                  <a:pt x="1426456" y="5170973"/>
                  <a:pt x="1422067" y="5169798"/>
                  <a:pt x="1423244" y="5165408"/>
                </a:cubicBezTo>
                <a:close/>
                <a:moveTo>
                  <a:pt x="593017" y="5149910"/>
                </a:moveTo>
                <a:lnTo>
                  <a:pt x="592522" y="5151063"/>
                </a:lnTo>
                <a:cubicBezTo>
                  <a:pt x="592853" y="5152540"/>
                  <a:pt x="593032" y="5155048"/>
                  <a:pt x="590724" y="5155592"/>
                </a:cubicBezTo>
                <a:lnTo>
                  <a:pt x="581761" y="5163940"/>
                </a:lnTo>
                <a:lnTo>
                  <a:pt x="617289" y="5218250"/>
                </a:lnTo>
                <a:cubicBezTo>
                  <a:pt x="629787" y="5240013"/>
                  <a:pt x="640977" y="5261110"/>
                  <a:pt x="650463" y="5276942"/>
                </a:cubicBezTo>
                <a:cubicBezTo>
                  <a:pt x="651315" y="5279574"/>
                  <a:pt x="652611" y="5281334"/>
                  <a:pt x="653918" y="5282002"/>
                </a:cubicBezTo>
                <a:lnTo>
                  <a:pt x="656744" y="5280796"/>
                </a:lnTo>
                <a:lnTo>
                  <a:pt x="656337" y="5279758"/>
                </a:lnTo>
                <a:lnTo>
                  <a:pt x="654170" y="5278286"/>
                </a:lnTo>
                <a:cubicBezTo>
                  <a:pt x="653521" y="5277406"/>
                  <a:pt x="653095" y="5276089"/>
                  <a:pt x="652242" y="5273457"/>
                </a:cubicBezTo>
                <a:cubicBezTo>
                  <a:pt x="648759" y="5271677"/>
                  <a:pt x="647055" y="5266413"/>
                  <a:pt x="648835" y="5262928"/>
                </a:cubicBezTo>
                <a:cubicBezTo>
                  <a:pt x="648835" y="5262928"/>
                  <a:pt x="652318" y="5264707"/>
                  <a:pt x="654024" y="5269973"/>
                </a:cubicBezTo>
                <a:lnTo>
                  <a:pt x="654934" y="5270438"/>
                </a:lnTo>
                <a:lnTo>
                  <a:pt x="654128" y="5266514"/>
                </a:lnTo>
                <a:lnTo>
                  <a:pt x="653939" y="5264688"/>
                </a:lnTo>
                <a:lnTo>
                  <a:pt x="623103" y="5203643"/>
                </a:lnTo>
                <a:close/>
                <a:moveTo>
                  <a:pt x="1426782" y="5143426"/>
                </a:moveTo>
                <a:cubicBezTo>
                  <a:pt x="1426928" y="5142877"/>
                  <a:pt x="1429123" y="5143466"/>
                  <a:pt x="1433513" y="5144641"/>
                </a:cubicBezTo>
                <a:cubicBezTo>
                  <a:pt x="1436724" y="5150207"/>
                  <a:pt x="1436724" y="5150207"/>
                  <a:pt x="1436724" y="5150207"/>
                </a:cubicBezTo>
                <a:cubicBezTo>
                  <a:pt x="1432337" y="5149029"/>
                  <a:pt x="1432337" y="5149029"/>
                  <a:pt x="1432337" y="5149029"/>
                </a:cubicBezTo>
                <a:cubicBezTo>
                  <a:pt x="1428535" y="5145660"/>
                  <a:pt x="1426634" y="5143974"/>
                  <a:pt x="1426782" y="5143426"/>
                </a:cubicBezTo>
                <a:close/>
                <a:moveTo>
                  <a:pt x="12026666" y="5107079"/>
                </a:moveTo>
                <a:cubicBezTo>
                  <a:pt x="12027619" y="5106310"/>
                  <a:pt x="12028702" y="5106827"/>
                  <a:pt x="12029572" y="5107455"/>
                </a:cubicBezTo>
                <a:cubicBezTo>
                  <a:pt x="12034136" y="5110486"/>
                  <a:pt x="12039743" y="5111887"/>
                  <a:pt x="12044824" y="5113833"/>
                </a:cubicBezTo>
                <a:cubicBezTo>
                  <a:pt x="12052608" y="5116805"/>
                  <a:pt x="12058597" y="5121526"/>
                  <a:pt x="12060571" y="5129970"/>
                </a:cubicBezTo>
                <a:cubicBezTo>
                  <a:pt x="12061490" y="5133281"/>
                  <a:pt x="12064191" y="5134305"/>
                  <a:pt x="12066783" y="5135117"/>
                </a:cubicBezTo>
                <a:cubicBezTo>
                  <a:pt x="12072724" y="5137156"/>
                  <a:pt x="12073622" y="5139394"/>
                  <a:pt x="12071034" y="5144807"/>
                </a:cubicBezTo>
                <a:cubicBezTo>
                  <a:pt x="12068021" y="5150443"/>
                  <a:pt x="12068021" y="5150443"/>
                  <a:pt x="12074295" y="5153120"/>
                </a:cubicBezTo>
                <a:cubicBezTo>
                  <a:pt x="12075702" y="5153739"/>
                  <a:pt x="12076786" y="5154255"/>
                  <a:pt x="12076175" y="5156199"/>
                </a:cubicBezTo>
                <a:cubicBezTo>
                  <a:pt x="12074476" y="5163314"/>
                  <a:pt x="12073203" y="5170207"/>
                  <a:pt x="12071180" y="5177220"/>
                </a:cubicBezTo>
                <a:cubicBezTo>
                  <a:pt x="12069878" y="5182503"/>
                  <a:pt x="12067059" y="5186954"/>
                  <a:pt x="12062934" y="5190465"/>
                </a:cubicBezTo>
                <a:cubicBezTo>
                  <a:pt x="12060399" y="5192872"/>
                  <a:pt x="12058656" y="5203530"/>
                  <a:pt x="12060111" y="5206831"/>
                </a:cubicBezTo>
                <a:cubicBezTo>
                  <a:pt x="12060666" y="5207894"/>
                  <a:pt x="12061110" y="5208744"/>
                  <a:pt x="12062610" y="5208503"/>
                </a:cubicBezTo>
                <a:cubicBezTo>
                  <a:pt x="12070761" y="5208033"/>
                  <a:pt x="12076954" y="5212106"/>
                  <a:pt x="12082943" y="5216828"/>
                </a:cubicBezTo>
                <a:cubicBezTo>
                  <a:pt x="12084247" y="5217770"/>
                  <a:pt x="12085228" y="5218611"/>
                  <a:pt x="12086423" y="5219341"/>
                </a:cubicBezTo>
                <a:cubicBezTo>
                  <a:pt x="12090329" y="5221631"/>
                  <a:pt x="12092948" y="5224052"/>
                  <a:pt x="12093681" y="5229084"/>
                </a:cubicBezTo>
                <a:cubicBezTo>
                  <a:pt x="12094416" y="5234115"/>
                  <a:pt x="12098978" y="5237145"/>
                  <a:pt x="12103107" y="5239861"/>
                </a:cubicBezTo>
                <a:cubicBezTo>
                  <a:pt x="12104957" y="5241330"/>
                  <a:pt x="12106050" y="5242384"/>
                  <a:pt x="12105561" y="5245076"/>
                </a:cubicBezTo>
                <a:cubicBezTo>
                  <a:pt x="12103828" y="5256270"/>
                  <a:pt x="12104027" y="5267537"/>
                  <a:pt x="12108621" y="5278401"/>
                </a:cubicBezTo>
                <a:cubicBezTo>
                  <a:pt x="12109187" y="5280001"/>
                  <a:pt x="12109095" y="5280862"/>
                  <a:pt x="12107384" y="5281215"/>
                </a:cubicBezTo>
                <a:cubicBezTo>
                  <a:pt x="12100760" y="5283053"/>
                  <a:pt x="12098596" y="5288243"/>
                  <a:pt x="12097628" y="5294165"/>
                </a:cubicBezTo>
                <a:cubicBezTo>
                  <a:pt x="12097139" y="5296858"/>
                  <a:pt x="12096418" y="5298587"/>
                  <a:pt x="12092985" y="5298757"/>
                </a:cubicBezTo>
                <a:cubicBezTo>
                  <a:pt x="12088582" y="5298622"/>
                  <a:pt x="12086279" y="5301992"/>
                  <a:pt x="12084736" y="5305776"/>
                </a:cubicBezTo>
                <a:cubicBezTo>
                  <a:pt x="12083396" y="5308913"/>
                  <a:pt x="12082277" y="5312475"/>
                  <a:pt x="12080938" y="5315613"/>
                </a:cubicBezTo>
                <a:cubicBezTo>
                  <a:pt x="12080211" y="5317076"/>
                  <a:pt x="12079344" y="5318137"/>
                  <a:pt x="12078344" y="5318424"/>
                </a:cubicBezTo>
                <a:cubicBezTo>
                  <a:pt x="12077341" y="5318710"/>
                  <a:pt x="12076205" y="5318221"/>
                  <a:pt x="12074943" y="5316580"/>
                </a:cubicBezTo>
                <a:cubicBezTo>
                  <a:pt x="12074497" y="5315730"/>
                  <a:pt x="12073840" y="5314990"/>
                  <a:pt x="12072970" y="5314362"/>
                </a:cubicBezTo>
                <a:cubicBezTo>
                  <a:pt x="12071988" y="5313521"/>
                  <a:pt x="12071100" y="5311820"/>
                  <a:pt x="12069500" y="5312386"/>
                </a:cubicBezTo>
                <a:cubicBezTo>
                  <a:pt x="12068222" y="5313053"/>
                  <a:pt x="12067927" y="5314560"/>
                  <a:pt x="12067733" y="5315745"/>
                </a:cubicBezTo>
                <a:cubicBezTo>
                  <a:pt x="12066431" y="5321028"/>
                  <a:pt x="12065043" y="5321482"/>
                  <a:pt x="12060795" y="5318018"/>
                </a:cubicBezTo>
                <a:cubicBezTo>
                  <a:pt x="12059813" y="5317177"/>
                  <a:pt x="12059156" y="5316437"/>
                  <a:pt x="12058073" y="5315920"/>
                </a:cubicBezTo>
                <a:cubicBezTo>
                  <a:pt x="12056555" y="5315089"/>
                  <a:pt x="12055149" y="5314471"/>
                  <a:pt x="12053465" y="5316433"/>
                </a:cubicBezTo>
                <a:cubicBezTo>
                  <a:pt x="12052106" y="5318497"/>
                  <a:pt x="12052552" y="5319348"/>
                  <a:pt x="12053867" y="5320827"/>
                </a:cubicBezTo>
                <a:lnTo>
                  <a:pt x="12055906" y="5323855"/>
                </a:lnTo>
                <a:lnTo>
                  <a:pt x="12030632" y="5316009"/>
                </a:lnTo>
                <a:lnTo>
                  <a:pt x="12030879" y="5314160"/>
                </a:lnTo>
                <a:cubicBezTo>
                  <a:pt x="12030304" y="5312023"/>
                  <a:pt x="12028999" y="5311081"/>
                  <a:pt x="12026852" y="5311120"/>
                </a:cubicBezTo>
                <a:cubicBezTo>
                  <a:pt x="12025242" y="5311150"/>
                  <a:pt x="12023743" y="5311391"/>
                  <a:pt x="12022133" y="5311421"/>
                </a:cubicBezTo>
                <a:cubicBezTo>
                  <a:pt x="12019449" y="5311469"/>
                  <a:pt x="12017820" y="5310426"/>
                  <a:pt x="12016912" y="5307651"/>
                </a:cubicBezTo>
                <a:cubicBezTo>
                  <a:pt x="12014188" y="5299329"/>
                  <a:pt x="12008643" y="5295458"/>
                  <a:pt x="12000057" y="5295614"/>
                </a:cubicBezTo>
                <a:cubicBezTo>
                  <a:pt x="11998659" y="5295532"/>
                  <a:pt x="11996430" y="5296967"/>
                  <a:pt x="11995855" y="5294832"/>
                </a:cubicBezTo>
                <a:cubicBezTo>
                  <a:pt x="11995069" y="5292806"/>
                  <a:pt x="11996762" y="5291380"/>
                  <a:pt x="11998564" y="5290167"/>
                </a:cubicBezTo>
                <a:cubicBezTo>
                  <a:pt x="11998778" y="5290055"/>
                  <a:pt x="11998991" y="5289944"/>
                  <a:pt x="11999204" y="5289833"/>
                </a:cubicBezTo>
                <a:cubicBezTo>
                  <a:pt x="12003864" y="5286314"/>
                  <a:pt x="12004131" y="5283196"/>
                  <a:pt x="11999466" y="5280490"/>
                </a:cubicBezTo>
                <a:cubicBezTo>
                  <a:pt x="11995126" y="5277885"/>
                  <a:pt x="11994208" y="5274575"/>
                  <a:pt x="11994668" y="5270273"/>
                </a:cubicBezTo>
                <a:cubicBezTo>
                  <a:pt x="11995211" y="5264574"/>
                  <a:pt x="11995005" y="5258997"/>
                  <a:pt x="11990950" y="5254348"/>
                </a:cubicBezTo>
                <a:cubicBezTo>
                  <a:pt x="11989089" y="5252342"/>
                  <a:pt x="11990874" y="5250055"/>
                  <a:pt x="11992142" y="5248852"/>
                </a:cubicBezTo>
                <a:cubicBezTo>
                  <a:pt x="11996673" y="5244047"/>
                  <a:pt x="11997336" y="5239097"/>
                  <a:pt x="11995084" y="5233234"/>
                </a:cubicBezTo>
                <a:cubicBezTo>
                  <a:pt x="11993733" y="5229610"/>
                  <a:pt x="11994675" y="5228305"/>
                  <a:pt x="11999190" y="5228652"/>
                </a:cubicBezTo>
                <a:cubicBezTo>
                  <a:pt x="12008758" y="5229337"/>
                  <a:pt x="12017730" y="5220588"/>
                  <a:pt x="12017031" y="5211477"/>
                </a:cubicBezTo>
                <a:cubicBezTo>
                  <a:pt x="12016891" y="5209655"/>
                  <a:pt x="12016742" y="5207296"/>
                  <a:pt x="12014586" y="5206798"/>
                </a:cubicBezTo>
                <a:cubicBezTo>
                  <a:pt x="12012429" y="5206301"/>
                  <a:pt x="12009969" y="5206775"/>
                  <a:pt x="12008720" y="5209051"/>
                </a:cubicBezTo>
                <a:cubicBezTo>
                  <a:pt x="12007777" y="5210357"/>
                  <a:pt x="12007056" y="5212088"/>
                  <a:pt x="12006224" y="5213604"/>
                </a:cubicBezTo>
                <a:cubicBezTo>
                  <a:pt x="12005504" y="5215335"/>
                  <a:pt x="12004561" y="5216640"/>
                  <a:pt x="12002831" y="5215921"/>
                </a:cubicBezTo>
                <a:cubicBezTo>
                  <a:pt x="12000775" y="5215099"/>
                  <a:pt x="12000959" y="5213378"/>
                  <a:pt x="12001467" y="5211759"/>
                </a:cubicBezTo>
                <a:cubicBezTo>
                  <a:pt x="12001763" y="5210251"/>
                  <a:pt x="12002595" y="5208733"/>
                  <a:pt x="12003001" y="5207438"/>
                </a:cubicBezTo>
                <a:cubicBezTo>
                  <a:pt x="12003916" y="5204523"/>
                  <a:pt x="12003646" y="5201415"/>
                  <a:pt x="12000620" y="5200290"/>
                </a:cubicBezTo>
                <a:cubicBezTo>
                  <a:pt x="11998029" y="5199477"/>
                  <a:pt x="11996578" y="5202402"/>
                  <a:pt x="11995543" y="5204568"/>
                </a:cubicBezTo>
                <a:cubicBezTo>
                  <a:pt x="11994608" y="5206410"/>
                  <a:pt x="11994546" y="5208879"/>
                  <a:pt x="11992963" y="5210518"/>
                </a:cubicBezTo>
                <a:cubicBezTo>
                  <a:pt x="11990754" y="5213026"/>
                  <a:pt x="11988829" y="5213491"/>
                  <a:pt x="11987263" y="5209978"/>
                </a:cubicBezTo>
                <a:cubicBezTo>
                  <a:pt x="11985031" y="5205188"/>
                  <a:pt x="11984946" y="5200359"/>
                  <a:pt x="11985609" y="5195409"/>
                </a:cubicBezTo>
                <a:cubicBezTo>
                  <a:pt x="11986355" y="5189063"/>
                  <a:pt x="11985234" y="5186400"/>
                  <a:pt x="11979496" y="5183714"/>
                </a:cubicBezTo>
                <a:cubicBezTo>
                  <a:pt x="11977544" y="5182569"/>
                  <a:pt x="11975063" y="5181970"/>
                  <a:pt x="11972797" y="5181260"/>
                </a:cubicBezTo>
                <a:cubicBezTo>
                  <a:pt x="11971825" y="5180956"/>
                  <a:pt x="11970428" y="5180873"/>
                  <a:pt x="11970298" y="5179588"/>
                </a:cubicBezTo>
                <a:cubicBezTo>
                  <a:pt x="11970055" y="5178090"/>
                  <a:pt x="11971008" y="5177321"/>
                  <a:pt x="11971971" y="5177088"/>
                </a:cubicBezTo>
                <a:cubicBezTo>
                  <a:pt x="11976245" y="5175938"/>
                  <a:pt x="11976207" y="5173792"/>
                  <a:pt x="11974216" y="5170500"/>
                </a:cubicBezTo>
                <a:cubicBezTo>
                  <a:pt x="11971781" y="5166358"/>
                  <a:pt x="11972991" y="5161935"/>
                  <a:pt x="11974747" y="5158040"/>
                </a:cubicBezTo>
                <a:cubicBezTo>
                  <a:pt x="11976087" y="5154903"/>
                  <a:pt x="11975522" y="5153303"/>
                  <a:pt x="11972291" y="5152825"/>
                </a:cubicBezTo>
                <a:cubicBezTo>
                  <a:pt x="11970571" y="5152641"/>
                  <a:pt x="11969275" y="5152236"/>
                  <a:pt x="11968811" y="5150312"/>
                </a:cubicBezTo>
                <a:cubicBezTo>
                  <a:pt x="11968015" y="5147751"/>
                  <a:pt x="11969938" y="5147286"/>
                  <a:pt x="11971205" y="5146083"/>
                </a:cubicBezTo>
                <a:cubicBezTo>
                  <a:pt x="11971945" y="5145425"/>
                  <a:pt x="11973009" y="5144868"/>
                  <a:pt x="11973962" y="5144100"/>
                </a:cubicBezTo>
                <a:cubicBezTo>
                  <a:pt x="11979373" y="5140460"/>
                  <a:pt x="11978983" y="5136603"/>
                  <a:pt x="11973022" y="5133491"/>
                </a:cubicBezTo>
                <a:cubicBezTo>
                  <a:pt x="11972263" y="5133075"/>
                  <a:pt x="11971615" y="5132873"/>
                  <a:pt x="11971069" y="5132346"/>
                </a:cubicBezTo>
                <a:cubicBezTo>
                  <a:pt x="11969764" y="5131404"/>
                  <a:pt x="11968449" y="5129924"/>
                  <a:pt x="11969281" y="5128407"/>
                </a:cubicBezTo>
                <a:cubicBezTo>
                  <a:pt x="11969900" y="5127001"/>
                  <a:pt x="11971835" y="5127073"/>
                  <a:pt x="11973130" y="5127478"/>
                </a:cubicBezTo>
                <a:cubicBezTo>
                  <a:pt x="11974426" y="5127884"/>
                  <a:pt x="11975508" y="5128402"/>
                  <a:pt x="11976703" y="5129131"/>
                </a:cubicBezTo>
                <a:cubicBezTo>
                  <a:pt x="11978757" y="5129952"/>
                  <a:pt x="11980257" y="5129710"/>
                  <a:pt x="11981291" y="5127545"/>
                </a:cubicBezTo>
                <a:cubicBezTo>
                  <a:pt x="11983889" y="5122667"/>
                  <a:pt x="11988134" y="5119907"/>
                  <a:pt x="11992492" y="5117359"/>
                </a:cubicBezTo>
                <a:cubicBezTo>
                  <a:pt x="11997589" y="5114155"/>
                  <a:pt x="12003454" y="5111901"/>
                  <a:pt x="12008105" y="5107845"/>
                </a:cubicBezTo>
                <a:cubicBezTo>
                  <a:pt x="12009798" y="5106420"/>
                  <a:pt x="12011528" y="5107139"/>
                  <a:pt x="12012935" y="5107758"/>
                </a:cubicBezTo>
                <a:cubicBezTo>
                  <a:pt x="12017693" y="5109603"/>
                  <a:pt x="12022236" y="5111560"/>
                  <a:pt x="12026666" y="5107079"/>
                </a:cubicBezTo>
                <a:close/>
                <a:moveTo>
                  <a:pt x="790691" y="5082017"/>
                </a:moveTo>
                <a:cubicBezTo>
                  <a:pt x="793389" y="5081287"/>
                  <a:pt x="796170" y="5081019"/>
                  <a:pt x="799219" y="5082075"/>
                </a:cubicBezTo>
                <a:cubicBezTo>
                  <a:pt x="801368" y="5082716"/>
                  <a:pt x="803169" y="5083546"/>
                  <a:pt x="805191" y="5085612"/>
                </a:cubicBezTo>
                <a:cubicBezTo>
                  <a:pt x="808131" y="5088537"/>
                  <a:pt x="812145" y="5091782"/>
                  <a:pt x="817135" y="5087713"/>
                </a:cubicBezTo>
                <a:cubicBezTo>
                  <a:pt x="819032" y="5086231"/>
                  <a:pt x="820865" y="5087948"/>
                  <a:pt x="822096" y="5087730"/>
                </a:cubicBezTo>
                <a:cubicBezTo>
                  <a:pt x="828605" y="5086454"/>
                  <a:pt x="833313" y="5089322"/>
                  <a:pt x="837518" y="5092916"/>
                </a:cubicBezTo>
                <a:cubicBezTo>
                  <a:pt x="838530" y="5096435"/>
                  <a:pt x="839351" y="5099606"/>
                  <a:pt x="841059" y="5102748"/>
                </a:cubicBezTo>
                <a:cubicBezTo>
                  <a:pt x="842766" y="5105890"/>
                  <a:pt x="842388" y="5110164"/>
                  <a:pt x="840366" y="5113071"/>
                </a:cubicBezTo>
                <a:cubicBezTo>
                  <a:pt x="838503" y="5115440"/>
                  <a:pt x="837681" y="5117242"/>
                  <a:pt x="837777" y="5119904"/>
                </a:cubicBezTo>
                <a:cubicBezTo>
                  <a:pt x="833607" y="5122170"/>
                  <a:pt x="829436" y="5124436"/>
                  <a:pt x="825267" y="5126701"/>
                </a:cubicBezTo>
                <a:cubicBezTo>
                  <a:pt x="821632" y="5124155"/>
                  <a:pt x="817334" y="5122872"/>
                  <a:pt x="813447" y="5123176"/>
                </a:cubicBezTo>
                <a:cubicBezTo>
                  <a:pt x="809720" y="5122940"/>
                  <a:pt x="805833" y="5123243"/>
                  <a:pt x="801756" y="5123197"/>
                </a:cubicBezTo>
                <a:cubicBezTo>
                  <a:pt x="798029" y="5122963"/>
                  <a:pt x="793953" y="5122917"/>
                  <a:pt x="790288" y="5124455"/>
                </a:cubicBezTo>
                <a:cubicBezTo>
                  <a:pt x="786780" y="5125458"/>
                  <a:pt x="784252" y="5124117"/>
                  <a:pt x="781187" y="5122618"/>
                </a:cubicBezTo>
                <a:cubicBezTo>
                  <a:pt x="778121" y="5121119"/>
                  <a:pt x="776573" y="5117440"/>
                  <a:pt x="773191" y="5117015"/>
                </a:cubicBezTo>
                <a:cubicBezTo>
                  <a:pt x="771864" y="5114572"/>
                  <a:pt x="770725" y="5112477"/>
                  <a:pt x="769398" y="5110034"/>
                </a:cubicBezTo>
                <a:cubicBezTo>
                  <a:pt x="770441" y="5109467"/>
                  <a:pt x="770599" y="5108929"/>
                  <a:pt x="770219" y="5108231"/>
                </a:cubicBezTo>
                <a:cubicBezTo>
                  <a:pt x="767375" y="5102995"/>
                  <a:pt x="769332" y="5098314"/>
                  <a:pt x="772554" y="5094302"/>
                </a:cubicBezTo>
                <a:cubicBezTo>
                  <a:pt x="775428" y="5090480"/>
                  <a:pt x="777766" y="5086497"/>
                  <a:pt x="782662" y="5084740"/>
                </a:cubicBezTo>
                <a:cubicBezTo>
                  <a:pt x="785379" y="5083943"/>
                  <a:pt x="787994" y="5082748"/>
                  <a:pt x="790691" y="5082017"/>
                </a:cubicBezTo>
                <a:close/>
                <a:moveTo>
                  <a:pt x="568517" y="5041734"/>
                </a:moveTo>
                <a:lnTo>
                  <a:pt x="573346" y="5053137"/>
                </a:lnTo>
                <a:lnTo>
                  <a:pt x="574497" y="5050061"/>
                </a:lnTo>
                <a:close/>
                <a:moveTo>
                  <a:pt x="233828" y="5038094"/>
                </a:moveTo>
                <a:lnTo>
                  <a:pt x="233829" y="5038094"/>
                </a:lnTo>
                <a:cubicBezTo>
                  <a:pt x="237931" y="5038088"/>
                  <a:pt x="242734" y="5042109"/>
                  <a:pt x="246596" y="5045238"/>
                </a:cubicBezTo>
                <a:cubicBezTo>
                  <a:pt x="248140" y="5046491"/>
                  <a:pt x="248889" y="5048249"/>
                  <a:pt x="251325" y="5048559"/>
                </a:cubicBezTo>
                <a:cubicBezTo>
                  <a:pt x="253763" y="5048870"/>
                  <a:pt x="254511" y="5050629"/>
                  <a:pt x="254464" y="5052896"/>
                </a:cubicBezTo>
                <a:cubicBezTo>
                  <a:pt x="254609" y="5054295"/>
                  <a:pt x="254392" y="5056297"/>
                  <a:pt x="255864" y="5056850"/>
                </a:cubicBezTo>
                <a:cubicBezTo>
                  <a:pt x="260546" y="5058339"/>
                  <a:pt x="262332" y="5060554"/>
                  <a:pt x="259099" y="5064852"/>
                </a:cubicBezTo>
                <a:cubicBezTo>
                  <a:pt x="258207" y="5065793"/>
                  <a:pt x="258956" y="5067553"/>
                  <a:pt x="260524" y="5067672"/>
                </a:cubicBezTo>
                <a:cubicBezTo>
                  <a:pt x="265833" y="5068387"/>
                  <a:pt x="262962" y="5072081"/>
                  <a:pt x="263783" y="5074539"/>
                </a:cubicBezTo>
                <a:cubicBezTo>
                  <a:pt x="266488" y="5082880"/>
                  <a:pt x="256909" y="5086004"/>
                  <a:pt x="257104" y="5093336"/>
                </a:cubicBezTo>
                <a:cubicBezTo>
                  <a:pt x="257225" y="5095868"/>
                  <a:pt x="251338" y="5097758"/>
                  <a:pt x="248780" y="5099015"/>
                </a:cubicBezTo>
                <a:cubicBezTo>
                  <a:pt x="242700" y="5101772"/>
                  <a:pt x="238263" y="5109448"/>
                  <a:pt x="229696" y="5105963"/>
                </a:cubicBezTo>
                <a:cubicBezTo>
                  <a:pt x="228224" y="5105411"/>
                  <a:pt x="225787" y="5105101"/>
                  <a:pt x="223663" y="5106454"/>
                </a:cubicBezTo>
                <a:lnTo>
                  <a:pt x="223662" y="5106454"/>
                </a:lnTo>
                <a:cubicBezTo>
                  <a:pt x="220911" y="5108581"/>
                  <a:pt x="218305" y="5108006"/>
                  <a:pt x="215917" y="5105428"/>
                </a:cubicBezTo>
                <a:cubicBezTo>
                  <a:pt x="214203" y="5103911"/>
                  <a:pt x="212200" y="5103697"/>
                  <a:pt x="210028" y="5103217"/>
                </a:cubicBezTo>
                <a:cubicBezTo>
                  <a:pt x="204551" y="5102236"/>
                  <a:pt x="200593" y="5099540"/>
                  <a:pt x="198878" y="5093924"/>
                </a:cubicBezTo>
                <a:cubicBezTo>
                  <a:pt x="197984" y="5090766"/>
                  <a:pt x="195329" y="5088358"/>
                  <a:pt x="191662" y="5088460"/>
                </a:cubicBezTo>
                <a:cubicBezTo>
                  <a:pt x="190986" y="5087399"/>
                  <a:pt x="190311" y="5086340"/>
                  <a:pt x="189634" y="5085279"/>
                </a:cubicBezTo>
                <a:cubicBezTo>
                  <a:pt x="191178" y="5082431"/>
                  <a:pt x="191225" y="5080164"/>
                  <a:pt x="188764" y="5076889"/>
                </a:cubicBezTo>
                <a:cubicBezTo>
                  <a:pt x="185457" y="5072286"/>
                  <a:pt x="185214" y="5067222"/>
                  <a:pt x="189846" y="5062779"/>
                </a:cubicBezTo>
                <a:cubicBezTo>
                  <a:pt x="192066" y="5060991"/>
                  <a:pt x="190352" y="5059473"/>
                  <a:pt x="189338" y="5057884"/>
                </a:cubicBezTo>
                <a:cubicBezTo>
                  <a:pt x="187648" y="5055233"/>
                  <a:pt x="188372" y="5054027"/>
                  <a:pt x="191677" y="5054528"/>
                </a:cubicBezTo>
                <a:cubicBezTo>
                  <a:pt x="196552" y="5055148"/>
                  <a:pt x="198675" y="5053795"/>
                  <a:pt x="196598" y="5048781"/>
                </a:cubicBezTo>
                <a:cubicBezTo>
                  <a:pt x="196188" y="5047552"/>
                  <a:pt x="196140" y="5045719"/>
                  <a:pt x="198046" y="5046368"/>
                </a:cubicBezTo>
                <a:cubicBezTo>
                  <a:pt x="203693" y="5047614"/>
                  <a:pt x="204729" y="5043971"/>
                  <a:pt x="205862" y="5039894"/>
                </a:cubicBezTo>
                <a:cubicBezTo>
                  <a:pt x="205789" y="5039195"/>
                  <a:pt x="206852" y="5038518"/>
                  <a:pt x="207382" y="5038179"/>
                </a:cubicBezTo>
                <a:cubicBezTo>
                  <a:pt x="216117" y="5037830"/>
                  <a:pt x="224924" y="5038179"/>
                  <a:pt x="233828" y="5038094"/>
                </a:cubicBezTo>
                <a:close/>
                <a:moveTo>
                  <a:pt x="8348858" y="5006626"/>
                </a:moveTo>
                <a:lnTo>
                  <a:pt x="8348635" y="5006953"/>
                </a:lnTo>
                <a:lnTo>
                  <a:pt x="8342757" y="5017016"/>
                </a:lnTo>
                <a:lnTo>
                  <a:pt x="8340894" y="5022436"/>
                </a:lnTo>
                <a:lnTo>
                  <a:pt x="8346148" y="5027186"/>
                </a:lnTo>
                <a:lnTo>
                  <a:pt x="8357602" y="5014963"/>
                </a:lnTo>
                <a:close/>
                <a:moveTo>
                  <a:pt x="684890" y="4919580"/>
                </a:moveTo>
                <a:cubicBezTo>
                  <a:pt x="687608" y="4920009"/>
                  <a:pt x="690211" y="4921324"/>
                  <a:pt x="692646" y="4923014"/>
                </a:cubicBezTo>
                <a:cubicBezTo>
                  <a:pt x="697273" y="4926012"/>
                  <a:pt x="702040" y="4928379"/>
                  <a:pt x="704454" y="4933869"/>
                </a:cubicBezTo>
                <a:cubicBezTo>
                  <a:pt x="706727" y="4939989"/>
                  <a:pt x="710788" y="4945509"/>
                  <a:pt x="708851" y="4952691"/>
                </a:cubicBezTo>
                <a:cubicBezTo>
                  <a:pt x="708286" y="4955213"/>
                  <a:pt x="707477" y="4957351"/>
                  <a:pt x="705264" y="4959843"/>
                </a:cubicBezTo>
                <a:cubicBezTo>
                  <a:pt x="702138" y="4963458"/>
                  <a:pt x="698730" y="4968334"/>
                  <a:pt x="703809" y="4973746"/>
                </a:cubicBezTo>
                <a:cubicBezTo>
                  <a:pt x="705666" y="4975805"/>
                  <a:pt x="703839" y="4978051"/>
                  <a:pt x="704188" y="4979451"/>
                </a:cubicBezTo>
                <a:cubicBezTo>
                  <a:pt x="706179" y="4986832"/>
                  <a:pt x="703260" y="4992477"/>
                  <a:pt x="699466" y="4997599"/>
                </a:cubicBezTo>
                <a:cubicBezTo>
                  <a:pt x="695501" y="4999046"/>
                  <a:pt x="691922" y="5000246"/>
                  <a:pt x="688446" y="5002461"/>
                </a:cubicBezTo>
                <a:cubicBezTo>
                  <a:pt x="684972" y="5004677"/>
                  <a:pt x="680026" y="5004587"/>
                  <a:pt x="676521" y="5002496"/>
                </a:cubicBezTo>
                <a:cubicBezTo>
                  <a:pt x="673647" y="5000543"/>
                  <a:pt x="671509" y="4999744"/>
                  <a:pt x="668457" y="5000068"/>
                </a:cubicBezTo>
                <a:cubicBezTo>
                  <a:pt x="665516" y="4995455"/>
                  <a:pt x="662575" y="4990843"/>
                  <a:pt x="659635" y="4986230"/>
                </a:cubicBezTo>
                <a:cubicBezTo>
                  <a:pt x="662271" y="4981846"/>
                  <a:pt x="663399" y="4976801"/>
                  <a:pt x="662738" y="4972358"/>
                </a:cubicBezTo>
                <a:cubicBezTo>
                  <a:pt x="662708" y="4968052"/>
                  <a:pt x="662048" y="4963607"/>
                  <a:pt x="661772" y="4958917"/>
                </a:cubicBezTo>
                <a:cubicBezTo>
                  <a:pt x="661742" y="4954611"/>
                  <a:pt x="661467" y="4949921"/>
                  <a:pt x="659403" y="4945831"/>
                </a:cubicBezTo>
                <a:cubicBezTo>
                  <a:pt x="657970" y="4941879"/>
                  <a:pt x="659307" y="4938864"/>
                  <a:pt x="660784" y="4935219"/>
                </a:cubicBezTo>
                <a:cubicBezTo>
                  <a:pt x="662261" y="4931574"/>
                  <a:pt x="666368" y="4929497"/>
                  <a:pt x="666583" y="4925575"/>
                </a:cubicBezTo>
                <a:cubicBezTo>
                  <a:pt x="669285" y="4923851"/>
                  <a:pt x="671602" y="4922375"/>
                  <a:pt x="674306" y="4920652"/>
                </a:cubicBezTo>
                <a:cubicBezTo>
                  <a:pt x="675040" y="4921804"/>
                  <a:pt x="675672" y="4921943"/>
                  <a:pt x="676444" y="4921451"/>
                </a:cubicBezTo>
                <a:cubicBezTo>
                  <a:pt x="679340" y="4919604"/>
                  <a:pt x="682173" y="4919150"/>
                  <a:pt x="684890" y="4919580"/>
                </a:cubicBezTo>
                <a:close/>
                <a:moveTo>
                  <a:pt x="22389" y="4907938"/>
                </a:moveTo>
                <a:cubicBezTo>
                  <a:pt x="26797" y="4907932"/>
                  <a:pt x="31958" y="4912253"/>
                  <a:pt x="36107" y="4915616"/>
                </a:cubicBezTo>
                <a:cubicBezTo>
                  <a:pt x="37768" y="4916961"/>
                  <a:pt x="38572" y="4918852"/>
                  <a:pt x="41190" y="4919185"/>
                </a:cubicBezTo>
                <a:cubicBezTo>
                  <a:pt x="43810" y="4919518"/>
                  <a:pt x="44614" y="4921409"/>
                  <a:pt x="44562" y="4923846"/>
                </a:cubicBezTo>
                <a:cubicBezTo>
                  <a:pt x="44719" y="4925348"/>
                  <a:pt x="44486" y="4927500"/>
                  <a:pt x="46067" y="4928093"/>
                </a:cubicBezTo>
                <a:cubicBezTo>
                  <a:pt x="51098" y="4929693"/>
                  <a:pt x="53018" y="4932075"/>
                  <a:pt x="49544" y="4936692"/>
                </a:cubicBezTo>
                <a:cubicBezTo>
                  <a:pt x="48585" y="4937705"/>
                  <a:pt x="49389" y="4939595"/>
                  <a:pt x="51075" y="4939722"/>
                </a:cubicBezTo>
                <a:cubicBezTo>
                  <a:pt x="56780" y="4940492"/>
                  <a:pt x="53695" y="4944461"/>
                  <a:pt x="54577" y="4947104"/>
                </a:cubicBezTo>
                <a:cubicBezTo>
                  <a:pt x="57484" y="4956066"/>
                  <a:pt x="47191" y="4959424"/>
                  <a:pt x="47400" y="4967301"/>
                </a:cubicBezTo>
                <a:cubicBezTo>
                  <a:pt x="47531" y="4970023"/>
                  <a:pt x="41204" y="4972054"/>
                  <a:pt x="38456" y="4973404"/>
                </a:cubicBezTo>
                <a:cubicBezTo>
                  <a:pt x="31922" y="4976368"/>
                  <a:pt x="27154" y="4984615"/>
                  <a:pt x="17947" y="4980870"/>
                </a:cubicBezTo>
                <a:cubicBezTo>
                  <a:pt x="16366" y="4980277"/>
                  <a:pt x="13747" y="4979944"/>
                  <a:pt x="11466" y="4981398"/>
                </a:cubicBezTo>
                <a:cubicBezTo>
                  <a:pt x="8510" y="4983683"/>
                  <a:pt x="5710" y="4983064"/>
                  <a:pt x="3142" y="4980296"/>
                </a:cubicBezTo>
                <a:lnTo>
                  <a:pt x="0" y="4979116"/>
                </a:lnTo>
                <a:lnTo>
                  <a:pt x="0" y="4908010"/>
                </a:lnTo>
                <a:close/>
                <a:moveTo>
                  <a:pt x="12041898" y="4874853"/>
                </a:moveTo>
                <a:cubicBezTo>
                  <a:pt x="12045467" y="4877977"/>
                  <a:pt x="12049888" y="4879831"/>
                  <a:pt x="12054051" y="4879955"/>
                </a:cubicBezTo>
                <a:cubicBezTo>
                  <a:pt x="12057986" y="4880631"/>
                  <a:pt x="12062151" y="4880755"/>
                  <a:pt x="12066477" y="4881271"/>
                </a:cubicBezTo>
                <a:cubicBezTo>
                  <a:pt x="12070413" y="4881948"/>
                  <a:pt x="12074739" y="4882464"/>
                  <a:pt x="12078808" y="4881249"/>
                </a:cubicBezTo>
                <a:cubicBezTo>
                  <a:pt x="12082649" y="4880587"/>
                  <a:pt x="12085182" y="4882299"/>
                  <a:pt x="12088268" y="4884245"/>
                </a:cubicBezTo>
                <a:cubicBezTo>
                  <a:pt x="12091353" y="4886189"/>
                  <a:pt x="12092578" y="4890276"/>
                  <a:pt x="12096121" y="4891115"/>
                </a:cubicBezTo>
                <a:cubicBezTo>
                  <a:pt x="12097252" y="4893863"/>
                  <a:pt x="12098221" y="4896219"/>
                  <a:pt x="12099352" y="4898967"/>
                </a:cubicBezTo>
                <a:cubicBezTo>
                  <a:pt x="12098179" y="4899450"/>
                  <a:pt x="12097951" y="4900003"/>
                  <a:pt x="12098273" y="4900789"/>
                </a:cubicBezTo>
                <a:cubicBezTo>
                  <a:pt x="12100696" y="4906679"/>
                  <a:pt x="12098080" y="4911429"/>
                  <a:pt x="12094196" y="4915321"/>
                </a:cubicBezTo>
                <a:cubicBezTo>
                  <a:pt x="12090704" y="4919053"/>
                  <a:pt x="12087764" y="4923018"/>
                  <a:pt x="12082359" y="4924323"/>
                </a:cubicBezTo>
                <a:cubicBezTo>
                  <a:pt x="12076401" y="4925396"/>
                  <a:pt x="12070700" y="4928201"/>
                  <a:pt x="12064461" y="4925258"/>
                </a:cubicBezTo>
                <a:cubicBezTo>
                  <a:pt x="12062251" y="4924331"/>
                  <a:pt x="12060433" y="4923242"/>
                  <a:pt x="12058520" y="4920816"/>
                </a:cubicBezTo>
                <a:cubicBezTo>
                  <a:pt x="12055731" y="4917370"/>
                  <a:pt x="12051838" y="4913463"/>
                  <a:pt x="12046068" y="4917213"/>
                </a:cubicBezTo>
                <a:cubicBezTo>
                  <a:pt x="12043884" y="4918571"/>
                  <a:pt x="12042133" y="4916537"/>
                  <a:pt x="12040799" y="4916627"/>
                </a:cubicBezTo>
                <a:cubicBezTo>
                  <a:pt x="12033737" y="4917236"/>
                  <a:pt x="12029062" y="4913649"/>
                  <a:pt x="12025007" y="4909349"/>
                </a:cubicBezTo>
                <a:cubicBezTo>
                  <a:pt x="12024336" y="4905494"/>
                  <a:pt x="12023826" y="4902030"/>
                  <a:pt x="12022371" y="4898496"/>
                </a:cubicBezTo>
                <a:cubicBezTo>
                  <a:pt x="12020918" y="4894962"/>
                  <a:pt x="12021809" y="4890464"/>
                  <a:pt x="12024291" y="4887606"/>
                </a:cubicBezTo>
                <a:cubicBezTo>
                  <a:pt x="12026542" y="4885302"/>
                  <a:pt x="12027621" y="4883481"/>
                  <a:pt x="12027826" y="4880642"/>
                </a:cubicBezTo>
                <a:cubicBezTo>
                  <a:pt x="12032516" y="4878713"/>
                  <a:pt x="12037207" y="4876784"/>
                  <a:pt x="12041898" y="4874853"/>
                </a:cubicBezTo>
                <a:close/>
                <a:moveTo>
                  <a:pt x="180893" y="4730660"/>
                </a:moveTo>
                <a:cubicBezTo>
                  <a:pt x="183612" y="4731090"/>
                  <a:pt x="186214" y="4732404"/>
                  <a:pt x="188650" y="4734095"/>
                </a:cubicBezTo>
                <a:cubicBezTo>
                  <a:pt x="193277" y="4737092"/>
                  <a:pt x="198043" y="4739459"/>
                  <a:pt x="200457" y="4744948"/>
                </a:cubicBezTo>
                <a:cubicBezTo>
                  <a:pt x="202730" y="4751069"/>
                  <a:pt x="206791" y="4756589"/>
                  <a:pt x="204854" y="4763771"/>
                </a:cubicBezTo>
                <a:cubicBezTo>
                  <a:pt x="204290" y="4766293"/>
                  <a:pt x="203480" y="4768432"/>
                  <a:pt x="201267" y="4770922"/>
                </a:cubicBezTo>
                <a:cubicBezTo>
                  <a:pt x="198142" y="4774537"/>
                  <a:pt x="194733" y="4779413"/>
                  <a:pt x="199812" y="4784825"/>
                </a:cubicBezTo>
                <a:cubicBezTo>
                  <a:pt x="201669" y="4786886"/>
                  <a:pt x="199843" y="4789132"/>
                  <a:pt x="200191" y="4790531"/>
                </a:cubicBezTo>
                <a:cubicBezTo>
                  <a:pt x="202182" y="4797911"/>
                  <a:pt x="199263" y="4803557"/>
                  <a:pt x="195469" y="4808679"/>
                </a:cubicBezTo>
                <a:cubicBezTo>
                  <a:pt x="191505" y="4810125"/>
                  <a:pt x="187925" y="4811326"/>
                  <a:pt x="184450" y="4813541"/>
                </a:cubicBezTo>
                <a:cubicBezTo>
                  <a:pt x="180975" y="4815757"/>
                  <a:pt x="176030" y="4815666"/>
                  <a:pt x="172524" y="4813575"/>
                </a:cubicBezTo>
                <a:cubicBezTo>
                  <a:pt x="169651" y="4811623"/>
                  <a:pt x="167512" y="4810825"/>
                  <a:pt x="164460" y="4811148"/>
                </a:cubicBezTo>
                <a:cubicBezTo>
                  <a:pt x="161519" y="4806535"/>
                  <a:pt x="158578" y="4801923"/>
                  <a:pt x="155638" y="4797310"/>
                </a:cubicBezTo>
                <a:cubicBezTo>
                  <a:pt x="158274" y="4792926"/>
                  <a:pt x="159403" y="4787882"/>
                  <a:pt x="158741" y="4783438"/>
                </a:cubicBezTo>
                <a:cubicBezTo>
                  <a:pt x="158711" y="4779131"/>
                  <a:pt x="158051" y="4774688"/>
                  <a:pt x="157775" y="4769997"/>
                </a:cubicBezTo>
                <a:cubicBezTo>
                  <a:pt x="157746" y="4765691"/>
                  <a:pt x="157470" y="4761001"/>
                  <a:pt x="155406" y="4756911"/>
                </a:cubicBezTo>
                <a:cubicBezTo>
                  <a:pt x="153973" y="4752958"/>
                  <a:pt x="155309" y="4749945"/>
                  <a:pt x="156787" y="4746298"/>
                </a:cubicBezTo>
                <a:cubicBezTo>
                  <a:pt x="158265" y="4742654"/>
                  <a:pt x="162371" y="4740576"/>
                  <a:pt x="162586" y="4736656"/>
                </a:cubicBezTo>
                <a:cubicBezTo>
                  <a:pt x="165288" y="4734932"/>
                  <a:pt x="167606" y="4733454"/>
                  <a:pt x="170309" y="4731731"/>
                </a:cubicBezTo>
                <a:cubicBezTo>
                  <a:pt x="171044" y="4732885"/>
                  <a:pt x="171675" y="4733023"/>
                  <a:pt x="172447" y="4732531"/>
                </a:cubicBezTo>
                <a:cubicBezTo>
                  <a:pt x="175343" y="4730684"/>
                  <a:pt x="178176" y="4730230"/>
                  <a:pt x="180893" y="4730660"/>
                </a:cubicBezTo>
                <a:close/>
                <a:moveTo>
                  <a:pt x="559061" y="4720007"/>
                </a:moveTo>
                <a:lnTo>
                  <a:pt x="559502" y="4720229"/>
                </a:lnTo>
                <a:lnTo>
                  <a:pt x="558969" y="4720414"/>
                </a:lnTo>
                <a:close/>
                <a:moveTo>
                  <a:pt x="12179227" y="4693579"/>
                </a:moveTo>
                <a:cubicBezTo>
                  <a:pt x="12182126" y="4695112"/>
                  <a:pt x="12184295" y="4693765"/>
                  <a:pt x="12186943" y="4693585"/>
                </a:cubicBezTo>
                <a:lnTo>
                  <a:pt x="12191999" y="4694107"/>
                </a:lnTo>
                <a:lnTo>
                  <a:pt x="12191999" y="4784183"/>
                </a:lnTo>
                <a:lnTo>
                  <a:pt x="12182342" y="4784976"/>
                </a:lnTo>
                <a:cubicBezTo>
                  <a:pt x="12179602" y="4783830"/>
                  <a:pt x="12177251" y="4782527"/>
                  <a:pt x="12174215" y="4782867"/>
                </a:cubicBezTo>
                <a:cubicBezTo>
                  <a:pt x="12169626" y="4783846"/>
                  <a:pt x="12166339" y="4782472"/>
                  <a:pt x="12164969" y="4778039"/>
                </a:cubicBezTo>
                <a:cubicBezTo>
                  <a:pt x="12163690" y="4774930"/>
                  <a:pt x="12160791" y="4773397"/>
                  <a:pt x="12158759" y="4772870"/>
                </a:cubicBezTo>
                <a:cubicBezTo>
                  <a:pt x="12146729" y="4770096"/>
                  <a:pt x="12147778" y="4758307"/>
                  <a:pt x="12143256" y="4750626"/>
                </a:cubicBezTo>
                <a:cubicBezTo>
                  <a:pt x="12141430" y="4747288"/>
                  <a:pt x="12136453" y="4740704"/>
                  <a:pt x="12138530" y="4738032"/>
                </a:cubicBezTo>
                <a:cubicBezTo>
                  <a:pt x="12144373" y="4730178"/>
                  <a:pt x="12136313" y="4719409"/>
                  <a:pt x="12145673" y="4712380"/>
                </a:cubicBezTo>
                <a:cubicBezTo>
                  <a:pt x="12148457" y="4710326"/>
                  <a:pt x="12148159" y="4704087"/>
                  <a:pt x="12154507" y="4707382"/>
                </a:cubicBezTo>
                <a:cubicBezTo>
                  <a:pt x="12156309" y="4708458"/>
                  <a:pt x="12158478" y="4707112"/>
                  <a:pt x="12158228" y="4705398"/>
                </a:cubicBezTo>
                <a:cubicBezTo>
                  <a:pt x="12157997" y="4698223"/>
                  <a:pt x="12161651" y="4697175"/>
                  <a:pt x="12167906" y="4699144"/>
                </a:cubicBezTo>
                <a:cubicBezTo>
                  <a:pt x="12169938" y="4699672"/>
                  <a:pt x="12171237" y="4697320"/>
                  <a:pt x="12172471" y="4695904"/>
                </a:cubicBezTo>
                <a:cubicBezTo>
                  <a:pt x="12174160" y="4693392"/>
                  <a:pt x="12176328" y="4692046"/>
                  <a:pt x="12179227" y="4693579"/>
                </a:cubicBezTo>
                <a:close/>
                <a:moveTo>
                  <a:pt x="1144363" y="4643820"/>
                </a:moveTo>
                <a:cubicBezTo>
                  <a:pt x="1144363" y="4643820"/>
                  <a:pt x="1147575" y="4649385"/>
                  <a:pt x="1147575" y="4649385"/>
                </a:cubicBezTo>
                <a:lnTo>
                  <a:pt x="1147322" y="4650328"/>
                </a:lnTo>
                <a:close/>
                <a:moveTo>
                  <a:pt x="370394" y="4483520"/>
                </a:moveTo>
                <a:cubicBezTo>
                  <a:pt x="370317" y="4492270"/>
                  <a:pt x="372022" y="4497535"/>
                  <a:pt x="368538" y="4495754"/>
                </a:cubicBezTo>
                <a:cubicBezTo>
                  <a:pt x="366834" y="4490489"/>
                  <a:pt x="366911" y="4481739"/>
                  <a:pt x="370394" y="4483520"/>
                </a:cubicBezTo>
                <a:close/>
                <a:moveTo>
                  <a:pt x="118469" y="4473538"/>
                </a:moveTo>
                <a:cubicBezTo>
                  <a:pt x="122571" y="4473534"/>
                  <a:pt x="127375" y="4477553"/>
                  <a:pt x="131235" y="4480683"/>
                </a:cubicBezTo>
                <a:cubicBezTo>
                  <a:pt x="132780" y="4481935"/>
                  <a:pt x="133529" y="4483695"/>
                  <a:pt x="135966" y="4484005"/>
                </a:cubicBezTo>
                <a:cubicBezTo>
                  <a:pt x="138403" y="4484315"/>
                  <a:pt x="139151" y="4486074"/>
                  <a:pt x="139103" y="4488341"/>
                </a:cubicBezTo>
                <a:cubicBezTo>
                  <a:pt x="139249" y="4489739"/>
                  <a:pt x="139033" y="4491741"/>
                  <a:pt x="140505" y="4492294"/>
                </a:cubicBezTo>
                <a:cubicBezTo>
                  <a:pt x="145186" y="4493783"/>
                  <a:pt x="146972" y="4495999"/>
                  <a:pt x="143740" y="4500297"/>
                </a:cubicBezTo>
                <a:cubicBezTo>
                  <a:pt x="142847" y="4501239"/>
                  <a:pt x="143596" y="4502997"/>
                  <a:pt x="145164" y="4503116"/>
                </a:cubicBezTo>
                <a:cubicBezTo>
                  <a:pt x="150473" y="4503833"/>
                  <a:pt x="147603" y="4507526"/>
                  <a:pt x="148424" y="4509985"/>
                </a:cubicBezTo>
                <a:cubicBezTo>
                  <a:pt x="151127" y="4518325"/>
                  <a:pt x="141549" y="4521450"/>
                  <a:pt x="141744" y="4528781"/>
                </a:cubicBezTo>
                <a:cubicBezTo>
                  <a:pt x="141866" y="4531313"/>
                  <a:pt x="135978" y="4533202"/>
                  <a:pt x="133421" y="4534461"/>
                </a:cubicBezTo>
                <a:cubicBezTo>
                  <a:pt x="127341" y="4537218"/>
                  <a:pt x="122903" y="4544893"/>
                  <a:pt x="114336" y="4541409"/>
                </a:cubicBezTo>
                <a:cubicBezTo>
                  <a:pt x="112864" y="4540856"/>
                  <a:pt x="110426" y="4540546"/>
                  <a:pt x="108304" y="4541899"/>
                </a:cubicBezTo>
                <a:cubicBezTo>
                  <a:pt x="105553" y="4544025"/>
                  <a:pt x="102947" y="4543450"/>
                  <a:pt x="100558" y="4540872"/>
                </a:cubicBezTo>
                <a:cubicBezTo>
                  <a:pt x="98844" y="4539356"/>
                  <a:pt x="96842" y="4539141"/>
                  <a:pt x="94670" y="4538662"/>
                </a:cubicBezTo>
                <a:cubicBezTo>
                  <a:pt x="89192" y="4537681"/>
                  <a:pt x="85234" y="4534986"/>
                  <a:pt x="83520" y="4529369"/>
                </a:cubicBezTo>
                <a:cubicBezTo>
                  <a:pt x="82626" y="4526211"/>
                  <a:pt x="79971" y="4523803"/>
                  <a:pt x="76304" y="4523905"/>
                </a:cubicBezTo>
                <a:cubicBezTo>
                  <a:pt x="75628" y="4522845"/>
                  <a:pt x="74952" y="4521785"/>
                  <a:pt x="74276" y="4520724"/>
                </a:cubicBezTo>
                <a:cubicBezTo>
                  <a:pt x="75820" y="4517876"/>
                  <a:pt x="75868" y="4515610"/>
                  <a:pt x="73405" y="4512333"/>
                </a:cubicBezTo>
                <a:cubicBezTo>
                  <a:pt x="70099" y="4507731"/>
                  <a:pt x="69855" y="4502667"/>
                  <a:pt x="74488" y="4498223"/>
                </a:cubicBezTo>
                <a:cubicBezTo>
                  <a:pt x="76708" y="4496436"/>
                  <a:pt x="74993" y="4494919"/>
                  <a:pt x="73980" y="4493329"/>
                </a:cubicBezTo>
                <a:cubicBezTo>
                  <a:pt x="72290" y="4490678"/>
                  <a:pt x="73013" y="4489471"/>
                  <a:pt x="76320" y="4489973"/>
                </a:cubicBezTo>
                <a:cubicBezTo>
                  <a:pt x="81194" y="4490593"/>
                  <a:pt x="83317" y="4489240"/>
                  <a:pt x="81241" y="4484226"/>
                </a:cubicBezTo>
                <a:cubicBezTo>
                  <a:pt x="80830" y="4482997"/>
                  <a:pt x="80781" y="4481164"/>
                  <a:pt x="82688" y="4481813"/>
                </a:cubicBezTo>
                <a:cubicBezTo>
                  <a:pt x="88334" y="4483059"/>
                  <a:pt x="89371" y="4479416"/>
                  <a:pt x="90505" y="4475339"/>
                </a:cubicBezTo>
                <a:cubicBezTo>
                  <a:pt x="90432" y="4474639"/>
                  <a:pt x="91493" y="4473963"/>
                  <a:pt x="92024" y="4473624"/>
                </a:cubicBezTo>
                <a:cubicBezTo>
                  <a:pt x="100758" y="4473274"/>
                  <a:pt x="109566" y="4473624"/>
                  <a:pt x="118469" y="4473538"/>
                </a:cubicBezTo>
                <a:close/>
                <a:moveTo>
                  <a:pt x="1192990" y="4448284"/>
                </a:moveTo>
                <a:lnTo>
                  <a:pt x="1193752" y="4459494"/>
                </a:lnTo>
                <a:lnTo>
                  <a:pt x="1196455" y="4463503"/>
                </a:lnTo>
                <a:close/>
                <a:moveTo>
                  <a:pt x="393998" y="4398066"/>
                </a:moveTo>
                <a:cubicBezTo>
                  <a:pt x="398099" y="4398061"/>
                  <a:pt x="402902" y="4402081"/>
                  <a:pt x="406764" y="4405211"/>
                </a:cubicBezTo>
                <a:cubicBezTo>
                  <a:pt x="408308" y="4406463"/>
                  <a:pt x="409057" y="4408223"/>
                  <a:pt x="411494" y="4408533"/>
                </a:cubicBezTo>
                <a:cubicBezTo>
                  <a:pt x="413931" y="4408842"/>
                  <a:pt x="414680" y="4410602"/>
                  <a:pt x="414632" y="4412869"/>
                </a:cubicBezTo>
                <a:cubicBezTo>
                  <a:pt x="414777" y="4414267"/>
                  <a:pt x="414560" y="4416270"/>
                  <a:pt x="416032" y="4416823"/>
                </a:cubicBezTo>
                <a:cubicBezTo>
                  <a:pt x="420714" y="4418311"/>
                  <a:pt x="422500" y="4420527"/>
                  <a:pt x="419268" y="4424825"/>
                </a:cubicBezTo>
                <a:cubicBezTo>
                  <a:pt x="418375" y="4425767"/>
                  <a:pt x="419124" y="4427525"/>
                  <a:pt x="420692" y="4427644"/>
                </a:cubicBezTo>
                <a:cubicBezTo>
                  <a:pt x="426001" y="4428360"/>
                  <a:pt x="423130" y="4432054"/>
                  <a:pt x="423951" y="4434513"/>
                </a:cubicBezTo>
                <a:cubicBezTo>
                  <a:pt x="426656" y="4442853"/>
                  <a:pt x="417077" y="4445978"/>
                  <a:pt x="417272" y="4453309"/>
                </a:cubicBezTo>
                <a:cubicBezTo>
                  <a:pt x="417393" y="4455841"/>
                  <a:pt x="411506" y="4457730"/>
                  <a:pt x="408949" y="4458989"/>
                </a:cubicBezTo>
                <a:cubicBezTo>
                  <a:pt x="402868" y="4461746"/>
                  <a:pt x="398431" y="4469421"/>
                  <a:pt x="389864" y="4465937"/>
                </a:cubicBezTo>
                <a:cubicBezTo>
                  <a:pt x="388392" y="4465383"/>
                  <a:pt x="385955" y="4465073"/>
                  <a:pt x="383832" y="4466428"/>
                </a:cubicBezTo>
                <a:cubicBezTo>
                  <a:pt x="381082" y="4468553"/>
                  <a:pt x="378476" y="4467978"/>
                  <a:pt x="376086" y="4465401"/>
                </a:cubicBezTo>
                <a:cubicBezTo>
                  <a:pt x="374373" y="4463884"/>
                  <a:pt x="372370" y="4463669"/>
                  <a:pt x="370198" y="4463190"/>
                </a:cubicBezTo>
                <a:cubicBezTo>
                  <a:pt x="364720" y="4462209"/>
                  <a:pt x="360763" y="4459514"/>
                  <a:pt x="359048" y="4453897"/>
                </a:cubicBezTo>
                <a:cubicBezTo>
                  <a:pt x="358154" y="4450739"/>
                  <a:pt x="355499" y="4448331"/>
                  <a:pt x="351832" y="4448433"/>
                </a:cubicBezTo>
                <a:cubicBezTo>
                  <a:pt x="351155" y="4447373"/>
                  <a:pt x="350480" y="4446312"/>
                  <a:pt x="349804" y="4445252"/>
                </a:cubicBezTo>
                <a:cubicBezTo>
                  <a:pt x="351348" y="4442404"/>
                  <a:pt x="351395" y="4440137"/>
                  <a:pt x="348934" y="4436861"/>
                </a:cubicBezTo>
                <a:cubicBezTo>
                  <a:pt x="345626" y="4432259"/>
                  <a:pt x="345384" y="4427195"/>
                  <a:pt x="350016" y="4422751"/>
                </a:cubicBezTo>
                <a:cubicBezTo>
                  <a:pt x="352235" y="4420963"/>
                  <a:pt x="350521" y="4419447"/>
                  <a:pt x="349509" y="4417856"/>
                </a:cubicBezTo>
                <a:cubicBezTo>
                  <a:pt x="347818" y="4415206"/>
                  <a:pt x="348542" y="4413999"/>
                  <a:pt x="351847" y="4414501"/>
                </a:cubicBezTo>
                <a:cubicBezTo>
                  <a:pt x="356721" y="4415121"/>
                  <a:pt x="358845" y="4413768"/>
                  <a:pt x="356768" y="4408754"/>
                </a:cubicBezTo>
                <a:cubicBezTo>
                  <a:pt x="356359" y="4407525"/>
                  <a:pt x="356310" y="4405692"/>
                  <a:pt x="358216" y="4406340"/>
                </a:cubicBezTo>
                <a:cubicBezTo>
                  <a:pt x="363863" y="4407587"/>
                  <a:pt x="364899" y="4403944"/>
                  <a:pt x="366032" y="4399867"/>
                </a:cubicBezTo>
                <a:cubicBezTo>
                  <a:pt x="365959" y="4399167"/>
                  <a:pt x="367021" y="4398490"/>
                  <a:pt x="367552" y="4398153"/>
                </a:cubicBezTo>
                <a:cubicBezTo>
                  <a:pt x="376287" y="4397802"/>
                  <a:pt x="385094" y="4398152"/>
                  <a:pt x="393998" y="4398066"/>
                </a:cubicBezTo>
                <a:close/>
                <a:moveTo>
                  <a:pt x="12179050" y="4254399"/>
                </a:moveTo>
                <a:cubicBezTo>
                  <a:pt x="12181572" y="4256413"/>
                  <a:pt x="12183787" y="4256859"/>
                  <a:pt x="12187434" y="4255019"/>
                </a:cubicBezTo>
                <a:lnTo>
                  <a:pt x="12191999" y="4256204"/>
                </a:lnTo>
                <a:lnTo>
                  <a:pt x="12191999" y="4327898"/>
                </a:lnTo>
                <a:lnTo>
                  <a:pt x="12191598" y="4328330"/>
                </a:lnTo>
                <a:cubicBezTo>
                  <a:pt x="12190235" y="4328721"/>
                  <a:pt x="12188702" y="4328081"/>
                  <a:pt x="12186879" y="4326118"/>
                </a:cubicBezTo>
                <a:cubicBezTo>
                  <a:pt x="12186111" y="4325077"/>
                  <a:pt x="12184254" y="4325502"/>
                  <a:pt x="12183863" y="4327020"/>
                </a:cubicBezTo>
                <a:cubicBezTo>
                  <a:pt x="12182227" y="4332100"/>
                  <a:pt x="12179108" y="4328636"/>
                  <a:pt x="12176554" y="4329010"/>
                </a:cubicBezTo>
                <a:cubicBezTo>
                  <a:pt x="12167897" y="4330197"/>
                  <a:pt x="12166516" y="4320252"/>
                  <a:pt x="12159292" y="4319155"/>
                </a:cubicBezTo>
                <a:cubicBezTo>
                  <a:pt x="12156786" y="4318829"/>
                  <a:pt x="12155968" y="4312724"/>
                  <a:pt x="12155184" y="4309994"/>
                </a:cubicBezTo>
                <a:cubicBezTo>
                  <a:pt x="12153547" y="4303546"/>
                  <a:pt x="12146799" y="4297845"/>
                  <a:pt x="12151723" y="4290055"/>
                </a:cubicBezTo>
                <a:cubicBezTo>
                  <a:pt x="12152524" y="4288708"/>
                  <a:pt x="12153256" y="4286372"/>
                  <a:pt x="12152301" y="4284052"/>
                </a:cubicBezTo>
                <a:cubicBezTo>
                  <a:pt x="12150699" y="4280982"/>
                  <a:pt x="12151721" y="4278527"/>
                  <a:pt x="12154669" y="4276635"/>
                </a:cubicBezTo>
                <a:cubicBezTo>
                  <a:pt x="12156458" y="4275222"/>
                  <a:pt x="12157021" y="4273294"/>
                  <a:pt x="12157873" y="4271250"/>
                </a:cubicBezTo>
                <a:cubicBezTo>
                  <a:pt x="12159797" y="4266049"/>
                  <a:pt x="12163136" y="4262641"/>
                  <a:pt x="12168947" y="4261946"/>
                </a:cubicBezTo>
                <a:cubicBezTo>
                  <a:pt x="12172201" y="4261624"/>
                  <a:pt x="12175029" y="4259443"/>
                  <a:pt x="12175574" y="4255829"/>
                </a:cubicBezTo>
                <a:cubicBezTo>
                  <a:pt x="12176732" y="4255352"/>
                  <a:pt x="12177891" y="4254876"/>
                  <a:pt x="12179050" y="4254399"/>
                </a:cubicBezTo>
                <a:close/>
                <a:moveTo>
                  <a:pt x="0" y="4199775"/>
                </a:moveTo>
                <a:lnTo>
                  <a:pt x="5035" y="4218766"/>
                </a:lnTo>
                <a:cubicBezTo>
                  <a:pt x="4341" y="4221892"/>
                  <a:pt x="3403" y="4224637"/>
                  <a:pt x="4342" y="4227795"/>
                </a:cubicBezTo>
                <a:cubicBezTo>
                  <a:pt x="6254" y="4232480"/>
                  <a:pt x="5422" y="4236230"/>
                  <a:pt x="975" y="4238528"/>
                </a:cubicBezTo>
                <a:lnTo>
                  <a:pt x="0" y="4240243"/>
                </a:lnTo>
                <a:close/>
                <a:moveTo>
                  <a:pt x="146591" y="4111897"/>
                </a:moveTo>
                <a:cubicBezTo>
                  <a:pt x="150419" y="4112503"/>
                  <a:pt x="154084" y="4114353"/>
                  <a:pt x="157514" y="4116734"/>
                </a:cubicBezTo>
                <a:cubicBezTo>
                  <a:pt x="164029" y="4120956"/>
                  <a:pt x="170742" y="4124289"/>
                  <a:pt x="174141" y="4132019"/>
                </a:cubicBezTo>
                <a:cubicBezTo>
                  <a:pt x="177341" y="4140637"/>
                  <a:pt x="183061" y="4148411"/>
                  <a:pt x="180332" y="4158525"/>
                </a:cubicBezTo>
                <a:cubicBezTo>
                  <a:pt x="179538" y="4162076"/>
                  <a:pt x="178398" y="4165087"/>
                  <a:pt x="175282" y="4168596"/>
                </a:cubicBezTo>
                <a:cubicBezTo>
                  <a:pt x="170880" y="4173686"/>
                  <a:pt x="166080" y="4180553"/>
                  <a:pt x="173233" y="4188174"/>
                </a:cubicBezTo>
                <a:cubicBezTo>
                  <a:pt x="175848" y="4191075"/>
                  <a:pt x="173275" y="4194238"/>
                  <a:pt x="173766" y="4196209"/>
                </a:cubicBezTo>
                <a:cubicBezTo>
                  <a:pt x="176569" y="4206603"/>
                  <a:pt x="172460" y="4214552"/>
                  <a:pt x="167117" y="4221765"/>
                </a:cubicBezTo>
                <a:cubicBezTo>
                  <a:pt x="161533" y="4223802"/>
                  <a:pt x="156492" y="4225493"/>
                  <a:pt x="151599" y="4228612"/>
                </a:cubicBezTo>
                <a:cubicBezTo>
                  <a:pt x="146705" y="4231733"/>
                  <a:pt x="139740" y="4231605"/>
                  <a:pt x="134805" y="4228661"/>
                </a:cubicBezTo>
                <a:cubicBezTo>
                  <a:pt x="130758" y="4225912"/>
                  <a:pt x="127747" y="4224786"/>
                  <a:pt x="123448" y="4225243"/>
                </a:cubicBezTo>
                <a:cubicBezTo>
                  <a:pt x="119307" y="4218747"/>
                  <a:pt x="115166" y="4212252"/>
                  <a:pt x="111025" y="4205755"/>
                </a:cubicBezTo>
                <a:cubicBezTo>
                  <a:pt x="114737" y="4199582"/>
                  <a:pt x="116326" y="4192478"/>
                  <a:pt x="115395" y="4186219"/>
                </a:cubicBezTo>
                <a:cubicBezTo>
                  <a:pt x="115353" y="4180156"/>
                  <a:pt x="114422" y="4173898"/>
                  <a:pt x="114036" y="4167292"/>
                </a:cubicBezTo>
                <a:cubicBezTo>
                  <a:pt x="113994" y="4161229"/>
                  <a:pt x="113607" y="4154624"/>
                  <a:pt x="110698" y="4148864"/>
                </a:cubicBezTo>
                <a:cubicBezTo>
                  <a:pt x="108681" y="4143299"/>
                  <a:pt x="110562" y="4139054"/>
                  <a:pt x="112643" y="4133920"/>
                </a:cubicBezTo>
                <a:cubicBezTo>
                  <a:pt x="114725" y="4128787"/>
                  <a:pt x="120507" y="4125862"/>
                  <a:pt x="120810" y="4120339"/>
                </a:cubicBezTo>
                <a:cubicBezTo>
                  <a:pt x="124616" y="4117913"/>
                  <a:pt x="127878" y="4115833"/>
                  <a:pt x="131685" y="4113407"/>
                </a:cubicBezTo>
                <a:cubicBezTo>
                  <a:pt x="132721" y="4115030"/>
                  <a:pt x="133609" y="4115225"/>
                  <a:pt x="134697" y="4114532"/>
                </a:cubicBezTo>
                <a:cubicBezTo>
                  <a:pt x="138775" y="4111932"/>
                  <a:pt x="142764" y="4111292"/>
                  <a:pt x="146591" y="4111897"/>
                </a:cubicBezTo>
                <a:close/>
                <a:moveTo>
                  <a:pt x="12155223" y="3990579"/>
                </a:moveTo>
                <a:cubicBezTo>
                  <a:pt x="12157744" y="3992593"/>
                  <a:pt x="12159961" y="3993038"/>
                  <a:pt x="12163606" y="3991200"/>
                </a:cubicBezTo>
                <a:cubicBezTo>
                  <a:pt x="12168700" y="3988764"/>
                  <a:pt x="12173710" y="3989416"/>
                  <a:pt x="12177254" y="3994741"/>
                </a:cubicBezTo>
                <a:cubicBezTo>
                  <a:pt x="12178618" y="3997231"/>
                  <a:pt x="12180407" y="3995817"/>
                  <a:pt x="12182145" y="3995102"/>
                </a:cubicBezTo>
                <a:cubicBezTo>
                  <a:pt x="12185042" y="3993911"/>
                  <a:pt x="12186098" y="3994833"/>
                  <a:pt x="12185025" y="3997987"/>
                </a:cubicBezTo>
                <a:cubicBezTo>
                  <a:pt x="12183561" y="4002658"/>
                  <a:pt x="12184514" y="4004979"/>
                  <a:pt x="12189796" y="4003823"/>
                </a:cubicBezTo>
                <a:cubicBezTo>
                  <a:pt x="12191074" y="4003637"/>
                  <a:pt x="12192881" y="4003911"/>
                  <a:pt x="12191909" y="4005667"/>
                </a:cubicBezTo>
                <a:lnTo>
                  <a:pt x="12191999" y="4005826"/>
                </a:lnTo>
                <a:lnTo>
                  <a:pt x="12191999" y="4044331"/>
                </a:lnTo>
                <a:lnTo>
                  <a:pt x="12184485" y="4053480"/>
                </a:lnTo>
                <a:cubicBezTo>
                  <a:pt x="12182986" y="4054775"/>
                  <a:pt x="12181128" y="4055201"/>
                  <a:pt x="12180396" y="4057537"/>
                </a:cubicBezTo>
                <a:cubicBezTo>
                  <a:pt x="12179664" y="4059872"/>
                  <a:pt x="12177806" y="4060298"/>
                  <a:pt x="12175591" y="4059852"/>
                </a:cubicBezTo>
                <a:cubicBezTo>
                  <a:pt x="12174195" y="4059749"/>
                  <a:pt x="12172269" y="4059184"/>
                  <a:pt x="12171469" y="4060531"/>
                </a:cubicBezTo>
                <a:cubicBezTo>
                  <a:pt x="12169186" y="4064860"/>
                  <a:pt x="12166698" y="4066223"/>
                  <a:pt x="12163051" y="4062297"/>
                </a:cubicBezTo>
                <a:cubicBezTo>
                  <a:pt x="12162285" y="4061258"/>
                  <a:pt x="12160428" y="4061682"/>
                  <a:pt x="12160035" y="4063199"/>
                </a:cubicBezTo>
                <a:cubicBezTo>
                  <a:pt x="12158401" y="4068280"/>
                  <a:pt x="12155282" y="4064816"/>
                  <a:pt x="12152726" y="4065189"/>
                </a:cubicBezTo>
                <a:cubicBezTo>
                  <a:pt x="12144071" y="4066376"/>
                  <a:pt x="12142690" y="4056433"/>
                  <a:pt x="12135464" y="4055335"/>
                </a:cubicBezTo>
                <a:cubicBezTo>
                  <a:pt x="12132960" y="4055010"/>
                  <a:pt x="12132141" y="4048903"/>
                  <a:pt x="12131357" y="4046174"/>
                </a:cubicBezTo>
                <a:cubicBezTo>
                  <a:pt x="12129721" y="4039726"/>
                  <a:pt x="12122973" y="4034025"/>
                  <a:pt x="12127897" y="4026234"/>
                </a:cubicBezTo>
                <a:cubicBezTo>
                  <a:pt x="12128696" y="4024889"/>
                  <a:pt x="12129429" y="4022553"/>
                  <a:pt x="12128475" y="4020233"/>
                </a:cubicBezTo>
                <a:cubicBezTo>
                  <a:pt x="12126872" y="4017161"/>
                  <a:pt x="12127894" y="4014706"/>
                  <a:pt x="12130842" y="4012816"/>
                </a:cubicBezTo>
                <a:cubicBezTo>
                  <a:pt x="12132631" y="4011402"/>
                  <a:pt x="12133193" y="4009475"/>
                  <a:pt x="12134045" y="4007429"/>
                </a:cubicBezTo>
                <a:cubicBezTo>
                  <a:pt x="12135970" y="4002229"/>
                  <a:pt x="12139310" y="3998821"/>
                  <a:pt x="12145119" y="3998126"/>
                </a:cubicBezTo>
                <a:cubicBezTo>
                  <a:pt x="12148374" y="3997805"/>
                  <a:pt x="12151203" y="3995624"/>
                  <a:pt x="12151747" y="3992009"/>
                </a:cubicBezTo>
                <a:cubicBezTo>
                  <a:pt x="12152905" y="3991532"/>
                  <a:pt x="12154064" y="3991056"/>
                  <a:pt x="12155223" y="3990579"/>
                </a:cubicBezTo>
                <a:close/>
                <a:moveTo>
                  <a:pt x="12191999" y="3678488"/>
                </a:moveTo>
                <a:lnTo>
                  <a:pt x="12191999" y="3764525"/>
                </a:lnTo>
                <a:lnTo>
                  <a:pt x="12191339" y="3764446"/>
                </a:lnTo>
                <a:cubicBezTo>
                  <a:pt x="12188979" y="3767671"/>
                  <a:pt x="12186311" y="3768153"/>
                  <a:pt x="12182962" y="3767482"/>
                </a:cubicBezTo>
                <a:cubicBezTo>
                  <a:pt x="12178521" y="3766644"/>
                  <a:pt x="12174122" y="3766405"/>
                  <a:pt x="12170176" y="3769258"/>
                </a:cubicBezTo>
                <a:cubicBezTo>
                  <a:pt x="12168464" y="3770577"/>
                  <a:pt x="12166795" y="3769010"/>
                  <a:pt x="12165940" y="3767926"/>
                </a:cubicBezTo>
                <a:cubicBezTo>
                  <a:pt x="12162489" y="3764018"/>
                  <a:pt x="12158646" y="3763141"/>
                  <a:pt x="12153876" y="3764488"/>
                </a:cubicBezTo>
                <a:cubicBezTo>
                  <a:pt x="12150929" y="3765291"/>
                  <a:pt x="12149971" y="3764456"/>
                  <a:pt x="12150569" y="3760930"/>
                </a:cubicBezTo>
                <a:cubicBezTo>
                  <a:pt x="12151797" y="3753459"/>
                  <a:pt x="12145564" y="3745776"/>
                  <a:pt x="12138351" y="3745670"/>
                </a:cubicBezTo>
                <a:cubicBezTo>
                  <a:pt x="12136910" y="3745648"/>
                  <a:pt x="12135045" y="3745595"/>
                  <a:pt x="12134497" y="3747255"/>
                </a:cubicBezTo>
                <a:cubicBezTo>
                  <a:pt x="12133951" y="3748913"/>
                  <a:pt x="12134147" y="3750882"/>
                  <a:pt x="12135846" y="3752028"/>
                </a:cubicBezTo>
                <a:cubicBezTo>
                  <a:pt x="12136804" y="3752863"/>
                  <a:pt x="12138114" y="3753555"/>
                  <a:pt x="12139246" y="3754317"/>
                </a:cubicBezTo>
                <a:cubicBezTo>
                  <a:pt x="12140556" y="3755009"/>
                  <a:pt x="12141513" y="3755844"/>
                  <a:pt x="12140822" y="3757153"/>
                </a:cubicBezTo>
                <a:cubicBezTo>
                  <a:pt x="12140029" y="3758709"/>
                  <a:pt x="12138689" y="3758440"/>
                  <a:pt x="12137453" y="3757924"/>
                </a:cubicBezTo>
                <a:cubicBezTo>
                  <a:pt x="12136289" y="3757583"/>
                  <a:pt x="12135155" y="3756820"/>
                  <a:pt x="12134166" y="3756407"/>
                </a:cubicBezTo>
                <a:cubicBezTo>
                  <a:pt x="12131941" y="3755478"/>
                  <a:pt x="12129478" y="3755467"/>
                  <a:pt x="12128375" y="3757765"/>
                </a:cubicBezTo>
                <a:cubicBezTo>
                  <a:pt x="12127551" y="3759744"/>
                  <a:pt x="12129746" y="3761095"/>
                  <a:pt x="12131373" y="3762065"/>
                </a:cubicBezTo>
                <a:cubicBezTo>
                  <a:pt x="12132755" y="3762931"/>
                  <a:pt x="12134691" y="3763159"/>
                  <a:pt x="12135866" y="3764520"/>
                </a:cubicBezTo>
                <a:cubicBezTo>
                  <a:pt x="12137679" y="3766438"/>
                  <a:pt x="12137905" y="3767984"/>
                  <a:pt x="12135030" y="3768962"/>
                </a:cubicBezTo>
                <a:cubicBezTo>
                  <a:pt x="12131104" y="3770372"/>
                  <a:pt x="12127303" y="3770091"/>
                  <a:pt x="12123460" y="3769214"/>
                </a:cubicBezTo>
                <a:cubicBezTo>
                  <a:pt x="12118525" y="3768170"/>
                  <a:pt x="12116350" y="3768860"/>
                  <a:pt x="12113825" y="3773177"/>
                </a:cubicBezTo>
                <a:cubicBezTo>
                  <a:pt x="12112784" y="3774630"/>
                  <a:pt x="12112134" y="3776536"/>
                  <a:pt x="12111413" y="3778268"/>
                </a:cubicBezTo>
                <a:cubicBezTo>
                  <a:pt x="12111104" y="3779010"/>
                  <a:pt x="12110938" y="3780101"/>
                  <a:pt x="12109919" y="3780111"/>
                </a:cubicBezTo>
                <a:cubicBezTo>
                  <a:pt x="12108724" y="3780194"/>
                  <a:pt x="12108188" y="3779389"/>
                  <a:pt x="12108074" y="3778616"/>
                </a:cubicBezTo>
                <a:cubicBezTo>
                  <a:pt x="12107477" y="3775173"/>
                  <a:pt x="12105789" y="3775049"/>
                  <a:pt x="12103057" y="3776377"/>
                </a:cubicBezTo>
                <a:cubicBezTo>
                  <a:pt x="12099627" y="3777993"/>
                  <a:pt x="12096236" y="3776724"/>
                  <a:pt x="12093301" y="3775063"/>
                </a:cubicBezTo>
                <a:cubicBezTo>
                  <a:pt x="12090930" y="3773784"/>
                  <a:pt x="12089632" y="3774112"/>
                  <a:pt x="12089024" y="3776617"/>
                </a:cubicBezTo>
                <a:cubicBezTo>
                  <a:pt x="12088756" y="3777957"/>
                  <a:pt x="12088343" y="3778946"/>
                  <a:pt x="12086798" y="3779172"/>
                </a:cubicBezTo>
                <a:cubicBezTo>
                  <a:pt x="12084726" y="3779614"/>
                  <a:pt x="12084500" y="3778068"/>
                  <a:pt x="12083645" y="3776985"/>
                </a:cubicBezTo>
                <a:cubicBezTo>
                  <a:pt x="12083181" y="3776356"/>
                  <a:pt x="12082821" y="3775479"/>
                  <a:pt x="12082285" y="3774676"/>
                </a:cubicBezTo>
                <a:cubicBezTo>
                  <a:pt x="12079814" y="3770159"/>
                  <a:pt x="12076753" y="3770189"/>
                  <a:pt x="12073878" y="3774650"/>
                </a:cubicBezTo>
                <a:cubicBezTo>
                  <a:pt x="12073496" y="3775218"/>
                  <a:pt x="12073290" y="3775712"/>
                  <a:pt x="12072837" y="3776103"/>
                </a:cubicBezTo>
                <a:cubicBezTo>
                  <a:pt x="12072003" y="3777061"/>
                  <a:pt x="12070745" y="3777988"/>
                  <a:pt x="12069613" y="3777225"/>
                </a:cubicBezTo>
                <a:cubicBezTo>
                  <a:pt x="12068551" y="3776637"/>
                  <a:pt x="12068748" y="3775122"/>
                  <a:pt x="12069160" y="3774133"/>
                </a:cubicBezTo>
                <a:cubicBezTo>
                  <a:pt x="12069571" y="3773143"/>
                  <a:pt x="12070057" y="3772330"/>
                  <a:pt x="12070715" y="3771444"/>
                </a:cubicBezTo>
                <a:cubicBezTo>
                  <a:pt x="12071509" y="3769888"/>
                  <a:pt x="12071426" y="3768692"/>
                  <a:pt x="12069799" y="3767722"/>
                </a:cubicBezTo>
                <a:cubicBezTo>
                  <a:pt x="12066153" y="3765329"/>
                  <a:pt x="12064287" y="3761792"/>
                  <a:pt x="12062599" y="3758184"/>
                </a:cubicBezTo>
                <a:cubicBezTo>
                  <a:pt x="12060446" y="3753946"/>
                  <a:pt x="12059096" y="3749174"/>
                  <a:pt x="12056244" y="3745224"/>
                </a:cubicBezTo>
                <a:cubicBezTo>
                  <a:pt x="12055244" y="3743792"/>
                  <a:pt x="12055935" y="3742483"/>
                  <a:pt x="12056523" y="3741421"/>
                </a:cubicBezTo>
                <a:cubicBezTo>
                  <a:pt x="12058316" y="3737815"/>
                  <a:pt x="12060181" y="3734384"/>
                  <a:pt x="12056977" y="3730578"/>
                </a:cubicBezTo>
                <a:cubicBezTo>
                  <a:pt x="12056442" y="3729775"/>
                  <a:pt x="12056926" y="3728960"/>
                  <a:pt x="12057483" y="3728322"/>
                </a:cubicBezTo>
                <a:cubicBezTo>
                  <a:pt x="12060192" y="3724953"/>
                  <a:pt x="12061698" y="3720644"/>
                  <a:pt x="12063595" y="3716791"/>
                </a:cubicBezTo>
                <a:cubicBezTo>
                  <a:pt x="12066491" y="3710886"/>
                  <a:pt x="12070634" y="3706518"/>
                  <a:pt x="12077413" y="3705573"/>
                </a:cubicBezTo>
                <a:cubicBezTo>
                  <a:pt x="12080081" y="3705091"/>
                  <a:pt x="12081081" y="3703040"/>
                  <a:pt x="12081907" y="3701061"/>
                </a:cubicBezTo>
                <a:cubicBezTo>
                  <a:pt x="12083936" y="3696537"/>
                  <a:pt x="12085760" y="3695992"/>
                  <a:pt x="12089829" y="3698417"/>
                </a:cubicBezTo>
                <a:cubicBezTo>
                  <a:pt x="12094043" y="3701192"/>
                  <a:pt x="12094043" y="3701192"/>
                  <a:pt x="12096600" y="3696451"/>
                </a:cubicBezTo>
                <a:cubicBezTo>
                  <a:pt x="12097186" y="3695389"/>
                  <a:pt x="12097671" y="3694576"/>
                  <a:pt x="12099155" y="3695195"/>
                </a:cubicBezTo>
                <a:cubicBezTo>
                  <a:pt x="12104625" y="3697042"/>
                  <a:pt x="12109953" y="3698540"/>
                  <a:pt x="12115320" y="3700636"/>
                </a:cubicBezTo>
                <a:cubicBezTo>
                  <a:pt x="12119379" y="3702039"/>
                  <a:pt x="12122676" y="3704577"/>
                  <a:pt x="12125139" y="3708072"/>
                </a:cubicBezTo>
                <a:cubicBezTo>
                  <a:pt x="12126848" y="3710237"/>
                  <a:pt x="12135102" y="3712375"/>
                  <a:pt x="12137801" y="3711470"/>
                </a:cubicBezTo>
                <a:cubicBezTo>
                  <a:pt x="12138676" y="3711109"/>
                  <a:pt x="12139378" y="3710821"/>
                  <a:pt x="12139295" y="3709625"/>
                </a:cubicBezTo>
                <a:cubicBezTo>
                  <a:pt x="12139512" y="3703184"/>
                  <a:pt x="12143160" y="3698609"/>
                  <a:pt x="12147303" y="3694240"/>
                </a:cubicBezTo>
                <a:cubicBezTo>
                  <a:pt x="12148138" y="3693283"/>
                  <a:pt x="12148869" y="3692571"/>
                  <a:pt x="12149530" y="3691686"/>
                </a:cubicBezTo>
                <a:cubicBezTo>
                  <a:pt x="12151610" y="3688780"/>
                  <a:pt x="12153702" y="3686895"/>
                  <a:pt x="12157710" y="3686680"/>
                </a:cubicBezTo>
                <a:cubicBezTo>
                  <a:pt x="12161719" y="3686467"/>
                  <a:pt x="12164429" y="3683098"/>
                  <a:pt x="12166861" y="3680047"/>
                </a:cubicBezTo>
                <a:cubicBezTo>
                  <a:pt x="12168149" y="3678699"/>
                  <a:pt x="12169056" y="3677916"/>
                  <a:pt x="12171137" y="3678494"/>
                </a:cubicBezTo>
                <a:close/>
                <a:moveTo>
                  <a:pt x="109281" y="3659371"/>
                </a:moveTo>
                <a:cubicBezTo>
                  <a:pt x="113689" y="3659364"/>
                  <a:pt x="118850" y="3663684"/>
                  <a:pt x="123000" y="3667049"/>
                </a:cubicBezTo>
                <a:cubicBezTo>
                  <a:pt x="124660" y="3668394"/>
                  <a:pt x="125464" y="3670284"/>
                  <a:pt x="128083" y="3670619"/>
                </a:cubicBezTo>
                <a:cubicBezTo>
                  <a:pt x="130701" y="3670951"/>
                  <a:pt x="131506" y="3672842"/>
                  <a:pt x="131455" y="3675278"/>
                </a:cubicBezTo>
                <a:cubicBezTo>
                  <a:pt x="131611" y="3676781"/>
                  <a:pt x="131378" y="3678932"/>
                  <a:pt x="132960" y="3679527"/>
                </a:cubicBezTo>
                <a:cubicBezTo>
                  <a:pt x="137991" y="3681125"/>
                  <a:pt x="139910" y="3683507"/>
                  <a:pt x="136437" y="3688125"/>
                </a:cubicBezTo>
                <a:cubicBezTo>
                  <a:pt x="135478" y="3689137"/>
                  <a:pt x="136281" y="3691028"/>
                  <a:pt x="137967" y="3691155"/>
                </a:cubicBezTo>
                <a:cubicBezTo>
                  <a:pt x="143671" y="3691923"/>
                  <a:pt x="140587" y="3695893"/>
                  <a:pt x="141470" y="3698535"/>
                </a:cubicBezTo>
                <a:cubicBezTo>
                  <a:pt x="144376" y="3707498"/>
                  <a:pt x="134083" y="3710856"/>
                  <a:pt x="134292" y="3718734"/>
                </a:cubicBezTo>
                <a:cubicBezTo>
                  <a:pt x="134422" y="3721454"/>
                  <a:pt x="128096" y="3723485"/>
                  <a:pt x="125348" y="3724836"/>
                </a:cubicBezTo>
                <a:cubicBezTo>
                  <a:pt x="118814" y="3727800"/>
                  <a:pt x="114046" y="3736048"/>
                  <a:pt x="104840" y="3732303"/>
                </a:cubicBezTo>
                <a:cubicBezTo>
                  <a:pt x="103258" y="3731708"/>
                  <a:pt x="100639" y="3731375"/>
                  <a:pt x="98358" y="3732830"/>
                </a:cubicBezTo>
                <a:cubicBezTo>
                  <a:pt x="95402" y="3735115"/>
                  <a:pt x="92601" y="3734497"/>
                  <a:pt x="90034" y="3731727"/>
                </a:cubicBezTo>
                <a:cubicBezTo>
                  <a:pt x="88192" y="3730098"/>
                  <a:pt x="86041" y="3729867"/>
                  <a:pt x="83707" y="3729352"/>
                </a:cubicBezTo>
                <a:cubicBezTo>
                  <a:pt x="77820" y="3728298"/>
                  <a:pt x="73567" y="3725401"/>
                  <a:pt x="71725" y="3719366"/>
                </a:cubicBezTo>
                <a:cubicBezTo>
                  <a:pt x="70764" y="3715972"/>
                  <a:pt x="67912" y="3713385"/>
                  <a:pt x="63970" y="3713493"/>
                </a:cubicBezTo>
                <a:cubicBezTo>
                  <a:pt x="63244" y="3712355"/>
                  <a:pt x="62517" y="3711215"/>
                  <a:pt x="61791" y="3710075"/>
                </a:cubicBezTo>
                <a:cubicBezTo>
                  <a:pt x="63450" y="3707015"/>
                  <a:pt x="63501" y="3704579"/>
                  <a:pt x="60856" y="3701058"/>
                </a:cubicBezTo>
                <a:cubicBezTo>
                  <a:pt x="57302" y="3696114"/>
                  <a:pt x="57041" y="3690672"/>
                  <a:pt x="62018" y="3685896"/>
                </a:cubicBezTo>
                <a:cubicBezTo>
                  <a:pt x="64403" y="3683975"/>
                  <a:pt x="62562" y="3682345"/>
                  <a:pt x="61472" y="3680636"/>
                </a:cubicBezTo>
                <a:cubicBezTo>
                  <a:pt x="59657" y="3677788"/>
                  <a:pt x="60435" y="3676491"/>
                  <a:pt x="63987" y="3677030"/>
                </a:cubicBezTo>
                <a:cubicBezTo>
                  <a:pt x="69224" y="3677697"/>
                  <a:pt x="71506" y="3676242"/>
                  <a:pt x="69275" y="3670856"/>
                </a:cubicBezTo>
                <a:cubicBezTo>
                  <a:pt x="68834" y="3669534"/>
                  <a:pt x="68781" y="3667565"/>
                  <a:pt x="70829" y="3668262"/>
                </a:cubicBezTo>
                <a:cubicBezTo>
                  <a:pt x="76898" y="3669600"/>
                  <a:pt x="78012" y="3665686"/>
                  <a:pt x="79230" y="3661305"/>
                </a:cubicBezTo>
                <a:cubicBezTo>
                  <a:pt x="79151" y="3660554"/>
                  <a:pt x="80292" y="3659825"/>
                  <a:pt x="80862" y="3659462"/>
                </a:cubicBezTo>
                <a:cubicBezTo>
                  <a:pt x="90249" y="3659087"/>
                  <a:pt x="99714" y="3659462"/>
                  <a:pt x="109281" y="3659371"/>
                </a:cubicBezTo>
                <a:close/>
                <a:moveTo>
                  <a:pt x="997430" y="3642962"/>
                </a:moveTo>
                <a:cubicBezTo>
                  <a:pt x="997118" y="3643026"/>
                  <a:pt x="996951" y="3644746"/>
                  <a:pt x="996872" y="3649429"/>
                </a:cubicBezTo>
                <a:cubicBezTo>
                  <a:pt x="1001261" y="3650603"/>
                  <a:pt x="997733" y="3663769"/>
                  <a:pt x="997733" y="3663769"/>
                </a:cubicBezTo>
                <a:cubicBezTo>
                  <a:pt x="995697" y="3653816"/>
                  <a:pt x="994521" y="3658205"/>
                  <a:pt x="993345" y="3662594"/>
                </a:cubicBezTo>
                <a:cubicBezTo>
                  <a:pt x="1000946" y="3669335"/>
                  <a:pt x="996242" y="3686891"/>
                  <a:pt x="1001492" y="3702405"/>
                </a:cubicBezTo>
                <a:cubicBezTo>
                  <a:pt x="1001492" y="3702405"/>
                  <a:pt x="1000317" y="3706794"/>
                  <a:pt x="999140" y="3711183"/>
                </a:cubicBezTo>
                <a:cubicBezTo>
                  <a:pt x="999140" y="3711183"/>
                  <a:pt x="997964" y="3715572"/>
                  <a:pt x="997964" y="3715572"/>
                </a:cubicBezTo>
                <a:cubicBezTo>
                  <a:pt x="996788" y="3719961"/>
                  <a:pt x="996788" y="3719961"/>
                  <a:pt x="996788" y="3719961"/>
                </a:cubicBezTo>
                <a:cubicBezTo>
                  <a:pt x="996788" y="3719961"/>
                  <a:pt x="1001178" y="3721136"/>
                  <a:pt x="1001178" y="3721136"/>
                </a:cubicBezTo>
                <a:cubicBezTo>
                  <a:pt x="1000001" y="3725526"/>
                  <a:pt x="1000001" y="3725526"/>
                  <a:pt x="998824" y="3729914"/>
                </a:cubicBezTo>
                <a:cubicBezTo>
                  <a:pt x="993260" y="3733127"/>
                  <a:pt x="995613" y="3724349"/>
                  <a:pt x="991224" y="3723172"/>
                </a:cubicBezTo>
                <a:cubicBezTo>
                  <a:pt x="988871" y="3731951"/>
                  <a:pt x="993260" y="3733127"/>
                  <a:pt x="992084" y="3737515"/>
                </a:cubicBezTo>
                <a:cubicBezTo>
                  <a:pt x="992084" y="3737515"/>
                  <a:pt x="992084" y="3737515"/>
                  <a:pt x="990908" y="3741905"/>
                </a:cubicBezTo>
                <a:cubicBezTo>
                  <a:pt x="990908" y="3741905"/>
                  <a:pt x="989733" y="3746293"/>
                  <a:pt x="989733" y="3746293"/>
                </a:cubicBezTo>
                <a:cubicBezTo>
                  <a:pt x="988556" y="3750681"/>
                  <a:pt x="988556" y="3750681"/>
                  <a:pt x="988556" y="3750681"/>
                </a:cubicBezTo>
                <a:cubicBezTo>
                  <a:pt x="988243" y="3769413"/>
                  <a:pt x="988243" y="3769413"/>
                  <a:pt x="988243" y="3769413"/>
                </a:cubicBezTo>
                <a:cubicBezTo>
                  <a:pt x="991455" y="3774977"/>
                  <a:pt x="991455" y="3774977"/>
                  <a:pt x="991455" y="3774977"/>
                </a:cubicBezTo>
                <a:cubicBezTo>
                  <a:pt x="985890" y="3778190"/>
                  <a:pt x="990278" y="3779367"/>
                  <a:pt x="990278" y="3779367"/>
                </a:cubicBezTo>
                <a:lnTo>
                  <a:pt x="991455" y="3774977"/>
                </a:lnTo>
                <a:cubicBezTo>
                  <a:pt x="993177" y="3803662"/>
                  <a:pt x="995528" y="3794884"/>
                  <a:pt x="992860" y="3822391"/>
                </a:cubicBezTo>
                <a:cubicBezTo>
                  <a:pt x="991684" y="3826781"/>
                  <a:pt x="991684" y="3826781"/>
                  <a:pt x="990510" y="3831170"/>
                </a:cubicBezTo>
                <a:cubicBezTo>
                  <a:pt x="993722" y="3836734"/>
                  <a:pt x="993722" y="3836734"/>
                  <a:pt x="994897" y="3832347"/>
                </a:cubicBezTo>
                <a:cubicBezTo>
                  <a:pt x="991369" y="3845512"/>
                  <a:pt x="989879" y="3868631"/>
                  <a:pt x="997480" y="3875372"/>
                </a:cubicBezTo>
                <a:cubicBezTo>
                  <a:pt x="995444" y="3865418"/>
                  <a:pt x="999833" y="3866594"/>
                  <a:pt x="1001869" y="3876548"/>
                </a:cubicBezTo>
                <a:lnTo>
                  <a:pt x="1000693" y="3880937"/>
                </a:lnTo>
                <a:cubicBezTo>
                  <a:pt x="996305" y="3879761"/>
                  <a:pt x="996305" y="3879761"/>
                  <a:pt x="996305" y="3879761"/>
                </a:cubicBezTo>
                <a:cubicBezTo>
                  <a:pt x="996305" y="3879761"/>
                  <a:pt x="996305" y="3879761"/>
                  <a:pt x="995127" y="3884150"/>
                </a:cubicBezTo>
                <a:cubicBezTo>
                  <a:pt x="995127" y="3884150"/>
                  <a:pt x="995127" y="3884150"/>
                  <a:pt x="998341" y="3889714"/>
                </a:cubicBezTo>
                <a:cubicBezTo>
                  <a:pt x="991286" y="3916046"/>
                  <a:pt x="1004368" y="3990110"/>
                  <a:pt x="1004914" y="4023181"/>
                </a:cubicBezTo>
                <a:cubicBezTo>
                  <a:pt x="1004599" y="4041913"/>
                  <a:pt x="999033" y="4045125"/>
                  <a:pt x="1004283" y="4060643"/>
                </a:cubicBezTo>
                <a:cubicBezTo>
                  <a:pt x="1001931" y="4069420"/>
                  <a:pt x="1009532" y="4076161"/>
                  <a:pt x="1011569" y="4086116"/>
                </a:cubicBezTo>
                <a:cubicBezTo>
                  <a:pt x="1011254" y="4104846"/>
                  <a:pt x="1007726" y="4118012"/>
                  <a:pt x="1019716" y="4125929"/>
                </a:cubicBezTo>
                <a:cubicBezTo>
                  <a:pt x="1023705" y="4216369"/>
                  <a:pt x="1047286" y="4321470"/>
                  <a:pt x="1074394" y="4413401"/>
                </a:cubicBezTo>
                <a:cubicBezTo>
                  <a:pt x="1068830" y="4416614"/>
                  <a:pt x="1068830" y="4416614"/>
                  <a:pt x="1067656" y="4421004"/>
                </a:cubicBezTo>
                <a:cubicBezTo>
                  <a:pt x="1067656" y="4421004"/>
                  <a:pt x="1068830" y="4416614"/>
                  <a:pt x="1068830" y="4416614"/>
                </a:cubicBezTo>
                <a:cubicBezTo>
                  <a:pt x="1064443" y="4415437"/>
                  <a:pt x="1064443" y="4415437"/>
                  <a:pt x="1064443" y="4415437"/>
                </a:cubicBezTo>
                <a:cubicBezTo>
                  <a:pt x="1064443" y="4415437"/>
                  <a:pt x="1063267" y="4419826"/>
                  <a:pt x="1066480" y="4425392"/>
                </a:cubicBezTo>
                <a:cubicBezTo>
                  <a:pt x="1065304" y="4429781"/>
                  <a:pt x="1060914" y="4428603"/>
                  <a:pt x="1062952" y="4438558"/>
                </a:cubicBezTo>
                <a:cubicBezTo>
                  <a:pt x="1068515" y="4435345"/>
                  <a:pt x="1071729" y="4440909"/>
                  <a:pt x="1076979" y="4456428"/>
                </a:cubicBezTo>
                <a:cubicBezTo>
                  <a:pt x="1075802" y="4460816"/>
                  <a:pt x="1075802" y="4460816"/>
                  <a:pt x="1075802" y="4460816"/>
                </a:cubicBezTo>
                <a:cubicBezTo>
                  <a:pt x="1075802" y="4460816"/>
                  <a:pt x="1080190" y="4461991"/>
                  <a:pt x="1079015" y="4466381"/>
                </a:cubicBezTo>
                <a:cubicBezTo>
                  <a:pt x="1079015" y="4466381"/>
                  <a:pt x="1077840" y="4470769"/>
                  <a:pt x="1077840" y="4470769"/>
                </a:cubicBezTo>
                <a:cubicBezTo>
                  <a:pt x="1082228" y="4471945"/>
                  <a:pt x="1082228" y="4471945"/>
                  <a:pt x="1082228" y="4471945"/>
                </a:cubicBezTo>
                <a:cubicBezTo>
                  <a:pt x="1081053" y="4476334"/>
                  <a:pt x="1081053" y="4476334"/>
                  <a:pt x="1084266" y="4481898"/>
                </a:cubicBezTo>
                <a:cubicBezTo>
                  <a:pt x="1077523" y="4489500"/>
                  <a:pt x="1091552" y="4507370"/>
                  <a:pt x="1087161" y="4506194"/>
                </a:cubicBezTo>
                <a:cubicBezTo>
                  <a:pt x="1087161" y="4506194"/>
                  <a:pt x="1082774" y="4505018"/>
                  <a:pt x="1082774" y="4505018"/>
                </a:cubicBezTo>
                <a:cubicBezTo>
                  <a:pt x="1083949" y="4500630"/>
                  <a:pt x="1079561" y="4499453"/>
                  <a:pt x="1079561" y="4499453"/>
                </a:cubicBezTo>
                <a:cubicBezTo>
                  <a:pt x="1078385" y="4503842"/>
                  <a:pt x="1082774" y="4505018"/>
                  <a:pt x="1081597" y="4509407"/>
                </a:cubicBezTo>
                <a:cubicBezTo>
                  <a:pt x="1081597" y="4509407"/>
                  <a:pt x="1084810" y="4514972"/>
                  <a:pt x="1084810" y="4514972"/>
                </a:cubicBezTo>
                <a:cubicBezTo>
                  <a:pt x="1086848" y="4524925"/>
                  <a:pt x="1088885" y="4534878"/>
                  <a:pt x="1093273" y="4536054"/>
                </a:cubicBezTo>
                <a:cubicBezTo>
                  <a:pt x="1093273" y="4536054"/>
                  <a:pt x="1093273" y="4536054"/>
                  <a:pt x="1092097" y="4540443"/>
                </a:cubicBezTo>
                <a:cubicBezTo>
                  <a:pt x="1092097" y="4540443"/>
                  <a:pt x="1090921" y="4544832"/>
                  <a:pt x="1094133" y="4550397"/>
                </a:cubicBezTo>
                <a:cubicBezTo>
                  <a:pt x="1094133" y="4550397"/>
                  <a:pt x="1098523" y="4551573"/>
                  <a:pt x="1098523" y="4551573"/>
                </a:cubicBezTo>
                <a:cubicBezTo>
                  <a:pt x="1098523" y="4551573"/>
                  <a:pt x="1099699" y="4547184"/>
                  <a:pt x="1099699" y="4547184"/>
                </a:cubicBezTo>
                <a:cubicBezTo>
                  <a:pt x="1098523" y="4551573"/>
                  <a:pt x="1097347" y="4555960"/>
                  <a:pt x="1100559" y="4561525"/>
                </a:cubicBezTo>
                <a:cubicBezTo>
                  <a:pt x="1101736" y="4557137"/>
                  <a:pt x="1106123" y="4558312"/>
                  <a:pt x="1109337" y="4563878"/>
                </a:cubicBezTo>
                <a:cubicBezTo>
                  <a:pt x="1104948" y="4562702"/>
                  <a:pt x="1108160" y="4568266"/>
                  <a:pt x="1106985" y="4572655"/>
                </a:cubicBezTo>
                <a:cubicBezTo>
                  <a:pt x="1110199" y="4578220"/>
                  <a:pt x="1110199" y="4578220"/>
                  <a:pt x="1110199" y="4578220"/>
                </a:cubicBezTo>
                <a:cubicBezTo>
                  <a:pt x="1109022" y="4582609"/>
                  <a:pt x="1109022" y="4582609"/>
                  <a:pt x="1109022" y="4582609"/>
                </a:cubicBezTo>
                <a:cubicBezTo>
                  <a:pt x="1113410" y="4583785"/>
                  <a:pt x="1113410" y="4583785"/>
                  <a:pt x="1113410" y="4583785"/>
                </a:cubicBezTo>
                <a:cubicBezTo>
                  <a:pt x="1113410" y="4583785"/>
                  <a:pt x="1113410" y="4583785"/>
                  <a:pt x="1114587" y="4579396"/>
                </a:cubicBezTo>
                <a:cubicBezTo>
                  <a:pt x="1121874" y="4604867"/>
                  <a:pt x="1129159" y="4630339"/>
                  <a:pt x="1136759" y="4637079"/>
                </a:cubicBezTo>
                <a:cubicBezTo>
                  <a:pt x="1139974" y="4642643"/>
                  <a:pt x="1139974" y="4642643"/>
                  <a:pt x="1138798" y="4647032"/>
                </a:cubicBezTo>
                <a:cubicBezTo>
                  <a:pt x="1142011" y="4652598"/>
                  <a:pt x="1142011" y="4652598"/>
                  <a:pt x="1146398" y="4653774"/>
                </a:cubicBezTo>
                <a:lnTo>
                  <a:pt x="1147322" y="4650328"/>
                </a:lnTo>
                <a:lnTo>
                  <a:pt x="1154908" y="4667004"/>
                </a:lnTo>
                <a:cubicBezTo>
                  <a:pt x="1163006" y="4686152"/>
                  <a:pt x="1165518" y="4696527"/>
                  <a:pt x="1178212" y="4728150"/>
                </a:cubicBezTo>
                <a:cubicBezTo>
                  <a:pt x="1189027" y="4740457"/>
                  <a:pt x="1192237" y="4746021"/>
                  <a:pt x="1196628" y="4747197"/>
                </a:cubicBezTo>
                <a:cubicBezTo>
                  <a:pt x="1195452" y="4751586"/>
                  <a:pt x="1191061" y="4750409"/>
                  <a:pt x="1193100" y="4760363"/>
                </a:cubicBezTo>
                <a:cubicBezTo>
                  <a:pt x="1201877" y="4762715"/>
                  <a:pt x="1198349" y="4775881"/>
                  <a:pt x="1207988" y="4792576"/>
                </a:cubicBezTo>
                <a:cubicBezTo>
                  <a:pt x="1217626" y="4809269"/>
                  <a:pt x="1214727" y="4784973"/>
                  <a:pt x="1223190" y="4806057"/>
                </a:cubicBezTo>
                <a:cubicBezTo>
                  <a:pt x="1212377" y="4793752"/>
                  <a:pt x="1220838" y="4814834"/>
                  <a:pt x="1230477" y="4831528"/>
                </a:cubicBezTo>
                <a:cubicBezTo>
                  <a:pt x="1226088" y="4830353"/>
                  <a:pt x="1226088" y="4830353"/>
                  <a:pt x="1226088" y="4830353"/>
                </a:cubicBezTo>
                <a:cubicBezTo>
                  <a:pt x="1222876" y="4824788"/>
                  <a:pt x="1219662" y="4819223"/>
                  <a:pt x="1218487" y="4823612"/>
                </a:cubicBezTo>
                <a:cubicBezTo>
                  <a:pt x="1218487" y="4823612"/>
                  <a:pt x="1217310" y="4828001"/>
                  <a:pt x="1220524" y="4833565"/>
                </a:cubicBezTo>
                <a:cubicBezTo>
                  <a:pt x="1223736" y="4839130"/>
                  <a:pt x="1223736" y="4839130"/>
                  <a:pt x="1223736" y="4839130"/>
                </a:cubicBezTo>
                <a:cubicBezTo>
                  <a:pt x="1219348" y="4837954"/>
                  <a:pt x="1218487" y="4823612"/>
                  <a:pt x="1212922" y="4826824"/>
                </a:cubicBezTo>
                <a:cubicBezTo>
                  <a:pt x="1219348" y="4837954"/>
                  <a:pt x="1221384" y="4847907"/>
                  <a:pt x="1225773" y="4849082"/>
                </a:cubicBezTo>
                <a:cubicBezTo>
                  <a:pt x="1230162" y="4850259"/>
                  <a:pt x="1230162" y="4850259"/>
                  <a:pt x="1228986" y="4854648"/>
                </a:cubicBezTo>
                <a:cubicBezTo>
                  <a:pt x="1232198" y="4860212"/>
                  <a:pt x="1235412" y="4865777"/>
                  <a:pt x="1239801" y="4866952"/>
                </a:cubicBezTo>
                <a:cubicBezTo>
                  <a:pt x="1239801" y="4866952"/>
                  <a:pt x="1240977" y="4862564"/>
                  <a:pt x="1237764" y="4856999"/>
                </a:cubicBezTo>
                <a:cubicBezTo>
                  <a:pt x="1238940" y="4852611"/>
                  <a:pt x="1238940" y="4852611"/>
                  <a:pt x="1238940" y="4852611"/>
                </a:cubicBezTo>
                <a:cubicBezTo>
                  <a:pt x="1246540" y="4859351"/>
                  <a:pt x="1248893" y="4850574"/>
                  <a:pt x="1248578" y="4869304"/>
                </a:cubicBezTo>
                <a:cubicBezTo>
                  <a:pt x="1254143" y="4866092"/>
                  <a:pt x="1247717" y="4854962"/>
                  <a:pt x="1248893" y="4850574"/>
                </a:cubicBezTo>
                <a:cubicBezTo>
                  <a:pt x="1257355" y="4871656"/>
                  <a:pt x="1251791" y="4874870"/>
                  <a:pt x="1258215" y="4885998"/>
                </a:cubicBezTo>
                <a:cubicBezTo>
                  <a:pt x="1253826" y="4884822"/>
                  <a:pt x="1255002" y="4880434"/>
                  <a:pt x="1255002" y="4880434"/>
                </a:cubicBezTo>
                <a:cubicBezTo>
                  <a:pt x="1251791" y="4874870"/>
                  <a:pt x="1251791" y="4874870"/>
                  <a:pt x="1246226" y="4878082"/>
                </a:cubicBezTo>
                <a:cubicBezTo>
                  <a:pt x="1246226" y="4878082"/>
                  <a:pt x="1249439" y="4883647"/>
                  <a:pt x="1252651" y="4889210"/>
                </a:cubicBezTo>
                <a:cubicBezTo>
                  <a:pt x="1245050" y="4882470"/>
                  <a:pt x="1243874" y="4886860"/>
                  <a:pt x="1251476" y="4893600"/>
                </a:cubicBezTo>
                <a:cubicBezTo>
                  <a:pt x="1250299" y="4897989"/>
                  <a:pt x="1250299" y="4897989"/>
                  <a:pt x="1250299" y="4897989"/>
                </a:cubicBezTo>
                <a:cubicBezTo>
                  <a:pt x="1247087" y="4892425"/>
                  <a:pt x="1245912" y="4896814"/>
                  <a:pt x="1245912" y="4896814"/>
                </a:cubicBezTo>
                <a:cubicBezTo>
                  <a:pt x="1249123" y="4902378"/>
                  <a:pt x="1249123" y="4902378"/>
                  <a:pt x="1253513" y="4903554"/>
                </a:cubicBezTo>
                <a:cubicBezTo>
                  <a:pt x="1252336" y="4907942"/>
                  <a:pt x="1252336" y="4907942"/>
                  <a:pt x="1256724" y="4909119"/>
                </a:cubicBezTo>
                <a:cubicBezTo>
                  <a:pt x="1258762" y="4919071"/>
                  <a:pt x="1258762" y="4919071"/>
                  <a:pt x="1260798" y="4929025"/>
                </a:cubicBezTo>
                <a:cubicBezTo>
                  <a:pt x="1257587" y="4923461"/>
                  <a:pt x="1257587" y="4923461"/>
                  <a:pt x="1257587" y="4923461"/>
                </a:cubicBezTo>
                <a:cubicBezTo>
                  <a:pt x="1254374" y="4917896"/>
                  <a:pt x="1249985" y="4916720"/>
                  <a:pt x="1249985" y="4916720"/>
                </a:cubicBezTo>
                <a:cubicBezTo>
                  <a:pt x="1248809" y="4921108"/>
                  <a:pt x="1252021" y="4926674"/>
                  <a:pt x="1255234" y="4932238"/>
                </a:cubicBezTo>
                <a:cubicBezTo>
                  <a:pt x="1258446" y="4937802"/>
                  <a:pt x="1258446" y="4937802"/>
                  <a:pt x="1258446" y="4937802"/>
                </a:cubicBezTo>
                <a:cubicBezTo>
                  <a:pt x="1261660" y="4943368"/>
                  <a:pt x="1261660" y="4943368"/>
                  <a:pt x="1261660" y="4943368"/>
                </a:cubicBezTo>
                <a:cubicBezTo>
                  <a:pt x="1264873" y="4948933"/>
                  <a:pt x="1269261" y="4950108"/>
                  <a:pt x="1270437" y="4945718"/>
                </a:cubicBezTo>
                <a:cubicBezTo>
                  <a:pt x="1270437" y="4945718"/>
                  <a:pt x="1271612" y="4941330"/>
                  <a:pt x="1268401" y="4935766"/>
                </a:cubicBezTo>
                <a:cubicBezTo>
                  <a:pt x="1268401" y="4935766"/>
                  <a:pt x="1268401" y="4935766"/>
                  <a:pt x="1264011" y="4934589"/>
                </a:cubicBezTo>
                <a:cubicBezTo>
                  <a:pt x="1260798" y="4929025"/>
                  <a:pt x="1260798" y="4929025"/>
                  <a:pt x="1260798" y="4929025"/>
                </a:cubicBezTo>
                <a:cubicBezTo>
                  <a:pt x="1280390" y="4943682"/>
                  <a:pt x="1266363" y="4925811"/>
                  <a:pt x="1261114" y="4910295"/>
                </a:cubicBezTo>
                <a:cubicBezTo>
                  <a:pt x="1264326" y="4915859"/>
                  <a:pt x="1264326" y="4915859"/>
                  <a:pt x="1264326" y="4915859"/>
                </a:cubicBezTo>
                <a:cubicBezTo>
                  <a:pt x="1264326" y="4915859"/>
                  <a:pt x="1265501" y="4911470"/>
                  <a:pt x="1265501" y="4911470"/>
                </a:cubicBezTo>
                <a:cubicBezTo>
                  <a:pt x="1265501" y="4911470"/>
                  <a:pt x="1265501" y="4911470"/>
                  <a:pt x="1266678" y="4907082"/>
                </a:cubicBezTo>
                <a:cubicBezTo>
                  <a:pt x="1262290" y="4905907"/>
                  <a:pt x="1262290" y="4905907"/>
                  <a:pt x="1262290" y="4905907"/>
                </a:cubicBezTo>
                <a:cubicBezTo>
                  <a:pt x="1259077" y="4900341"/>
                  <a:pt x="1259077" y="4900341"/>
                  <a:pt x="1259077" y="4900341"/>
                </a:cubicBezTo>
                <a:cubicBezTo>
                  <a:pt x="1263467" y="4901517"/>
                  <a:pt x="1263467" y="4901517"/>
                  <a:pt x="1263467" y="4901517"/>
                </a:cubicBezTo>
                <a:cubicBezTo>
                  <a:pt x="1263467" y="4901517"/>
                  <a:pt x="1264642" y="4897128"/>
                  <a:pt x="1260253" y="4895953"/>
                </a:cubicBezTo>
                <a:cubicBezTo>
                  <a:pt x="1261429" y="4891564"/>
                  <a:pt x="1261429" y="4891564"/>
                  <a:pt x="1261429" y="4891564"/>
                </a:cubicBezTo>
                <a:cubicBezTo>
                  <a:pt x="1273419" y="4899480"/>
                  <a:pt x="1275456" y="4909434"/>
                  <a:pt x="1283919" y="4930516"/>
                </a:cubicBezTo>
                <a:cubicBezTo>
                  <a:pt x="1279529" y="4929340"/>
                  <a:pt x="1279529" y="4929340"/>
                  <a:pt x="1279529" y="4929340"/>
                </a:cubicBezTo>
                <a:cubicBezTo>
                  <a:pt x="1275140" y="4928164"/>
                  <a:pt x="1275140" y="4928164"/>
                  <a:pt x="1275140" y="4928164"/>
                </a:cubicBezTo>
                <a:cubicBezTo>
                  <a:pt x="1278354" y="4933729"/>
                  <a:pt x="1278354" y="4933729"/>
                  <a:pt x="1278354" y="4933729"/>
                </a:cubicBezTo>
                <a:cubicBezTo>
                  <a:pt x="1282743" y="4934905"/>
                  <a:pt x="1282743" y="4934905"/>
                  <a:pt x="1282743" y="4934905"/>
                </a:cubicBezTo>
                <a:cubicBezTo>
                  <a:pt x="1285955" y="4940470"/>
                  <a:pt x="1285955" y="4940470"/>
                  <a:pt x="1285955" y="4940470"/>
                </a:cubicBezTo>
                <a:cubicBezTo>
                  <a:pt x="1289166" y="4946034"/>
                  <a:pt x="1283603" y="4949247"/>
                  <a:pt x="1290029" y="4960376"/>
                </a:cubicBezTo>
                <a:cubicBezTo>
                  <a:pt x="1288853" y="4964765"/>
                  <a:pt x="1288853" y="4964765"/>
                  <a:pt x="1288853" y="4964765"/>
                </a:cubicBezTo>
                <a:cubicBezTo>
                  <a:pt x="1293241" y="4965941"/>
                  <a:pt x="1292065" y="4970330"/>
                  <a:pt x="1292065" y="4970330"/>
                </a:cubicBezTo>
                <a:cubicBezTo>
                  <a:pt x="1296455" y="4971507"/>
                  <a:pt x="1296455" y="4971507"/>
                  <a:pt x="1296455" y="4971507"/>
                </a:cubicBezTo>
                <a:cubicBezTo>
                  <a:pt x="1297630" y="4967117"/>
                  <a:pt x="1297630" y="4967117"/>
                  <a:pt x="1297630" y="4967117"/>
                </a:cubicBezTo>
                <a:cubicBezTo>
                  <a:pt x="1304056" y="4978246"/>
                  <a:pt x="1300528" y="4991412"/>
                  <a:pt x="1309305" y="4993764"/>
                </a:cubicBezTo>
                <a:cubicBezTo>
                  <a:pt x="1309305" y="4993764"/>
                  <a:pt x="1313694" y="4994941"/>
                  <a:pt x="1312518" y="4999330"/>
                </a:cubicBezTo>
                <a:cubicBezTo>
                  <a:pt x="1312518" y="4999330"/>
                  <a:pt x="1316907" y="5000505"/>
                  <a:pt x="1316907" y="5000505"/>
                </a:cubicBezTo>
                <a:cubicBezTo>
                  <a:pt x="1318083" y="4996115"/>
                  <a:pt x="1318083" y="4996115"/>
                  <a:pt x="1318083" y="4996115"/>
                </a:cubicBezTo>
                <a:cubicBezTo>
                  <a:pt x="1327406" y="5031541"/>
                  <a:pt x="1324507" y="5007245"/>
                  <a:pt x="1333286" y="5009598"/>
                </a:cubicBezTo>
                <a:cubicBezTo>
                  <a:pt x="1332971" y="5028329"/>
                  <a:pt x="1352248" y="5061717"/>
                  <a:pt x="1368311" y="5089540"/>
                </a:cubicBezTo>
                <a:cubicBezTo>
                  <a:pt x="1373874" y="5086328"/>
                  <a:pt x="1373874" y="5086328"/>
                  <a:pt x="1373874" y="5086328"/>
                </a:cubicBezTo>
                <a:cubicBezTo>
                  <a:pt x="1372700" y="5090716"/>
                  <a:pt x="1372700" y="5090716"/>
                  <a:pt x="1372700" y="5090716"/>
                </a:cubicBezTo>
                <a:cubicBezTo>
                  <a:pt x="1372700" y="5090716"/>
                  <a:pt x="1371524" y="5095105"/>
                  <a:pt x="1375913" y="5096281"/>
                </a:cubicBezTo>
                <a:cubicBezTo>
                  <a:pt x="1375913" y="5096281"/>
                  <a:pt x="1377088" y="5091892"/>
                  <a:pt x="1377088" y="5091892"/>
                </a:cubicBezTo>
                <a:cubicBezTo>
                  <a:pt x="1386727" y="5108586"/>
                  <a:pt x="1390801" y="5128492"/>
                  <a:pt x="1392836" y="5138445"/>
                </a:cubicBezTo>
                <a:cubicBezTo>
                  <a:pt x="1398402" y="5135234"/>
                  <a:pt x="1399578" y="5130845"/>
                  <a:pt x="1402790" y="5136410"/>
                </a:cubicBezTo>
                <a:cubicBezTo>
                  <a:pt x="1401615" y="5140798"/>
                  <a:pt x="1401615" y="5140798"/>
                  <a:pt x="1404828" y="5146363"/>
                </a:cubicBezTo>
                <a:cubicBezTo>
                  <a:pt x="1410392" y="5143149"/>
                  <a:pt x="1409216" y="5147538"/>
                  <a:pt x="1411253" y="5157491"/>
                </a:cubicBezTo>
                <a:cubicBezTo>
                  <a:pt x="1411253" y="5157491"/>
                  <a:pt x="1411253" y="5157491"/>
                  <a:pt x="1406865" y="5156315"/>
                </a:cubicBezTo>
                <a:cubicBezTo>
                  <a:pt x="1406865" y="5156315"/>
                  <a:pt x="1406865" y="5156315"/>
                  <a:pt x="1405688" y="5160705"/>
                </a:cubicBezTo>
                <a:cubicBezTo>
                  <a:pt x="1410078" y="5161881"/>
                  <a:pt x="1408901" y="5166270"/>
                  <a:pt x="1413290" y="5167446"/>
                </a:cubicBezTo>
                <a:cubicBezTo>
                  <a:pt x="1413290" y="5167446"/>
                  <a:pt x="1417678" y="5168622"/>
                  <a:pt x="1417678" y="5168622"/>
                </a:cubicBezTo>
                <a:cubicBezTo>
                  <a:pt x="1415326" y="5177399"/>
                  <a:pt x="1447770" y="5214314"/>
                  <a:pt x="1441343" y="5203186"/>
                </a:cubicBezTo>
                <a:cubicBezTo>
                  <a:pt x="1428177" y="5199658"/>
                  <a:pt x="1450436" y="5186806"/>
                  <a:pt x="1436095" y="5187668"/>
                </a:cubicBezTo>
                <a:cubicBezTo>
                  <a:pt x="1430530" y="5190880"/>
                  <a:pt x="1422929" y="5184139"/>
                  <a:pt x="1420891" y="5174186"/>
                </a:cubicBezTo>
                <a:cubicBezTo>
                  <a:pt x="1425279" y="5175362"/>
                  <a:pt x="1425279" y="5175362"/>
                  <a:pt x="1424105" y="5179751"/>
                </a:cubicBezTo>
                <a:cubicBezTo>
                  <a:pt x="1428494" y="5180927"/>
                  <a:pt x="1428494" y="5180927"/>
                  <a:pt x="1428494" y="5180927"/>
                </a:cubicBezTo>
                <a:cubicBezTo>
                  <a:pt x="1432882" y="5182103"/>
                  <a:pt x="1429669" y="5176539"/>
                  <a:pt x="1429669" y="5176539"/>
                </a:cubicBezTo>
                <a:cubicBezTo>
                  <a:pt x="1426456" y="5170973"/>
                  <a:pt x="1426456" y="5170973"/>
                  <a:pt x="1426456" y="5170973"/>
                </a:cubicBezTo>
                <a:cubicBezTo>
                  <a:pt x="1430844" y="5172150"/>
                  <a:pt x="1430844" y="5172150"/>
                  <a:pt x="1430844" y="5172150"/>
                </a:cubicBezTo>
                <a:cubicBezTo>
                  <a:pt x="1429669" y="5176539"/>
                  <a:pt x="1434057" y="5177713"/>
                  <a:pt x="1434057" y="5177713"/>
                </a:cubicBezTo>
                <a:cubicBezTo>
                  <a:pt x="1434057" y="5177713"/>
                  <a:pt x="1435233" y="5173325"/>
                  <a:pt x="1435233" y="5173325"/>
                </a:cubicBezTo>
                <a:cubicBezTo>
                  <a:pt x="1432022" y="5167761"/>
                  <a:pt x="1432022" y="5167761"/>
                  <a:pt x="1432022" y="5167761"/>
                </a:cubicBezTo>
                <a:cubicBezTo>
                  <a:pt x="1428808" y="5162195"/>
                  <a:pt x="1428808" y="5162195"/>
                  <a:pt x="1428808" y="5162195"/>
                </a:cubicBezTo>
                <a:cubicBezTo>
                  <a:pt x="1428808" y="5162195"/>
                  <a:pt x="1436408" y="5168936"/>
                  <a:pt x="1436408" y="5168936"/>
                </a:cubicBezTo>
                <a:cubicBezTo>
                  <a:pt x="1439622" y="5174501"/>
                  <a:pt x="1439622" y="5174501"/>
                  <a:pt x="1439622" y="5174501"/>
                </a:cubicBezTo>
                <a:cubicBezTo>
                  <a:pt x="1442835" y="5180066"/>
                  <a:pt x="1442835" y="5180066"/>
                  <a:pt x="1442835" y="5180066"/>
                </a:cubicBezTo>
                <a:cubicBezTo>
                  <a:pt x="1441659" y="5184454"/>
                  <a:pt x="1444872" y="5190020"/>
                  <a:pt x="1449261" y="5191195"/>
                </a:cubicBezTo>
                <a:cubicBezTo>
                  <a:pt x="1453649" y="5192371"/>
                  <a:pt x="1454825" y="5187982"/>
                  <a:pt x="1451612" y="5182418"/>
                </a:cubicBezTo>
                <a:cubicBezTo>
                  <a:pt x="1451612" y="5182418"/>
                  <a:pt x="1451612" y="5182418"/>
                  <a:pt x="1452788" y="5178029"/>
                </a:cubicBezTo>
                <a:cubicBezTo>
                  <a:pt x="1462427" y="5194723"/>
                  <a:pt x="1449261" y="5191195"/>
                  <a:pt x="1464465" y="5204675"/>
                </a:cubicBezTo>
                <a:cubicBezTo>
                  <a:pt x="1460075" y="5203500"/>
                  <a:pt x="1460075" y="5203500"/>
                  <a:pt x="1460075" y="5203500"/>
                </a:cubicBezTo>
                <a:cubicBezTo>
                  <a:pt x="1460075" y="5203500"/>
                  <a:pt x="1460075" y="5203500"/>
                  <a:pt x="1458898" y="5207889"/>
                </a:cubicBezTo>
                <a:cubicBezTo>
                  <a:pt x="1463288" y="5209065"/>
                  <a:pt x="1463288" y="5209065"/>
                  <a:pt x="1463288" y="5209065"/>
                </a:cubicBezTo>
                <a:cubicBezTo>
                  <a:pt x="1463288" y="5209065"/>
                  <a:pt x="1467676" y="5210241"/>
                  <a:pt x="1467676" y="5210241"/>
                </a:cubicBezTo>
                <a:cubicBezTo>
                  <a:pt x="1470889" y="5215806"/>
                  <a:pt x="1470889" y="5215806"/>
                  <a:pt x="1470889" y="5215806"/>
                </a:cubicBezTo>
                <a:cubicBezTo>
                  <a:pt x="1474102" y="5221370"/>
                  <a:pt x="1474102" y="5221370"/>
                  <a:pt x="1480528" y="5232500"/>
                </a:cubicBezTo>
                <a:cubicBezTo>
                  <a:pt x="1491657" y="5226074"/>
                  <a:pt x="1503332" y="5252723"/>
                  <a:pt x="1506860" y="5239556"/>
                </a:cubicBezTo>
                <a:cubicBezTo>
                  <a:pt x="1498082" y="5237204"/>
                  <a:pt x="1496045" y="5227248"/>
                  <a:pt x="1488444" y="5220510"/>
                </a:cubicBezTo>
                <a:cubicBezTo>
                  <a:pt x="1496045" y="5227248"/>
                  <a:pt x="1496045" y="5227248"/>
                  <a:pt x="1497221" y="5222862"/>
                </a:cubicBezTo>
                <a:cubicBezTo>
                  <a:pt x="1497221" y="5222862"/>
                  <a:pt x="1497221" y="5222862"/>
                  <a:pt x="1498397" y="5218473"/>
                </a:cubicBezTo>
                <a:cubicBezTo>
                  <a:pt x="1503647" y="5233991"/>
                  <a:pt x="1513285" y="5250684"/>
                  <a:pt x="1524100" y="5262990"/>
                </a:cubicBezTo>
                <a:lnTo>
                  <a:pt x="1529803" y="5271505"/>
                </a:lnTo>
                <a:lnTo>
                  <a:pt x="1437995" y="5112967"/>
                </a:lnTo>
                <a:cubicBezTo>
                  <a:pt x="1391099" y="5026739"/>
                  <a:pt x="1347692" y="4938662"/>
                  <a:pt x="1311258" y="4846888"/>
                </a:cubicBezTo>
                <a:cubicBezTo>
                  <a:pt x="1274208" y="4751420"/>
                  <a:pt x="1243161" y="4655268"/>
                  <a:pt x="1218056" y="4558384"/>
                </a:cubicBezTo>
                <a:lnTo>
                  <a:pt x="1201334" y="4484933"/>
                </a:lnTo>
                <a:lnTo>
                  <a:pt x="1197261" y="4477118"/>
                </a:lnTo>
                <a:cubicBezTo>
                  <a:pt x="1191190" y="4460277"/>
                  <a:pt x="1187268" y="4435413"/>
                  <a:pt x="1180039" y="4422892"/>
                </a:cubicBezTo>
                <a:cubicBezTo>
                  <a:pt x="1180039" y="4422892"/>
                  <a:pt x="1181216" y="4418505"/>
                  <a:pt x="1181216" y="4418505"/>
                </a:cubicBezTo>
                <a:cubicBezTo>
                  <a:pt x="1182392" y="4414117"/>
                  <a:pt x="1182392" y="4414117"/>
                  <a:pt x="1182392" y="4414117"/>
                </a:cubicBezTo>
                <a:cubicBezTo>
                  <a:pt x="1182392" y="4414117"/>
                  <a:pt x="1178003" y="4412939"/>
                  <a:pt x="1178003" y="4412939"/>
                </a:cubicBezTo>
                <a:cubicBezTo>
                  <a:pt x="1172754" y="4397422"/>
                  <a:pt x="1177142" y="4398598"/>
                  <a:pt x="1175105" y="4388646"/>
                </a:cubicBezTo>
                <a:cubicBezTo>
                  <a:pt x="1175105" y="4388646"/>
                  <a:pt x="1176282" y="4384256"/>
                  <a:pt x="1176282" y="4384256"/>
                </a:cubicBezTo>
                <a:cubicBezTo>
                  <a:pt x="1176282" y="4384256"/>
                  <a:pt x="1173069" y="4378691"/>
                  <a:pt x="1173069" y="4378691"/>
                </a:cubicBezTo>
                <a:cubicBezTo>
                  <a:pt x="1171892" y="4383080"/>
                  <a:pt x="1171892" y="4383080"/>
                  <a:pt x="1171892" y="4383080"/>
                </a:cubicBezTo>
                <a:cubicBezTo>
                  <a:pt x="1164606" y="4357608"/>
                  <a:pt x="1163746" y="4343266"/>
                  <a:pt x="1154106" y="4326573"/>
                </a:cubicBezTo>
                <a:cubicBezTo>
                  <a:pt x="1158496" y="4327748"/>
                  <a:pt x="1158496" y="4327748"/>
                  <a:pt x="1158496" y="4327748"/>
                </a:cubicBezTo>
                <a:lnTo>
                  <a:pt x="1159672" y="4323360"/>
                </a:lnTo>
                <a:cubicBezTo>
                  <a:pt x="1160847" y="4318970"/>
                  <a:pt x="1156459" y="4317795"/>
                  <a:pt x="1156459" y="4317795"/>
                </a:cubicBezTo>
                <a:cubicBezTo>
                  <a:pt x="1156459" y="4317795"/>
                  <a:pt x="1156459" y="4317795"/>
                  <a:pt x="1152070" y="4316619"/>
                </a:cubicBezTo>
                <a:cubicBezTo>
                  <a:pt x="1153245" y="4312229"/>
                  <a:pt x="1153245" y="4312229"/>
                  <a:pt x="1153245" y="4312229"/>
                </a:cubicBezTo>
                <a:cubicBezTo>
                  <a:pt x="1147997" y="4296712"/>
                  <a:pt x="1153561" y="4293499"/>
                  <a:pt x="1151524" y="4283546"/>
                </a:cubicBezTo>
                <a:cubicBezTo>
                  <a:pt x="1147136" y="4282370"/>
                  <a:pt x="1145960" y="4286759"/>
                  <a:pt x="1143923" y="4276806"/>
                </a:cubicBezTo>
                <a:cubicBezTo>
                  <a:pt x="1145099" y="4272417"/>
                  <a:pt x="1140710" y="4271240"/>
                  <a:pt x="1141886" y="4266851"/>
                </a:cubicBezTo>
                <a:cubicBezTo>
                  <a:pt x="1146275" y="4268028"/>
                  <a:pt x="1146275" y="4268028"/>
                  <a:pt x="1147451" y="4263640"/>
                </a:cubicBezTo>
                <a:cubicBezTo>
                  <a:pt x="1147451" y="4263640"/>
                  <a:pt x="1148626" y="4259250"/>
                  <a:pt x="1144238" y="4258074"/>
                </a:cubicBezTo>
                <a:cubicBezTo>
                  <a:pt x="1144238" y="4258074"/>
                  <a:pt x="1145414" y="4253685"/>
                  <a:pt x="1141026" y="4252510"/>
                </a:cubicBezTo>
                <a:cubicBezTo>
                  <a:pt x="1138988" y="4242556"/>
                  <a:pt x="1126454" y="4201567"/>
                  <a:pt x="1129664" y="4207132"/>
                </a:cubicBezTo>
                <a:cubicBezTo>
                  <a:pt x="1119712" y="4209167"/>
                  <a:pt x="1139304" y="4223827"/>
                  <a:pt x="1129350" y="4225863"/>
                </a:cubicBezTo>
                <a:cubicBezTo>
                  <a:pt x="1132563" y="4231426"/>
                  <a:pt x="1135776" y="4236993"/>
                  <a:pt x="1137813" y="4246945"/>
                </a:cubicBezTo>
                <a:cubicBezTo>
                  <a:pt x="1137813" y="4246945"/>
                  <a:pt x="1137813" y="4246945"/>
                  <a:pt x="1136636" y="4251335"/>
                </a:cubicBezTo>
                <a:cubicBezTo>
                  <a:pt x="1136636" y="4251335"/>
                  <a:pt x="1135460" y="4255723"/>
                  <a:pt x="1135460" y="4255723"/>
                </a:cubicBezTo>
                <a:cubicBezTo>
                  <a:pt x="1134284" y="4260111"/>
                  <a:pt x="1137498" y="4265676"/>
                  <a:pt x="1137498" y="4265676"/>
                </a:cubicBezTo>
                <a:cubicBezTo>
                  <a:pt x="1133970" y="4278841"/>
                  <a:pt x="1145960" y="4286759"/>
                  <a:pt x="1150033" y="4306665"/>
                </a:cubicBezTo>
                <a:cubicBezTo>
                  <a:pt x="1145645" y="4305489"/>
                  <a:pt x="1144468" y="4309878"/>
                  <a:pt x="1147682" y="4315442"/>
                </a:cubicBezTo>
                <a:cubicBezTo>
                  <a:pt x="1146506" y="4319832"/>
                  <a:pt x="1146506" y="4319832"/>
                  <a:pt x="1146506" y="4319832"/>
                </a:cubicBezTo>
                <a:cubicBezTo>
                  <a:pt x="1146506" y="4319832"/>
                  <a:pt x="1145330" y="4324220"/>
                  <a:pt x="1144154" y="4328609"/>
                </a:cubicBezTo>
                <a:cubicBezTo>
                  <a:pt x="1148541" y="4329785"/>
                  <a:pt x="1147366" y="4334175"/>
                  <a:pt x="1148541" y="4329785"/>
                </a:cubicBezTo>
                <a:cubicBezTo>
                  <a:pt x="1148541" y="4329785"/>
                  <a:pt x="1152931" y="4330961"/>
                  <a:pt x="1152931" y="4330961"/>
                </a:cubicBezTo>
                <a:cubicBezTo>
                  <a:pt x="1149404" y="4344127"/>
                  <a:pt x="1159358" y="4342089"/>
                  <a:pt x="1161393" y="4352045"/>
                </a:cubicBezTo>
                <a:cubicBezTo>
                  <a:pt x="1162255" y="4366386"/>
                  <a:pt x="1164291" y="4376340"/>
                  <a:pt x="1167504" y="4381903"/>
                </a:cubicBezTo>
                <a:cubicBezTo>
                  <a:pt x="1167504" y="4381903"/>
                  <a:pt x="1166328" y="4386292"/>
                  <a:pt x="1166328" y="4386292"/>
                </a:cubicBezTo>
                <a:cubicBezTo>
                  <a:pt x="1166328" y="4386292"/>
                  <a:pt x="1166328" y="4386292"/>
                  <a:pt x="1165152" y="4390680"/>
                </a:cubicBezTo>
                <a:cubicBezTo>
                  <a:pt x="1171576" y="4401812"/>
                  <a:pt x="1171576" y="4401812"/>
                  <a:pt x="1173615" y="4411764"/>
                </a:cubicBezTo>
                <a:cubicBezTo>
                  <a:pt x="1174791" y="4407376"/>
                  <a:pt x="1174791" y="4407376"/>
                  <a:pt x="1170402" y="4406199"/>
                </a:cubicBezTo>
                <a:cubicBezTo>
                  <a:pt x="1170402" y="4406199"/>
                  <a:pt x="1170402" y="4406199"/>
                  <a:pt x="1169226" y="4410588"/>
                </a:cubicBezTo>
                <a:cubicBezTo>
                  <a:pt x="1169226" y="4410588"/>
                  <a:pt x="1172439" y="4416153"/>
                  <a:pt x="1172439" y="4416153"/>
                </a:cubicBezTo>
                <a:cubicBezTo>
                  <a:pt x="1175651" y="4421717"/>
                  <a:pt x="1175651" y="4421717"/>
                  <a:pt x="1175651" y="4421717"/>
                </a:cubicBezTo>
                <a:cubicBezTo>
                  <a:pt x="1174474" y="4426105"/>
                  <a:pt x="1174474" y="4426105"/>
                  <a:pt x="1176512" y="4436059"/>
                </a:cubicBezTo>
                <a:cubicBezTo>
                  <a:pt x="1177688" y="4431671"/>
                  <a:pt x="1180902" y="4437235"/>
                  <a:pt x="1182936" y="4447190"/>
                </a:cubicBezTo>
                <a:cubicBezTo>
                  <a:pt x="1178550" y="4446013"/>
                  <a:pt x="1179726" y="4441624"/>
                  <a:pt x="1175336" y="4440449"/>
                </a:cubicBezTo>
                <a:cubicBezTo>
                  <a:pt x="1180585" y="4455966"/>
                  <a:pt x="1182936" y="4447190"/>
                  <a:pt x="1184974" y="4457141"/>
                </a:cubicBezTo>
                <a:cubicBezTo>
                  <a:pt x="1185836" y="4471484"/>
                  <a:pt x="1183799" y="4461530"/>
                  <a:pt x="1192260" y="4482614"/>
                </a:cubicBezTo>
                <a:cubicBezTo>
                  <a:pt x="1186696" y="4485827"/>
                  <a:pt x="1183484" y="4480262"/>
                  <a:pt x="1179095" y="4479085"/>
                </a:cubicBezTo>
                <a:cubicBezTo>
                  <a:pt x="1185521" y="4490215"/>
                  <a:pt x="1188732" y="4495780"/>
                  <a:pt x="1191946" y="4501343"/>
                </a:cubicBezTo>
                <a:cubicBezTo>
                  <a:pt x="1187556" y="4500168"/>
                  <a:pt x="1187556" y="4500168"/>
                  <a:pt x="1187556" y="4500168"/>
                </a:cubicBezTo>
                <a:cubicBezTo>
                  <a:pt x="1187556" y="4500168"/>
                  <a:pt x="1187556" y="4500168"/>
                  <a:pt x="1186381" y="4504557"/>
                </a:cubicBezTo>
                <a:cubicBezTo>
                  <a:pt x="1186381" y="4504557"/>
                  <a:pt x="1190769" y="4505732"/>
                  <a:pt x="1189595" y="4510122"/>
                </a:cubicBezTo>
                <a:cubicBezTo>
                  <a:pt x="1192806" y="4515686"/>
                  <a:pt x="1194843" y="4525640"/>
                  <a:pt x="1199232" y="4526816"/>
                </a:cubicBezTo>
                <a:cubicBezTo>
                  <a:pt x="1199232" y="4526816"/>
                  <a:pt x="1202444" y="4532380"/>
                  <a:pt x="1201270" y="4536768"/>
                </a:cubicBezTo>
                <a:cubicBezTo>
                  <a:pt x="1201270" y="4536768"/>
                  <a:pt x="1201270" y="4536768"/>
                  <a:pt x="1204483" y="4542334"/>
                </a:cubicBezTo>
                <a:cubicBezTo>
                  <a:pt x="1204483" y="4542334"/>
                  <a:pt x="1204483" y="4542334"/>
                  <a:pt x="1205658" y="4537945"/>
                </a:cubicBezTo>
                <a:cubicBezTo>
                  <a:pt x="1205658" y="4537945"/>
                  <a:pt x="1205658" y="4537945"/>
                  <a:pt x="1206834" y="4533557"/>
                </a:cubicBezTo>
                <a:cubicBezTo>
                  <a:pt x="1216472" y="4550251"/>
                  <a:pt x="1217334" y="4564593"/>
                  <a:pt x="1219369" y="4574546"/>
                </a:cubicBezTo>
                <a:cubicBezTo>
                  <a:pt x="1214982" y="4573370"/>
                  <a:pt x="1211768" y="4567804"/>
                  <a:pt x="1207380" y="4566629"/>
                </a:cubicBezTo>
                <a:cubicBezTo>
                  <a:pt x="1214666" y="4592101"/>
                  <a:pt x="1221953" y="4617572"/>
                  <a:pt x="1226656" y="4600018"/>
                </a:cubicBezTo>
                <a:cubicBezTo>
                  <a:pt x="1229555" y="4624313"/>
                  <a:pt x="1229555" y="4624313"/>
                  <a:pt x="1239192" y="4641007"/>
                </a:cubicBezTo>
                <a:cubicBezTo>
                  <a:pt x="1239192" y="4641007"/>
                  <a:pt x="1234802" y="4639830"/>
                  <a:pt x="1235979" y="4635441"/>
                </a:cubicBezTo>
                <a:cubicBezTo>
                  <a:pt x="1235979" y="4635441"/>
                  <a:pt x="1231591" y="4634266"/>
                  <a:pt x="1231591" y="4634266"/>
                </a:cubicBezTo>
                <a:cubicBezTo>
                  <a:pt x="1228377" y="4628702"/>
                  <a:pt x="1227201" y="4633090"/>
                  <a:pt x="1227201" y="4633090"/>
                </a:cubicBezTo>
                <a:cubicBezTo>
                  <a:pt x="1226027" y="4637479"/>
                  <a:pt x="1226027" y="4637479"/>
                  <a:pt x="1229238" y="4643044"/>
                </a:cubicBezTo>
                <a:cubicBezTo>
                  <a:pt x="1224851" y="4641868"/>
                  <a:pt x="1224851" y="4641868"/>
                  <a:pt x="1224851" y="4641868"/>
                </a:cubicBezTo>
                <a:cubicBezTo>
                  <a:pt x="1226027" y="4637479"/>
                  <a:pt x="1221636" y="4636303"/>
                  <a:pt x="1221636" y="4636303"/>
                </a:cubicBezTo>
                <a:cubicBezTo>
                  <a:pt x="1222813" y="4631914"/>
                  <a:pt x="1222813" y="4631914"/>
                  <a:pt x="1222813" y="4631914"/>
                </a:cubicBezTo>
                <a:cubicBezTo>
                  <a:pt x="1222813" y="4631914"/>
                  <a:pt x="1219601" y="4626351"/>
                  <a:pt x="1219601" y="4626351"/>
                </a:cubicBezTo>
                <a:cubicBezTo>
                  <a:pt x="1219601" y="4626351"/>
                  <a:pt x="1216388" y="4620785"/>
                  <a:pt x="1216388" y="4620785"/>
                </a:cubicBezTo>
                <a:cubicBezTo>
                  <a:pt x="1198602" y="4564277"/>
                  <a:pt x="1184029" y="4513335"/>
                  <a:pt x="1166244" y="4456826"/>
                </a:cubicBezTo>
                <a:cubicBezTo>
                  <a:pt x="1167419" y="4452437"/>
                  <a:pt x="1167419" y="4452437"/>
                  <a:pt x="1167419" y="4452437"/>
                </a:cubicBezTo>
                <a:cubicBezTo>
                  <a:pt x="1168595" y="4448050"/>
                  <a:pt x="1164208" y="4446875"/>
                  <a:pt x="1164208" y="4446875"/>
                </a:cubicBezTo>
                <a:cubicBezTo>
                  <a:pt x="1154568" y="4430178"/>
                  <a:pt x="1158957" y="4431356"/>
                  <a:pt x="1153709" y="4415837"/>
                </a:cubicBezTo>
                <a:cubicBezTo>
                  <a:pt x="1154884" y="4411449"/>
                  <a:pt x="1156060" y="4407060"/>
                  <a:pt x="1152847" y="4401495"/>
                </a:cubicBezTo>
                <a:cubicBezTo>
                  <a:pt x="1154023" y="4397107"/>
                  <a:pt x="1149633" y="4395931"/>
                  <a:pt x="1149633" y="4395931"/>
                </a:cubicBezTo>
                <a:cubicBezTo>
                  <a:pt x="1144385" y="4380413"/>
                  <a:pt x="1143524" y="4366070"/>
                  <a:pt x="1135922" y="4359331"/>
                </a:cubicBezTo>
                <a:cubicBezTo>
                  <a:pt x="1135922" y="4359331"/>
                  <a:pt x="1132709" y="4353765"/>
                  <a:pt x="1132709" y="4353765"/>
                </a:cubicBezTo>
                <a:cubicBezTo>
                  <a:pt x="1133885" y="4349376"/>
                  <a:pt x="1135061" y="4344987"/>
                  <a:pt x="1136237" y="4340599"/>
                </a:cubicBezTo>
                <a:cubicBezTo>
                  <a:pt x="1131849" y="4339423"/>
                  <a:pt x="1128951" y="4315129"/>
                  <a:pt x="1122525" y="4303999"/>
                </a:cubicBezTo>
                <a:cubicBezTo>
                  <a:pt x="1122525" y="4303999"/>
                  <a:pt x="1123701" y="4299610"/>
                  <a:pt x="1119313" y="4298434"/>
                </a:cubicBezTo>
                <a:cubicBezTo>
                  <a:pt x="1120488" y="4294045"/>
                  <a:pt x="1120488" y="4294045"/>
                  <a:pt x="1120488" y="4294045"/>
                </a:cubicBezTo>
                <a:cubicBezTo>
                  <a:pt x="1113517" y="4249843"/>
                  <a:pt x="1107721" y="4201253"/>
                  <a:pt x="1096361" y="4155872"/>
                </a:cubicBezTo>
                <a:cubicBezTo>
                  <a:pt x="1097537" y="4151485"/>
                  <a:pt x="1094325" y="4145920"/>
                  <a:pt x="1091113" y="4140355"/>
                </a:cubicBezTo>
                <a:cubicBezTo>
                  <a:pt x="1092288" y="4135967"/>
                  <a:pt x="1093464" y="4131578"/>
                  <a:pt x="1094640" y="4127188"/>
                </a:cubicBezTo>
                <a:cubicBezTo>
                  <a:pt x="1093464" y="4131578"/>
                  <a:pt x="1090251" y="4126014"/>
                  <a:pt x="1085862" y="4124836"/>
                </a:cubicBezTo>
                <a:cubicBezTo>
                  <a:pt x="1087038" y="4120449"/>
                  <a:pt x="1083826" y="4114884"/>
                  <a:pt x="1083826" y="4114884"/>
                </a:cubicBezTo>
                <a:cubicBezTo>
                  <a:pt x="1080928" y="4090588"/>
                  <a:pt x="1082419" y="4067468"/>
                  <a:pt x="1078345" y="4047561"/>
                </a:cubicBezTo>
                <a:cubicBezTo>
                  <a:pt x="1078345" y="4047561"/>
                  <a:pt x="1079521" y="4043174"/>
                  <a:pt x="1079521" y="4043174"/>
                </a:cubicBezTo>
                <a:cubicBezTo>
                  <a:pt x="1080697" y="4038785"/>
                  <a:pt x="1080697" y="4038785"/>
                  <a:pt x="1081873" y="4034397"/>
                </a:cubicBezTo>
                <a:cubicBezTo>
                  <a:pt x="1077484" y="4033220"/>
                  <a:pt x="1077484" y="4033220"/>
                  <a:pt x="1077484" y="4033220"/>
                </a:cubicBezTo>
                <a:cubicBezTo>
                  <a:pt x="1071373" y="4003360"/>
                  <a:pt x="1064088" y="3977887"/>
                  <a:pt x="1064402" y="3959157"/>
                </a:cubicBezTo>
                <a:cubicBezTo>
                  <a:pt x="1054764" y="3942464"/>
                  <a:pt x="1056571" y="3900614"/>
                  <a:pt x="1052811" y="3861976"/>
                </a:cubicBezTo>
                <a:cubicBezTo>
                  <a:pt x="1046386" y="3850845"/>
                  <a:pt x="1050228" y="3818949"/>
                  <a:pt x="1048192" y="3808995"/>
                </a:cubicBezTo>
                <a:cubicBezTo>
                  <a:pt x="1048192" y="3808995"/>
                  <a:pt x="1049368" y="3804606"/>
                  <a:pt x="1049368" y="3804606"/>
                </a:cubicBezTo>
                <a:cubicBezTo>
                  <a:pt x="1049368" y="3804606"/>
                  <a:pt x="1050544" y="3800218"/>
                  <a:pt x="1050544" y="3800218"/>
                </a:cubicBezTo>
                <a:cubicBezTo>
                  <a:pt x="1051720" y="3795829"/>
                  <a:pt x="1051720" y="3795829"/>
                  <a:pt x="1051720" y="3795829"/>
                </a:cubicBezTo>
                <a:cubicBezTo>
                  <a:pt x="1048507" y="3790265"/>
                  <a:pt x="1048507" y="3790265"/>
                  <a:pt x="1047332" y="3794654"/>
                </a:cubicBezTo>
                <a:cubicBezTo>
                  <a:pt x="1046471" y="3780311"/>
                  <a:pt x="1044119" y="3789088"/>
                  <a:pt x="1039730" y="3787912"/>
                </a:cubicBezTo>
                <a:cubicBezTo>
                  <a:pt x="1047647" y="3775922"/>
                  <a:pt x="1034481" y="3772394"/>
                  <a:pt x="1039185" y="3754841"/>
                </a:cubicBezTo>
                <a:cubicBezTo>
                  <a:pt x="1033620" y="3758052"/>
                  <a:pt x="1037148" y="3744886"/>
                  <a:pt x="1032759" y="3743710"/>
                </a:cubicBezTo>
                <a:cubicBezTo>
                  <a:pt x="1036833" y="3763618"/>
                  <a:pt x="1032990" y="3795514"/>
                  <a:pt x="1040591" y="3802254"/>
                </a:cubicBezTo>
                <a:cubicBezTo>
                  <a:pt x="1040591" y="3802254"/>
                  <a:pt x="1039415" y="3806644"/>
                  <a:pt x="1038239" y="3811032"/>
                </a:cubicBezTo>
                <a:cubicBezTo>
                  <a:pt x="1038239" y="3811032"/>
                  <a:pt x="1037063" y="3815421"/>
                  <a:pt x="1041452" y="3816598"/>
                </a:cubicBezTo>
                <a:cubicBezTo>
                  <a:pt x="1034396" y="3842930"/>
                  <a:pt x="1041683" y="3868400"/>
                  <a:pt x="1044581" y="3892697"/>
                </a:cubicBezTo>
                <a:cubicBezTo>
                  <a:pt x="1051236" y="3955629"/>
                  <a:pt x="1053505" y="4017386"/>
                  <a:pt x="1062511" y="4071543"/>
                </a:cubicBezTo>
                <a:cubicBezTo>
                  <a:pt x="1069482" y="4115746"/>
                  <a:pt x="1070575" y="4181890"/>
                  <a:pt x="1087185" y="4242788"/>
                </a:cubicBezTo>
                <a:cubicBezTo>
                  <a:pt x="1089222" y="4252740"/>
                  <a:pt x="1096823" y="4259481"/>
                  <a:pt x="1094470" y="4268258"/>
                </a:cubicBezTo>
                <a:cubicBezTo>
                  <a:pt x="1105830" y="4313637"/>
                  <a:pt x="1108414" y="4356662"/>
                  <a:pt x="1117737" y="4392087"/>
                </a:cubicBezTo>
                <a:cubicBezTo>
                  <a:pt x="1129412" y="4418735"/>
                  <a:pt x="1124163" y="4403217"/>
                  <a:pt x="1130272" y="4433077"/>
                </a:cubicBezTo>
                <a:cubicBezTo>
                  <a:pt x="1135208" y="4467325"/>
                  <a:pt x="1145707" y="4498362"/>
                  <a:pt x="1158558" y="4520621"/>
                </a:cubicBezTo>
                <a:cubicBezTo>
                  <a:pt x="1165529" y="4564823"/>
                  <a:pt x="1195306" y="4629248"/>
                  <a:pt x="1207841" y="4670237"/>
                </a:cubicBezTo>
                <a:cubicBezTo>
                  <a:pt x="1213091" y="4685755"/>
                  <a:pt x="1218656" y="4682542"/>
                  <a:pt x="1223905" y="4698060"/>
                </a:cubicBezTo>
                <a:cubicBezTo>
                  <a:pt x="1213953" y="4700098"/>
                  <a:pt x="1225627" y="4726744"/>
                  <a:pt x="1235264" y="4743438"/>
                </a:cubicBezTo>
                <a:cubicBezTo>
                  <a:pt x="1235264" y="4743438"/>
                  <a:pt x="1239653" y="4744614"/>
                  <a:pt x="1242867" y="4750180"/>
                </a:cubicBezTo>
                <a:cubicBezTo>
                  <a:pt x="1252505" y="4766873"/>
                  <a:pt x="1253051" y="4799946"/>
                  <a:pt x="1270290" y="4823381"/>
                </a:cubicBezTo>
                <a:cubicBezTo>
                  <a:pt x="1273503" y="4828945"/>
                  <a:pt x="1279068" y="4825733"/>
                  <a:pt x="1285493" y="4836862"/>
                </a:cubicBezTo>
                <a:cubicBezTo>
                  <a:pt x="1285493" y="4836862"/>
                  <a:pt x="1281965" y="4850028"/>
                  <a:pt x="1289567" y="4856770"/>
                </a:cubicBezTo>
                <a:cubicBezTo>
                  <a:pt x="1311741" y="4914453"/>
                  <a:pt x="1354684" y="4982404"/>
                  <a:pt x="1383598" y="5032486"/>
                </a:cubicBezTo>
                <a:cubicBezTo>
                  <a:pt x="1396449" y="5054745"/>
                  <a:pt x="1408125" y="5081392"/>
                  <a:pt x="1424188" y="5109216"/>
                </a:cubicBezTo>
                <a:cubicBezTo>
                  <a:pt x="1430614" y="5120345"/>
                  <a:pt x="1445815" y="5133827"/>
                  <a:pt x="1452243" y="5144956"/>
                </a:cubicBezTo>
                <a:cubicBezTo>
                  <a:pt x="1452243" y="5144956"/>
                  <a:pt x="1457491" y="5160475"/>
                  <a:pt x="1457491" y="5160475"/>
                </a:cubicBezTo>
                <a:cubicBezTo>
                  <a:pt x="1463918" y="5171603"/>
                  <a:pt x="1468306" y="5172779"/>
                  <a:pt x="1471520" y="5178344"/>
                </a:cubicBezTo>
                <a:cubicBezTo>
                  <a:pt x="1470343" y="5182734"/>
                  <a:pt x="1470343" y="5182734"/>
                  <a:pt x="1470343" y="5182734"/>
                </a:cubicBezTo>
                <a:cubicBezTo>
                  <a:pt x="1457178" y="5179205"/>
                  <a:pt x="1458668" y="5156086"/>
                  <a:pt x="1451927" y="5163687"/>
                </a:cubicBezTo>
                <a:cubicBezTo>
                  <a:pt x="1451927" y="5163687"/>
                  <a:pt x="1451927" y="5163687"/>
                  <a:pt x="1453103" y="5159298"/>
                </a:cubicBezTo>
                <a:cubicBezTo>
                  <a:pt x="1445502" y="5152557"/>
                  <a:pt x="1445502" y="5152557"/>
                  <a:pt x="1445502" y="5152557"/>
                </a:cubicBezTo>
                <a:cubicBezTo>
                  <a:pt x="1445502" y="5152557"/>
                  <a:pt x="1441112" y="5151381"/>
                  <a:pt x="1441112" y="5151381"/>
                </a:cubicBezTo>
                <a:cubicBezTo>
                  <a:pt x="1441112" y="5151381"/>
                  <a:pt x="1442290" y="5146993"/>
                  <a:pt x="1437901" y="5145818"/>
                </a:cubicBezTo>
                <a:cubicBezTo>
                  <a:pt x="1437901" y="5145818"/>
                  <a:pt x="1433513" y="5144641"/>
                  <a:pt x="1433513" y="5144641"/>
                </a:cubicBezTo>
                <a:cubicBezTo>
                  <a:pt x="1423874" y="5127948"/>
                  <a:pt x="1422698" y="5132336"/>
                  <a:pt x="1413059" y="5115641"/>
                </a:cubicBezTo>
                <a:cubicBezTo>
                  <a:pt x="1413059" y="5115641"/>
                  <a:pt x="1409846" y="5110078"/>
                  <a:pt x="1409846" y="5110078"/>
                </a:cubicBezTo>
                <a:cubicBezTo>
                  <a:pt x="1409846" y="5110078"/>
                  <a:pt x="1409846" y="5110078"/>
                  <a:pt x="1405458" y="5108901"/>
                </a:cubicBezTo>
                <a:cubicBezTo>
                  <a:pt x="1405458" y="5108901"/>
                  <a:pt x="1406634" y="5104513"/>
                  <a:pt x="1406634" y="5104513"/>
                </a:cubicBezTo>
                <a:cubicBezTo>
                  <a:pt x="1404596" y="5094559"/>
                  <a:pt x="1423012" y="5113604"/>
                  <a:pt x="1412199" y="5101300"/>
                </a:cubicBezTo>
                <a:cubicBezTo>
                  <a:pt x="1408985" y="5095735"/>
                  <a:pt x="1403421" y="5098947"/>
                  <a:pt x="1391431" y="5091032"/>
                </a:cubicBezTo>
                <a:cubicBezTo>
                  <a:pt x="1390570" y="5076688"/>
                  <a:pt x="1381793" y="5074337"/>
                  <a:pt x="1370118" y="5047690"/>
                </a:cubicBezTo>
                <a:cubicBezTo>
                  <a:pt x="1374506" y="5048866"/>
                  <a:pt x="1374506" y="5048866"/>
                  <a:pt x="1374506" y="5048866"/>
                </a:cubicBezTo>
                <a:cubicBezTo>
                  <a:pt x="1371293" y="5043301"/>
                  <a:pt x="1371293" y="5043301"/>
                  <a:pt x="1371293" y="5043301"/>
                </a:cubicBezTo>
                <a:cubicBezTo>
                  <a:pt x="1373645" y="5034523"/>
                  <a:pt x="1378894" y="5050041"/>
                  <a:pt x="1383283" y="5051218"/>
                </a:cubicBezTo>
                <a:cubicBezTo>
                  <a:pt x="1378034" y="5035700"/>
                  <a:pt x="1373645" y="5034523"/>
                  <a:pt x="1364867" y="5032171"/>
                </a:cubicBezTo>
                <a:cubicBezTo>
                  <a:pt x="1366043" y="5027782"/>
                  <a:pt x="1366043" y="5027782"/>
                  <a:pt x="1362831" y="5022217"/>
                </a:cubicBezTo>
                <a:cubicBezTo>
                  <a:pt x="1364006" y="5017830"/>
                  <a:pt x="1359618" y="5016653"/>
                  <a:pt x="1359618" y="5016653"/>
                </a:cubicBezTo>
                <a:cubicBezTo>
                  <a:pt x="1354053" y="5019866"/>
                  <a:pt x="1354053" y="5019866"/>
                  <a:pt x="1354053" y="5019866"/>
                </a:cubicBezTo>
                <a:cubicBezTo>
                  <a:pt x="1354369" y="5001136"/>
                  <a:pt x="1342062" y="5011950"/>
                  <a:pt x="1334776" y="4986477"/>
                </a:cubicBezTo>
                <a:cubicBezTo>
                  <a:pt x="1331564" y="4980914"/>
                  <a:pt x="1331564" y="4980914"/>
                  <a:pt x="1331564" y="4980914"/>
                </a:cubicBezTo>
                <a:cubicBezTo>
                  <a:pt x="1331564" y="4980914"/>
                  <a:pt x="1327174" y="4979738"/>
                  <a:pt x="1327174" y="4979738"/>
                </a:cubicBezTo>
                <a:cubicBezTo>
                  <a:pt x="1305862" y="4936396"/>
                  <a:pt x="1286585" y="4903008"/>
                  <a:pt x="1266133" y="4874009"/>
                </a:cubicBezTo>
                <a:cubicBezTo>
                  <a:pt x="1270522" y="4875184"/>
                  <a:pt x="1275226" y="4857629"/>
                  <a:pt x="1265272" y="4859666"/>
                </a:cubicBezTo>
                <a:cubicBezTo>
                  <a:pt x="1267309" y="4869621"/>
                  <a:pt x="1259707" y="4862879"/>
                  <a:pt x="1257670" y="4852926"/>
                </a:cubicBezTo>
                <a:cubicBezTo>
                  <a:pt x="1249209" y="4831843"/>
                  <a:pt x="1229931" y="4798455"/>
                  <a:pt x="1216219" y="4761855"/>
                </a:cubicBezTo>
                <a:cubicBezTo>
                  <a:pt x="1201331" y="4729642"/>
                  <a:pt x="1187620" y="4693041"/>
                  <a:pt x="1175945" y="4666393"/>
                </a:cubicBezTo>
                <a:cubicBezTo>
                  <a:pt x="1179158" y="4671959"/>
                  <a:pt x="1179473" y="4653227"/>
                  <a:pt x="1175083" y="4652052"/>
                </a:cubicBezTo>
                <a:cubicBezTo>
                  <a:pt x="1177120" y="4662005"/>
                  <a:pt x="1172731" y="4660829"/>
                  <a:pt x="1169519" y="4655265"/>
                </a:cubicBezTo>
                <a:cubicBezTo>
                  <a:pt x="1171870" y="4646488"/>
                  <a:pt x="1160195" y="4619839"/>
                  <a:pt x="1151733" y="4598757"/>
                </a:cubicBezTo>
                <a:cubicBezTo>
                  <a:pt x="1143271" y="4577674"/>
                  <a:pt x="1133632" y="4560981"/>
                  <a:pt x="1138021" y="4562157"/>
                </a:cubicBezTo>
                <a:cubicBezTo>
                  <a:pt x="1125170" y="4539897"/>
                  <a:pt x="1121097" y="4519989"/>
                  <a:pt x="1117023" y="4500084"/>
                </a:cubicBezTo>
                <a:cubicBezTo>
                  <a:pt x="1109736" y="4474612"/>
                  <a:pt x="1106838" y="4450317"/>
                  <a:pt x="1091951" y="4418105"/>
                </a:cubicBezTo>
                <a:cubicBezTo>
                  <a:pt x="1091951" y="4418105"/>
                  <a:pt x="1093126" y="4413716"/>
                  <a:pt x="1094302" y="4409327"/>
                </a:cubicBezTo>
                <a:cubicBezTo>
                  <a:pt x="1077923" y="4400235"/>
                  <a:pt x="1080045" y="4339653"/>
                  <a:pt x="1071583" y="4318571"/>
                </a:cubicBezTo>
                <a:cubicBezTo>
                  <a:pt x="1068369" y="4313007"/>
                  <a:pt x="1067193" y="4317394"/>
                  <a:pt x="1065158" y="4307442"/>
                </a:cubicBezTo>
                <a:cubicBezTo>
                  <a:pt x="1059908" y="4291924"/>
                  <a:pt x="1063434" y="4278757"/>
                  <a:pt x="1058186" y="4263240"/>
                </a:cubicBezTo>
                <a:cubicBezTo>
                  <a:pt x="1056149" y="4253285"/>
                  <a:pt x="1052934" y="4247721"/>
                  <a:pt x="1046511" y="4236593"/>
                </a:cubicBezTo>
                <a:cubicBezTo>
                  <a:pt x="1040400" y="4206732"/>
                  <a:pt x="1042206" y="4164881"/>
                  <a:pt x="1037271" y="4130632"/>
                </a:cubicBezTo>
                <a:cubicBezTo>
                  <a:pt x="1029124" y="4090818"/>
                  <a:pt x="1025681" y="4033450"/>
                  <a:pt x="1018709" y="3989247"/>
                </a:cubicBezTo>
                <a:cubicBezTo>
                  <a:pt x="1017849" y="3974906"/>
                  <a:pt x="1012598" y="3959389"/>
                  <a:pt x="1010562" y="3949435"/>
                </a:cubicBezTo>
                <a:cubicBezTo>
                  <a:pt x="1010562" y="3949435"/>
                  <a:pt x="1013775" y="3955000"/>
                  <a:pt x="1013775" y="3955000"/>
                </a:cubicBezTo>
                <a:cubicBezTo>
                  <a:pt x="1014090" y="3936267"/>
                  <a:pt x="1010017" y="3916361"/>
                  <a:pt x="1009155" y="3902019"/>
                </a:cubicBezTo>
                <a:cubicBezTo>
                  <a:pt x="1010331" y="3897631"/>
                  <a:pt x="1012683" y="3888853"/>
                  <a:pt x="1012683" y="3888853"/>
                </a:cubicBezTo>
                <a:cubicBezTo>
                  <a:pt x="1011277" y="3841438"/>
                  <a:pt x="1009008" y="3779681"/>
                  <a:pt x="1006427" y="3736656"/>
                </a:cubicBezTo>
                <a:cubicBezTo>
                  <a:pt x="1006427" y="3736656"/>
                  <a:pt x="1006427" y="3736656"/>
                  <a:pt x="1010815" y="3737831"/>
                </a:cubicBezTo>
                <a:cubicBezTo>
                  <a:pt x="1010815" y="3737831"/>
                  <a:pt x="1011991" y="3733442"/>
                  <a:pt x="1011991" y="3733442"/>
                </a:cubicBezTo>
                <a:cubicBezTo>
                  <a:pt x="1011991" y="3733442"/>
                  <a:pt x="1008780" y="3727878"/>
                  <a:pt x="1008780" y="3727878"/>
                </a:cubicBezTo>
                <a:cubicBezTo>
                  <a:pt x="1007918" y="3713536"/>
                  <a:pt x="1016465" y="3664084"/>
                  <a:pt x="1008548" y="3676075"/>
                </a:cubicBezTo>
                <a:cubicBezTo>
                  <a:pt x="1009723" y="3671686"/>
                  <a:pt x="1009723" y="3671686"/>
                  <a:pt x="1009723" y="3671686"/>
                </a:cubicBezTo>
                <a:cubicBezTo>
                  <a:pt x="1010899" y="3667297"/>
                  <a:pt x="1010899" y="3667297"/>
                  <a:pt x="1010899" y="3667297"/>
                </a:cubicBezTo>
                <a:cubicBezTo>
                  <a:pt x="1006511" y="3666122"/>
                  <a:pt x="1006511" y="3666122"/>
                  <a:pt x="1006511" y="3666122"/>
                </a:cubicBezTo>
                <a:cubicBezTo>
                  <a:pt x="1005335" y="3670511"/>
                  <a:pt x="1005335" y="3670511"/>
                  <a:pt x="1005335" y="3670511"/>
                </a:cubicBezTo>
                <a:cubicBezTo>
                  <a:pt x="995382" y="3672547"/>
                  <a:pt x="1004474" y="3656167"/>
                  <a:pt x="1005650" y="3651779"/>
                </a:cubicBezTo>
                <a:cubicBezTo>
                  <a:pt x="1000595" y="3657482"/>
                  <a:pt x="998363" y="3642771"/>
                  <a:pt x="997430" y="3642962"/>
                </a:cubicBezTo>
                <a:close/>
                <a:moveTo>
                  <a:pt x="292153" y="3621827"/>
                </a:moveTo>
                <a:cubicBezTo>
                  <a:pt x="297342" y="3628869"/>
                  <a:pt x="297190" y="3646368"/>
                  <a:pt x="295256" y="3667352"/>
                </a:cubicBezTo>
                <a:cubicBezTo>
                  <a:pt x="289840" y="3686557"/>
                  <a:pt x="287908" y="3707539"/>
                  <a:pt x="291316" y="3718069"/>
                </a:cubicBezTo>
                <a:cubicBezTo>
                  <a:pt x="289458" y="3730304"/>
                  <a:pt x="285900" y="3737274"/>
                  <a:pt x="280558" y="3747728"/>
                </a:cubicBezTo>
                <a:cubicBezTo>
                  <a:pt x="279515" y="3766969"/>
                  <a:pt x="279401" y="3780093"/>
                  <a:pt x="279732" y="3792347"/>
                </a:cubicBezTo>
                <a:lnTo>
                  <a:pt x="280276" y="3803967"/>
                </a:lnTo>
                <a:lnTo>
                  <a:pt x="283491" y="3800213"/>
                </a:lnTo>
                <a:cubicBezTo>
                  <a:pt x="283080" y="3798984"/>
                  <a:pt x="283031" y="3797151"/>
                  <a:pt x="284937" y="3797799"/>
                </a:cubicBezTo>
                <a:cubicBezTo>
                  <a:pt x="290584" y="3799045"/>
                  <a:pt x="291621" y="3795402"/>
                  <a:pt x="292754" y="3791326"/>
                </a:cubicBezTo>
                <a:cubicBezTo>
                  <a:pt x="292682" y="3790626"/>
                  <a:pt x="293743" y="3789949"/>
                  <a:pt x="294274" y="3789611"/>
                </a:cubicBezTo>
                <a:cubicBezTo>
                  <a:pt x="303009" y="3789261"/>
                  <a:pt x="311816" y="3789611"/>
                  <a:pt x="320720" y="3789525"/>
                </a:cubicBezTo>
                <a:lnTo>
                  <a:pt x="320722" y="3789526"/>
                </a:lnTo>
                <a:cubicBezTo>
                  <a:pt x="324824" y="3789520"/>
                  <a:pt x="329626" y="3793541"/>
                  <a:pt x="333487" y="3796670"/>
                </a:cubicBezTo>
                <a:cubicBezTo>
                  <a:pt x="335032" y="3797922"/>
                  <a:pt x="335780" y="3799682"/>
                  <a:pt x="338218" y="3799992"/>
                </a:cubicBezTo>
                <a:cubicBezTo>
                  <a:pt x="340655" y="3800302"/>
                  <a:pt x="341403" y="3802061"/>
                  <a:pt x="341356" y="3804328"/>
                </a:cubicBezTo>
                <a:cubicBezTo>
                  <a:pt x="341501" y="3805726"/>
                  <a:pt x="341283" y="3807729"/>
                  <a:pt x="342756" y="3808281"/>
                </a:cubicBezTo>
                <a:cubicBezTo>
                  <a:pt x="347437" y="3809770"/>
                  <a:pt x="349224" y="3811986"/>
                  <a:pt x="345991" y="3816284"/>
                </a:cubicBezTo>
                <a:cubicBezTo>
                  <a:pt x="345099" y="3817226"/>
                  <a:pt x="345848" y="3818985"/>
                  <a:pt x="347415" y="3819103"/>
                </a:cubicBezTo>
                <a:cubicBezTo>
                  <a:pt x="352724" y="3819819"/>
                  <a:pt x="349854" y="3823513"/>
                  <a:pt x="350674" y="3825972"/>
                </a:cubicBezTo>
                <a:cubicBezTo>
                  <a:pt x="353379" y="3834312"/>
                  <a:pt x="343801" y="3837437"/>
                  <a:pt x="343996" y="3844768"/>
                </a:cubicBezTo>
                <a:cubicBezTo>
                  <a:pt x="344117" y="3847300"/>
                  <a:pt x="338230" y="3849189"/>
                  <a:pt x="335673" y="3850447"/>
                </a:cubicBezTo>
                <a:cubicBezTo>
                  <a:pt x="329593" y="3853205"/>
                  <a:pt x="325154" y="3860879"/>
                  <a:pt x="316588" y="3857395"/>
                </a:cubicBezTo>
                <a:cubicBezTo>
                  <a:pt x="315116" y="3856843"/>
                  <a:pt x="312679" y="3856533"/>
                  <a:pt x="310555" y="3857886"/>
                </a:cubicBezTo>
                <a:lnTo>
                  <a:pt x="310554" y="3857886"/>
                </a:lnTo>
                <a:cubicBezTo>
                  <a:pt x="307804" y="3860012"/>
                  <a:pt x="305198" y="3859437"/>
                  <a:pt x="302808" y="3856860"/>
                </a:cubicBezTo>
                <a:cubicBezTo>
                  <a:pt x="301095" y="3855343"/>
                  <a:pt x="299092" y="3855128"/>
                  <a:pt x="296920" y="3854649"/>
                </a:cubicBezTo>
                <a:cubicBezTo>
                  <a:pt x="291442" y="3853668"/>
                  <a:pt x="287485" y="3850973"/>
                  <a:pt x="285770" y="3845356"/>
                </a:cubicBezTo>
                <a:cubicBezTo>
                  <a:pt x="284877" y="3842198"/>
                  <a:pt x="282222" y="3839790"/>
                  <a:pt x="278554" y="3839892"/>
                </a:cubicBezTo>
                <a:lnTo>
                  <a:pt x="277597" y="3838391"/>
                </a:lnTo>
                <a:lnTo>
                  <a:pt x="277581" y="3838487"/>
                </a:lnTo>
                <a:cubicBezTo>
                  <a:pt x="277087" y="3844826"/>
                  <a:pt x="277011" y="3853576"/>
                  <a:pt x="276083" y="3859693"/>
                </a:cubicBezTo>
                <a:cubicBezTo>
                  <a:pt x="277787" y="3864958"/>
                  <a:pt x="282899" y="3880753"/>
                  <a:pt x="283051" y="3863252"/>
                </a:cubicBezTo>
                <a:cubicBezTo>
                  <a:pt x="284528" y="3894767"/>
                  <a:pt x="285927" y="3935030"/>
                  <a:pt x="285545" y="3978777"/>
                </a:cubicBezTo>
                <a:cubicBezTo>
                  <a:pt x="283462" y="4017261"/>
                  <a:pt x="286564" y="4062788"/>
                  <a:pt x="287963" y="4103052"/>
                </a:cubicBezTo>
                <a:cubicBezTo>
                  <a:pt x="287963" y="4103052"/>
                  <a:pt x="287888" y="4111802"/>
                  <a:pt x="280919" y="4108242"/>
                </a:cubicBezTo>
                <a:cubicBezTo>
                  <a:pt x="285726" y="4159035"/>
                  <a:pt x="285497" y="4185284"/>
                  <a:pt x="299282" y="4209903"/>
                </a:cubicBezTo>
                <a:cubicBezTo>
                  <a:pt x="299053" y="4236151"/>
                  <a:pt x="304165" y="4251944"/>
                  <a:pt x="304015" y="4269444"/>
                </a:cubicBezTo>
                <a:cubicBezTo>
                  <a:pt x="307422" y="4279974"/>
                  <a:pt x="305793" y="4265961"/>
                  <a:pt x="309279" y="4267738"/>
                </a:cubicBezTo>
                <a:cubicBezTo>
                  <a:pt x="312610" y="4287020"/>
                  <a:pt x="315942" y="4306298"/>
                  <a:pt x="319274" y="4325577"/>
                </a:cubicBezTo>
                <a:cubicBezTo>
                  <a:pt x="308821" y="4320238"/>
                  <a:pt x="313933" y="4336032"/>
                  <a:pt x="313857" y="4344781"/>
                </a:cubicBezTo>
                <a:cubicBezTo>
                  <a:pt x="306812" y="4349971"/>
                  <a:pt x="298216" y="4332398"/>
                  <a:pt x="287840" y="4318306"/>
                </a:cubicBezTo>
                <a:cubicBezTo>
                  <a:pt x="282423" y="4337513"/>
                  <a:pt x="308135" y="4398985"/>
                  <a:pt x="313171" y="4423528"/>
                </a:cubicBezTo>
                <a:cubicBezTo>
                  <a:pt x="314951" y="4420044"/>
                  <a:pt x="314951" y="4420044"/>
                  <a:pt x="314951" y="4420044"/>
                </a:cubicBezTo>
                <a:cubicBezTo>
                  <a:pt x="313248" y="4414778"/>
                  <a:pt x="315028" y="4411293"/>
                  <a:pt x="315028" y="4411293"/>
                </a:cubicBezTo>
                <a:cubicBezTo>
                  <a:pt x="316732" y="4416557"/>
                  <a:pt x="320216" y="4418338"/>
                  <a:pt x="318436" y="4421822"/>
                </a:cubicBezTo>
                <a:cubicBezTo>
                  <a:pt x="323700" y="4420119"/>
                  <a:pt x="332145" y="4455192"/>
                  <a:pt x="325176" y="4451632"/>
                </a:cubicBezTo>
                <a:cubicBezTo>
                  <a:pt x="328659" y="4453412"/>
                  <a:pt x="328659" y="4453412"/>
                  <a:pt x="330365" y="4458676"/>
                </a:cubicBezTo>
                <a:cubicBezTo>
                  <a:pt x="330365" y="4458676"/>
                  <a:pt x="330365" y="4458676"/>
                  <a:pt x="328583" y="4462160"/>
                </a:cubicBezTo>
                <a:cubicBezTo>
                  <a:pt x="328583" y="4462160"/>
                  <a:pt x="326802" y="4465646"/>
                  <a:pt x="326802" y="4465646"/>
                </a:cubicBezTo>
                <a:cubicBezTo>
                  <a:pt x="326802" y="4465646"/>
                  <a:pt x="326802" y="4465646"/>
                  <a:pt x="325100" y="4460381"/>
                </a:cubicBezTo>
                <a:cubicBezTo>
                  <a:pt x="333544" y="4495455"/>
                  <a:pt x="330288" y="4467426"/>
                  <a:pt x="335552" y="4465721"/>
                </a:cubicBezTo>
                <a:cubicBezTo>
                  <a:pt x="340816" y="4464016"/>
                  <a:pt x="344224" y="4474545"/>
                  <a:pt x="344224" y="4474545"/>
                </a:cubicBezTo>
                <a:cubicBezTo>
                  <a:pt x="349489" y="4472841"/>
                  <a:pt x="342749" y="4443031"/>
                  <a:pt x="349640" y="4455341"/>
                </a:cubicBezTo>
                <a:cubicBezTo>
                  <a:pt x="356533" y="4467651"/>
                  <a:pt x="363426" y="4479959"/>
                  <a:pt x="368538" y="4495754"/>
                </a:cubicBezTo>
                <a:cubicBezTo>
                  <a:pt x="370165" y="4509768"/>
                  <a:pt x="377059" y="4522077"/>
                  <a:pt x="380390" y="4541357"/>
                </a:cubicBezTo>
                <a:cubicBezTo>
                  <a:pt x="373346" y="4546546"/>
                  <a:pt x="364825" y="4520222"/>
                  <a:pt x="359637" y="4513178"/>
                </a:cubicBezTo>
                <a:cubicBezTo>
                  <a:pt x="350888" y="4513103"/>
                  <a:pt x="359485" y="4530678"/>
                  <a:pt x="357705" y="4534163"/>
                </a:cubicBezTo>
                <a:cubicBezTo>
                  <a:pt x="362893" y="4541207"/>
                  <a:pt x="364520" y="4555223"/>
                  <a:pt x="368005" y="4557002"/>
                </a:cubicBezTo>
                <a:cubicBezTo>
                  <a:pt x="388300" y="4637678"/>
                  <a:pt x="422838" y="4690474"/>
                  <a:pt x="436242" y="4758842"/>
                </a:cubicBezTo>
                <a:cubicBezTo>
                  <a:pt x="439650" y="4769371"/>
                  <a:pt x="446542" y="4781681"/>
                  <a:pt x="449950" y="4792211"/>
                </a:cubicBezTo>
                <a:cubicBezTo>
                  <a:pt x="452080" y="4798792"/>
                  <a:pt x="453571" y="4803398"/>
                  <a:pt x="454797" y="4807046"/>
                </a:cubicBezTo>
                <a:lnTo>
                  <a:pt x="456109" y="4810705"/>
                </a:lnTo>
                <a:lnTo>
                  <a:pt x="457393" y="4810322"/>
                </a:lnTo>
                <a:cubicBezTo>
                  <a:pt x="463402" y="4811320"/>
                  <a:pt x="468787" y="4812180"/>
                  <a:pt x="470593" y="4804054"/>
                </a:cubicBezTo>
                <a:cubicBezTo>
                  <a:pt x="470904" y="4801172"/>
                  <a:pt x="473267" y="4802349"/>
                  <a:pt x="474622" y="4803631"/>
                </a:cubicBezTo>
                <a:cubicBezTo>
                  <a:pt x="479903" y="4809387"/>
                  <a:pt x="482961" y="4807439"/>
                  <a:pt x="485112" y="4800701"/>
                </a:cubicBezTo>
                <a:cubicBezTo>
                  <a:pt x="486466" y="4796081"/>
                  <a:pt x="488481" y="4795869"/>
                  <a:pt x="490913" y="4799685"/>
                </a:cubicBezTo>
                <a:cubicBezTo>
                  <a:pt x="492373" y="4801974"/>
                  <a:pt x="493312" y="4805133"/>
                  <a:pt x="496993" y="4803323"/>
                </a:cubicBezTo>
                <a:cubicBezTo>
                  <a:pt x="505608" y="4799977"/>
                  <a:pt x="512070" y="4803371"/>
                  <a:pt x="516067" y="4810483"/>
                </a:cubicBezTo>
                <a:cubicBezTo>
                  <a:pt x="518848" y="4815687"/>
                  <a:pt x="521835" y="4817001"/>
                  <a:pt x="526490" y="4816718"/>
                </a:cubicBezTo>
                <a:cubicBezTo>
                  <a:pt x="527463" y="4818243"/>
                  <a:pt x="528437" y="4819770"/>
                  <a:pt x="529409" y="4821297"/>
                </a:cubicBezTo>
                <a:cubicBezTo>
                  <a:pt x="527048" y="4826022"/>
                  <a:pt x="528578" y="4830949"/>
                  <a:pt x="532156" y="4834034"/>
                </a:cubicBezTo>
                <a:cubicBezTo>
                  <a:pt x="538446" y="4839685"/>
                  <a:pt x="539560" y="4846489"/>
                  <a:pt x="537512" y="4854235"/>
                </a:cubicBezTo>
                <a:cubicBezTo>
                  <a:pt x="536818" y="4857360"/>
                  <a:pt x="535880" y="4860104"/>
                  <a:pt x="536819" y="4863263"/>
                </a:cubicBezTo>
                <a:cubicBezTo>
                  <a:pt x="538731" y="4867947"/>
                  <a:pt x="537898" y="4871699"/>
                  <a:pt x="533452" y="4873996"/>
                </a:cubicBezTo>
                <a:cubicBezTo>
                  <a:pt x="530396" y="4875945"/>
                  <a:pt x="529319" y="4879314"/>
                  <a:pt x="529146" y="4881571"/>
                </a:cubicBezTo>
                <a:cubicBezTo>
                  <a:pt x="528489" y="4894870"/>
                  <a:pt x="515775" y="4895998"/>
                  <a:pt x="508481" y="4902258"/>
                </a:cubicBezTo>
                <a:lnTo>
                  <a:pt x="504407" y="4905735"/>
                </a:lnTo>
                <a:lnTo>
                  <a:pt x="513532" y="4925759"/>
                </a:lnTo>
                <a:cubicBezTo>
                  <a:pt x="523832" y="4948598"/>
                  <a:pt x="530648" y="4969657"/>
                  <a:pt x="542653" y="4997760"/>
                </a:cubicBezTo>
                <a:cubicBezTo>
                  <a:pt x="551324" y="5006585"/>
                  <a:pt x="546213" y="4990790"/>
                  <a:pt x="553257" y="4985600"/>
                </a:cubicBezTo>
                <a:cubicBezTo>
                  <a:pt x="558447" y="4992645"/>
                  <a:pt x="558447" y="4992645"/>
                  <a:pt x="561930" y="4994425"/>
                </a:cubicBezTo>
                <a:cubicBezTo>
                  <a:pt x="568823" y="5006735"/>
                  <a:pt x="572249" y="5015076"/>
                  <a:pt x="575676" y="5023418"/>
                </a:cubicBezTo>
                <a:lnTo>
                  <a:pt x="584840" y="5042745"/>
                </a:lnTo>
                <a:lnTo>
                  <a:pt x="586044" y="5038089"/>
                </a:lnTo>
                <a:cubicBezTo>
                  <a:pt x="586798" y="5032943"/>
                  <a:pt x="588526" y="5031767"/>
                  <a:pt x="593786" y="5033172"/>
                </a:cubicBezTo>
                <a:cubicBezTo>
                  <a:pt x="596042" y="5033840"/>
                  <a:pt x="598481" y="5034409"/>
                  <a:pt x="600742" y="5032471"/>
                </a:cubicBezTo>
                <a:cubicBezTo>
                  <a:pt x="606242" y="5027351"/>
                  <a:pt x="612832" y="5026848"/>
                  <a:pt x="619867" y="5028471"/>
                </a:cubicBezTo>
                <a:cubicBezTo>
                  <a:pt x="624463" y="5029526"/>
                  <a:pt x="629175" y="5031229"/>
                  <a:pt x="633922" y="5031254"/>
                </a:cubicBezTo>
                <a:cubicBezTo>
                  <a:pt x="634852" y="5031222"/>
                  <a:pt x="635880" y="5031374"/>
                  <a:pt x="636194" y="5032388"/>
                </a:cubicBezTo>
                <a:cubicBezTo>
                  <a:pt x="637215" y="5037752"/>
                  <a:pt x="641430" y="5038539"/>
                  <a:pt x="645744" y="5039510"/>
                </a:cubicBezTo>
                <a:cubicBezTo>
                  <a:pt x="647055" y="5039746"/>
                  <a:pt x="648647" y="5040063"/>
                  <a:pt x="649176" y="5041908"/>
                </a:cubicBezTo>
                <a:cubicBezTo>
                  <a:pt x="650563" y="5047074"/>
                  <a:pt x="653694" y="5051529"/>
                  <a:pt x="655812" y="5056297"/>
                </a:cubicBezTo>
                <a:cubicBezTo>
                  <a:pt x="657715" y="5060235"/>
                  <a:pt x="659435" y="5064273"/>
                  <a:pt x="658947" y="5069037"/>
                </a:cubicBezTo>
                <a:cubicBezTo>
                  <a:pt x="658645" y="5071095"/>
                  <a:pt x="659606" y="5071994"/>
                  <a:pt x="661481" y="5072396"/>
                </a:cubicBezTo>
                <a:cubicBezTo>
                  <a:pt x="662693" y="5072448"/>
                  <a:pt x="663722" y="5072599"/>
                  <a:pt x="664850" y="5072934"/>
                </a:cubicBezTo>
                <a:cubicBezTo>
                  <a:pt x="665979" y="5073267"/>
                  <a:pt x="667404" y="5074150"/>
                  <a:pt x="667170" y="5075461"/>
                </a:cubicBezTo>
                <a:cubicBezTo>
                  <a:pt x="667035" y="5076955"/>
                  <a:pt x="665374" y="5077384"/>
                  <a:pt x="663981" y="5077431"/>
                </a:cubicBezTo>
                <a:cubicBezTo>
                  <a:pt x="663333" y="5077546"/>
                  <a:pt x="662770" y="5077378"/>
                  <a:pt x="662022" y="5077310"/>
                </a:cubicBezTo>
                <a:cubicBezTo>
                  <a:pt x="656230" y="5076669"/>
                  <a:pt x="654085" y="5079255"/>
                  <a:pt x="656219" y="5084488"/>
                </a:cubicBezTo>
                <a:cubicBezTo>
                  <a:pt x="656533" y="5085502"/>
                  <a:pt x="657030" y="5086416"/>
                  <a:pt x="657244" y="5087247"/>
                </a:cubicBezTo>
                <a:cubicBezTo>
                  <a:pt x="657574" y="5088725"/>
                  <a:pt x="658735" y="5089989"/>
                  <a:pt x="656924" y="5091447"/>
                </a:cubicBezTo>
                <a:cubicBezTo>
                  <a:pt x="655660" y="5092607"/>
                  <a:pt x="654532" y="5092272"/>
                  <a:pt x="653205" y="5091573"/>
                </a:cubicBezTo>
                <a:cubicBezTo>
                  <a:pt x="650651" y="5090356"/>
                  <a:pt x="649471" y="5091233"/>
                  <a:pt x="648919" y="5094137"/>
                </a:cubicBezTo>
                <a:cubicBezTo>
                  <a:pt x="648300" y="5097789"/>
                  <a:pt x="647033" y="5101556"/>
                  <a:pt x="643279" y="5103359"/>
                </a:cubicBezTo>
                <a:cubicBezTo>
                  <a:pt x="640257" y="5104764"/>
                  <a:pt x="639193" y="5106290"/>
                  <a:pt x="641711" y="5109183"/>
                </a:cubicBezTo>
                <a:cubicBezTo>
                  <a:pt x="642291" y="5109815"/>
                  <a:pt x="642605" y="5110828"/>
                  <a:pt x="641707" y="5111790"/>
                </a:cubicBezTo>
                <a:cubicBezTo>
                  <a:pt x="640992" y="5112651"/>
                  <a:pt x="639948" y="5112035"/>
                  <a:pt x="639101" y="5111785"/>
                </a:cubicBezTo>
                <a:cubicBezTo>
                  <a:pt x="637127" y="5111200"/>
                  <a:pt x="635054" y="5110433"/>
                  <a:pt x="633095" y="5110313"/>
                </a:cubicBezTo>
                <a:cubicBezTo>
                  <a:pt x="627669" y="5109472"/>
                  <a:pt x="625576" y="5110846"/>
                  <a:pt x="623046" y="5115773"/>
                </a:cubicBezTo>
                <a:cubicBezTo>
                  <a:pt x="621132" y="5119655"/>
                  <a:pt x="618736" y="5123086"/>
                  <a:pt x="614817" y="5125454"/>
                </a:cubicBezTo>
                <a:cubicBezTo>
                  <a:pt x="611992" y="5127225"/>
                  <a:pt x="610832" y="5125960"/>
                  <a:pt x="610454" y="5123088"/>
                </a:cubicBezTo>
                <a:cubicBezTo>
                  <a:pt x="610109" y="5121145"/>
                  <a:pt x="611257" y="5119338"/>
                  <a:pt x="611475" y="5117562"/>
                </a:cubicBezTo>
                <a:cubicBezTo>
                  <a:pt x="611776" y="5115503"/>
                  <a:pt x="612146" y="5112698"/>
                  <a:pt x="609889" y="5112030"/>
                </a:cubicBezTo>
                <a:cubicBezTo>
                  <a:pt x="607168" y="5111377"/>
                  <a:pt x="605472" y="5113482"/>
                  <a:pt x="604722" y="5116021"/>
                </a:cubicBezTo>
                <a:lnTo>
                  <a:pt x="604465" y="5117025"/>
                </a:lnTo>
                <a:lnTo>
                  <a:pt x="604607" y="5117294"/>
                </a:lnTo>
                <a:cubicBezTo>
                  <a:pt x="621876" y="5143693"/>
                  <a:pt x="635660" y="5168312"/>
                  <a:pt x="638992" y="5187592"/>
                </a:cubicBezTo>
                <a:lnTo>
                  <a:pt x="669483" y="5233126"/>
                </a:lnTo>
                <a:lnTo>
                  <a:pt x="670496" y="5231672"/>
                </a:lnTo>
                <a:cubicBezTo>
                  <a:pt x="671876" y="5230922"/>
                  <a:pt x="673256" y="5230173"/>
                  <a:pt x="674636" y="5229423"/>
                </a:cubicBezTo>
                <a:cubicBezTo>
                  <a:pt x="678583" y="5231753"/>
                  <a:pt x="682941" y="5230727"/>
                  <a:pt x="685827" y="5227816"/>
                </a:cubicBezTo>
                <a:cubicBezTo>
                  <a:pt x="691098" y="5222715"/>
                  <a:pt x="697054" y="5222163"/>
                  <a:pt x="703633" y="5224404"/>
                </a:cubicBezTo>
                <a:cubicBezTo>
                  <a:pt x="706296" y="5225195"/>
                  <a:pt x="708615" y="5226172"/>
                  <a:pt x="711406" y="5225551"/>
                </a:cubicBezTo>
                <a:cubicBezTo>
                  <a:pt x="715575" y="5224180"/>
                  <a:pt x="718772" y="5225127"/>
                  <a:pt x="720490" y="5229115"/>
                </a:cubicBezTo>
                <a:cubicBezTo>
                  <a:pt x="721992" y="5231878"/>
                  <a:pt x="724843" y="5233013"/>
                  <a:pt x="726786" y="5233299"/>
                </a:cubicBezTo>
                <a:cubicBezTo>
                  <a:pt x="738256" y="5234673"/>
                  <a:pt x="738463" y="5245746"/>
                  <a:pt x="743439" y="5252437"/>
                </a:cubicBezTo>
                <a:cubicBezTo>
                  <a:pt x="745473" y="5255359"/>
                  <a:pt x="750764" y="5260984"/>
                  <a:pt x="749099" y="5263678"/>
                </a:cubicBezTo>
                <a:cubicBezTo>
                  <a:pt x="744453" y="5271572"/>
                  <a:pt x="753030" y="5280780"/>
                  <a:pt x="745029" y="5288259"/>
                </a:cubicBezTo>
                <a:cubicBezTo>
                  <a:pt x="742645" y="5290449"/>
                  <a:pt x="743548" y="5296222"/>
                  <a:pt x="737313" y="5293794"/>
                </a:cubicBezTo>
                <a:cubicBezTo>
                  <a:pt x="735527" y="5292975"/>
                  <a:pt x="733645" y="5294444"/>
                  <a:pt x="734051" y="5296013"/>
                </a:cubicBezTo>
                <a:cubicBezTo>
                  <a:pt x="734984" y="5302665"/>
                  <a:pt x="731692" y="5304006"/>
                  <a:pt x="725675" y="5302801"/>
                </a:cubicBezTo>
                <a:lnTo>
                  <a:pt x="725536" y="5302924"/>
                </a:lnTo>
                <a:lnTo>
                  <a:pt x="728972" y="5303864"/>
                </a:lnTo>
                <a:cubicBezTo>
                  <a:pt x="732379" y="5314394"/>
                  <a:pt x="737644" y="5312690"/>
                  <a:pt x="744536" y="5324998"/>
                </a:cubicBezTo>
                <a:cubicBezTo>
                  <a:pt x="735787" y="5324923"/>
                  <a:pt x="744384" y="5342499"/>
                  <a:pt x="730448" y="5335378"/>
                </a:cubicBezTo>
                <a:cubicBezTo>
                  <a:pt x="735559" y="5351173"/>
                  <a:pt x="761501" y="5386397"/>
                  <a:pt x="780625" y="5400560"/>
                </a:cubicBezTo>
                <a:lnTo>
                  <a:pt x="845295" y="5496952"/>
                </a:lnTo>
                <a:lnTo>
                  <a:pt x="851325" y="5487750"/>
                </a:lnTo>
                <a:cubicBezTo>
                  <a:pt x="852503" y="5486489"/>
                  <a:pt x="854071" y="5485947"/>
                  <a:pt x="854486" y="5483857"/>
                </a:cubicBezTo>
                <a:cubicBezTo>
                  <a:pt x="854902" y="5481766"/>
                  <a:pt x="856470" y="5481225"/>
                  <a:pt x="858429" y="5481404"/>
                </a:cubicBezTo>
                <a:cubicBezTo>
                  <a:pt x="859649" y="5481363"/>
                  <a:pt x="861368" y="5481672"/>
                  <a:pt x="861936" y="5480431"/>
                </a:cubicBezTo>
                <a:cubicBezTo>
                  <a:pt x="863508" y="5476469"/>
                  <a:pt x="865534" y="5475058"/>
                  <a:pt x="869057" y="5478115"/>
                </a:cubicBezTo>
                <a:cubicBezTo>
                  <a:pt x="869818" y="5478945"/>
                  <a:pt x="871386" y="5478404"/>
                  <a:pt x="871584" y="5477054"/>
                </a:cubicBezTo>
                <a:cubicBezTo>
                  <a:pt x="872054" y="5474778"/>
                  <a:pt x="873046" y="5474318"/>
                  <a:pt x="874191" y="5474356"/>
                </a:cubicBezTo>
                <a:lnTo>
                  <a:pt x="874193" y="5474355"/>
                </a:lnTo>
                <a:cubicBezTo>
                  <a:pt x="875339" y="5474393"/>
                  <a:pt x="876638" y="5474929"/>
                  <a:pt x="877728" y="5474648"/>
                </a:cubicBezTo>
                <a:cubicBezTo>
                  <a:pt x="885109" y="5472813"/>
                  <a:pt x="887233" y="5481292"/>
                  <a:pt x="893591" y="5481568"/>
                </a:cubicBezTo>
                <a:cubicBezTo>
                  <a:pt x="895789" y="5481616"/>
                  <a:pt x="897068" y="5486825"/>
                  <a:pt x="898002" y="5489115"/>
                </a:cubicBezTo>
                <a:cubicBezTo>
                  <a:pt x="900020" y="5494544"/>
                  <a:pt x="906394" y="5498849"/>
                  <a:pt x="902859" y="5506053"/>
                </a:cubicBezTo>
                <a:cubicBezTo>
                  <a:pt x="902292" y="5507294"/>
                  <a:pt x="901876" y="5509384"/>
                  <a:pt x="902919" y="5511303"/>
                </a:cubicBezTo>
                <a:cubicBezTo>
                  <a:pt x="904592" y="5513812"/>
                  <a:pt x="903937" y="5516033"/>
                  <a:pt x="901562" y="5517945"/>
                </a:cubicBezTo>
                <a:cubicBezTo>
                  <a:pt x="900145" y="5519336"/>
                  <a:pt x="899838" y="5521057"/>
                  <a:pt x="899292" y="5522907"/>
                </a:cubicBezTo>
                <a:cubicBezTo>
                  <a:pt x="898111" y="5527588"/>
                  <a:pt x="895539" y="5530850"/>
                  <a:pt x="890574" y="5531994"/>
                </a:cubicBezTo>
                <a:cubicBezTo>
                  <a:pt x="887787" y="5532577"/>
                  <a:pt x="885542" y="5534729"/>
                  <a:pt x="885408" y="5537909"/>
                </a:cubicBezTo>
                <a:cubicBezTo>
                  <a:pt x="884449" y="5538429"/>
                  <a:pt x="883490" y="5538950"/>
                  <a:pt x="882532" y="5539472"/>
                </a:cubicBezTo>
                <a:lnTo>
                  <a:pt x="881121" y="5539519"/>
                </a:lnTo>
                <a:lnTo>
                  <a:pt x="941537" y="5610194"/>
                </a:lnTo>
                <a:cubicBezTo>
                  <a:pt x="918850" y="5602999"/>
                  <a:pt x="896317" y="5578307"/>
                  <a:pt x="872005" y="5557097"/>
                </a:cubicBezTo>
                <a:lnTo>
                  <a:pt x="853943" y="5533774"/>
                </a:lnTo>
                <a:lnTo>
                  <a:pt x="851364" y="5531235"/>
                </a:lnTo>
                <a:cubicBezTo>
                  <a:pt x="850276" y="5531515"/>
                  <a:pt x="848687" y="5531446"/>
                  <a:pt x="849363" y="5529835"/>
                </a:cubicBezTo>
                <a:cubicBezTo>
                  <a:pt x="850784" y="5525023"/>
                  <a:pt x="847693" y="5523906"/>
                  <a:pt x="844234" y="5522679"/>
                </a:cubicBezTo>
                <a:cubicBezTo>
                  <a:pt x="843624" y="5522699"/>
                  <a:pt x="843102" y="5521739"/>
                  <a:pt x="842842" y="5521260"/>
                </a:cubicBezTo>
                <a:lnTo>
                  <a:pt x="842953" y="5519584"/>
                </a:lnTo>
                <a:lnTo>
                  <a:pt x="827663" y="5499841"/>
                </a:lnTo>
                <a:lnTo>
                  <a:pt x="780846" y="5447129"/>
                </a:lnTo>
                <a:lnTo>
                  <a:pt x="780661" y="5446717"/>
                </a:lnTo>
                <a:cubicBezTo>
                  <a:pt x="779799" y="5445179"/>
                  <a:pt x="778502" y="5443418"/>
                  <a:pt x="776761" y="5442529"/>
                </a:cubicBezTo>
                <a:lnTo>
                  <a:pt x="780846" y="5447129"/>
                </a:lnTo>
                <a:lnTo>
                  <a:pt x="781948" y="5449573"/>
                </a:lnTo>
                <a:cubicBezTo>
                  <a:pt x="776684" y="5451278"/>
                  <a:pt x="773199" y="5449498"/>
                  <a:pt x="771496" y="5444233"/>
                </a:cubicBezTo>
                <a:cubicBezTo>
                  <a:pt x="771496" y="5444233"/>
                  <a:pt x="771496" y="5444233"/>
                  <a:pt x="768011" y="5442452"/>
                </a:cubicBezTo>
                <a:cubicBezTo>
                  <a:pt x="795657" y="5482942"/>
                  <a:pt x="830346" y="5518239"/>
                  <a:pt x="845757" y="5556872"/>
                </a:cubicBezTo>
                <a:cubicBezTo>
                  <a:pt x="866588" y="5576302"/>
                  <a:pt x="896090" y="5604556"/>
                  <a:pt x="887264" y="5613230"/>
                </a:cubicBezTo>
                <a:cubicBezTo>
                  <a:pt x="862952" y="5592020"/>
                  <a:pt x="847310" y="5579637"/>
                  <a:pt x="823073" y="5549678"/>
                </a:cubicBezTo>
                <a:cubicBezTo>
                  <a:pt x="823073" y="5549678"/>
                  <a:pt x="824854" y="5546195"/>
                  <a:pt x="831822" y="5549753"/>
                </a:cubicBezTo>
                <a:cubicBezTo>
                  <a:pt x="831822" y="5549753"/>
                  <a:pt x="809289" y="5525060"/>
                  <a:pt x="800540" y="5524985"/>
                </a:cubicBezTo>
                <a:cubicBezTo>
                  <a:pt x="797133" y="5514456"/>
                  <a:pt x="795427" y="5509191"/>
                  <a:pt x="800693" y="5507486"/>
                </a:cubicBezTo>
                <a:cubicBezTo>
                  <a:pt x="786757" y="5500365"/>
                  <a:pt x="764376" y="5458172"/>
                  <a:pt x="747031" y="5440524"/>
                </a:cubicBezTo>
                <a:cubicBezTo>
                  <a:pt x="741841" y="5433479"/>
                  <a:pt x="738358" y="5431699"/>
                  <a:pt x="733170" y="5424654"/>
                </a:cubicBezTo>
                <a:cubicBezTo>
                  <a:pt x="689883" y="5371783"/>
                  <a:pt x="657202" y="5306750"/>
                  <a:pt x="624446" y="5250468"/>
                </a:cubicBezTo>
                <a:cubicBezTo>
                  <a:pt x="612366" y="5231115"/>
                  <a:pt x="584644" y="5199377"/>
                  <a:pt x="595173" y="5195966"/>
                </a:cubicBezTo>
                <a:cubicBezTo>
                  <a:pt x="589984" y="5188922"/>
                  <a:pt x="585667" y="5182322"/>
                  <a:pt x="581776" y="5177039"/>
                </a:cubicBezTo>
                <a:lnTo>
                  <a:pt x="573961" y="5169086"/>
                </a:lnTo>
                <a:lnTo>
                  <a:pt x="571965" y="5170283"/>
                </a:lnTo>
                <a:cubicBezTo>
                  <a:pt x="567300" y="5169975"/>
                  <a:pt x="565986" y="5172348"/>
                  <a:pt x="567639" y="5177133"/>
                </a:cubicBezTo>
                <a:cubicBezTo>
                  <a:pt x="567738" y="5177315"/>
                  <a:pt x="567838" y="5177498"/>
                  <a:pt x="567937" y="5177680"/>
                </a:cubicBezTo>
                <a:cubicBezTo>
                  <a:pt x="568647" y="5179425"/>
                  <a:pt x="569176" y="5181269"/>
                  <a:pt x="567631" y="5182345"/>
                </a:cubicBezTo>
                <a:cubicBezTo>
                  <a:pt x="566185" y="5183604"/>
                  <a:pt x="565275" y="5181494"/>
                  <a:pt x="564231" y="5180878"/>
                </a:cubicBezTo>
                <a:cubicBezTo>
                  <a:pt x="558128" y="5176616"/>
                  <a:pt x="552270" y="5176722"/>
                  <a:pt x="546289" y="5181393"/>
                </a:cubicBezTo>
                <a:cubicBezTo>
                  <a:pt x="544294" y="5182949"/>
                  <a:pt x="542617" y="5182913"/>
                  <a:pt x="540711" y="5181581"/>
                </a:cubicBezTo>
                <a:cubicBezTo>
                  <a:pt x="539567" y="5180782"/>
                  <a:pt x="538606" y="5179884"/>
                  <a:pt x="537461" y="5179085"/>
                </a:cubicBezTo>
                <a:cubicBezTo>
                  <a:pt x="535936" y="5178020"/>
                  <a:pt x="534541" y="5178067"/>
                  <a:pt x="533096" y="5179326"/>
                </a:cubicBezTo>
                <a:lnTo>
                  <a:pt x="532379" y="5180775"/>
                </a:lnTo>
                <a:lnTo>
                  <a:pt x="510407" y="5174207"/>
                </a:lnTo>
                <a:lnTo>
                  <a:pt x="513337" y="5173014"/>
                </a:lnTo>
                <a:cubicBezTo>
                  <a:pt x="514997" y="5172586"/>
                  <a:pt x="515728" y="5172188"/>
                  <a:pt x="515748" y="5170046"/>
                </a:cubicBezTo>
                <a:cubicBezTo>
                  <a:pt x="515486" y="5167822"/>
                  <a:pt x="514175" y="5167586"/>
                  <a:pt x="512681" y="5167451"/>
                </a:cubicBezTo>
                <a:cubicBezTo>
                  <a:pt x="511652" y="5167299"/>
                  <a:pt x="510822" y="5167514"/>
                  <a:pt x="509710" y="5167645"/>
                </a:cubicBezTo>
                <a:cubicBezTo>
                  <a:pt x="504979" y="5168084"/>
                  <a:pt x="504201" y="5167086"/>
                  <a:pt x="505817" y="5162657"/>
                </a:cubicBezTo>
                <a:cubicBezTo>
                  <a:pt x="506249" y="5161711"/>
                  <a:pt x="506766" y="5160484"/>
                  <a:pt x="506169" y="5159387"/>
                </a:cubicBezTo>
                <a:cubicBezTo>
                  <a:pt x="505292" y="5158206"/>
                  <a:pt x="503830" y="5159000"/>
                  <a:pt x="502718" y="5159131"/>
                </a:cubicBezTo>
                <a:cubicBezTo>
                  <a:pt x="501789" y="5159163"/>
                  <a:pt x="500958" y="5159377"/>
                  <a:pt x="500227" y="5159774"/>
                </a:cubicBezTo>
                <a:cubicBezTo>
                  <a:pt x="498525" y="5160344"/>
                  <a:pt x="497471" y="5160147"/>
                  <a:pt x="496889" y="5159457"/>
                </a:cubicBezTo>
                <a:cubicBezTo>
                  <a:pt x="496308" y="5158767"/>
                  <a:pt x="496197" y="5157583"/>
                  <a:pt x="496382" y="5156181"/>
                </a:cubicBezTo>
                <a:cubicBezTo>
                  <a:pt x="496934" y="5153277"/>
                  <a:pt x="497851" y="5150174"/>
                  <a:pt x="498403" y="5147269"/>
                </a:cubicBezTo>
                <a:cubicBezTo>
                  <a:pt x="499121" y="5143801"/>
                  <a:pt x="499093" y="5140264"/>
                  <a:pt x="495860" y="5138232"/>
                </a:cubicBezTo>
                <a:cubicBezTo>
                  <a:pt x="493472" y="5136452"/>
                  <a:pt x="493790" y="5134858"/>
                  <a:pt x="494739" y="5132685"/>
                </a:cubicBezTo>
                <a:cubicBezTo>
                  <a:pt x="496903" y="5127958"/>
                  <a:pt x="497856" y="5123179"/>
                  <a:pt x="493979" y="5118655"/>
                </a:cubicBezTo>
                <a:cubicBezTo>
                  <a:pt x="492917" y="5117574"/>
                  <a:pt x="493268" y="5116911"/>
                  <a:pt x="494447" y="5116033"/>
                </a:cubicBezTo>
                <a:cubicBezTo>
                  <a:pt x="503003" y="5110437"/>
                  <a:pt x="508591" y="5102429"/>
                  <a:pt x="512754" y="5093537"/>
                </a:cubicBezTo>
                <a:cubicBezTo>
                  <a:pt x="513703" y="5091365"/>
                  <a:pt x="514997" y="5091134"/>
                  <a:pt x="517039" y="5090972"/>
                </a:cubicBezTo>
                <a:cubicBezTo>
                  <a:pt x="521321" y="5091014"/>
                  <a:pt x="526068" y="5091039"/>
                  <a:pt x="529027" y="5087773"/>
                </a:cubicBezTo>
                <a:cubicBezTo>
                  <a:pt x="531986" y="5084508"/>
                  <a:pt x="535041" y="5084032"/>
                  <a:pt x="538957" y="5084272"/>
                </a:cubicBezTo>
                <a:cubicBezTo>
                  <a:pt x="540169" y="5084324"/>
                  <a:pt x="541281" y="5084193"/>
                  <a:pt x="542676" y="5084146"/>
                </a:cubicBezTo>
                <a:lnTo>
                  <a:pt x="560622" y="5087838"/>
                </a:lnTo>
                <a:lnTo>
                  <a:pt x="511218" y="4990490"/>
                </a:lnTo>
                <a:cubicBezTo>
                  <a:pt x="502546" y="4981667"/>
                  <a:pt x="497358" y="4974621"/>
                  <a:pt x="493949" y="4964092"/>
                </a:cubicBezTo>
                <a:cubicBezTo>
                  <a:pt x="488799" y="4952673"/>
                  <a:pt x="484075" y="4942569"/>
                  <a:pt x="479673" y="4933180"/>
                </a:cubicBezTo>
                <a:lnTo>
                  <a:pt x="467533" y="4906992"/>
                </a:lnTo>
                <a:lnTo>
                  <a:pt x="467421" y="4906969"/>
                </a:lnTo>
                <a:cubicBezTo>
                  <a:pt x="464711" y="4904404"/>
                  <a:pt x="458145" y="4905906"/>
                  <a:pt x="460436" y="4898541"/>
                </a:cubicBezTo>
                <a:cubicBezTo>
                  <a:pt x="461236" y="4896423"/>
                  <a:pt x="459393" y="4894377"/>
                  <a:pt x="457621" y="4894970"/>
                </a:cubicBezTo>
                <a:cubicBezTo>
                  <a:pt x="450049" y="4896577"/>
                  <a:pt x="448242" y="4892900"/>
                  <a:pt x="449144" y="4885885"/>
                </a:cubicBezTo>
                <a:cubicBezTo>
                  <a:pt x="449316" y="4883628"/>
                  <a:pt x="446572" y="4882694"/>
                  <a:pt x="444834" y="4881655"/>
                </a:cubicBezTo>
                <a:cubicBezTo>
                  <a:pt x="441847" y="4880340"/>
                  <a:pt x="440005" y="4878295"/>
                  <a:pt x="441081" y="4874925"/>
                </a:cubicBezTo>
                <a:cubicBezTo>
                  <a:pt x="442158" y="4871555"/>
                  <a:pt x="440315" y="4869509"/>
                  <a:pt x="439620" y="4866733"/>
                </a:cubicBezTo>
                <a:lnTo>
                  <a:pt x="438492" y="4851614"/>
                </a:lnTo>
                <a:lnTo>
                  <a:pt x="428436" y="4851528"/>
                </a:lnTo>
                <a:cubicBezTo>
                  <a:pt x="421542" y="4839219"/>
                  <a:pt x="416354" y="4832175"/>
                  <a:pt x="412870" y="4830394"/>
                </a:cubicBezTo>
                <a:cubicBezTo>
                  <a:pt x="412870" y="4830394"/>
                  <a:pt x="414574" y="4835659"/>
                  <a:pt x="414574" y="4835659"/>
                </a:cubicBezTo>
                <a:cubicBezTo>
                  <a:pt x="412794" y="4839144"/>
                  <a:pt x="412794" y="4839144"/>
                  <a:pt x="412794" y="4839144"/>
                </a:cubicBezTo>
                <a:cubicBezTo>
                  <a:pt x="409310" y="4837364"/>
                  <a:pt x="407606" y="4832100"/>
                  <a:pt x="409386" y="4828614"/>
                </a:cubicBezTo>
                <a:cubicBezTo>
                  <a:pt x="409386" y="4828614"/>
                  <a:pt x="405902" y="4826835"/>
                  <a:pt x="407683" y="4823350"/>
                </a:cubicBezTo>
                <a:cubicBezTo>
                  <a:pt x="397153" y="4826760"/>
                  <a:pt x="388557" y="4809185"/>
                  <a:pt x="380039" y="4782861"/>
                </a:cubicBezTo>
                <a:cubicBezTo>
                  <a:pt x="371517" y="4756537"/>
                  <a:pt x="361292" y="4724949"/>
                  <a:pt x="352773" y="4698626"/>
                </a:cubicBezTo>
                <a:cubicBezTo>
                  <a:pt x="354629" y="4686391"/>
                  <a:pt x="361368" y="4716199"/>
                  <a:pt x="363149" y="4712715"/>
                </a:cubicBezTo>
                <a:cubicBezTo>
                  <a:pt x="363149" y="4712715"/>
                  <a:pt x="361444" y="4707451"/>
                  <a:pt x="361444" y="4707451"/>
                </a:cubicBezTo>
                <a:cubicBezTo>
                  <a:pt x="359742" y="4702186"/>
                  <a:pt x="356256" y="4700405"/>
                  <a:pt x="361522" y="4698700"/>
                </a:cubicBezTo>
                <a:cubicBezTo>
                  <a:pt x="361522" y="4698700"/>
                  <a:pt x="361522" y="4698700"/>
                  <a:pt x="363225" y="4703965"/>
                </a:cubicBezTo>
                <a:cubicBezTo>
                  <a:pt x="363225" y="4703965"/>
                  <a:pt x="363225" y="4703965"/>
                  <a:pt x="366709" y="4705745"/>
                </a:cubicBezTo>
                <a:cubicBezTo>
                  <a:pt x="361598" y="4689951"/>
                  <a:pt x="356486" y="4674155"/>
                  <a:pt x="361752" y="4672452"/>
                </a:cubicBezTo>
                <a:cubicBezTo>
                  <a:pt x="370422" y="4681276"/>
                  <a:pt x="378943" y="4707601"/>
                  <a:pt x="384130" y="4714644"/>
                </a:cubicBezTo>
                <a:cubicBezTo>
                  <a:pt x="384130" y="4714644"/>
                  <a:pt x="384130" y="4714644"/>
                  <a:pt x="382428" y="4709380"/>
                </a:cubicBezTo>
                <a:cubicBezTo>
                  <a:pt x="380723" y="4704115"/>
                  <a:pt x="380723" y="4704115"/>
                  <a:pt x="379018" y="4698851"/>
                </a:cubicBezTo>
                <a:cubicBezTo>
                  <a:pt x="379018" y="4698851"/>
                  <a:pt x="382503" y="4700631"/>
                  <a:pt x="382503" y="4700631"/>
                </a:cubicBezTo>
                <a:cubicBezTo>
                  <a:pt x="380723" y="4704115"/>
                  <a:pt x="384207" y="4705894"/>
                  <a:pt x="384207" y="4705894"/>
                </a:cubicBezTo>
                <a:cubicBezTo>
                  <a:pt x="379018" y="4698851"/>
                  <a:pt x="380876" y="4686616"/>
                  <a:pt x="377467" y="4676087"/>
                </a:cubicBezTo>
                <a:cubicBezTo>
                  <a:pt x="362131" y="4628704"/>
                  <a:pt x="339826" y="4577761"/>
                  <a:pt x="326270" y="4526894"/>
                </a:cubicBezTo>
                <a:cubicBezTo>
                  <a:pt x="321158" y="4511099"/>
                  <a:pt x="321234" y="4502350"/>
                  <a:pt x="317902" y="4483070"/>
                </a:cubicBezTo>
                <a:cubicBezTo>
                  <a:pt x="306051" y="4437467"/>
                  <a:pt x="294275" y="4383114"/>
                  <a:pt x="282423" y="4337513"/>
                </a:cubicBezTo>
                <a:cubicBezTo>
                  <a:pt x="274055" y="4293689"/>
                  <a:pt x="265611" y="4258616"/>
                  <a:pt x="270952" y="4248160"/>
                </a:cubicBezTo>
                <a:cubicBezTo>
                  <a:pt x="270952" y="4248160"/>
                  <a:pt x="270952" y="4248160"/>
                  <a:pt x="272732" y="4244677"/>
                </a:cubicBezTo>
                <a:cubicBezTo>
                  <a:pt x="272732" y="4244677"/>
                  <a:pt x="272732" y="4244677"/>
                  <a:pt x="271027" y="4239412"/>
                </a:cubicBezTo>
                <a:cubicBezTo>
                  <a:pt x="267544" y="4237631"/>
                  <a:pt x="269324" y="4234147"/>
                  <a:pt x="271104" y="4230661"/>
                </a:cubicBezTo>
                <a:cubicBezTo>
                  <a:pt x="271104" y="4230661"/>
                  <a:pt x="271104" y="4230661"/>
                  <a:pt x="272808" y="4235926"/>
                </a:cubicBezTo>
                <a:cubicBezTo>
                  <a:pt x="272808" y="4235926"/>
                  <a:pt x="272808" y="4235926"/>
                  <a:pt x="274512" y="4241191"/>
                </a:cubicBezTo>
                <a:cubicBezTo>
                  <a:pt x="274665" y="4223693"/>
                  <a:pt x="271333" y="4204414"/>
                  <a:pt x="269704" y="4190398"/>
                </a:cubicBezTo>
                <a:cubicBezTo>
                  <a:pt x="274969" y="4188695"/>
                  <a:pt x="275122" y="4171194"/>
                  <a:pt x="282090" y="4174755"/>
                </a:cubicBezTo>
                <a:cubicBezTo>
                  <a:pt x="267135" y="4083623"/>
                  <a:pt x="278196" y="4018967"/>
                  <a:pt x="257748" y="3955789"/>
                </a:cubicBezTo>
                <a:cubicBezTo>
                  <a:pt x="259986" y="3899806"/>
                  <a:pt x="276007" y="3868443"/>
                  <a:pt x="271276" y="3808900"/>
                </a:cubicBezTo>
                <a:cubicBezTo>
                  <a:pt x="273056" y="3805415"/>
                  <a:pt x="274913" y="3793182"/>
                  <a:pt x="273209" y="3787916"/>
                </a:cubicBezTo>
                <a:cubicBezTo>
                  <a:pt x="273437" y="3761667"/>
                  <a:pt x="273741" y="3726669"/>
                  <a:pt x="275750" y="3696935"/>
                </a:cubicBezTo>
                <a:cubicBezTo>
                  <a:pt x="277759" y="3667202"/>
                  <a:pt x="285032" y="3635764"/>
                  <a:pt x="292153" y="3621827"/>
                </a:cubicBezTo>
                <a:close/>
                <a:moveTo>
                  <a:pt x="267785" y="3482107"/>
                </a:moveTo>
                <a:cubicBezTo>
                  <a:pt x="270504" y="3482537"/>
                  <a:pt x="273106" y="3483852"/>
                  <a:pt x="275542" y="3485543"/>
                </a:cubicBezTo>
                <a:cubicBezTo>
                  <a:pt x="280169" y="3488542"/>
                  <a:pt x="284936" y="3490905"/>
                  <a:pt x="287349" y="3496396"/>
                </a:cubicBezTo>
                <a:cubicBezTo>
                  <a:pt x="289622" y="3502516"/>
                  <a:pt x="293683" y="3508037"/>
                  <a:pt x="291746" y="3515219"/>
                </a:cubicBezTo>
                <a:cubicBezTo>
                  <a:pt x="291182" y="3517742"/>
                  <a:pt x="290372" y="3519879"/>
                  <a:pt x="288159" y="3522372"/>
                </a:cubicBezTo>
                <a:cubicBezTo>
                  <a:pt x="285033" y="3525986"/>
                  <a:pt x="281625" y="3530864"/>
                  <a:pt x="286705" y="3536276"/>
                </a:cubicBezTo>
                <a:cubicBezTo>
                  <a:pt x="288561" y="3538333"/>
                  <a:pt x="286734" y="3540579"/>
                  <a:pt x="287083" y="3541979"/>
                </a:cubicBezTo>
                <a:cubicBezTo>
                  <a:pt x="289073" y="3549363"/>
                  <a:pt x="286156" y="3555010"/>
                  <a:pt x="282361" y="3560131"/>
                </a:cubicBezTo>
                <a:cubicBezTo>
                  <a:pt x="278396" y="3561578"/>
                  <a:pt x="274817" y="3562780"/>
                  <a:pt x="271342" y="3564993"/>
                </a:cubicBezTo>
                <a:cubicBezTo>
                  <a:pt x="267867" y="3567190"/>
                  <a:pt x="262921" y="3567099"/>
                  <a:pt x="259416" y="3565026"/>
                </a:cubicBezTo>
                <a:cubicBezTo>
                  <a:pt x="256542" y="3563076"/>
                  <a:pt x="254404" y="3562275"/>
                  <a:pt x="251352" y="3562600"/>
                </a:cubicBezTo>
                <a:cubicBezTo>
                  <a:pt x="248411" y="3557987"/>
                  <a:pt x="245471" y="3553374"/>
                  <a:pt x="242530" y="3548760"/>
                </a:cubicBezTo>
                <a:cubicBezTo>
                  <a:pt x="245166" y="3544376"/>
                  <a:pt x="246294" y="3539331"/>
                  <a:pt x="245633" y="3534888"/>
                </a:cubicBezTo>
                <a:cubicBezTo>
                  <a:pt x="245603" y="3530580"/>
                  <a:pt x="244942" y="3526136"/>
                  <a:pt x="244667" y="3521445"/>
                </a:cubicBezTo>
                <a:cubicBezTo>
                  <a:pt x="244638" y="3517140"/>
                  <a:pt x="244362" y="3512447"/>
                  <a:pt x="242298" y="3508358"/>
                </a:cubicBezTo>
                <a:cubicBezTo>
                  <a:pt x="240865" y="3504407"/>
                  <a:pt x="242202" y="3501391"/>
                  <a:pt x="243679" y="3497748"/>
                </a:cubicBezTo>
                <a:cubicBezTo>
                  <a:pt x="245157" y="3494102"/>
                  <a:pt x="249263" y="3492023"/>
                  <a:pt x="249478" y="3488102"/>
                </a:cubicBezTo>
                <a:cubicBezTo>
                  <a:pt x="252181" y="3486378"/>
                  <a:pt x="254498" y="3484903"/>
                  <a:pt x="257201" y="3483179"/>
                </a:cubicBezTo>
                <a:cubicBezTo>
                  <a:pt x="257936" y="3484333"/>
                  <a:pt x="258567" y="3484472"/>
                  <a:pt x="259339" y="3483980"/>
                </a:cubicBezTo>
                <a:cubicBezTo>
                  <a:pt x="262235" y="3482131"/>
                  <a:pt x="265068" y="3481677"/>
                  <a:pt x="267785" y="3482107"/>
                </a:cubicBezTo>
                <a:close/>
                <a:moveTo>
                  <a:pt x="1199637" y="3454482"/>
                </a:moveTo>
                <a:cubicBezTo>
                  <a:pt x="1199637" y="3454482"/>
                  <a:pt x="1198460" y="3458873"/>
                  <a:pt x="1201673" y="3464432"/>
                </a:cubicBezTo>
                <a:cubicBezTo>
                  <a:pt x="1199321" y="3473209"/>
                  <a:pt x="1198146" y="3477596"/>
                  <a:pt x="1196970" y="3481986"/>
                </a:cubicBezTo>
                <a:cubicBezTo>
                  <a:pt x="1193756" y="3476421"/>
                  <a:pt x="1194932" y="3472034"/>
                  <a:pt x="1196108" y="3467644"/>
                </a:cubicBezTo>
                <a:cubicBezTo>
                  <a:pt x="1196108" y="3467644"/>
                  <a:pt x="1196108" y="3467644"/>
                  <a:pt x="1197284" y="3463260"/>
                </a:cubicBezTo>
                <a:cubicBezTo>
                  <a:pt x="1198460" y="3458873"/>
                  <a:pt x="1198460" y="3458873"/>
                  <a:pt x="1198460" y="3458873"/>
                </a:cubicBezTo>
                <a:close/>
                <a:moveTo>
                  <a:pt x="12191999" y="3433020"/>
                </a:moveTo>
                <a:lnTo>
                  <a:pt x="12191999" y="3464861"/>
                </a:lnTo>
                <a:lnTo>
                  <a:pt x="12186336" y="3462251"/>
                </a:lnTo>
                <a:cubicBezTo>
                  <a:pt x="12185679" y="3458486"/>
                  <a:pt x="12185180" y="3455104"/>
                  <a:pt x="12183761" y="3451653"/>
                </a:cubicBezTo>
                <a:cubicBezTo>
                  <a:pt x="12182342" y="3448202"/>
                  <a:pt x="12183212" y="3443808"/>
                  <a:pt x="12185635" y="3441018"/>
                </a:cubicBezTo>
                <a:cubicBezTo>
                  <a:pt x="12187834" y="3438768"/>
                  <a:pt x="12188888" y="3436990"/>
                  <a:pt x="12189086" y="3434218"/>
                </a:cubicBezTo>
                <a:close/>
                <a:moveTo>
                  <a:pt x="0" y="3404521"/>
                </a:moveTo>
                <a:lnTo>
                  <a:pt x="5568" y="3405741"/>
                </a:lnTo>
                <a:cubicBezTo>
                  <a:pt x="8509" y="3410353"/>
                  <a:pt x="11449" y="3414966"/>
                  <a:pt x="14390" y="3419580"/>
                </a:cubicBezTo>
                <a:cubicBezTo>
                  <a:pt x="12808" y="3422207"/>
                  <a:pt x="12630" y="3424484"/>
                  <a:pt x="13187" y="3427910"/>
                </a:cubicBezTo>
                <a:cubicBezTo>
                  <a:pt x="13603" y="3431972"/>
                  <a:pt x="11599" y="3436492"/>
                  <a:pt x="8123" y="3438709"/>
                </a:cubicBezTo>
                <a:lnTo>
                  <a:pt x="0" y="3445826"/>
                </a:lnTo>
                <a:close/>
                <a:moveTo>
                  <a:pt x="205362" y="3224992"/>
                </a:moveTo>
                <a:cubicBezTo>
                  <a:pt x="209464" y="3224986"/>
                  <a:pt x="214266" y="3229009"/>
                  <a:pt x="218128" y="3232137"/>
                </a:cubicBezTo>
                <a:cubicBezTo>
                  <a:pt x="219672" y="3233391"/>
                  <a:pt x="220421" y="3235147"/>
                  <a:pt x="222858" y="3235457"/>
                </a:cubicBezTo>
                <a:cubicBezTo>
                  <a:pt x="225295" y="3235768"/>
                  <a:pt x="226044" y="3237529"/>
                  <a:pt x="225996" y="3239795"/>
                </a:cubicBezTo>
                <a:cubicBezTo>
                  <a:pt x="226142" y="3241193"/>
                  <a:pt x="225924" y="3243194"/>
                  <a:pt x="227396" y="3243748"/>
                </a:cubicBezTo>
                <a:cubicBezTo>
                  <a:pt x="232078" y="3245237"/>
                  <a:pt x="233864" y="3247453"/>
                  <a:pt x="230631" y="3251749"/>
                </a:cubicBezTo>
                <a:cubicBezTo>
                  <a:pt x="229739" y="3252691"/>
                  <a:pt x="230488" y="3254452"/>
                  <a:pt x="232056" y="3254570"/>
                </a:cubicBezTo>
                <a:cubicBezTo>
                  <a:pt x="237365" y="3255286"/>
                  <a:pt x="234494" y="3258980"/>
                  <a:pt x="235315" y="3261437"/>
                </a:cubicBezTo>
                <a:cubicBezTo>
                  <a:pt x="238020" y="3269779"/>
                  <a:pt x="228441" y="3272903"/>
                  <a:pt x="228636" y="3280234"/>
                </a:cubicBezTo>
                <a:cubicBezTo>
                  <a:pt x="228757" y="3282765"/>
                  <a:pt x="222870" y="3284655"/>
                  <a:pt x="220313" y="3285912"/>
                </a:cubicBezTo>
                <a:cubicBezTo>
                  <a:pt x="214233" y="3288669"/>
                  <a:pt x="209795" y="3296346"/>
                  <a:pt x="201229" y="3292860"/>
                </a:cubicBezTo>
                <a:cubicBezTo>
                  <a:pt x="199756" y="3292308"/>
                  <a:pt x="197319" y="3291999"/>
                  <a:pt x="195196" y="3293351"/>
                </a:cubicBezTo>
                <a:cubicBezTo>
                  <a:pt x="192446" y="3295478"/>
                  <a:pt x="189840" y="3294903"/>
                  <a:pt x="187450" y="3292326"/>
                </a:cubicBezTo>
                <a:cubicBezTo>
                  <a:pt x="185737" y="3290810"/>
                  <a:pt x="183734" y="3290595"/>
                  <a:pt x="181562" y="3290116"/>
                </a:cubicBezTo>
                <a:cubicBezTo>
                  <a:pt x="176084" y="3289135"/>
                  <a:pt x="172127" y="3286438"/>
                  <a:pt x="170413" y="3280822"/>
                </a:cubicBezTo>
                <a:cubicBezTo>
                  <a:pt x="169518" y="3277665"/>
                  <a:pt x="166863" y="3275257"/>
                  <a:pt x="163196" y="3275358"/>
                </a:cubicBezTo>
                <a:cubicBezTo>
                  <a:pt x="162519" y="3274298"/>
                  <a:pt x="161844" y="3273236"/>
                  <a:pt x="161168" y="3272177"/>
                </a:cubicBezTo>
                <a:cubicBezTo>
                  <a:pt x="162712" y="3269329"/>
                  <a:pt x="162759" y="3267063"/>
                  <a:pt x="160297" y="3263786"/>
                </a:cubicBezTo>
                <a:cubicBezTo>
                  <a:pt x="156990" y="3259184"/>
                  <a:pt x="156748" y="3254121"/>
                  <a:pt x="161380" y="3249678"/>
                </a:cubicBezTo>
                <a:cubicBezTo>
                  <a:pt x="163599" y="3247888"/>
                  <a:pt x="161886" y="3246373"/>
                  <a:pt x="160872" y="3244781"/>
                </a:cubicBezTo>
                <a:cubicBezTo>
                  <a:pt x="159182" y="3242132"/>
                  <a:pt x="159906" y="3240925"/>
                  <a:pt x="163211" y="3241426"/>
                </a:cubicBezTo>
                <a:cubicBezTo>
                  <a:pt x="168086" y="3242046"/>
                  <a:pt x="170209" y="3240694"/>
                  <a:pt x="168132" y="3235680"/>
                </a:cubicBezTo>
                <a:cubicBezTo>
                  <a:pt x="167722" y="3234451"/>
                  <a:pt x="167673" y="3232618"/>
                  <a:pt x="169579" y="3233266"/>
                </a:cubicBezTo>
                <a:cubicBezTo>
                  <a:pt x="175226" y="3234512"/>
                  <a:pt x="176263" y="3230870"/>
                  <a:pt x="177396" y="3226792"/>
                </a:cubicBezTo>
                <a:cubicBezTo>
                  <a:pt x="177323" y="3226094"/>
                  <a:pt x="178385" y="3225417"/>
                  <a:pt x="178916" y="3225078"/>
                </a:cubicBezTo>
                <a:cubicBezTo>
                  <a:pt x="187651" y="3224728"/>
                  <a:pt x="196458" y="3225079"/>
                  <a:pt x="205362" y="3224992"/>
                </a:cubicBezTo>
                <a:close/>
                <a:moveTo>
                  <a:pt x="731284" y="3213200"/>
                </a:moveTo>
                <a:lnTo>
                  <a:pt x="731002" y="3213582"/>
                </a:lnTo>
                <a:cubicBezTo>
                  <a:pt x="728537" y="3216398"/>
                  <a:pt x="725871" y="3218690"/>
                  <a:pt x="723038" y="3219523"/>
                </a:cubicBezTo>
                <a:lnTo>
                  <a:pt x="698367" y="3226704"/>
                </a:lnTo>
                <a:lnTo>
                  <a:pt x="700685" y="3228296"/>
                </a:lnTo>
                <a:cubicBezTo>
                  <a:pt x="702609" y="3232963"/>
                  <a:pt x="702511" y="3238792"/>
                  <a:pt x="701957" y="3244505"/>
                </a:cubicBezTo>
                <a:cubicBezTo>
                  <a:pt x="698767" y="3270991"/>
                  <a:pt x="693754" y="3296997"/>
                  <a:pt x="690563" y="3323477"/>
                </a:cubicBezTo>
                <a:cubicBezTo>
                  <a:pt x="689944" y="3333075"/>
                  <a:pt x="691147" y="3343158"/>
                  <a:pt x="694173" y="3353718"/>
                </a:cubicBezTo>
                <a:cubicBezTo>
                  <a:pt x="715229" y="3326172"/>
                  <a:pt x="721706" y="3294722"/>
                  <a:pt x="724540" y="3262275"/>
                </a:cubicBezTo>
                <a:close/>
                <a:moveTo>
                  <a:pt x="480890" y="3149514"/>
                </a:moveTo>
                <a:cubicBezTo>
                  <a:pt x="484991" y="3149510"/>
                  <a:pt x="489794" y="3153528"/>
                  <a:pt x="493656" y="3156660"/>
                </a:cubicBezTo>
                <a:cubicBezTo>
                  <a:pt x="495200" y="3157911"/>
                  <a:pt x="495949" y="3159670"/>
                  <a:pt x="498385" y="3159981"/>
                </a:cubicBezTo>
                <a:cubicBezTo>
                  <a:pt x="500823" y="3160292"/>
                  <a:pt x="501571" y="3162051"/>
                  <a:pt x="501524" y="3164319"/>
                </a:cubicBezTo>
                <a:cubicBezTo>
                  <a:pt x="501669" y="3165718"/>
                  <a:pt x="501452" y="3167720"/>
                  <a:pt x="502924" y="3168273"/>
                </a:cubicBezTo>
                <a:cubicBezTo>
                  <a:pt x="507606" y="3169761"/>
                  <a:pt x="509392" y="3171978"/>
                  <a:pt x="506160" y="3176279"/>
                </a:cubicBezTo>
                <a:cubicBezTo>
                  <a:pt x="505267" y="3177219"/>
                  <a:pt x="506015" y="3178978"/>
                  <a:pt x="507584" y="3179095"/>
                </a:cubicBezTo>
                <a:cubicBezTo>
                  <a:pt x="512893" y="3179813"/>
                  <a:pt x="510022" y="3183508"/>
                  <a:pt x="510843" y="3185965"/>
                </a:cubicBezTo>
                <a:cubicBezTo>
                  <a:pt x="513547" y="3194309"/>
                  <a:pt x="503969" y="3197433"/>
                  <a:pt x="504164" y="3204766"/>
                </a:cubicBezTo>
                <a:cubicBezTo>
                  <a:pt x="504286" y="3207296"/>
                  <a:pt x="498398" y="3209185"/>
                  <a:pt x="495841" y="3210442"/>
                </a:cubicBezTo>
                <a:cubicBezTo>
                  <a:pt x="489761" y="3213200"/>
                  <a:pt x="485322" y="3220875"/>
                  <a:pt x="476756" y="3217391"/>
                </a:cubicBezTo>
                <a:cubicBezTo>
                  <a:pt x="475284" y="3216839"/>
                  <a:pt x="472847" y="3216527"/>
                  <a:pt x="470724" y="3217881"/>
                </a:cubicBezTo>
                <a:cubicBezTo>
                  <a:pt x="467973" y="3220008"/>
                  <a:pt x="465367" y="3219432"/>
                  <a:pt x="462978" y="3216855"/>
                </a:cubicBezTo>
                <a:cubicBezTo>
                  <a:pt x="461264" y="3215338"/>
                  <a:pt x="459262" y="3215126"/>
                  <a:pt x="457090" y="3214645"/>
                </a:cubicBezTo>
                <a:cubicBezTo>
                  <a:pt x="451613" y="3213663"/>
                  <a:pt x="447655" y="3210971"/>
                  <a:pt x="445939" y="3205355"/>
                </a:cubicBezTo>
                <a:cubicBezTo>
                  <a:pt x="445047" y="3202196"/>
                  <a:pt x="442392" y="3199787"/>
                  <a:pt x="438724" y="3199889"/>
                </a:cubicBezTo>
                <a:cubicBezTo>
                  <a:pt x="438048" y="3198827"/>
                  <a:pt x="437372" y="3197766"/>
                  <a:pt x="436696" y="3196707"/>
                </a:cubicBezTo>
                <a:cubicBezTo>
                  <a:pt x="438240" y="3193861"/>
                  <a:pt x="438287" y="3191590"/>
                  <a:pt x="435825" y="3188314"/>
                </a:cubicBezTo>
                <a:cubicBezTo>
                  <a:pt x="432519" y="3183712"/>
                  <a:pt x="432276" y="3178648"/>
                  <a:pt x="436908" y="3174203"/>
                </a:cubicBezTo>
                <a:cubicBezTo>
                  <a:pt x="439127" y="3172415"/>
                  <a:pt x="437414" y="3170899"/>
                  <a:pt x="436400" y="3169308"/>
                </a:cubicBezTo>
                <a:cubicBezTo>
                  <a:pt x="434710" y="3166656"/>
                  <a:pt x="435434" y="3165448"/>
                  <a:pt x="438739" y="3165952"/>
                </a:cubicBezTo>
                <a:cubicBezTo>
                  <a:pt x="443614" y="3166572"/>
                  <a:pt x="445737" y="3165216"/>
                  <a:pt x="443660" y="3160203"/>
                </a:cubicBezTo>
                <a:cubicBezTo>
                  <a:pt x="443249" y="3158974"/>
                  <a:pt x="443201" y="3157140"/>
                  <a:pt x="445107" y="3157789"/>
                </a:cubicBezTo>
                <a:cubicBezTo>
                  <a:pt x="450755" y="3159036"/>
                  <a:pt x="451791" y="3155391"/>
                  <a:pt x="452924" y="3151313"/>
                </a:cubicBezTo>
                <a:cubicBezTo>
                  <a:pt x="452851" y="3150617"/>
                  <a:pt x="453914" y="3149939"/>
                  <a:pt x="454444" y="3149601"/>
                </a:cubicBezTo>
                <a:cubicBezTo>
                  <a:pt x="463179" y="3149252"/>
                  <a:pt x="471985" y="3149600"/>
                  <a:pt x="480890" y="3149514"/>
                </a:cubicBezTo>
                <a:close/>
                <a:moveTo>
                  <a:pt x="1255075" y="3107170"/>
                </a:moveTo>
                <a:cubicBezTo>
                  <a:pt x="1259464" y="3108346"/>
                  <a:pt x="1259464" y="3108346"/>
                  <a:pt x="1259464" y="3108346"/>
                </a:cubicBezTo>
                <a:cubicBezTo>
                  <a:pt x="1258287" y="3112736"/>
                  <a:pt x="1258287" y="3112736"/>
                  <a:pt x="1258287" y="3112736"/>
                </a:cubicBezTo>
                <a:cubicBezTo>
                  <a:pt x="1259464" y="3108346"/>
                  <a:pt x="1255075" y="3107170"/>
                  <a:pt x="1255075" y="3107170"/>
                </a:cubicBezTo>
                <a:close/>
                <a:moveTo>
                  <a:pt x="12189604" y="2993845"/>
                </a:moveTo>
                <a:lnTo>
                  <a:pt x="12191999" y="2994022"/>
                </a:lnTo>
                <a:lnTo>
                  <a:pt x="12191999" y="3061490"/>
                </a:lnTo>
                <a:lnTo>
                  <a:pt x="12190970" y="3062349"/>
                </a:lnTo>
                <a:cubicBezTo>
                  <a:pt x="12189785" y="3062181"/>
                  <a:pt x="12188496" y="3061479"/>
                  <a:pt x="12187335" y="3061649"/>
                </a:cubicBezTo>
                <a:cubicBezTo>
                  <a:pt x="12179470" y="3062726"/>
                  <a:pt x="12178214" y="3053690"/>
                  <a:pt x="12171648" y="3052692"/>
                </a:cubicBezTo>
                <a:cubicBezTo>
                  <a:pt x="12169372" y="3052397"/>
                  <a:pt x="12168629" y="3046848"/>
                  <a:pt x="12167917" y="3044367"/>
                </a:cubicBezTo>
                <a:cubicBezTo>
                  <a:pt x="12167173" y="3041438"/>
                  <a:pt x="12165268" y="3038678"/>
                  <a:pt x="12164108" y="3035766"/>
                </a:cubicBezTo>
                <a:lnTo>
                  <a:pt x="12164108" y="3035764"/>
                </a:lnTo>
                <a:cubicBezTo>
                  <a:pt x="12162950" y="3032852"/>
                  <a:pt x="12162534" y="3029787"/>
                  <a:pt x="12164771" y="3026247"/>
                </a:cubicBezTo>
                <a:cubicBezTo>
                  <a:pt x="12165498" y="3025022"/>
                  <a:pt x="12166164" y="3022901"/>
                  <a:pt x="12165298" y="3020792"/>
                </a:cubicBezTo>
                <a:cubicBezTo>
                  <a:pt x="12163841" y="3018000"/>
                  <a:pt x="12164771" y="3015770"/>
                  <a:pt x="12167448" y="3014052"/>
                </a:cubicBezTo>
                <a:cubicBezTo>
                  <a:pt x="12169074" y="3012766"/>
                  <a:pt x="12169584" y="3011016"/>
                  <a:pt x="12170359" y="3009156"/>
                </a:cubicBezTo>
                <a:cubicBezTo>
                  <a:pt x="12172108" y="3004430"/>
                  <a:pt x="12175143" y="3001334"/>
                  <a:pt x="12180422" y="3000703"/>
                </a:cubicBezTo>
                <a:cubicBezTo>
                  <a:pt x="12183380" y="3000411"/>
                  <a:pt x="12185950" y="2998429"/>
                  <a:pt x="12186445" y="2995142"/>
                </a:cubicBezTo>
                <a:cubicBezTo>
                  <a:pt x="12187498" y="2994710"/>
                  <a:pt x="12188551" y="2994278"/>
                  <a:pt x="12189604" y="2993845"/>
                </a:cubicBezTo>
                <a:close/>
                <a:moveTo>
                  <a:pt x="1383146" y="2962736"/>
                </a:moveTo>
                <a:cubicBezTo>
                  <a:pt x="1378757" y="2961562"/>
                  <a:pt x="1378757" y="2961562"/>
                  <a:pt x="1377581" y="2965952"/>
                </a:cubicBezTo>
                <a:cubicBezTo>
                  <a:pt x="1368919" y="2989498"/>
                  <a:pt x="1357983" y="3017145"/>
                  <a:pt x="1344560" y="3045304"/>
                </a:cubicBezTo>
                <a:lnTo>
                  <a:pt x="1327291" y="3074981"/>
                </a:lnTo>
                <a:lnTo>
                  <a:pt x="1331462" y="3072802"/>
                </a:lnTo>
                <a:lnTo>
                  <a:pt x="1336725" y="3071293"/>
                </a:lnTo>
                <a:lnTo>
                  <a:pt x="1347185" y="3053062"/>
                </a:lnTo>
                <a:cubicBezTo>
                  <a:pt x="1360902" y="3023807"/>
                  <a:pt x="1372131" y="2995062"/>
                  <a:pt x="1380794" y="2971516"/>
                </a:cubicBezTo>
                <a:cubicBezTo>
                  <a:pt x="1381969" y="2967123"/>
                  <a:pt x="1381969" y="2967123"/>
                  <a:pt x="1381969" y="2967123"/>
                </a:cubicBezTo>
                <a:cubicBezTo>
                  <a:pt x="1381969" y="2967123"/>
                  <a:pt x="1383146" y="2962736"/>
                  <a:pt x="1383146" y="2962736"/>
                </a:cubicBezTo>
                <a:close/>
                <a:moveTo>
                  <a:pt x="45329" y="2915671"/>
                </a:moveTo>
                <a:cubicBezTo>
                  <a:pt x="46789" y="2917963"/>
                  <a:pt x="47726" y="2921121"/>
                  <a:pt x="51409" y="2919310"/>
                </a:cubicBezTo>
                <a:cubicBezTo>
                  <a:pt x="60024" y="2915964"/>
                  <a:pt x="66485" y="2919357"/>
                  <a:pt x="70482" y="2926470"/>
                </a:cubicBezTo>
                <a:cubicBezTo>
                  <a:pt x="73263" y="2931672"/>
                  <a:pt x="76251" y="2932986"/>
                  <a:pt x="80906" y="2932704"/>
                </a:cubicBezTo>
                <a:cubicBezTo>
                  <a:pt x="81879" y="2934230"/>
                  <a:pt x="82851" y="2935756"/>
                  <a:pt x="83825" y="2937282"/>
                </a:cubicBezTo>
                <a:cubicBezTo>
                  <a:pt x="81464" y="2942008"/>
                  <a:pt x="82994" y="2946936"/>
                  <a:pt x="86572" y="2950022"/>
                </a:cubicBezTo>
                <a:cubicBezTo>
                  <a:pt x="92861" y="2955670"/>
                  <a:pt x="93975" y="2962475"/>
                  <a:pt x="91928" y="2970221"/>
                </a:cubicBezTo>
                <a:cubicBezTo>
                  <a:pt x="91233" y="2973346"/>
                  <a:pt x="90296" y="2976091"/>
                  <a:pt x="91235" y="2979248"/>
                </a:cubicBezTo>
                <a:cubicBezTo>
                  <a:pt x="93146" y="2983932"/>
                  <a:pt x="92313" y="2987683"/>
                  <a:pt x="87868" y="2989980"/>
                </a:cubicBezTo>
                <a:cubicBezTo>
                  <a:pt x="84811" y="2991929"/>
                  <a:pt x="83735" y="2995297"/>
                  <a:pt x="83562" y="2997555"/>
                </a:cubicBezTo>
                <a:cubicBezTo>
                  <a:pt x="82904" y="3010854"/>
                  <a:pt x="70190" y="3011984"/>
                  <a:pt x="62897" y="3018242"/>
                </a:cubicBezTo>
                <a:cubicBezTo>
                  <a:pt x="59702" y="3020816"/>
                  <a:pt x="53659" y="3027354"/>
                  <a:pt x="50427" y="3025656"/>
                </a:cubicBezTo>
                <a:cubicBezTo>
                  <a:pt x="40977" y="3020947"/>
                  <a:pt x="31079" y="3031552"/>
                  <a:pt x="21837" y="3022954"/>
                </a:cubicBezTo>
                <a:cubicBezTo>
                  <a:pt x="19126" y="3020389"/>
                  <a:pt x="12562" y="3021890"/>
                  <a:pt x="14852" y="3014526"/>
                </a:cubicBezTo>
                <a:cubicBezTo>
                  <a:pt x="15651" y="3012407"/>
                  <a:pt x="13809" y="3010359"/>
                  <a:pt x="12037" y="3010956"/>
                </a:cubicBezTo>
                <a:cubicBezTo>
                  <a:pt x="4465" y="3012561"/>
                  <a:pt x="2658" y="3008886"/>
                  <a:pt x="3559" y="3001867"/>
                </a:cubicBezTo>
                <a:lnTo>
                  <a:pt x="0" y="2998374"/>
                </a:lnTo>
                <a:lnTo>
                  <a:pt x="0" y="2945670"/>
                </a:lnTo>
                <a:lnTo>
                  <a:pt x="8648" y="2927251"/>
                </a:lnTo>
                <a:cubicBezTo>
                  <a:pt x="9412" y="2926762"/>
                  <a:pt x="10940" y="2925789"/>
                  <a:pt x="11809" y="2926310"/>
                </a:cubicBezTo>
                <a:cubicBezTo>
                  <a:pt x="17818" y="2927307"/>
                  <a:pt x="23203" y="2928166"/>
                  <a:pt x="25007" y="2920043"/>
                </a:cubicBezTo>
                <a:cubicBezTo>
                  <a:pt x="25319" y="2917160"/>
                  <a:pt x="27681" y="2918337"/>
                  <a:pt x="29037" y="2919619"/>
                </a:cubicBezTo>
                <a:cubicBezTo>
                  <a:pt x="34319" y="2925376"/>
                  <a:pt x="37375" y="2923426"/>
                  <a:pt x="39528" y="2916689"/>
                </a:cubicBezTo>
                <a:cubicBezTo>
                  <a:pt x="40881" y="2912068"/>
                  <a:pt x="42896" y="2911858"/>
                  <a:pt x="45329" y="2915671"/>
                </a:cubicBezTo>
                <a:close/>
                <a:moveTo>
                  <a:pt x="1300390" y="2902937"/>
                </a:moveTo>
                <a:lnTo>
                  <a:pt x="1304574" y="2904055"/>
                </a:lnTo>
                <a:lnTo>
                  <a:pt x="1302301" y="2911160"/>
                </a:lnTo>
                <a:cubicBezTo>
                  <a:pt x="1301907" y="2919217"/>
                  <a:pt x="1308932" y="2919335"/>
                  <a:pt x="1302111" y="2931618"/>
                </a:cubicBezTo>
                <a:cubicBezTo>
                  <a:pt x="1297723" y="2930442"/>
                  <a:pt x="1297723" y="2930442"/>
                  <a:pt x="1296548" y="2934829"/>
                </a:cubicBezTo>
                <a:cubicBezTo>
                  <a:pt x="1295372" y="2939216"/>
                  <a:pt x="1295372" y="2939216"/>
                  <a:pt x="1295372" y="2939216"/>
                </a:cubicBezTo>
                <a:cubicBezTo>
                  <a:pt x="1290983" y="2938040"/>
                  <a:pt x="1290983" y="2938040"/>
                  <a:pt x="1289807" y="2942431"/>
                </a:cubicBezTo>
                <a:cubicBezTo>
                  <a:pt x="1289807" y="2942431"/>
                  <a:pt x="1289807" y="2942431"/>
                  <a:pt x="1288631" y="2946819"/>
                </a:cubicBezTo>
                <a:cubicBezTo>
                  <a:pt x="1293020" y="2947995"/>
                  <a:pt x="1294196" y="2943608"/>
                  <a:pt x="1293020" y="2947995"/>
                </a:cubicBezTo>
                <a:cubicBezTo>
                  <a:pt x="1289492" y="2961161"/>
                  <a:pt x="1281575" y="2973152"/>
                  <a:pt x="1288000" y="2984280"/>
                </a:cubicBezTo>
                <a:cubicBezTo>
                  <a:pt x="1284789" y="2978717"/>
                  <a:pt x="1284789" y="2978717"/>
                  <a:pt x="1283612" y="2983103"/>
                </a:cubicBezTo>
                <a:cubicBezTo>
                  <a:pt x="1278047" y="2986315"/>
                  <a:pt x="1281261" y="2991882"/>
                  <a:pt x="1281261" y="2991882"/>
                </a:cubicBezTo>
                <a:cubicBezTo>
                  <a:pt x="1281261" y="2991882"/>
                  <a:pt x="1281261" y="2991882"/>
                  <a:pt x="1280084" y="2996270"/>
                </a:cubicBezTo>
                <a:cubicBezTo>
                  <a:pt x="1267779" y="3007082"/>
                  <a:pt x="1277417" y="3023780"/>
                  <a:pt x="1263936" y="3038985"/>
                </a:cubicBezTo>
                <a:cubicBezTo>
                  <a:pt x="1268325" y="3040160"/>
                  <a:pt x="1268325" y="3040160"/>
                  <a:pt x="1268325" y="3040160"/>
                </a:cubicBezTo>
                <a:cubicBezTo>
                  <a:pt x="1263936" y="3038985"/>
                  <a:pt x="1262760" y="3043373"/>
                  <a:pt x="1262760" y="3043373"/>
                </a:cubicBezTo>
                <a:cubicBezTo>
                  <a:pt x="1261584" y="3047764"/>
                  <a:pt x="1261584" y="3047764"/>
                  <a:pt x="1265973" y="3048939"/>
                </a:cubicBezTo>
                <a:cubicBezTo>
                  <a:pt x="1262446" y="3062109"/>
                  <a:pt x="1258917" y="3075272"/>
                  <a:pt x="1258917" y="3075272"/>
                </a:cubicBezTo>
                <a:cubicBezTo>
                  <a:pt x="1255389" y="3088439"/>
                  <a:pt x="1265658" y="3067672"/>
                  <a:pt x="1259778" y="3089612"/>
                </a:cubicBezTo>
                <a:cubicBezTo>
                  <a:pt x="1256566" y="3084050"/>
                  <a:pt x="1251001" y="3087263"/>
                  <a:pt x="1254213" y="3092829"/>
                </a:cubicBezTo>
                <a:cubicBezTo>
                  <a:pt x="1257426" y="3098390"/>
                  <a:pt x="1267695" y="3077623"/>
                  <a:pt x="1261815" y="3099567"/>
                </a:cubicBezTo>
                <a:cubicBezTo>
                  <a:pt x="1261815" y="3099567"/>
                  <a:pt x="1261815" y="3099567"/>
                  <a:pt x="1257426" y="3098390"/>
                </a:cubicBezTo>
                <a:cubicBezTo>
                  <a:pt x="1257426" y="3098390"/>
                  <a:pt x="1257426" y="3098390"/>
                  <a:pt x="1256250" y="3102780"/>
                </a:cubicBezTo>
                <a:cubicBezTo>
                  <a:pt x="1256250" y="3102780"/>
                  <a:pt x="1255075" y="3107170"/>
                  <a:pt x="1255075" y="3107170"/>
                </a:cubicBezTo>
                <a:cubicBezTo>
                  <a:pt x="1253899" y="3111559"/>
                  <a:pt x="1253899" y="3111559"/>
                  <a:pt x="1253899" y="3111559"/>
                </a:cubicBezTo>
                <a:cubicBezTo>
                  <a:pt x="1252722" y="3115950"/>
                  <a:pt x="1252722" y="3115950"/>
                  <a:pt x="1252722" y="3115950"/>
                </a:cubicBezTo>
                <a:cubicBezTo>
                  <a:pt x="1248333" y="3114772"/>
                  <a:pt x="1247158" y="3119163"/>
                  <a:pt x="1245982" y="3123552"/>
                </a:cubicBezTo>
                <a:cubicBezTo>
                  <a:pt x="1250370" y="3124729"/>
                  <a:pt x="1249194" y="3129115"/>
                  <a:pt x="1248019" y="3133506"/>
                </a:cubicBezTo>
                <a:cubicBezTo>
                  <a:pt x="1242454" y="3136719"/>
                  <a:pt x="1238926" y="3149882"/>
                  <a:pt x="1236575" y="3158663"/>
                </a:cubicBezTo>
                <a:cubicBezTo>
                  <a:pt x="1245982" y="3123552"/>
                  <a:pt x="1249509" y="3110383"/>
                  <a:pt x="1253353" y="3078485"/>
                </a:cubicBezTo>
                <a:cubicBezTo>
                  <a:pt x="1243399" y="3080522"/>
                  <a:pt x="1243714" y="3061792"/>
                  <a:pt x="1249594" y="3039849"/>
                </a:cubicBezTo>
                <a:cubicBezTo>
                  <a:pt x="1255475" y="3017901"/>
                  <a:pt x="1261353" y="2995957"/>
                  <a:pt x="1256964" y="2994775"/>
                </a:cubicBezTo>
                <a:cubicBezTo>
                  <a:pt x="1258455" y="2971661"/>
                  <a:pt x="1275465" y="2943289"/>
                  <a:pt x="1285733" y="2922524"/>
                </a:cubicBezTo>
                <a:cubicBezTo>
                  <a:pt x="1284556" y="2926916"/>
                  <a:pt x="1284556" y="2926916"/>
                  <a:pt x="1288947" y="2928088"/>
                </a:cubicBezTo>
                <a:cubicBezTo>
                  <a:pt x="1288947" y="2928088"/>
                  <a:pt x="1290122" y="2923701"/>
                  <a:pt x="1290122" y="2923701"/>
                </a:cubicBezTo>
                <a:cubicBezTo>
                  <a:pt x="1299214" y="2907323"/>
                  <a:pt x="1299214" y="2907323"/>
                  <a:pt x="1299214" y="2907323"/>
                </a:cubicBezTo>
                <a:cubicBezTo>
                  <a:pt x="1300390" y="2902937"/>
                  <a:pt x="1300390" y="2902937"/>
                  <a:pt x="1300390" y="2902937"/>
                </a:cubicBezTo>
                <a:close/>
                <a:moveTo>
                  <a:pt x="1305956" y="2899725"/>
                </a:moveTo>
                <a:cubicBezTo>
                  <a:pt x="1305956" y="2899725"/>
                  <a:pt x="1305956" y="2899725"/>
                  <a:pt x="1304779" y="2904111"/>
                </a:cubicBezTo>
                <a:lnTo>
                  <a:pt x="1304574" y="2904055"/>
                </a:lnTo>
                <a:close/>
                <a:moveTo>
                  <a:pt x="1302743" y="2894162"/>
                </a:moveTo>
                <a:lnTo>
                  <a:pt x="1302937" y="2894496"/>
                </a:lnTo>
                <a:lnTo>
                  <a:pt x="1301566" y="2898548"/>
                </a:lnTo>
                <a:cubicBezTo>
                  <a:pt x="1301566" y="2898548"/>
                  <a:pt x="1301566" y="2898548"/>
                  <a:pt x="1302743" y="2894162"/>
                </a:cubicBezTo>
                <a:close/>
                <a:moveTo>
                  <a:pt x="1074759" y="2884816"/>
                </a:moveTo>
                <a:cubicBezTo>
                  <a:pt x="1071389" y="2888616"/>
                  <a:pt x="1068900" y="2889126"/>
                  <a:pt x="1066266" y="2890183"/>
                </a:cubicBezTo>
                <a:lnTo>
                  <a:pt x="1060693" y="2895330"/>
                </a:lnTo>
                <a:lnTo>
                  <a:pt x="1070589" y="2892444"/>
                </a:lnTo>
                <a:lnTo>
                  <a:pt x="1071990" y="2892625"/>
                </a:lnTo>
                <a:close/>
                <a:moveTo>
                  <a:pt x="567129" y="2674905"/>
                </a:moveTo>
                <a:cubicBezTo>
                  <a:pt x="568949" y="2673140"/>
                  <a:pt x="574259" y="2676309"/>
                  <a:pt x="576893" y="2677396"/>
                </a:cubicBezTo>
                <a:cubicBezTo>
                  <a:pt x="582982" y="2680136"/>
                  <a:pt x="591674" y="2678390"/>
                  <a:pt x="594723" y="2687122"/>
                </a:cubicBezTo>
                <a:cubicBezTo>
                  <a:pt x="595281" y="2688591"/>
                  <a:pt x="596660" y="2690626"/>
                  <a:pt x="599079" y="2691323"/>
                </a:cubicBezTo>
                <a:cubicBezTo>
                  <a:pt x="602492" y="2691982"/>
                  <a:pt x="603783" y="2694317"/>
                  <a:pt x="603429" y="2697814"/>
                </a:cubicBezTo>
                <a:cubicBezTo>
                  <a:pt x="603424" y="2700103"/>
                  <a:pt x="604587" y="2701746"/>
                  <a:pt x="605663" y="2703693"/>
                </a:cubicBezTo>
                <a:cubicBezTo>
                  <a:pt x="608547" y="2708451"/>
                  <a:pt x="609142" y="2713204"/>
                  <a:pt x="606061" y="2718204"/>
                </a:cubicBezTo>
                <a:cubicBezTo>
                  <a:pt x="604283" y="2720962"/>
                  <a:pt x="604231" y="2724547"/>
                  <a:pt x="606731" y="2727231"/>
                </a:cubicBezTo>
                <a:cubicBezTo>
                  <a:pt x="606383" y="2728438"/>
                  <a:pt x="606034" y="2729645"/>
                  <a:pt x="605686" y="2730855"/>
                </a:cubicBezTo>
                <a:cubicBezTo>
                  <a:pt x="602528" y="2731580"/>
                  <a:pt x="600797" y="2733042"/>
                  <a:pt x="599965" y="2737055"/>
                </a:cubicBezTo>
                <a:cubicBezTo>
                  <a:pt x="598699" y="2742578"/>
                  <a:pt x="595060" y="2746108"/>
                  <a:pt x="588662" y="2745570"/>
                </a:cubicBezTo>
                <a:cubicBezTo>
                  <a:pt x="585855" y="2745088"/>
                  <a:pt x="585848" y="2747375"/>
                  <a:pt x="585326" y="2749188"/>
                </a:cubicBezTo>
                <a:cubicBezTo>
                  <a:pt x="584454" y="2752207"/>
                  <a:pt x="583070" y="2752461"/>
                  <a:pt x="581262" y="2749650"/>
                </a:cubicBezTo>
                <a:cubicBezTo>
                  <a:pt x="578504" y="2745582"/>
                  <a:pt x="576085" y="2744884"/>
                  <a:pt x="573696" y="2749757"/>
                </a:cubicBezTo>
                <a:cubicBezTo>
                  <a:pt x="573045" y="2750879"/>
                  <a:pt x="571702" y="2752124"/>
                  <a:pt x="570929" y="2750266"/>
                </a:cubicBezTo>
                <a:cubicBezTo>
                  <a:pt x="568131" y="2745207"/>
                  <a:pt x="564712" y="2746836"/>
                  <a:pt x="560904" y="2748681"/>
                </a:cubicBezTo>
                <a:cubicBezTo>
                  <a:pt x="560427" y="2749198"/>
                  <a:pt x="559218" y="2748850"/>
                  <a:pt x="558613" y="2748673"/>
                </a:cubicBezTo>
                <a:cubicBezTo>
                  <a:pt x="552576" y="2742352"/>
                  <a:pt x="547016" y="2735513"/>
                  <a:pt x="541067" y="2728886"/>
                </a:cubicBezTo>
                <a:cubicBezTo>
                  <a:pt x="538350" y="2725815"/>
                  <a:pt x="538192" y="2719553"/>
                  <a:pt x="537988" y="2714587"/>
                </a:cubicBezTo>
                <a:cubicBezTo>
                  <a:pt x="537906" y="2712599"/>
                  <a:pt x="538731" y="2710874"/>
                  <a:pt x="537353" y="2708841"/>
                </a:cubicBezTo>
                <a:cubicBezTo>
                  <a:pt x="535974" y="2706807"/>
                  <a:pt x="536800" y="2705082"/>
                  <a:pt x="538532" y="2703619"/>
                </a:cubicBezTo>
                <a:cubicBezTo>
                  <a:pt x="539486" y="2702585"/>
                  <a:pt x="541131" y="2701425"/>
                  <a:pt x="540573" y="2699956"/>
                </a:cubicBezTo>
                <a:cubicBezTo>
                  <a:pt x="538595" y="2695458"/>
                  <a:pt x="539077" y="2692652"/>
                  <a:pt x="544438" y="2692237"/>
                </a:cubicBezTo>
                <a:cubicBezTo>
                  <a:pt x="545735" y="2692285"/>
                  <a:pt x="546560" y="2690559"/>
                  <a:pt x="545612" y="2689304"/>
                </a:cubicBezTo>
                <a:cubicBezTo>
                  <a:pt x="542640" y="2684849"/>
                  <a:pt x="547309" y="2684560"/>
                  <a:pt x="548611" y="2682319"/>
                </a:cubicBezTo>
                <a:cubicBezTo>
                  <a:pt x="553082" y="2674776"/>
                  <a:pt x="561758" y="2679899"/>
                  <a:pt x="567129" y="2674905"/>
                </a:cubicBezTo>
                <a:close/>
                <a:moveTo>
                  <a:pt x="1810292" y="2663879"/>
                </a:moveTo>
                <a:lnTo>
                  <a:pt x="1805322" y="2667018"/>
                </a:lnTo>
                <a:cubicBezTo>
                  <a:pt x="1797428" y="2674974"/>
                  <a:pt x="1788697" y="2686067"/>
                  <a:pt x="1779484" y="2698946"/>
                </a:cubicBezTo>
                <a:cubicBezTo>
                  <a:pt x="1761059" y="2724712"/>
                  <a:pt x="1749802" y="2752394"/>
                  <a:pt x="1741423" y="2769334"/>
                </a:cubicBezTo>
                <a:lnTo>
                  <a:pt x="1743592" y="2766688"/>
                </a:lnTo>
                <a:lnTo>
                  <a:pt x="1781436" y="2703093"/>
                </a:lnTo>
                <a:close/>
                <a:moveTo>
                  <a:pt x="1850002" y="2609913"/>
                </a:moveTo>
                <a:lnTo>
                  <a:pt x="1842587" y="2617521"/>
                </a:lnTo>
                <a:cubicBezTo>
                  <a:pt x="1839087" y="2621620"/>
                  <a:pt x="1836410" y="2625339"/>
                  <a:pt x="1834936" y="2628603"/>
                </a:cubicBezTo>
                <a:lnTo>
                  <a:pt x="1834837" y="2630524"/>
                </a:lnTo>
                <a:close/>
                <a:moveTo>
                  <a:pt x="1873269" y="2578253"/>
                </a:moveTo>
                <a:lnTo>
                  <a:pt x="1873252" y="2578317"/>
                </a:lnTo>
                <a:lnTo>
                  <a:pt x="1873293" y="2578260"/>
                </a:lnTo>
                <a:close/>
                <a:moveTo>
                  <a:pt x="1875696" y="2540530"/>
                </a:moveTo>
                <a:cubicBezTo>
                  <a:pt x="1875696" y="2540530"/>
                  <a:pt x="1875696" y="2540530"/>
                  <a:pt x="1874738" y="2544109"/>
                </a:cubicBezTo>
                <a:lnTo>
                  <a:pt x="1873842" y="2543870"/>
                </a:lnTo>
                <a:close/>
                <a:moveTo>
                  <a:pt x="176869" y="2514032"/>
                </a:moveTo>
                <a:cubicBezTo>
                  <a:pt x="178549" y="2512860"/>
                  <a:pt x="179274" y="2515207"/>
                  <a:pt x="180314" y="2515980"/>
                </a:cubicBezTo>
                <a:cubicBezTo>
                  <a:pt x="186309" y="2521208"/>
                  <a:pt x="192547" y="2521768"/>
                  <a:pt x="199439" y="2517490"/>
                </a:cubicBezTo>
                <a:cubicBezTo>
                  <a:pt x="201736" y="2516065"/>
                  <a:pt x="203513" y="2516296"/>
                  <a:pt x="205387" y="2517928"/>
                </a:cubicBezTo>
                <a:cubicBezTo>
                  <a:pt x="206511" y="2518909"/>
                  <a:pt x="207430" y="2519973"/>
                  <a:pt x="208554" y="2520954"/>
                </a:cubicBezTo>
                <a:cubicBezTo>
                  <a:pt x="210053" y="2522261"/>
                  <a:pt x="211539" y="2522371"/>
                  <a:pt x="213220" y="2521198"/>
                </a:cubicBezTo>
                <a:lnTo>
                  <a:pt x="214147" y="2519741"/>
                </a:lnTo>
                <a:lnTo>
                  <a:pt x="236743" y="2529238"/>
                </a:lnTo>
                <a:lnTo>
                  <a:pt x="233492" y="2530170"/>
                </a:lnTo>
                <a:cubicBezTo>
                  <a:pt x="231679" y="2530436"/>
                  <a:pt x="230857" y="2530773"/>
                  <a:pt x="230591" y="2533048"/>
                </a:cubicBezTo>
                <a:cubicBezTo>
                  <a:pt x="230614" y="2535442"/>
                  <a:pt x="231981" y="2535842"/>
                  <a:pt x="233552" y="2536156"/>
                </a:cubicBezTo>
                <a:cubicBezTo>
                  <a:pt x="234627" y="2536435"/>
                  <a:pt x="235535" y="2536303"/>
                  <a:pt x="236731" y="2536291"/>
                </a:cubicBezTo>
                <a:cubicBezTo>
                  <a:pt x="241808" y="2536366"/>
                  <a:pt x="242522" y="2537515"/>
                  <a:pt x="240297" y="2542037"/>
                </a:cubicBezTo>
                <a:cubicBezTo>
                  <a:pt x="239729" y="2542993"/>
                  <a:pt x="239039" y="2544237"/>
                  <a:pt x="239547" y="2545471"/>
                </a:cubicBezTo>
                <a:cubicBezTo>
                  <a:pt x="240344" y="2546827"/>
                  <a:pt x="241989" y="2546150"/>
                  <a:pt x="243186" y="2546139"/>
                </a:cubicBezTo>
                <a:cubicBezTo>
                  <a:pt x="244177" y="2546212"/>
                  <a:pt x="245083" y="2546079"/>
                  <a:pt x="245906" y="2545741"/>
                </a:cubicBezTo>
                <a:cubicBezTo>
                  <a:pt x="247779" y="2545331"/>
                  <a:pt x="248877" y="2545661"/>
                  <a:pt x="249416" y="2546461"/>
                </a:cubicBezTo>
                <a:cubicBezTo>
                  <a:pt x="249956" y="2547261"/>
                  <a:pt x="249937" y="2548531"/>
                  <a:pt x="249580" y="2550001"/>
                </a:cubicBezTo>
                <a:cubicBezTo>
                  <a:pt x="248661" y="2553023"/>
                  <a:pt x="247331" y="2556215"/>
                  <a:pt x="246411" y="2559238"/>
                </a:cubicBezTo>
                <a:cubicBezTo>
                  <a:pt x="245250" y="2562841"/>
                  <a:pt x="244875" y="2566602"/>
                  <a:pt x="248078" y="2569131"/>
                </a:cubicBezTo>
                <a:cubicBezTo>
                  <a:pt x="250411" y="2571297"/>
                  <a:pt x="249890" y="2572954"/>
                  <a:pt x="248633" y="2575154"/>
                </a:cubicBezTo>
                <a:cubicBezTo>
                  <a:pt x="245791" y="2579930"/>
                  <a:pt x="244231" y="2584899"/>
                  <a:pt x="247833" y="2590150"/>
                </a:cubicBezTo>
                <a:cubicBezTo>
                  <a:pt x="248836" y="2591420"/>
                  <a:pt x="248389" y="2592085"/>
                  <a:pt x="247034" y="2592883"/>
                </a:cubicBezTo>
                <a:cubicBezTo>
                  <a:pt x="237302" y="2597848"/>
                  <a:pt x="230446" y="2605718"/>
                  <a:pt x="225004" y="2614689"/>
                </a:cubicBezTo>
                <a:cubicBezTo>
                  <a:pt x="223747" y="2616889"/>
                  <a:pt x="222344" y="2616985"/>
                  <a:pt x="220156" y="2616923"/>
                </a:cubicBezTo>
                <a:cubicBezTo>
                  <a:pt x="215610" y="2616390"/>
                  <a:pt x="210569" y="2615818"/>
                  <a:pt x="207051" y="2618949"/>
                </a:cubicBezTo>
                <a:cubicBezTo>
                  <a:pt x="203532" y="2622079"/>
                  <a:pt x="200232" y="2622235"/>
                  <a:pt x="196098" y="2621531"/>
                </a:cubicBezTo>
                <a:cubicBezTo>
                  <a:pt x="194816" y="2621337"/>
                  <a:pt x="193619" y="2621347"/>
                  <a:pt x="192132" y="2621238"/>
                </a:cubicBezTo>
                <a:cubicBezTo>
                  <a:pt x="185072" y="2621016"/>
                  <a:pt x="178254" y="2620215"/>
                  <a:pt x="172754" y="2615024"/>
                </a:cubicBezTo>
                <a:cubicBezTo>
                  <a:pt x="171836" y="2613960"/>
                  <a:pt x="171014" y="2614298"/>
                  <a:pt x="169986" y="2614720"/>
                </a:cubicBezTo>
                <a:cubicBezTo>
                  <a:pt x="166987" y="2616194"/>
                  <a:pt x="161872" y="2624790"/>
                  <a:pt x="162234" y="2628007"/>
                </a:cubicBezTo>
                <a:cubicBezTo>
                  <a:pt x="163067" y="2632954"/>
                  <a:pt x="162415" y="2637791"/>
                  <a:pt x="160189" y="2642313"/>
                </a:cubicBezTo>
                <a:cubicBezTo>
                  <a:pt x="157444" y="2648492"/>
                  <a:pt x="154240" y="2654138"/>
                  <a:pt x="151203" y="2660195"/>
                </a:cubicBezTo>
                <a:cubicBezTo>
                  <a:pt x="150478" y="2661936"/>
                  <a:pt x="149402" y="2661657"/>
                  <a:pt x="148036" y="2661258"/>
                </a:cubicBezTo>
                <a:cubicBezTo>
                  <a:pt x="141992" y="2659417"/>
                  <a:pt x="141992" y="2659417"/>
                  <a:pt x="140769" y="2665209"/>
                </a:cubicBezTo>
                <a:cubicBezTo>
                  <a:pt x="139378" y="2670589"/>
                  <a:pt x="137408" y="2671640"/>
                  <a:pt x="131980" y="2669546"/>
                </a:cubicBezTo>
                <a:cubicBezTo>
                  <a:pt x="129660" y="2668577"/>
                  <a:pt x="127133" y="2667693"/>
                  <a:pt x="124509" y="2669494"/>
                </a:cubicBezTo>
                <a:cubicBezTo>
                  <a:pt x="118077" y="2674303"/>
                  <a:pt x="111017" y="2674082"/>
                  <a:pt x="103727" y="2671551"/>
                </a:cubicBezTo>
                <a:cubicBezTo>
                  <a:pt x="98964" y="2669903"/>
                  <a:pt x="94153" y="2667555"/>
                  <a:pt x="89112" y="2666983"/>
                </a:cubicBezTo>
                <a:cubicBezTo>
                  <a:pt x="88120" y="2666911"/>
                  <a:pt x="87045" y="2666632"/>
                  <a:pt x="86827" y="2665519"/>
                </a:cubicBezTo>
                <a:cubicBezTo>
                  <a:pt x="86356" y="2659702"/>
                  <a:pt x="81968" y="2658381"/>
                  <a:pt x="77495" y="2656855"/>
                </a:cubicBezTo>
                <a:cubicBezTo>
                  <a:pt x="76130" y="2656455"/>
                  <a:pt x="74474" y="2655935"/>
                  <a:pt x="74123" y="2653915"/>
                </a:cubicBezTo>
                <a:cubicBezTo>
                  <a:pt x="73242" y="2648267"/>
                  <a:pt x="70426" y="2643174"/>
                  <a:pt x="68722" y="2637863"/>
                </a:cubicBezTo>
                <a:cubicBezTo>
                  <a:pt x="67151" y="2633461"/>
                  <a:pt x="65786" y="2628973"/>
                  <a:pt x="66850" y="2623967"/>
                </a:cubicBezTo>
                <a:cubicBezTo>
                  <a:pt x="67407" y="2621815"/>
                  <a:pt x="66488" y="2620750"/>
                  <a:pt x="64542" y="2620108"/>
                </a:cubicBezTo>
                <a:cubicBezTo>
                  <a:pt x="63260" y="2619914"/>
                  <a:pt x="62185" y="2619635"/>
                  <a:pt x="61024" y="2619151"/>
                </a:cubicBezTo>
                <a:cubicBezTo>
                  <a:pt x="59864" y="2618666"/>
                  <a:pt x="58449" y="2617565"/>
                  <a:pt x="58849" y="2616199"/>
                </a:cubicBezTo>
                <a:cubicBezTo>
                  <a:pt x="59163" y="2614626"/>
                  <a:pt x="60977" y="2614362"/>
                  <a:pt x="62464" y="2614471"/>
                </a:cubicBezTo>
                <a:cubicBezTo>
                  <a:pt x="63164" y="2614423"/>
                  <a:pt x="63745" y="2614665"/>
                  <a:pt x="64530" y="2614823"/>
                </a:cubicBezTo>
                <a:cubicBezTo>
                  <a:pt x="70611" y="2616169"/>
                  <a:pt x="73187" y="2613667"/>
                  <a:pt x="71519" y="2607862"/>
                </a:cubicBezTo>
                <a:cubicBezTo>
                  <a:pt x="71302" y="2606748"/>
                  <a:pt x="70879" y="2605720"/>
                  <a:pt x="70746" y="2604813"/>
                </a:cubicBezTo>
                <a:cubicBezTo>
                  <a:pt x="70565" y="2603204"/>
                  <a:pt x="69477" y="2601729"/>
                  <a:pt x="71569" y="2600387"/>
                </a:cubicBezTo>
                <a:cubicBezTo>
                  <a:pt x="73044" y="2599299"/>
                  <a:pt x="74204" y="2599784"/>
                  <a:pt x="75534" y="2600679"/>
                </a:cubicBezTo>
                <a:cubicBezTo>
                  <a:pt x="78109" y="2602265"/>
                  <a:pt x="79463" y="2601468"/>
                  <a:pt x="80382" y="2598445"/>
                </a:cubicBezTo>
                <a:cubicBezTo>
                  <a:pt x="81459" y="2594635"/>
                  <a:pt x="83236" y="2590779"/>
                  <a:pt x="87432" y="2589293"/>
                </a:cubicBezTo>
                <a:cubicBezTo>
                  <a:pt x="90805" y="2588147"/>
                  <a:pt x="92111" y="2586648"/>
                  <a:pt x="89766" y="2583283"/>
                </a:cubicBezTo>
                <a:cubicBezTo>
                  <a:pt x="89222" y="2582547"/>
                  <a:pt x="89005" y="2581433"/>
                  <a:pt x="90069" y="2580514"/>
                </a:cubicBezTo>
                <a:cubicBezTo>
                  <a:pt x="90928" y="2579680"/>
                  <a:pt x="91966" y="2580455"/>
                  <a:pt x="92837" y="2580818"/>
                </a:cubicBezTo>
                <a:cubicBezTo>
                  <a:pt x="94868" y="2581665"/>
                  <a:pt x="96984" y="2582719"/>
                  <a:pt x="99051" y="2583070"/>
                </a:cubicBezTo>
                <a:cubicBezTo>
                  <a:pt x="104721" y="2584586"/>
                  <a:pt x="107102" y="2583366"/>
                  <a:pt x="110355" y="2578420"/>
                </a:cubicBezTo>
                <a:cubicBezTo>
                  <a:pt x="112833" y="2574515"/>
                  <a:pt x="115772" y="2571143"/>
                  <a:pt x="120209" y="2569078"/>
                </a:cubicBezTo>
                <a:cubicBezTo>
                  <a:pt x="123413" y="2567518"/>
                  <a:pt x="124501" y="2568995"/>
                  <a:pt x="124573" y="2572091"/>
                </a:cubicBezTo>
                <a:cubicBezTo>
                  <a:pt x="124718" y="2574195"/>
                  <a:pt x="123291" y="2575984"/>
                  <a:pt x="122856" y="2577847"/>
                </a:cubicBezTo>
                <a:cubicBezTo>
                  <a:pt x="122299" y="2579999"/>
                  <a:pt x="121586" y="2582938"/>
                  <a:pt x="123906" y="2583906"/>
                </a:cubicBezTo>
                <a:cubicBezTo>
                  <a:pt x="126723" y="2584911"/>
                  <a:pt x="128767" y="2582869"/>
                  <a:pt x="129855" y="2580257"/>
                </a:cubicBezTo>
                <a:cubicBezTo>
                  <a:pt x="130338" y="2579096"/>
                  <a:pt x="130653" y="2577524"/>
                  <a:pt x="131343" y="2576278"/>
                </a:cubicBezTo>
                <a:cubicBezTo>
                  <a:pt x="131947" y="2574828"/>
                  <a:pt x="132842" y="2573498"/>
                  <a:pt x="134788" y="2574140"/>
                </a:cubicBezTo>
                <a:cubicBezTo>
                  <a:pt x="136444" y="2574661"/>
                  <a:pt x="136335" y="2576149"/>
                  <a:pt x="135815" y="2577805"/>
                </a:cubicBezTo>
                <a:cubicBezTo>
                  <a:pt x="135500" y="2579376"/>
                  <a:pt x="134981" y="2581033"/>
                  <a:pt x="134871" y="2582521"/>
                </a:cubicBezTo>
                <a:cubicBezTo>
                  <a:pt x="134399" y="2584880"/>
                  <a:pt x="135862" y="2586682"/>
                  <a:pt x="137687" y="2587614"/>
                </a:cubicBezTo>
                <a:cubicBezTo>
                  <a:pt x="139512" y="2588546"/>
                  <a:pt x="141024" y="2586963"/>
                  <a:pt x="142209" y="2585754"/>
                </a:cubicBezTo>
                <a:cubicBezTo>
                  <a:pt x="148134" y="2579710"/>
                  <a:pt x="146987" y="2568160"/>
                  <a:pt x="139795" y="2562944"/>
                </a:cubicBezTo>
                <a:cubicBezTo>
                  <a:pt x="136386" y="2560499"/>
                  <a:pt x="136495" y="2559011"/>
                  <a:pt x="139615" y="2557248"/>
                </a:cubicBezTo>
                <a:cubicBezTo>
                  <a:pt x="144705" y="2554433"/>
                  <a:pt x="147183" y="2550528"/>
                  <a:pt x="146834" y="2544420"/>
                </a:cubicBezTo>
                <a:cubicBezTo>
                  <a:pt x="146653" y="2542812"/>
                  <a:pt x="146750" y="2540127"/>
                  <a:pt x="149265" y="2539814"/>
                </a:cubicBezTo>
                <a:cubicBezTo>
                  <a:pt x="154910" y="2538934"/>
                  <a:pt x="158381" y="2535102"/>
                  <a:pt x="161391" y="2530737"/>
                </a:cubicBezTo>
                <a:cubicBezTo>
                  <a:pt x="163628" y="2527413"/>
                  <a:pt x="166252" y="2525613"/>
                  <a:pt x="170882" y="2526353"/>
                </a:cubicBezTo>
                <a:cubicBezTo>
                  <a:pt x="175803" y="2527214"/>
                  <a:pt x="177471" y="2524845"/>
                  <a:pt x="176264" y="2519570"/>
                </a:cubicBezTo>
                <a:cubicBezTo>
                  <a:pt x="176178" y="2519366"/>
                  <a:pt x="176094" y="2519160"/>
                  <a:pt x="176009" y="2518954"/>
                </a:cubicBezTo>
                <a:cubicBezTo>
                  <a:pt x="175454" y="2517018"/>
                  <a:pt x="175103" y="2514999"/>
                  <a:pt x="176869" y="2514032"/>
                </a:cubicBezTo>
                <a:close/>
                <a:moveTo>
                  <a:pt x="12018787" y="2511040"/>
                </a:moveTo>
                <a:cubicBezTo>
                  <a:pt x="12021250" y="2513007"/>
                  <a:pt x="12023413" y="2513442"/>
                  <a:pt x="12026974" y="2511646"/>
                </a:cubicBezTo>
                <a:cubicBezTo>
                  <a:pt x="12031949" y="2509268"/>
                  <a:pt x="12036841" y="2509904"/>
                  <a:pt x="12040303" y="2515104"/>
                </a:cubicBezTo>
                <a:cubicBezTo>
                  <a:pt x="12041635" y="2517536"/>
                  <a:pt x="12043380" y="2516155"/>
                  <a:pt x="12045079" y="2515457"/>
                </a:cubicBezTo>
                <a:cubicBezTo>
                  <a:pt x="12047906" y="2514293"/>
                  <a:pt x="12048938" y="2515194"/>
                  <a:pt x="12047890" y="2518274"/>
                </a:cubicBezTo>
                <a:cubicBezTo>
                  <a:pt x="12046459" y="2522836"/>
                  <a:pt x="12047391" y="2525102"/>
                  <a:pt x="12052550" y="2523974"/>
                </a:cubicBezTo>
                <a:cubicBezTo>
                  <a:pt x="12053797" y="2523792"/>
                  <a:pt x="12055561" y="2524059"/>
                  <a:pt x="12054613" y="2525774"/>
                </a:cubicBezTo>
                <a:cubicBezTo>
                  <a:pt x="12052450" y="2530968"/>
                  <a:pt x="12055762" y="2532586"/>
                  <a:pt x="12059472" y="2534370"/>
                </a:cubicBezTo>
                <a:cubicBezTo>
                  <a:pt x="12060155" y="2534422"/>
                  <a:pt x="12060621" y="2535555"/>
                  <a:pt x="12060855" y="2536120"/>
                </a:cubicBezTo>
                <a:cubicBezTo>
                  <a:pt x="12059691" y="2544547"/>
                  <a:pt x="12057845" y="2552922"/>
                  <a:pt x="12056397" y="2561465"/>
                </a:cubicBezTo>
                <a:cubicBezTo>
                  <a:pt x="12055699" y="2565394"/>
                  <a:pt x="12051024" y="2569304"/>
                  <a:pt x="12047363" y="2572466"/>
                </a:cubicBezTo>
                <a:cubicBezTo>
                  <a:pt x="12045899" y="2573730"/>
                  <a:pt x="12044086" y="2574145"/>
                  <a:pt x="12043370" y="2576427"/>
                </a:cubicBezTo>
                <a:cubicBezTo>
                  <a:pt x="12042656" y="2578707"/>
                  <a:pt x="12040842" y="2579123"/>
                  <a:pt x="12038678" y="2578688"/>
                </a:cubicBezTo>
                <a:cubicBezTo>
                  <a:pt x="12037314" y="2578587"/>
                  <a:pt x="12035435" y="2578036"/>
                  <a:pt x="12034652" y="2579351"/>
                </a:cubicBezTo>
                <a:cubicBezTo>
                  <a:pt x="12032423" y="2583579"/>
                  <a:pt x="12029994" y="2584910"/>
                  <a:pt x="12026433" y="2581077"/>
                </a:cubicBezTo>
                <a:cubicBezTo>
                  <a:pt x="12025683" y="2580060"/>
                  <a:pt x="12023870" y="2580475"/>
                  <a:pt x="12023488" y="2581956"/>
                </a:cubicBezTo>
                <a:cubicBezTo>
                  <a:pt x="12021890" y="2586919"/>
                  <a:pt x="12018845" y="2583535"/>
                  <a:pt x="12016349" y="2583900"/>
                </a:cubicBezTo>
                <a:cubicBezTo>
                  <a:pt x="12007898" y="2585059"/>
                  <a:pt x="12006548" y="2575349"/>
                  <a:pt x="11999493" y="2574277"/>
                </a:cubicBezTo>
                <a:cubicBezTo>
                  <a:pt x="11997047" y="2573959"/>
                  <a:pt x="11996248" y="2567996"/>
                  <a:pt x="11995482" y="2565330"/>
                </a:cubicBezTo>
                <a:cubicBezTo>
                  <a:pt x="11993884" y="2559035"/>
                  <a:pt x="11987294" y="2553467"/>
                  <a:pt x="11992102" y="2545859"/>
                </a:cubicBezTo>
                <a:cubicBezTo>
                  <a:pt x="11992885" y="2544544"/>
                  <a:pt x="11993599" y="2542263"/>
                  <a:pt x="11992667" y="2539997"/>
                </a:cubicBezTo>
                <a:cubicBezTo>
                  <a:pt x="11991104" y="2536999"/>
                  <a:pt x="11992102" y="2534601"/>
                  <a:pt x="11994979" y="2532755"/>
                </a:cubicBezTo>
                <a:cubicBezTo>
                  <a:pt x="11996726" y="2531375"/>
                  <a:pt x="11997275" y="2529493"/>
                  <a:pt x="11998107" y="2527494"/>
                </a:cubicBezTo>
                <a:cubicBezTo>
                  <a:pt x="11999988" y="2522417"/>
                  <a:pt x="12003247" y="2519089"/>
                  <a:pt x="12008921" y="2518410"/>
                </a:cubicBezTo>
                <a:cubicBezTo>
                  <a:pt x="12012099" y="2518097"/>
                  <a:pt x="12014861" y="2515967"/>
                  <a:pt x="12015393" y="2512436"/>
                </a:cubicBezTo>
                <a:cubicBezTo>
                  <a:pt x="12016525" y="2511971"/>
                  <a:pt x="12017656" y="2511505"/>
                  <a:pt x="12018787" y="2511040"/>
                </a:cubicBezTo>
                <a:close/>
                <a:moveTo>
                  <a:pt x="1914914" y="2508827"/>
                </a:moveTo>
                <a:cubicBezTo>
                  <a:pt x="1906790" y="2510487"/>
                  <a:pt x="1901286" y="2516686"/>
                  <a:pt x="1892203" y="2521928"/>
                </a:cubicBezTo>
                <a:cubicBezTo>
                  <a:pt x="1896745" y="2519308"/>
                  <a:pt x="1897702" y="2515729"/>
                  <a:pt x="1897702" y="2515729"/>
                </a:cubicBezTo>
                <a:cubicBezTo>
                  <a:pt x="1902246" y="2513107"/>
                  <a:pt x="1902246" y="2513107"/>
                  <a:pt x="1903207" y="2509526"/>
                </a:cubicBezTo>
                <a:cubicBezTo>
                  <a:pt x="1899622" y="2508567"/>
                  <a:pt x="1898663" y="2512147"/>
                  <a:pt x="1898663" y="2512147"/>
                </a:cubicBezTo>
                <a:cubicBezTo>
                  <a:pt x="1894121" y="2514767"/>
                  <a:pt x="1893162" y="2518348"/>
                  <a:pt x="1893162" y="2518348"/>
                </a:cubicBezTo>
                <a:cubicBezTo>
                  <a:pt x="1893162" y="2518348"/>
                  <a:pt x="1888619" y="2520966"/>
                  <a:pt x="1888619" y="2520966"/>
                </a:cubicBezTo>
                <a:cubicBezTo>
                  <a:pt x="1883117" y="2527167"/>
                  <a:pt x="1877615" y="2533368"/>
                  <a:pt x="1873073" y="2535988"/>
                </a:cubicBezTo>
                <a:cubicBezTo>
                  <a:pt x="1873073" y="2535988"/>
                  <a:pt x="1873073" y="2535988"/>
                  <a:pt x="1872114" y="2539570"/>
                </a:cubicBezTo>
                <a:cubicBezTo>
                  <a:pt x="1872114" y="2539570"/>
                  <a:pt x="1871155" y="2543147"/>
                  <a:pt x="1871155" y="2543147"/>
                </a:cubicBezTo>
                <a:lnTo>
                  <a:pt x="1873842" y="2543870"/>
                </a:lnTo>
                <a:lnTo>
                  <a:pt x="1871986" y="2547208"/>
                </a:lnTo>
                <a:cubicBezTo>
                  <a:pt x="1871507" y="2548998"/>
                  <a:pt x="1871027" y="2550790"/>
                  <a:pt x="1868275" y="2553891"/>
                </a:cubicBezTo>
                <a:cubicBezTo>
                  <a:pt x="1868981" y="2565591"/>
                  <a:pt x="1881902" y="2546031"/>
                  <a:pt x="1889069" y="2547949"/>
                </a:cubicBezTo>
                <a:cubicBezTo>
                  <a:pt x="1877106" y="2563932"/>
                  <a:pt x="1879731" y="2568473"/>
                  <a:pt x="1874230" y="2574672"/>
                </a:cubicBezTo>
                <a:lnTo>
                  <a:pt x="1874979" y="2575969"/>
                </a:lnTo>
                <a:lnTo>
                  <a:pt x="1889036" y="2556867"/>
                </a:lnTo>
                <a:lnTo>
                  <a:pt x="1921416" y="2521543"/>
                </a:lnTo>
                <a:lnTo>
                  <a:pt x="1915444" y="2517602"/>
                </a:lnTo>
                <a:cubicBezTo>
                  <a:pt x="1915267" y="2514679"/>
                  <a:pt x="1916226" y="2511095"/>
                  <a:pt x="1914914" y="2508827"/>
                </a:cubicBezTo>
                <a:close/>
                <a:moveTo>
                  <a:pt x="155803" y="2495219"/>
                </a:moveTo>
                <a:lnTo>
                  <a:pt x="156158" y="2495369"/>
                </a:lnTo>
                <a:lnTo>
                  <a:pt x="155885" y="2495736"/>
                </a:lnTo>
                <a:close/>
                <a:moveTo>
                  <a:pt x="1997000" y="2439085"/>
                </a:moveTo>
                <a:lnTo>
                  <a:pt x="1984697" y="2450930"/>
                </a:lnTo>
                <a:lnTo>
                  <a:pt x="1985280" y="2451493"/>
                </a:lnTo>
                <a:lnTo>
                  <a:pt x="1985427" y="2451711"/>
                </a:lnTo>
                <a:close/>
                <a:moveTo>
                  <a:pt x="2031006" y="2424812"/>
                </a:moveTo>
                <a:lnTo>
                  <a:pt x="2026461" y="2433693"/>
                </a:lnTo>
                <a:lnTo>
                  <a:pt x="2027424" y="2432923"/>
                </a:lnTo>
                <a:lnTo>
                  <a:pt x="2026813" y="2435200"/>
                </a:lnTo>
                <a:lnTo>
                  <a:pt x="2025219" y="2436120"/>
                </a:lnTo>
                <a:lnTo>
                  <a:pt x="2021986" y="2442435"/>
                </a:lnTo>
                <a:lnTo>
                  <a:pt x="2032315" y="2428999"/>
                </a:lnTo>
                <a:lnTo>
                  <a:pt x="2027424" y="2432923"/>
                </a:lnTo>
                <a:lnTo>
                  <a:pt x="2027772" y="2431618"/>
                </a:lnTo>
                <a:cubicBezTo>
                  <a:pt x="2032315" y="2428999"/>
                  <a:pt x="2032315" y="2428999"/>
                  <a:pt x="2033274" y="2425418"/>
                </a:cubicBezTo>
                <a:close/>
                <a:moveTo>
                  <a:pt x="1550906" y="2424413"/>
                </a:moveTo>
                <a:cubicBezTo>
                  <a:pt x="1550906" y="2424413"/>
                  <a:pt x="1550906" y="2424413"/>
                  <a:pt x="1549731" y="2428799"/>
                </a:cubicBezTo>
                <a:cubicBezTo>
                  <a:pt x="1548555" y="2433189"/>
                  <a:pt x="1548555" y="2433189"/>
                  <a:pt x="1548555" y="2433189"/>
                </a:cubicBezTo>
                <a:lnTo>
                  <a:pt x="1547624" y="2434236"/>
                </a:lnTo>
                <a:close/>
                <a:moveTo>
                  <a:pt x="673386" y="2391736"/>
                </a:moveTo>
                <a:lnTo>
                  <a:pt x="673878" y="2392015"/>
                </a:lnTo>
                <a:lnTo>
                  <a:pt x="673513" y="2392215"/>
                </a:lnTo>
                <a:close/>
                <a:moveTo>
                  <a:pt x="34054" y="2362353"/>
                </a:moveTo>
                <a:cubicBezTo>
                  <a:pt x="36954" y="2363887"/>
                  <a:pt x="39123" y="2362540"/>
                  <a:pt x="41771" y="2362360"/>
                </a:cubicBezTo>
                <a:cubicBezTo>
                  <a:pt x="48391" y="2361908"/>
                  <a:pt x="56723" y="2361206"/>
                  <a:pt x="61198" y="2364363"/>
                </a:cubicBezTo>
                <a:cubicBezTo>
                  <a:pt x="70855" y="2371294"/>
                  <a:pt x="80739" y="2377677"/>
                  <a:pt x="90008" y="2384767"/>
                </a:cubicBezTo>
                <a:cubicBezTo>
                  <a:pt x="90328" y="2385543"/>
                  <a:pt x="90967" y="2387098"/>
                  <a:pt x="90351" y="2387807"/>
                </a:cubicBezTo>
                <a:cubicBezTo>
                  <a:pt x="88457" y="2393128"/>
                  <a:pt x="86791" y="2397902"/>
                  <a:pt x="93914" y="2400878"/>
                </a:cubicBezTo>
                <a:cubicBezTo>
                  <a:pt x="96494" y="2401635"/>
                  <a:pt x="95032" y="2403598"/>
                  <a:pt x="93640" y="2404625"/>
                </a:cubicBezTo>
                <a:cubicBezTo>
                  <a:pt x="87523" y="2408504"/>
                  <a:pt x="88801" y="2411612"/>
                  <a:pt x="94600" y="2414679"/>
                </a:cubicBezTo>
                <a:cubicBezTo>
                  <a:pt x="98595" y="2416670"/>
                  <a:pt x="98458" y="2418544"/>
                  <a:pt x="94578" y="2420140"/>
                </a:cubicBezTo>
                <a:cubicBezTo>
                  <a:pt x="92250" y="2421098"/>
                  <a:pt x="89214" y="2421438"/>
                  <a:pt x="90263" y="2425095"/>
                </a:cubicBezTo>
                <a:cubicBezTo>
                  <a:pt x="91909" y="2433505"/>
                  <a:pt x="87754" y="2438848"/>
                  <a:pt x="80610" y="2441332"/>
                </a:cubicBezTo>
                <a:cubicBezTo>
                  <a:pt x="75405" y="2443019"/>
                  <a:pt x="73716" y="2445531"/>
                  <a:pt x="73214" y="2449826"/>
                </a:cubicBezTo>
                <a:cubicBezTo>
                  <a:pt x="71662" y="2450465"/>
                  <a:pt x="70109" y="2451104"/>
                  <a:pt x="68558" y="2451741"/>
                </a:cubicBezTo>
                <a:cubicBezTo>
                  <a:pt x="64631" y="2448815"/>
                  <a:pt x="59883" y="2449405"/>
                  <a:pt x="56482" y="2452166"/>
                </a:cubicBezTo>
                <a:cubicBezTo>
                  <a:pt x="50296" y="2456982"/>
                  <a:pt x="43904" y="2456886"/>
                  <a:pt x="37170" y="2453751"/>
                </a:cubicBezTo>
                <a:cubicBezTo>
                  <a:pt x="34430" y="2452606"/>
                  <a:pt x="32079" y="2451302"/>
                  <a:pt x="29042" y="2451642"/>
                </a:cubicBezTo>
                <a:cubicBezTo>
                  <a:pt x="24454" y="2452621"/>
                  <a:pt x="21167" y="2451247"/>
                  <a:pt x="19797" y="2446814"/>
                </a:cubicBezTo>
                <a:cubicBezTo>
                  <a:pt x="18519" y="2443705"/>
                  <a:pt x="15618" y="2442172"/>
                  <a:pt x="13587" y="2441645"/>
                </a:cubicBezTo>
                <a:cubicBezTo>
                  <a:pt x="7572" y="2440258"/>
                  <a:pt x="4826" y="2436617"/>
                  <a:pt x="3020" y="2432363"/>
                </a:cubicBezTo>
                <a:lnTo>
                  <a:pt x="0" y="2424433"/>
                </a:lnTo>
                <a:lnTo>
                  <a:pt x="0" y="2382435"/>
                </a:lnTo>
                <a:lnTo>
                  <a:pt x="500" y="2381154"/>
                </a:lnTo>
                <a:cubicBezTo>
                  <a:pt x="3285" y="2379100"/>
                  <a:pt x="2988" y="2372862"/>
                  <a:pt x="9334" y="2376158"/>
                </a:cubicBezTo>
                <a:cubicBezTo>
                  <a:pt x="11138" y="2377232"/>
                  <a:pt x="13306" y="2375886"/>
                  <a:pt x="13054" y="2374173"/>
                </a:cubicBezTo>
                <a:cubicBezTo>
                  <a:pt x="12826" y="2366998"/>
                  <a:pt x="16478" y="2365950"/>
                  <a:pt x="22733" y="2367920"/>
                </a:cubicBezTo>
                <a:cubicBezTo>
                  <a:pt x="24764" y="2368446"/>
                  <a:pt x="26066" y="2366095"/>
                  <a:pt x="27298" y="2364679"/>
                </a:cubicBezTo>
                <a:cubicBezTo>
                  <a:pt x="28987" y="2362167"/>
                  <a:pt x="31156" y="2360821"/>
                  <a:pt x="34054" y="2362353"/>
                </a:cubicBezTo>
                <a:close/>
                <a:moveTo>
                  <a:pt x="441146" y="2349308"/>
                </a:moveTo>
                <a:cubicBezTo>
                  <a:pt x="443494" y="2351183"/>
                  <a:pt x="445555" y="2351598"/>
                  <a:pt x="448948" y="2349886"/>
                </a:cubicBezTo>
                <a:cubicBezTo>
                  <a:pt x="453688" y="2347621"/>
                  <a:pt x="458350" y="2348228"/>
                  <a:pt x="461649" y="2353182"/>
                </a:cubicBezTo>
                <a:cubicBezTo>
                  <a:pt x="462918" y="2355499"/>
                  <a:pt x="464582" y="2354184"/>
                  <a:pt x="466200" y="2353519"/>
                </a:cubicBezTo>
                <a:cubicBezTo>
                  <a:pt x="468895" y="2352410"/>
                  <a:pt x="469878" y="2353268"/>
                  <a:pt x="468880" y="2356202"/>
                </a:cubicBezTo>
                <a:cubicBezTo>
                  <a:pt x="467516" y="2360551"/>
                  <a:pt x="468405" y="2362709"/>
                  <a:pt x="473320" y="2361634"/>
                </a:cubicBezTo>
                <a:cubicBezTo>
                  <a:pt x="474509" y="2361460"/>
                  <a:pt x="476189" y="2361715"/>
                  <a:pt x="475286" y="2363349"/>
                </a:cubicBezTo>
                <a:cubicBezTo>
                  <a:pt x="473225" y="2368299"/>
                  <a:pt x="476381" y="2369842"/>
                  <a:pt x="479917" y="2371541"/>
                </a:cubicBezTo>
                <a:cubicBezTo>
                  <a:pt x="480568" y="2371590"/>
                  <a:pt x="481011" y="2372670"/>
                  <a:pt x="481234" y="2373209"/>
                </a:cubicBezTo>
                <a:cubicBezTo>
                  <a:pt x="480124" y="2381239"/>
                  <a:pt x="478365" y="2389221"/>
                  <a:pt x="476987" y="2397361"/>
                </a:cubicBezTo>
                <a:cubicBezTo>
                  <a:pt x="476321" y="2401105"/>
                  <a:pt x="471866" y="2404832"/>
                  <a:pt x="468377" y="2407844"/>
                </a:cubicBezTo>
                <a:cubicBezTo>
                  <a:pt x="466983" y="2409050"/>
                  <a:pt x="465255" y="2409445"/>
                  <a:pt x="464572" y="2411619"/>
                </a:cubicBezTo>
                <a:cubicBezTo>
                  <a:pt x="463891" y="2413792"/>
                  <a:pt x="462163" y="2414188"/>
                  <a:pt x="460101" y="2413773"/>
                </a:cubicBezTo>
                <a:cubicBezTo>
                  <a:pt x="458801" y="2413677"/>
                  <a:pt x="457010" y="2413152"/>
                  <a:pt x="456264" y="2414405"/>
                </a:cubicBezTo>
                <a:cubicBezTo>
                  <a:pt x="454140" y="2418435"/>
                  <a:pt x="451825" y="2419703"/>
                  <a:pt x="448432" y="2416050"/>
                </a:cubicBezTo>
                <a:cubicBezTo>
                  <a:pt x="447719" y="2415081"/>
                  <a:pt x="445990" y="2415476"/>
                  <a:pt x="445625" y="2416888"/>
                </a:cubicBezTo>
                <a:cubicBezTo>
                  <a:pt x="444103" y="2421616"/>
                  <a:pt x="441202" y="2418392"/>
                  <a:pt x="438824" y="2418739"/>
                </a:cubicBezTo>
                <a:cubicBezTo>
                  <a:pt x="430769" y="2419845"/>
                  <a:pt x="429483" y="2410591"/>
                  <a:pt x="422760" y="2409570"/>
                </a:cubicBezTo>
                <a:cubicBezTo>
                  <a:pt x="420430" y="2409267"/>
                  <a:pt x="419668" y="2403584"/>
                  <a:pt x="418938" y="2401045"/>
                </a:cubicBezTo>
                <a:cubicBezTo>
                  <a:pt x="417416" y="2395045"/>
                  <a:pt x="411135" y="2389739"/>
                  <a:pt x="415718" y="2382490"/>
                </a:cubicBezTo>
                <a:cubicBezTo>
                  <a:pt x="416462" y="2381237"/>
                  <a:pt x="417144" y="2379062"/>
                  <a:pt x="416256" y="2376903"/>
                </a:cubicBezTo>
                <a:cubicBezTo>
                  <a:pt x="414765" y="2374046"/>
                  <a:pt x="415716" y="2371761"/>
                  <a:pt x="418459" y="2370001"/>
                </a:cubicBezTo>
                <a:cubicBezTo>
                  <a:pt x="420124" y="2368686"/>
                  <a:pt x="420647" y="2366893"/>
                  <a:pt x="421440" y="2364989"/>
                </a:cubicBezTo>
                <a:cubicBezTo>
                  <a:pt x="423231" y="2360150"/>
                  <a:pt x="426338" y="2356979"/>
                  <a:pt x="431745" y="2356332"/>
                </a:cubicBezTo>
                <a:cubicBezTo>
                  <a:pt x="434773" y="2356033"/>
                  <a:pt x="437405" y="2354004"/>
                  <a:pt x="437913" y="2350640"/>
                </a:cubicBezTo>
                <a:cubicBezTo>
                  <a:pt x="438990" y="2350196"/>
                  <a:pt x="440068" y="2349752"/>
                  <a:pt x="441146" y="2349308"/>
                </a:cubicBezTo>
                <a:close/>
                <a:moveTo>
                  <a:pt x="829437" y="2305154"/>
                </a:moveTo>
                <a:cubicBezTo>
                  <a:pt x="834241" y="2306482"/>
                  <a:pt x="838934" y="2309014"/>
                  <a:pt x="843693" y="2309680"/>
                </a:cubicBezTo>
                <a:cubicBezTo>
                  <a:pt x="847736" y="2310377"/>
                  <a:pt x="856636" y="2310591"/>
                  <a:pt x="857498" y="2314138"/>
                </a:cubicBezTo>
                <a:cubicBezTo>
                  <a:pt x="860212" y="2324341"/>
                  <a:pt x="874712" y="2324757"/>
                  <a:pt x="874371" y="2337376"/>
                </a:cubicBezTo>
                <a:cubicBezTo>
                  <a:pt x="874238" y="2341105"/>
                  <a:pt x="879705" y="2345040"/>
                  <a:pt x="872665" y="2348188"/>
                </a:cubicBezTo>
                <a:cubicBezTo>
                  <a:pt x="870548" y="2348989"/>
                  <a:pt x="870230" y="2351725"/>
                  <a:pt x="871846" y="2352662"/>
                </a:cubicBezTo>
                <a:cubicBezTo>
                  <a:pt x="878058" y="2357281"/>
                  <a:pt x="876493" y="2361068"/>
                  <a:pt x="870634" y="2365029"/>
                </a:cubicBezTo>
                <a:cubicBezTo>
                  <a:pt x="868826" y="2366392"/>
                  <a:pt x="869940" y="2369068"/>
                  <a:pt x="870309" y="2371059"/>
                </a:cubicBezTo>
                <a:cubicBezTo>
                  <a:pt x="871297" y="2374169"/>
                  <a:pt x="870979" y="2376903"/>
                  <a:pt x="867740" y="2378324"/>
                </a:cubicBezTo>
                <a:cubicBezTo>
                  <a:pt x="864500" y="2379744"/>
                  <a:pt x="864183" y="2382478"/>
                  <a:pt x="862559" y="2384836"/>
                </a:cubicBezTo>
                <a:cubicBezTo>
                  <a:pt x="858500" y="2390728"/>
                  <a:pt x="853503" y="2398235"/>
                  <a:pt x="847837" y="2399897"/>
                </a:cubicBezTo>
                <a:cubicBezTo>
                  <a:pt x="835506" y="2403404"/>
                  <a:pt x="823485" y="2407471"/>
                  <a:pt x="811280" y="2410542"/>
                </a:cubicBezTo>
                <a:cubicBezTo>
                  <a:pt x="810410" y="2410288"/>
                  <a:pt x="808669" y="2409787"/>
                  <a:pt x="808484" y="2408792"/>
                </a:cubicBezTo>
                <a:cubicBezTo>
                  <a:pt x="805260" y="2403623"/>
                  <a:pt x="802346" y="2399014"/>
                  <a:pt x="795056" y="2403032"/>
                </a:cubicBezTo>
                <a:cubicBezTo>
                  <a:pt x="792687" y="2404703"/>
                  <a:pt x="792008" y="2402153"/>
                  <a:pt x="792074" y="2400285"/>
                </a:cubicBezTo>
                <a:cubicBezTo>
                  <a:pt x="792902" y="2392519"/>
                  <a:pt x="789419" y="2391514"/>
                  <a:pt x="782940" y="2394354"/>
                </a:cubicBezTo>
                <a:cubicBezTo>
                  <a:pt x="778580" y="2396392"/>
                  <a:pt x="777089" y="2395020"/>
                  <a:pt x="778344" y="2390672"/>
                </a:cubicBezTo>
                <a:cubicBezTo>
                  <a:pt x="779097" y="2388064"/>
                  <a:pt x="780845" y="2385272"/>
                  <a:pt x="777053" y="2383706"/>
                </a:cubicBezTo>
                <a:cubicBezTo>
                  <a:pt x="768848" y="2379454"/>
                  <a:pt x="767122" y="2372361"/>
                  <a:pt x="769817" y="2364661"/>
                </a:cubicBezTo>
                <a:cubicBezTo>
                  <a:pt x="771883" y="2359134"/>
                  <a:pt x="770895" y="2356023"/>
                  <a:pt x="767604" y="2352718"/>
                </a:cubicBezTo>
                <a:cubicBezTo>
                  <a:pt x="768106" y="2350979"/>
                  <a:pt x="768609" y="2349240"/>
                  <a:pt x="769111" y="2347502"/>
                </a:cubicBezTo>
                <a:cubicBezTo>
                  <a:pt x="774217" y="2346148"/>
                  <a:pt x="776904" y="2341743"/>
                  <a:pt x="776853" y="2337018"/>
                </a:cubicBezTo>
                <a:cubicBezTo>
                  <a:pt x="776934" y="2328563"/>
                  <a:pt x="781304" y="2323230"/>
                  <a:pt x="788468" y="2319647"/>
                </a:cubicBezTo>
                <a:cubicBezTo>
                  <a:pt x="791273" y="2318100"/>
                  <a:pt x="793951" y="2316990"/>
                  <a:pt x="795700" y="2314198"/>
                </a:cubicBezTo>
                <a:cubicBezTo>
                  <a:pt x="797951" y="2309666"/>
                  <a:pt x="801316" y="2307811"/>
                  <a:pt x="805980" y="2309629"/>
                </a:cubicBezTo>
                <a:cubicBezTo>
                  <a:pt x="809463" y="2310635"/>
                  <a:pt x="812702" y="2309214"/>
                  <a:pt x="814510" y="2307852"/>
                </a:cubicBezTo>
                <a:cubicBezTo>
                  <a:pt x="819717" y="2303703"/>
                  <a:pt x="824632" y="2303827"/>
                  <a:pt x="829437" y="2305154"/>
                </a:cubicBezTo>
                <a:close/>
                <a:moveTo>
                  <a:pt x="1713326" y="2289186"/>
                </a:moveTo>
                <a:lnTo>
                  <a:pt x="1714088" y="2289389"/>
                </a:lnTo>
                <a:lnTo>
                  <a:pt x="1708684" y="2295402"/>
                </a:lnTo>
                <a:close/>
                <a:moveTo>
                  <a:pt x="1724257" y="2276097"/>
                </a:moveTo>
                <a:lnTo>
                  <a:pt x="1719183" y="2281348"/>
                </a:lnTo>
                <a:lnTo>
                  <a:pt x="1713326" y="2289186"/>
                </a:lnTo>
                <a:lnTo>
                  <a:pt x="1709699" y="2288213"/>
                </a:lnTo>
                <a:cubicBezTo>
                  <a:pt x="1715263" y="2284997"/>
                  <a:pt x="1720829" y="2281785"/>
                  <a:pt x="1722005" y="2277398"/>
                </a:cubicBezTo>
                <a:close/>
                <a:moveTo>
                  <a:pt x="1731858" y="2269343"/>
                </a:moveTo>
                <a:lnTo>
                  <a:pt x="1727568" y="2274180"/>
                </a:lnTo>
                <a:lnTo>
                  <a:pt x="1724257" y="2276097"/>
                </a:lnTo>
                <a:lnTo>
                  <a:pt x="1730470" y="2269667"/>
                </a:lnTo>
                <a:close/>
                <a:moveTo>
                  <a:pt x="1741050" y="2258980"/>
                </a:moveTo>
                <a:cubicBezTo>
                  <a:pt x="1739874" y="2263373"/>
                  <a:pt x="1734309" y="2266585"/>
                  <a:pt x="1738698" y="2267757"/>
                </a:cubicBezTo>
                <a:lnTo>
                  <a:pt x="1731858" y="2269343"/>
                </a:lnTo>
                <a:lnTo>
                  <a:pt x="1734309" y="2266585"/>
                </a:lnTo>
                <a:cubicBezTo>
                  <a:pt x="1735485" y="2262191"/>
                  <a:pt x="1735485" y="2262191"/>
                  <a:pt x="1735485" y="2262191"/>
                </a:cubicBezTo>
                <a:cubicBezTo>
                  <a:pt x="1735485" y="2262191"/>
                  <a:pt x="1735485" y="2262191"/>
                  <a:pt x="1741050" y="2258980"/>
                </a:cubicBezTo>
                <a:close/>
                <a:moveTo>
                  <a:pt x="12047544" y="2247450"/>
                </a:moveTo>
                <a:cubicBezTo>
                  <a:pt x="12049836" y="2249280"/>
                  <a:pt x="12051848" y="2249685"/>
                  <a:pt x="12055161" y="2248013"/>
                </a:cubicBezTo>
                <a:cubicBezTo>
                  <a:pt x="12059791" y="2245802"/>
                  <a:pt x="12064343" y="2246394"/>
                  <a:pt x="12067565" y="2251232"/>
                </a:cubicBezTo>
                <a:cubicBezTo>
                  <a:pt x="12068804" y="2253495"/>
                  <a:pt x="12070430" y="2252210"/>
                  <a:pt x="12072009" y="2251561"/>
                </a:cubicBezTo>
                <a:cubicBezTo>
                  <a:pt x="12074640" y="2250477"/>
                  <a:pt x="12075601" y="2251315"/>
                  <a:pt x="12074626" y="2254182"/>
                </a:cubicBezTo>
                <a:cubicBezTo>
                  <a:pt x="12073295" y="2258427"/>
                  <a:pt x="12074161" y="2260535"/>
                  <a:pt x="12078961" y="2259486"/>
                </a:cubicBezTo>
                <a:cubicBezTo>
                  <a:pt x="12080123" y="2259316"/>
                  <a:pt x="12081764" y="2259565"/>
                  <a:pt x="12080883" y="2261161"/>
                </a:cubicBezTo>
                <a:cubicBezTo>
                  <a:pt x="12078869" y="2265994"/>
                  <a:pt x="12081951" y="2267500"/>
                  <a:pt x="12085404" y="2269162"/>
                </a:cubicBezTo>
                <a:cubicBezTo>
                  <a:pt x="12086040" y="2269208"/>
                  <a:pt x="12086472" y="2270262"/>
                  <a:pt x="12086690" y="2270789"/>
                </a:cubicBezTo>
                <a:cubicBezTo>
                  <a:pt x="12085606" y="2278631"/>
                  <a:pt x="12083888" y="2286425"/>
                  <a:pt x="12082542" y="2294375"/>
                </a:cubicBezTo>
                <a:cubicBezTo>
                  <a:pt x="12081892" y="2298031"/>
                  <a:pt x="12077542" y="2301670"/>
                  <a:pt x="12074136" y="2304612"/>
                </a:cubicBezTo>
                <a:cubicBezTo>
                  <a:pt x="12072773" y="2305789"/>
                  <a:pt x="12071085" y="2306175"/>
                  <a:pt x="12070420" y="2308298"/>
                </a:cubicBezTo>
                <a:cubicBezTo>
                  <a:pt x="12069754" y="2310420"/>
                  <a:pt x="12068066" y="2310807"/>
                  <a:pt x="12066053" y="2310402"/>
                </a:cubicBezTo>
                <a:cubicBezTo>
                  <a:pt x="12064784" y="2310308"/>
                  <a:pt x="12063034" y="2309795"/>
                  <a:pt x="12062306" y="2311019"/>
                </a:cubicBezTo>
                <a:cubicBezTo>
                  <a:pt x="12060232" y="2314953"/>
                  <a:pt x="12057971" y="2316192"/>
                  <a:pt x="12054658" y="2312625"/>
                </a:cubicBezTo>
                <a:cubicBezTo>
                  <a:pt x="12053962" y="2311679"/>
                  <a:pt x="12052274" y="2312065"/>
                  <a:pt x="12051917" y="2313444"/>
                </a:cubicBezTo>
                <a:cubicBezTo>
                  <a:pt x="12050432" y="2318061"/>
                  <a:pt x="12047597" y="2314913"/>
                  <a:pt x="12045275" y="2315252"/>
                </a:cubicBezTo>
                <a:cubicBezTo>
                  <a:pt x="12037410" y="2316330"/>
                  <a:pt x="12036154" y="2307294"/>
                  <a:pt x="12029589" y="2306297"/>
                </a:cubicBezTo>
                <a:cubicBezTo>
                  <a:pt x="12027312" y="2306001"/>
                  <a:pt x="12026568" y="2300452"/>
                  <a:pt x="12025857" y="2297972"/>
                </a:cubicBezTo>
                <a:cubicBezTo>
                  <a:pt x="12024370" y="2292112"/>
                  <a:pt x="12018238" y="2286931"/>
                  <a:pt x="12022711" y="2279852"/>
                </a:cubicBezTo>
                <a:cubicBezTo>
                  <a:pt x="12023438" y="2278628"/>
                  <a:pt x="12024104" y="2276505"/>
                  <a:pt x="12023238" y="2274397"/>
                </a:cubicBezTo>
                <a:cubicBezTo>
                  <a:pt x="12021781" y="2271607"/>
                  <a:pt x="12022711" y="2269376"/>
                  <a:pt x="12025388" y="2267657"/>
                </a:cubicBezTo>
                <a:cubicBezTo>
                  <a:pt x="12027014" y="2266372"/>
                  <a:pt x="12027524" y="2264622"/>
                  <a:pt x="12028298" y="2262762"/>
                </a:cubicBezTo>
                <a:cubicBezTo>
                  <a:pt x="12030048" y="2258037"/>
                  <a:pt x="12033083" y="2254939"/>
                  <a:pt x="12038362" y="2254308"/>
                </a:cubicBezTo>
                <a:cubicBezTo>
                  <a:pt x="12041320" y="2254017"/>
                  <a:pt x="12043890" y="2252035"/>
                  <a:pt x="12044385" y="2248750"/>
                </a:cubicBezTo>
                <a:cubicBezTo>
                  <a:pt x="12045438" y="2248316"/>
                  <a:pt x="12046491" y="2247883"/>
                  <a:pt x="12047544" y="2247450"/>
                </a:cubicBezTo>
                <a:close/>
                <a:moveTo>
                  <a:pt x="594653" y="2216586"/>
                </a:moveTo>
                <a:cubicBezTo>
                  <a:pt x="600014" y="2219632"/>
                  <a:pt x="606204" y="2220670"/>
                  <a:pt x="611831" y="2222792"/>
                </a:cubicBezTo>
                <a:cubicBezTo>
                  <a:pt x="616602" y="2224420"/>
                  <a:pt x="621308" y="2226276"/>
                  <a:pt x="624821" y="2230534"/>
                </a:cubicBezTo>
                <a:cubicBezTo>
                  <a:pt x="626266" y="2232448"/>
                  <a:pt x="627781" y="2232386"/>
                  <a:pt x="629628" y="2231173"/>
                </a:cubicBezTo>
                <a:cubicBezTo>
                  <a:pt x="630652" y="2230220"/>
                  <a:pt x="631609" y="2229500"/>
                  <a:pt x="632797" y="2228844"/>
                </a:cubicBezTo>
                <a:cubicBezTo>
                  <a:pt x="633984" y="2228189"/>
                  <a:pt x="635863" y="2227734"/>
                  <a:pt x="636749" y="2228987"/>
                </a:cubicBezTo>
                <a:cubicBezTo>
                  <a:pt x="637866" y="2230306"/>
                  <a:pt x="636873" y="2232017"/>
                  <a:pt x="635783" y="2233199"/>
                </a:cubicBezTo>
                <a:cubicBezTo>
                  <a:pt x="635354" y="2233823"/>
                  <a:pt x="634759" y="2234150"/>
                  <a:pt x="634099" y="2234708"/>
                </a:cubicBezTo>
                <a:cubicBezTo>
                  <a:pt x="628884" y="2238941"/>
                  <a:pt x="629269" y="2242794"/>
                  <a:pt x="635291" y="2245280"/>
                </a:cubicBezTo>
                <a:cubicBezTo>
                  <a:pt x="636376" y="2245843"/>
                  <a:pt x="637529" y="2246175"/>
                  <a:pt x="638383" y="2246672"/>
                </a:cubicBezTo>
                <a:cubicBezTo>
                  <a:pt x="639863" y="2247598"/>
                  <a:pt x="641839" y="2247669"/>
                  <a:pt x="641569" y="2250336"/>
                </a:cubicBezTo>
                <a:cubicBezTo>
                  <a:pt x="641498" y="2252311"/>
                  <a:pt x="640311" y="2252966"/>
                  <a:pt x="638662" y="2253489"/>
                </a:cubicBezTo>
                <a:cubicBezTo>
                  <a:pt x="635596" y="2254598"/>
                  <a:pt x="635361" y="2256277"/>
                  <a:pt x="637298" y="2259081"/>
                </a:cubicBezTo>
                <a:cubicBezTo>
                  <a:pt x="639792" y="2262545"/>
                  <a:pt x="641857" y="2266635"/>
                  <a:pt x="640297" y="2271174"/>
                </a:cubicBezTo>
                <a:cubicBezTo>
                  <a:pt x="639003" y="2274791"/>
                  <a:pt x="639393" y="2276900"/>
                  <a:pt x="643806" y="2277175"/>
                </a:cubicBezTo>
                <a:cubicBezTo>
                  <a:pt x="644793" y="2277211"/>
                  <a:pt x="645879" y="2277774"/>
                  <a:pt x="645942" y="2279289"/>
                </a:cubicBezTo>
                <a:cubicBezTo>
                  <a:pt x="646070" y="2280574"/>
                  <a:pt x="644718" y="2280932"/>
                  <a:pt x="643828" y="2281423"/>
                </a:cubicBezTo>
                <a:cubicBezTo>
                  <a:pt x="641751" y="2282570"/>
                  <a:pt x="639441" y="2283650"/>
                  <a:pt x="637757" y="2285159"/>
                </a:cubicBezTo>
                <a:cubicBezTo>
                  <a:pt x="632676" y="2288931"/>
                  <a:pt x="632109" y="2291761"/>
                  <a:pt x="634102" y="2297825"/>
                </a:cubicBezTo>
                <a:cubicBezTo>
                  <a:pt x="635737" y="2302537"/>
                  <a:pt x="636614" y="2307281"/>
                  <a:pt x="635382" y="2312414"/>
                </a:cubicBezTo>
                <a:cubicBezTo>
                  <a:pt x="634549" y="2316164"/>
                  <a:pt x="632572" y="2316093"/>
                  <a:pt x="629910" y="2314077"/>
                </a:cubicBezTo>
                <a:cubicBezTo>
                  <a:pt x="628036" y="2312788"/>
                  <a:pt x="627482" y="2310383"/>
                  <a:pt x="626202" y="2308767"/>
                </a:cubicBezTo>
                <a:cubicBezTo>
                  <a:pt x="624757" y="2306852"/>
                  <a:pt x="622754" y="2304278"/>
                  <a:pt x="620380" y="2305588"/>
                </a:cubicBezTo>
                <a:cubicBezTo>
                  <a:pt x="617641" y="2307293"/>
                  <a:pt x="617996" y="2310389"/>
                  <a:pt x="619471" y="2313060"/>
                </a:cubicBezTo>
                <a:cubicBezTo>
                  <a:pt x="620127" y="2314246"/>
                  <a:pt x="621244" y="2315566"/>
                  <a:pt x="621832" y="2316984"/>
                </a:cubicBezTo>
                <a:cubicBezTo>
                  <a:pt x="622653" y="2318469"/>
                  <a:pt x="623175" y="2320116"/>
                  <a:pt x="621328" y="2321330"/>
                </a:cubicBezTo>
                <a:cubicBezTo>
                  <a:pt x="619777" y="2322379"/>
                  <a:pt x="618594" y="2321289"/>
                  <a:pt x="617544" y="2319739"/>
                </a:cubicBezTo>
                <a:cubicBezTo>
                  <a:pt x="616427" y="2318419"/>
                  <a:pt x="615377" y="2316867"/>
                  <a:pt x="614194" y="2315778"/>
                </a:cubicBezTo>
                <a:cubicBezTo>
                  <a:pt x="612519" y="2313797"/>
                  <a:pt x="610016" y="2313823"/>
                  <a:pt x="608005" y="2314740"/>
                </a:cubicBezTo>
                <a:cubicBezTo>
                  <a:pt x="605993" y="2315656"/>
                  <a:pt x="606316" y="2317995"/>
                  <a:pt x="606543" y="2319806"/>
                </a:cubicBezTo>
                <a:cubicBezTo>
                  <a:pt x="607672" y="2328863"/>
                  <a:pt x="618195" y="2335643"/>
                  <a:pt x="627424" y="2333068"/>
                </a:cubicBezTo>
                <a:cubicBezTo>
                  <a:pt x="631774" y="2331828"/>
                  <a:pt x="632957" y="2332919"/>
                  <a:pt x="632356" y="2336736"/>
                </a:cubicBezTo>
                <a:cubicBezTo>
                  <a:pt x="631319" y="2342923"/>
                  <a:pt x="632953" y="2347635"/>
                  <a:pt x="638345" y="2351438"/>
                </a:cubicBezTo>
                <a:cubicBezTo>
                  <a:pt x="639825" y="2352364"/>
                  <a:pt x="642027" y="2354246"/>
                  <a:pt x="640605" y="2356580"/>
                </a:cubicBezTo>
                <a:cubicBezTo>
                  <a:pt x="637561" y="2361938"/>
                  <a:pt x="638469" y="2367439"/>
                  <a:pt x="640134" y="2372909"/>
                </a:cubicBezTo>
                <a:cubicBezTo>
                  <a:pt x="641441" y="2377029"/>
                  <a:pt x="641202" y="2380452"/>
                  <a:pt x="637472" y="2383865"/>
                </a:cubicBezTo>
                <a:cubicBezTo>
                  <a:pt x="633443" y="2387443"/>
                  <a:pt x="634326" y="2390442"/>
                  <a:pt x="639590" y="2392959"/>
                </a:cubicBezTo>
                <a:cubicBezTo>
                  <a:pt x="639820" y="2393026"/>
                  <a:pt x="640050" y="2393089"/>
                  <a:pt x="640280" y="2393158"/>
                </a:cubicBezTo>
                <a:cubicBezTo>
                  <a:pt x="642287" y="2393984"/>
                  <a:pt x="644228" y="2395046"/>
                  <a:pt x="643860" y="2397184"/>
                </a:cubicBezTo>
                <a:cubicBezTo>
                  <a:pt x="643723" y="2399390"/>
                  <a:pt x="641255" y="2398430"/>
                  <a:pt x="639904" y="2398784"/>
                </a:cubicBezTo>
                <a:cubicBezTo>
                  <a:pt x="631468" y="2400342"/>
                  <a:pt x="626811" y="2405237"/>
                  <a:pt x="625801" y="2413925"/>
                </a:cubicBezTo>
                <a:cubicBezTo>
                  <a:pt x="625463" y="2416820"/>
                  <a:pt x="624077" y="2418168"/>
                  <a:pt x="621441" y="2418654"/>
                </a:cubicBezTo>
                <a:cubicBezTo>
                  <a:pt x="619858" y="2418946"/>
                  <a:pt x="618343" y="2419007"/>
                  <a:pt x="616761" y="2419300"/>
                </a:cubicBezTo>
                <a:cubicBezTo>
                  <a:pt x="614653" y="2419688"/>
                  <a:pt x="613563" y="2420870"/>
                  <a:pt x="613425" y="2423076"/>
                </a:cubicBezTo>
                <a:lnTo>
                  <a:pt x="614034" y="2424836"/>
                </a:lnTo>
                <a:lnTo>
                  <a:pt x="590857" y="2437548"/>
                </a:lnTo>
                <a:lnTo>
                  <a:pt x="592250" y="2434178"/>
                </a:lnTo>
                <a:cubicBezTo>
                  <a:pt x="593242" y="2432467"/>
                  <a:pt x="593508" y="2431547"/>
                  <a:pt x="591768" y="2429797"/>
                </a:cubicBezTo>
                <a:cubicBezTo>
                  <a:pt x="589729" y="2428211"/>
                  <a:pt x="588475" y="2429096"/>
                  <a:pt x="587155" y="2430212"/>
                </a:cubicBezTo>
                <a:cubicBezTo>
                  <a:pt x="586198" y="2430934"/>
                  <a:pt x="585702" y="2431789"/>
                  <a:pt x="584909" y="2432806"/>
                </a:cubicBezTo>
                <a:cubicBezTo>
                  <a:pt x="581439" y="2437044"/>
                  <a:pt x="579990" y="2436875"/>
                  <a:pt x="577664" y="2431963"/>
                </a:cubicBezTo>
                <a:cubicBezTo>
                  <a:pt x="577239" y="2430843"/>
                  <a:pt x="576650" y="2429424"/>
                  <a:pt x="575267" y="2429027"/>
                </a:cubicBezTo>
                <a:cubicBezTo>
                  <a:pt x="573588" y="2428790"/>
                  <a:pt x="573056" y="2430633"/>
                  <a:pt x="572263" y="2431651"/>
                </a:cubicBezTo>
                <a:cubicBezTo>
                  <a:pt x="571537" y="2432439"/>
                  <a:pt x="571040" y="2433295"/>
                  <a:pt x="570774" y="2434216"/>
                </a:cubicBezTo>
                <a:cubicBezTo>
                  <a:pt x="569864" y="2436073"/>
                  <a:pt x="568849" y="2436778"/>
                  <a:pt x="567812" y="2436696"/>
                </a:cubicBezTo>
                <a:cubicBezTo>
                  <a:pt x="566775" y="2436616"/>
                  <a:pt x="565714" y="2435749"/>
                  <a:pt x="564713" y="2434462"/>
                </a:cubicBezTo>
                <a:cubicBezTo>
                  <a:pt x="562777" y="2431658"/>
                  <a:pt x="560974" y="2428393"/>
                  <a:pt x="559038" y="2425590"/>
                </a:cubicBezTo>
                <a:cubicBezTo>
                  <a:pt x="556773" y="2422190"/>
                  <a:pt x="553850" y="2419351"/>
                  <a:pt x="549565" y="2420359"/>
                </a:cubicBezTo>
                <a:cubicBezTo>
                  <a:pt x="546171" y="2420878"/>
                  <a:pt x="545121" y="2419327"/>
                  <a:pt x="544106" y="2416788"/>
                </a:cubicBezTo>
                <a:cubicBezTo>
                  <a:pt x="541980" y="2411186"/>
                  <a:pt x="538830" y="2406534"/>
                  <a:pt x="531979" y="2406054"/>
                </a:cubicBezTo>
                <a:cubicBezTo>
                  <a:pt x="530234" y="2406049"/>
                  <a:pt x="529972" y="2405225"/>
                  <a:pt x="530208" y="2403547"/>
                </a:cubicBezTo>
                <a:cubicBezTo>
                  <a:pt x="532543" y="2391997"/>
                  <a:pt x="530496" y="2380929"/>
                  <a:pt x="526570" y="2370315"/>
                </a:cubicBezTo>
                <a:cubicBezTo>
                  <a:pt x="525556" y="2367778"/>
                  <a:pt x="526416" y="2366528"/>
                  <a:pt x="527935" y="2364722"/>
                </a:cubicBezTo>
                <a:cubicBezTo>
                  <a:pt x="531436" y="2361242"/>
                  <a:pt x="535300" y="2357367"/>
                  <a:pt x="535016" y="2352298"/>
                </a:cubicBezTo>
                <a:cubicBezTo>
                  <a:pt x="534732" y="2347225"/>
                  <a:pt x="536815" y="2344334"/>
                  <a:pt x="540182" y="2341314"/>
                </a:cubicBezTo>
                <a:cubicBezTo>
                  <a:pt x="541206" y="2340363"/>
                  <a:pt x="541999" y="2339344"/>
                  <a:pt x="543089" y="2338162"/>
                </a:cubicBezTo>
                <a:cubicBezTo>
                  <a:pt x="548011" y="2332349"/>
                  <a:pt x="553262" y="2327129"/>
                  <a:pt x="561335" y="2325967"/>
                </a:cubicBezTo>
                <a:cubicBezTo>
                  <a:pt x="562850" y="2325905"/>
                  <a:pt x="563116" y="2324983"/>
                  <a:pt x="563449" y="2323832"/>
                </a:cubicBezTo>
                <a:cubicBezTo>
                  <a:pt x="564215" y="2320311"/>
                  <a:pt x="560387" y="2310225"/>
                  <a:pt x="557428" y="2308374"/>
                </a:cubicBezTo>
                <a:cubicBezTo>
                  <a:pt x="552692" y="2305759"/>
                  <a:pt x="549045" y="2301963"/>
                  <a:pt x="546718" y="2297050"/>
                </a:cubicBezTo>
                <a:cubicBezTo>
                  <a:pt x="543343" y="2290588"/>
                  <a:pt x="540724" y="2284094"/>
                  <a:pt x="537646" y="2277467"/>
                </a:cubicBezTo>
                <a:cubicBezTo>
                  <a:pt x="536662" y="2275686"/>
                  <a:pt x="537619" y="2274965"/>
                  <a:pt x="538873" y="2274079"/>
                </a:cubicBezTo>
                <a:cubicBezTo>
                  <a:pt x="544482" y="2270211"/>
                  <a:pt x="544482" y="2270211"/>
                  <a:pt x="540411" y="2265293"/>
                </a:cubicBezTo>
                <a:cubicBezTo>
                  <a:pt x="536800" y="2260509"/>
                  <a:pt x="537234" y="2258140"/>
                  <a:pt x="542643" y="2254962"/>
                </a:cubicBezTo>
                <a:cubicBezTo>
                  <a:pt x="545019" y="2253651"/>
                  <a:pt x="547460" y="2252111"/>
                  <a:pt x="547699" y="2248687"/>
                </a:cubicBezTo>
                <a:cubicBezTo>
                  <a:pt x="547952" y="2240028"/>
                  <a:pt x="552875" y="2234215"/>
                  <a:pt x="559902" y="2229757"/>
                </a:cubicBezTo>
                <a:cubicBezTo>
                  <a:pt x="564488" y="2226839"/>
                  <a:pt x="569699" y="2224352"/>
                  <a:pt x="573562" y="2220478"/>
                </a:cubicBezTo>
                <a:cubicBezTo>
                  <a:pt x="574289" y="2219690"/>
                  <a:pt x="575245" y="2218968"/>
                  <a:pt x="576331" y="2219531"/>
                </a:cubicBezTo>
                <a:cubicBezTo>
                  <a:pt x="581560" y="2223036"/>
                  <a:pt x="585618" y="2220216"/>
                  <a:pt x="589907" y="2217463"/>
                </a:cubicBezTo>
                <a:cubicBezTo>
                  <a:pt x="591161" y="2216577"/>
                  <a:pt x="592712" y="2215528"/>
                  <a:pt x="594653" y="2216586"/>
                </a:cubicBezTo>
                <a:close/>
                <a:moveTo>
                  <a:pt x="1713685" y="2198744"/>
                </a:moveTo>
                <a:cubicBezTo>
                  <a:pt x="1715075" y="2197940"/>
                  <a:pt x="1717270" y="2198530"/>
                  <a:pt x="1718875" y="2201309"/>
                </a:cubicBezTo>
                <a:cubicBezTo>
                  <a:pt x="1714488" y="2200137"/>
                  <a:pt x="1714488" y="2200137"/>
                  <a:pt x="1713311" y="2204523"/>
                </a:cubicBezTo>
                <a:cubicBezTo>
                  <a:pt x="1711704" y="2201742"/>
                  <a:pt x="1712292" y="2199549"/>
                  <a:pt x="1713685" y="2198744"/>
                </a:cubicBezTo>
                <a:close/>
                <a:moveTo>
                  <a:pt x="1830399" y="2188859"/>
                </a:moveTo>
                <a:lnTo>
                  <a:pt x="1822696" y="2195935"/>
                </a:lnTo>
                <a:lnTo>
                  <a:pt x="1822709" y="2195615"/>
                </a:lnTo>
                <a:cubicBezTo>
                  <a:pt x="1824540" y="2193169"/>
                  <a:pt x="1827618" y="2190465"/>
                  <a:pt x="1830399" y="2188859"/>
                </a:cubicBezTo>
                <a:close/>
                <a:moveTo>
                  <a:pt x="2301609" y="2177720"/>
                </a:moveTo>
                <a:lnTo>
                  <a:pt x="2236356" y="2226569"/>
                </a:lnTo>
                <a:cubicBezTo>
                  <a:pt x="2218185" y="2237049"/>
                  <a:pt x="2189971" y="2256339"/>
                  <a:pt x="2164379" y="2280185"/>
                </a:cubicBezTo>
                <a:cubicBezTo>
                  <a:pt x="2136165" y="2299488"/>
                  <a:pt x="2114157" y="2324292"/>
                  <a:pt x="2102192" y="2340271"/>
                </a:cubicBezTo>
                <a:cubicBezTo>
                  <a:pt x="2083048" y="2354335"/>
                  <a:pt x="2062959" y="2371976"/>
                  <a:pt x="2050993" y="2387958"/>
                </a:cubicBezTo>
                <a:cubicBezTo>
                  <a:pt x="2050993" y="2387958"/>
                  <a:pt x="2047411" y="2387000"/>
                  <a:pt x="2046451" y="2390579"/>
                </a:cubicBezTo>
                <a:cubicBezTo>
                  <a:pt x="2041907" y="2393195"/>
                  <a:pt x="2041907" y="2393195"/>
                  <a:pt x="2040948" y="2396776"/>
                </a:cubicBezTo>
                <a:lnTo>
                  <a:pt x="2026464" y="2410717"/>
                </a:lnTo>
                <a:lnTo>
                  <a:pt x="2036878" y="2408978"/>
                </a:lnTo>
                <a:lnTo>
                  <a:pt x="2044532" y="2397734"/>
                </a:lnTo>
                <a:cubicBezTo>
                  <a:pt x="2043573" y="2401315"/>
                  <a:pt x="2043573" y="2401315"/>
                  <a:pt x="2043573" y="2401315"/>
                </a:cubicBezTo>
                <a:cubicBezTo>
                  <a:pt x="2043573" y="2401315"/>
                  <a:pt x="2048115" y="2398693"/>
                  <a:pt x="2049076" y="2395111"/>
                </a:cubicBezTo>
                <a:cubicBezTo>
                  <a:pt x="2052658" y="2396078"/>
                  <a:pt x="2053617" y="2392497"/>
                  <a:pt x="2053617" y="2392497"/>
                </a:cubicBezTo>
                <a:cubicBezTo>
                  <a:pt x="2081128" y="2361497"/>
                  <a:pt x="2110320" y="2338611"/>
                  <a:pt x="2140200" y="2327431"/>
                </a:cubicBezTo>
                <a:cubicBezTo>
                  <a:pt x="2136615" y="2326473"/>
                  <a:pt x="2135657" y="2330052"/>
                  <a:pt x="2135657" y="2330052"/>
                </a:cubicBezTo>
                <a:cubicBezTo>
                  <a:pt x="2134695" y="2333634"/>
                  <a:pt x="2134695" y="2333634"/>
                  <a:pt x="2138280" y="2334593"/>
                </a:cubicBezTo>
                <a:cubicBezTo>
                  <a:pt x="2138280" y="2334593"/>
                  <a:pt x="2139238" y="2331013"/>
                  <a:pt x="2139238" y="2331013"/>
                </a:cubicBezTo>
                <a:cubicBezTo>
                  <a:pt x="2139238" y="2331013"/>
                  <a:pt x="2139238" y="2331013"/>
                  <a:pt x="2140200" y="2327431"/>
                </a:cubicBezTo>
                <a:cubicBezTo>
                  <a:pt x="2143784" y="2328391"/>
                  <a:pt x="2144743" y="2324810"/>
                  <a:pt x="2144743" y="2324810"/>
                </a:cubicBezTo>
                <a:cubicBezTo>
                  <a:pt x="2147367" y="2329352"/>
                  <a:pt x="2157412" y="2320533"/>
                  <a:pt x="2167455" y="2311709"/>
                </a:cubicBezTo>
                <a:cubicBezTo>
                  <a:pt x="2164830" y="2307171"/>
                  <a:pt x="2159332" y="2313370"/>
                  <a:pt x="2159332" y="2313370"/>
                </a:cubicBezTo>
                <a:cubicBezTo>
                  <a:pt x="2160290" y="2309790"/>
                  <a:pt x="2160290" y="2309790"/>
                  <a:pt x="2160290" y="2309790"/>
                </a:cubicBezTo>
                <a:cubicBezTo>
                  <a:pt x="2161248" y="2306208"/>
                  <a:pt x="2161248" y="2306208"/>
                  <a:pt x="2161248" y="2306208"/>
                </a:cubicBezTo>
                <a:cubicBezTo>
                  <a:pt x="2161248" y="2306208"/>
                  <a:pt x="2156706" y="2308832"/>
                  <a:pt x="2156706" y="2308832"/>
                </a:cubicBezTo>
                <a:cubicBezTo>
                  <a:pt x="2166750" y="2300007"/>
                  <a:pt x="2163167" y="2299048"/>
                  <a:pt x="2177754" y="2287607"/>
                </a:cubicBezTo>
                <a:cubicBezTo>
                  <a:pt x="2176793" y="2291184"/>
                  <a:pt x="2176793" y="2291184"/>
                  <a:pt x="2176793" y="2291184"/>
                </a:cubicBezTo>
                <a:cubicBezTo>
                  <a:pt x="2176793" y="2291184"/>
                  <a:pt x="2176793" y="2291184"/>
                  <a:pt x="2172250" y="2293809"/>
                </a:cubicBezTo>
                <a:cubicBezTo>
                  <a:pt x="2171292" y="2297388"/>
                  <a:pt x="2171292" y="2297388"/>
                  <a:pt x="2171292" y="2297388"/>
                </a:cubicBezTo>
                <a:cubicBezTo>
                  <a:pt x="2174876" y="2298349"/>
                  <a:pt x="2179418" y="2295728"/>
                  <a:pt x="2180376" y="2292148"/>
                </a:cubicBezTo>
                <a:cubicBezTo>
                  <a:pt x="2180376" y="2292148"/>
                  <a:pt x="2183961" y="2293109"/>
                  <a:pt x="2184919" y="2289528"/>
                </a:cubicBezTo>
                <a:cubicBezTo>
                  <a:pt x="2192086" y="2291448"/>
                  <a:pt x="2205713" y="2283588"/>
                  <a:pt x="2223884" y="2273108"/>
                </a:cubicBezTo>
                <a:cubicBezTo>
                  <a:pt x="2231177" y="2267387"/>
                  <a:pt x="2238708" y="2260770"/>
                  <a:pt x="2245229" y="2254355"/>
                </a:cubicBezTo>
                <a:lnTo>
                  <a:pt x="2251607" y="2247046"/>
                </a:lnTo>
                <a:lnTo>
                  <a:pt x="2256890" y="2229083"/>
                </a:lnTo>
                <a:cubicBezTo>
                  <a:pt x="2262319" y="2220129"/>
                  <a:pt x="2269781" y="2213271"/>
                  <a:pt x="2278764" y="2208775"/>
                </a:cubicBezTo>
                <a:lnTo>
                  <a:pt x="2303977" y="2194332"/>
                </a:lnTo>
                <a:lnTo>
                  <a:pt x="2305303" y="2193447"/>
                </a:lnTo>
                <a:close/>
                <a:moveTo>
                  <a:pt x="151573" y="2114518"/>
                </a:moveTo>
                <a:cubicBezTo>
                  <a:pt x="155143" y="2117641"/>
                  <a:pt x="159563" y="2119496"/>
                  <a:pt x="163727" y="2119619"/>
                </a:cubicBezTo>
                <a:cubicBezTo>
                  <a:pt x="167662" y="2120297"/>
                  <a:pt x="171827" y="2120419"/>
                  <a:pt x="176152" y="2120935"/>
                </a:cubicBezTo>
                <a:cubicBezTo>
                  <a:pt x="180087" y="2121612"/>
                  <a:pt x="184413" y="2122129"/>
                  <a:pt x="188484" y="2120913"/>
                </a:cubicBezTo>
                <a:cubicBezTo>
                  <a:pt x="192325" y="2120251"/>
                  <a:pt x="194858" y="2121964"/>
                  <a:pt x="197943" y="2123908"/>
                </a:cubicBezTo>
                <a:cubicBezTo>
                  <a:pt x="201029" y="2125853"/>
                  <a:pt x="202253" y="2129941"/>
                  <a:pt x="205797" y="2130778"/>
                </a:cubicBezTo>
                <a:cubicBezTo>
                  <a:pt x="206927" y="2133527"/>
                  <a:pt x="207897" y="2135884"/>
                  <a:pt x="209028" y="2138632"/>
                </a:cubicBezTo>
                <a:cubicBezTo>
                  <a:pt x="207855" y="2139115"/>
                  <a:pt x="207625" y="2139668"/>
                  <a:pt x="207949" y="2140453"/>
                </a:cubicBezTo>
                <a:cubicBezTo>
                  <a:pt x="210371" y="2146343"/>
                  <a:pt x="207755" y="2151093"/>
                  <a:pt x="203872" y="2154986"/>
                </a:cubicBezTo>
                <a:cubicBezTo>
                  <a:pt x="200379" y="2158719"/>
                  <a:pt x="197439" y="2162683"/>
                  <a:pt x="192034" y="2163987"/>
                </a:cubicBezTo>
                <a:cubicBezTo>
                  <a:pt x="186077" y="2165061"/>
                  <a:pt x="180375" y="2167866"/>
                  <a:pt x="174136" y="2164923"/>
                </a:cubicBezTo>
                <a:cubicBezTo>
                  <a:pt x="171926" y="2163996"/>
                  <a:pt x="170108" y="2162906"/>
                  <a:pt x="168195" y="2160480"/>
                </a:cubicBezTo>
                <a:cubicBezTo>
                  <a:pt x="165406" y="2157036"/>
                  <a:pt x="161514" y="2153128"/>
                  <a:pt x="155744" y="2156879"/>
                </a:cubicBezTo>
                <a:cubicBezTo>
                  <a:pt x="153560" y="2158236"/>
                  <a:pt x="151809" y="2156201"/>
                  <a:pt x="150474" y="2156291"/>
                </a:cubicBezTo>
                <a:cubicBezTo>
                  <a:pt x="143413" y="2156901"/>
                  <a:pt x="138737" y="2153315"/>
                  <a:pt x="134683" y="2149014"/>
                </a:cubicBezTo>
                <a:cubicBezTo>
                  <a:pt x="134011" y="2145158"/>
                  <a:pt x="133501" y="2141695"/>
                  <a:pt x="132046" y="2138161"/>
                </a:cubicBezTo>
                <a:cubicBezTo>
                  <a:pt x="130593" y="2134627"/>
                  <a:pt x="131484" y="2130128"/>
                  <a:pt x="133966" y="2127271"/>
                </a:cubicBezTo>
                <a:cubicBezTo>
                  <a:pt x="136218" y="2124967"/>
                  <a:pt x="137297" y="2123146"/>
                  <a:pt x="137500" y="2120308"/>
                </a:cubicBezTo>
                <a:cubicBezTo>
                  <a:pt x="142191" y="2118377"/>
                  <a:pt x="146883" y="2116448"/>
                  <a:pt x="151573" y="2114518"/>
                </a:cubicBezTo>
                <a:close/>
                <a:moveTo>
                  <a:pt x="788976" y="2103352"/>
                </a:moveTo>
                <a:cubicBezTo>
                  <a:pt x="792682" y="2105371"/>
                  <a:pt x="795949" y="2107264"/>
                  <a:pt x="799909" y="2108406"/>
                </a:cubicBezTo>
                <a:cubicBezTo>
                  <a:pt x="803868" y="2109549"/>
                  <a:pt x="807070" y="2113319"/>
                  <a:pt x="807818" y="2117332"/>
                </a:cubicBezTo>
                <a:cubicBezTo>
                  <a:pt x="808253" y="2120778"/>
                  <a:pt x="809067" y="2122911"/>
                  <a:pt x="811328" y="2124987"/>
                </a:cubicBezTo>
                <a:cubicBezTo>
                  <a:pt x="809811" y="2130243"/>
                  <a:pt x="808294" y="2135499"/>
                  <a:pt x="806777" y="2140755"/>
                </a:cubicBezTo>
                <a:cubicBezTo>
                  <a:pt x="801745" y="2141675"/>
                  <a:pt x="797213" y="2144163"/>
                  <a:pt x="794316" y="2147596"/>
                </a:cubicBezTo>
                <a:cubicBezTo>
                  <a:pt x="791106" y="2150466"/>
                  <a:pt x="788207" y="2153899"/>
                  <a:pt x="784870" y="2157207"/>
                </a:cubicBezTo>
                <a:cubicBezTo>
                  <a:pt x="781659" y="2160075"/>
                  <a:pt x="778321" y="2163383"/>
                  <a:pt x="776618" y="2167635"/>
                </a:cubicBezTo>
                <a:cubicBezTo>
                  <a:pt x="774599" y="2171324"/>
                  <a:pt x="771454" y="2172313"/>
                  <a:pt x="767743" y="2173615"/>
                </a:cubicBezTo>
                <a:cubicBezTo>
                  <a:pt x="764031" y="2174916"/>
                  <a:pt x="759758" y="2173208"/>
                  <a:pt x="756672" y="2175639"/>
                </a:cubicBezTo>
                <a:cubicBezTo>
                  <a:pt x="753593" y="2174749"/>
                  <a:pt x="750953" y="2173988"/>
                  <a:pt x="747873" y="2173099"/>
                </a:cubicBezTo>
                <a:cubicBezTo>
                  <a:pt x="748253" y="2171785"/>
                  <a:pt x="747939" y="2171220"/>
                  <a:pt x="747060" y="2170966"/>
                </a:cubicBezTo>
                <a:cubicBezTo>
                  <a:pt x="740460" y="2169062"/>
                  <a:pt x="738204" y="2163665"/>
                  <a:pt x="737522" y="2157775"/>
                </a:cubicBezTo>
                <a:cubicBezTo>
                  <a:pt x="736713" y="2152322"/>
                  <a:pt x="735337" y="2147180"/>
                  <a:pt x="737860" y="2141740"/>
                </a:cubicBezTo>
                <a:cubicBezTo>
                  <a:pt x="740950" y="2135989"/>
                  <a:pt x="742407" y="2129293"/>
                  <a:pt x="749076" y="2125999"/>
                </a:cubicBezTo>
                <a:cubicBezTo>
                  <a:pt x="751342" y="2124754"/>
                  <a:pt x="753481" y="2123948"/>
                  <a:pt x="756814" y="2123961"/>
                </a:cubicBezTo>
                <a:cubicBezTo>
                  <a:pt x="761593" y="2123917"/>
                  <a:pt x="767503" y="2123251"/>
                  <a:pt x="768207" y="2115861"/>
                </a:cubicBezTo>
                <a:cubicBezTo>
                  <a:pt x="768525" y="2113107"/>
                  <a:pt x="771418" y="2112993"/>
                  <a:pt x="772237" y="2111806"/>
                </a:cubicBezTo>
                <a:cubicBezTo>
                  <a:pt x="776459" y="2105433"/>
                  <a:pt x="782624" y="2103891"/>
                  <a:pt x="788976" y="2103352"/>
                </a:cubicBezTo>
                <a:close/>
                <a:moveTo>
                  <a:pt x="417319" y="2085489"/>
                </a:moveTo>
                <a:cubicBezTo>
                  <a:pt x="419666" y="2087364"/>
                  <a:pt x="421728" y="2087779"/>
                  <a:pt x="425121" y="2086067"/>
                </a:cubicBezTo>
                <a:cubicBezTo>
                  <a:pt x="429861" y="2083801"/>
                  <a:pt x="434523" y="2084408"/>
                  <a:pt x="437822" y="2089362"/>
                </a:cubicBezTo>
                <a:cubicBezTo>
                  <a:pt x="439090" y="2091680"/>
                  <a:pt x="440755" y="2090364"/>
                  <a:pt x="442372" y="2089699"/>
                </a:cubicBezTo>
                <a:cubicBezTo>
                  <a:pt x="445068" y="2088591"/>
                  <a:pt x="446050" y="2089448"/>
                  <a:pt x="445052" y="2092383"/>
                </a:cubicBezTo>
                <a:cubicBezTo>
                  <a:pt x="443689" y="2096731"/>
                  <a:pt x="444577" y="2098889"/>
                  <a:pt x="449493" y="2097814"/>
                </a:cubicBezTo>
                <a:cubicBezTo>
                  <a:pt x="450681" y="2097640"/>
                  <a:pt x="452362" y="2097896"/>
                  <a:pt x="451458" y="2099529"/>
                </a:cubicBezTo>
                <a:cubicBezTo>
                  <a:pt x="449398" y="2104479"/>
                  <a:pt x="452553" y="2106021"/>
                  <a:pt x="456090" y="2107722"/>
                </a:cubicBezTo>
                <a:cubicBezTo>
                  <a:pt x="456739" y="2107770"/>
                  <a:pt x="457184" y="2108850"/>
                  <a:pt x="457406" y="2109390"/>
                </a:cubicBezTo>
                <a:cubicBezTo>
                  <a:pt x="456297" y="2117419"/>
                  <a:pt x="454538" y="2125401"/>
                  <a:pt x="453159" y="2133541"/>
                </a:cubicBezTo>
                <a:cubicBezTo>
                  <a:pt x="452494" y="2137286"/>
                  <a:pt x="448038" y="2141012"/>
                  <a:pt x="444550" y="2144024"/>
                </a:cubicBezTo>
                <a:cubicBezTo>
                  <a:pt x="443155" y="2145229"/>
                  <a:pt x="441426" y="2145624"/>
                  <a:pt x="440745" y="2147799"/>
                </a:cubicBezTo>
                <a:cubicBezTo>
                  <a:pt x="440064" y="2149972"/>
                  <a:pt x="438336" y="2150367"/>
                  <a:pt x="436274" y="2149954"/>
                </a:cubicBezTo>
                <a:cubicBezTo>
                  <a:pt x="434974" y="2149857"/>
                  <a:pt x="433182" y="2149332"/>
                  <a:pt x="432437" y="2150585"/>
                </a:cubicBezTo>
                <a:cubicBezTo>
                  <a:pt x="430312" y="2154615"/>
                  <a:pt x="427998" y="2155883"/>
                  <a:pt x="424605" y="2152229"/>
                </a:cubicBezTo>
                <a:cubicBezTo>
                  <a:pt x="423890" y="2151260"/>
                  <a:pt x="422162" y="2151656"/>
                  <a:pt x="421798" y="2153068"/>
                </a:cubicBezTo>
                <a:cubicBezTo>
                  <a:pt x="420276" y="2157797"/>
                  <a:pt x="417374" y="2154573"/>
                  <a:pt x="414996" y="2154920"/>
                </a:cubicBezTo>
                <a:cubicBezTo>
                  <a:pt x="406941" y="2156025"/>
                  <a:pt x="405656" y="2146771"/>
                  <a:pt x="398933" y="2145750"/>
                </a:cubicBezTo>
                <a:cubicBezTo>
                  <a:pt x="396602" y="2145446"/>
                  <a:pt x="395841" y="2139765"/>
                  <a:pt x="395111" y="2137225"/>
                </a:cubicBezTo>
                <a:cubicBezTo>
                  <a:pt x="393588" y="2131224"/>
                  <a:pt x="387308" y="2125918"/>
                  <a:pt x="391889" y="2118669"/>
                </a:cubicBezTo>
                <a:cubicBezTo>
                  <a:pt x="392635" y="2117416"/>
                  <a:pt x="393317" y="2115243"/>
                  <a:pt x="392428" y="2113084"/>
                </a:cubicBezTo>
                <a:cubicBezTo>
                  <a:pt x="390937" y="2110226"/>
                  <a:pt x="391889" y="2107941"/>
                  <a:pt x="394631" y="2106182"/>
                </a:cubicBezTo>
                <a:cubicBezTo>
                  <a:pt x="396296" y="2104866"/>
                  <a:pt x="396819" y="2103073"/>
                  <a:pt x="397612" y="2101170"/>
                </a:cubicBezTo>
                <a:cubicBezTo>
                  <a:pt x="399403" y="2096330"/>
                  <a:pt x="402510" y="2093159"/>
                  <a:pt x="407917" y="2092512"/>
                </a:cubicBezTo>
                <a:cubicBezTo>
                  <a:pt x="410946" y="2092213"/>
                  <a:pt x="413578" y="2090185"/>
                  <a:pt x="414085" y="2086820"/>
                </a:cubicBezTo>
                <a:cubicBezTo>
                  <a:pt x="415163" y="2086377"/>
                  <a:pt x="416241" y="2085932"/>
                  <a:pt x="417319" y="2085489"/>
                </a:cubicBezTo>
                <a:close/>
                <a:moveTo>
                  <a:pt x="2928371" y="2079100"/>
                </a:moveTo>
                <a:lnTo>
                  <a:pt x="2928081" y="2080134"/>
                </a:lnTo>
                <a:lnTo>
                  <a:pt x="2928529" y="2079961"/>
                </a:lnTo>
                <a:close/>
                <a:moveTo>
                  <a:pt x="2913905" y="2070337"/>
                </a:moveTo>
                <a:lnTo>
                  <a:pt x="2786679" y="2116909"/>
                </a:lnTo>
                <a:lnTo>
                  <a:pt x="2611391" y="2210073"/>
                </a:lnTo>
                <a:cubicBezTo>
                  <a:pt x="2578870" y="2230472"/>
                  <a:pt x="2544402" y="2248211"/>
                  <a:pt x="2511632" y="2267156"/>
                </a:cubicBezTo>
                <a:cubicBezTo>
                  <a:pt x="2508960" y="2269103"/>
                  <a:pt x="2506475" y="2272139"/>
                  <a:pt x="2503744" y="2273718"/>
                </a:cubicBezTo>
                <a:lnTo>
                  <a:pt x="2500035" y="2272853"/>
                </a:lnTo>
                <a:lnTo>
                  <a:pt x="2449168" y="2306321"/>
                </a:lnTo>
                <a:lnTo>
                  <a:pt x="2493695" y="2270016"/>
                </a:lnTo>
                <a:lnTo>
                  <a:pt x="2489686" y="2261287"/>
                </a:lnTo>
                <a:cubicBezTo>
                  <a:pt x="2489836" y="2257705"/>
                  <a:pt x="2491472" y="2254061"/>
                  <a:pt x="2493900" y="2250665"/>
                </a:cubicBezTo>
                <a:cubicBezTo>
                  <a:pt x="2504819" y="2235363"/>
                  <a:pt x="2519381" y="2223949"/>
                  <a:pt x="2534675" y="2216903"/>
                </a:cubicBezTo>
                <a:cubicBezTo>
                  <a:pt x="2578605" y="2193093"/>
                  <a:pt x="2621693" y="2166426"/>
                  <a:pt x="2666296" y="2142124"/>
                </a:cubicBezTo>
                <a:lnTo>
                  <a:pt x="2724658" y="2113068"/>
                </a:lnTo>
                <a:lnTo>
                  <a:pt x="2726147" y="2112178"/>
                </a:lnTo>
                <a:lnTo>
                  <a:pt x="2729836" y="2110490"/>
                </a:lnTo>
                <a:lnTo>
                  <a:pt x="2734632" y="2108102"/>
                </a:lnTo>
                <a:lnTo>
                  <a:pt x="2736718" y="2107336"/>
                </a:lnTo>
                <a:lnTo>
                  <a:pt x="2801923" y="2077462"/>
                </a:lnTo>
                <a:lnTo>
                  <a:pt x="2798871" y="2075023"/>
                </a:lnTo>
                <a:cubicBezTo>
                  <a:pt x="2795907" y="2073811"/>
                  <a:pt x="2792743" y="2073357"/>
                  <a:pt x="2789511" y="2073055"/>
                </a:cubicBezTo>
                <a:lnTo>
                  <a:pt x="2785162" y="2071955"/>
                </a:lnTo>
                <a:lnTo>
                  <a:pt x="2692598" y="2107276"/>
                </a:lnTo>
                <a:lnTo>
                  <a:pt x="2492106" y="2212288"/>
                </a:lnTo>
                <a:lnTo>
                  <a:pt x="2469378" y="2225334"/>
                </a:lnTo>
                <a:cubicBezTo>
                  <a:pt x="2464045" y="2228755"/>
                  <a:pt x="2458847" y="2232998"/>
                  <a:pt x="2452624" y="2236148"/>
                </a:cubicBezTo>
                <a:lnTo>
                  <a:pt x="2448781" y="2236860"/>
                </a:lnTo>
                <a:lnTo>
                  <a:pt x="2243250" y="2383592"/>
                </a:lnTo>
                <a:cubicBezTo>
                  <a:pt x="2174582" y="2440217"/>
                  <a:pt x="2109111" y="2502276"/>
                  <a:pt x="2046942" y="2569962"/>
                </a:cubicBezTo>
                <a:lnTo>
                  <a:pt x="1962364" y="2675535"/>
                </a:lnTo>
                <a:lnTo>
                  <a:pt x="1906914" y="2764553"/>
                </a:lnTo>
                <a:lnTo>
                  <a:pt x="1916101" y="2766945"/>
                </a:lnTo>
                <a:cubicBezTo>
                  <a:pt x="1919416" y="2767942"/>
                  <a:pt x="1922351" y="2769689"/>
                  <a:pt x="1923876" y="2774054"/>
                </a:cubicBezTo>
                <a:cubicBezTo>
                  <a:pt x="1924435" y="2775523"/>
                  <a:pt x="1925813" y="2777559"/>
                  <a:pt x="1928232" y="2778255"/>
                </a:cubicBezTo>
                <a:cubicBezTo>
                  <a:pt x="1931646" y="2778915"/>
                  <a:pt x="1932937" y="2781250"/>
                  <a:pt x="1932583" y="2784745"/>
                </a:cubicBezTo>
                <a:cubicBezTo>
                  <a:pt x="1932577" y="2787037"/>
                  <a:pt x="1933740" y="2788679"/>
                  <a:pt x="1934817" y="2790626"/>
                </a:cubicBezTo>
                <a:cubicBezTo>
                  <a:pt x="1937701" y="2795383"/>
                  <a:pt x="1938296" y="2800135"/>
                  <a:pt x="1935215" y="2805133"/>
                </a:cubicBezTo>
                <a:cubicBezTo>
                  <a:pt x="1933436" y="2807892"/>
                  <a:pt x="1933385" y="2811477"/>
                  <a:pt x="1935885" y="2814162"/>
                </a:cubicBezTo>
                <a:cubicBezTo>
                  <a:pt x="1935536" y="2815369"/>
                  <a:pt x="1935187" y="2816577"/>
                  <a:pt x="1934839" y="2817784"/>
                </a:cubicBezTo>
                <a:cubicBezTo>
                  <a:pt x="1931681" y="2818511"/>
                  <a:pt x="1929949" y="2819971"/>
                  <a:pt x="1929118" y="2823988"/>
                </a:cubicBezTo>
                <a:cubicBezTo>
                  <a:pt x="1927852" y="2829511"/>
                  <a:pt x="1924212" y="2833040"/>
                  <a:pt x="1917816" y="2832503"/>
                </a:cubicBezTo>
                <a:cubicBezTo>
                  <a:pt x="1915007" y="2832020"/>
                  <a:pt x="1915002" y="2834307"/>
                  <a:pt x="1914478" y="2836120"/>
                </a:cubicBezTo>
                <a:cubicBezTo>
                  <a:pt x="1913607" y="2839140"/>
                  <a:pt x="1912223" y="2839394"/>
                  <a:pt x="1910415" y="2836582"/>
                </a:cubicBezTo>
                <a:cubicBezTo>
                  <a:pt x="1907658" y="2832514"/>
                  <a:pt x="1905239" y="2831817"/>
                  <a:pt x="1902850" y="2836690"/>
                </a:cubicBezTo>
                <a:cubicBezTo>
                  <a:pt x="1902199" y="2837809"/>
                  <a:pt x="1900856" y="2839057"/>
                  <a:pt x="1900081" y="2837199"/>
                </a:cubicBezTo>
                <a:cubicBezTo>
                  <a:pt x="1897284" y="2832138"/>
                  <a:pt x="1893866" y="2833769"/>
                  <a:pt x="1890057" y="2835614"/>
                </a:cubicBezTo>
                <a:cubicBezTo>
                  <a:pt x="1889580" y="2836131"/>
                  <a:pt x="1888371" y="2835782"/>
                  <a:pt x="1887766" y="2835606"/>
                </a:cubicBezTo>
                <a:lnTo>
                  <a:pt x="1874439" y="2820576"/>
                </a:lnTo>
                <a:lnTo>
                  <a:pt x="1816290" y="2931799"/>
                </a:lnTo>
                <a:cubicBezTo>
                  <a:pt x="1803441" y="2955880"/>
                  <a:pt x="1786486" y="2975588"/>
                  <a:pt x="1796624" y="3005951"/>
                </a:cubicBezTo>
                <a:cubicBezTo>
                  <a:pt x="1802925" y="3023459"/>
                  <a:pt x="1789253" y="3042622"/>
                  <a:pt x="1782147" y="3060683"/>
                </a:cubicBezTo>
                <a:cubicBezTo>
                  <a:pt x="1738687" y="3154003"/>
                  <a:pt x="1707812" y="3251973"/>
                  <a:pt x="1678581" y="3349644"/>
                </a:cubicBezTo>
                <a:cubicBezTo>
                  <a:pt x="1676395" y="3356758"/>
                  <a:pt x="1673935" y="3362235"/>
                  <a:pt x="1680232" y="3369607"/>
                </a:cubicBezTo>
                <a:cubicBezTo>
                  <a:pt x="1693913" y="3370689"/>
                  <a:pt x="1693360" y="3357309"/>
                  <a:pt x="1695544" y="3350186"/>
                </a:cubicBezTo>
                <a:cubicBezTo>
                  <a:pt x="1737612" y="3198058"/>
                  <a:pt x="1799931" y="3056026"/>
                  <a:pt x="1871279" y="2917548"/>
                </a:cubicBezTo>
                <a:cubicBezTo>
                  <a:pt x="1873739" y="2912077"/>
                  <a:pt x="1876200" y="2906600"/>
                  <a:pt x="1878660" y="2901129"/>
                </a:cubicBezTo>
                <a:cubicBezTo>
                  <a:pt x="1882486" y="2893743"/>
                  <a:pt x="1888505" y="2889363"/>
                  <a:pt x="1896443" y="2896470"/>
                </a:cubicBezTo>
                <a:cubicBezTo>
                  <a:pt x="1907389" y="2901389"/>
                  <a:pt x="1903289" y="2907136"/>
                  <a:pt x="1899460" y="2914527"/>
                </a:cubicBezTo>
                <a:cubicBezTo>
                  <a:pt x="1883672" y="2941204"/>
                  <a:pt x="1869489" y="2968676"/>
                  <a:pt x="1856399" y="2996673"/>
                </a:cubicBezTo>
                <a:lnTo>
                  <a:pt x="1842847" y="3028340"/>
                </a:lnTo>
                <a:lnTo>
                  <a:pt x="1918347" y="2898251"/>
                </a:lnTo>
                <a:cubicBezTo>
                  <a:pt x="1986213" y="2796470"/>
                  <a:pt x="2062849" y="2701986"/>
                  <a:pt x="2146913" y="2615572"/>
                </a:cubicBezTo>
                <a:lnTo>
                  <a:pt x="2258301" y="2510965"/>
                </a:lnTo>
                <a:lnTo>
                  <a:pt x="2255458" y="2505845"/>
                </a:lnTo>
                <a:cubicBezTo>
                  <a:pt x="2257595" y="2498443"/>
                  <a:pt x="2259731" y="2491042"/>
                  <a:pt x="2261869" y="2483641"/>
                </a:cubicBezTo>
                <a:cubicBezTo>
                  <a:pt x="2266120" y="2482864"/>
                  <a:pt x="2268690" y="2480933"/>
                  <a:pt x="2271795" y="2477152"/>
                </a:cubicBezTo>
                <a:cubicBezTo>
                  <a:pt x="2275698" y="2472933"/>
                  <a:pt x="2282342" y="2470841"/>
                  <a:pt x="2287918" y="2472452"/>
                </a:cubicBezTo>
                <a:lnTo>
                  <a:pt x="2301286" y="2474185"/>
                </a:lnTo>
                <a:lnTo>
                  <a:pt x="2419981" y="2381321"/>
                </a:lnTo>
                <a:lnTo>
                  <a:pt x="2465133" y="2352297"/>
                </a:lnTo>
                <a:lnTo>
                  <a:pt x="2467644" y="2350295"/>
                </a:lnTo>
                <a:lnTo>
                  <a:pt x="2490292" y="2327626"/>
                </a:lnTo>
                <a:lnTo>
                  <a:pt x="2570884" y="2279342"/>
                </a:lnTo>
                <a:lnTo>
                  <a:pt x="2696123" y="2197560"/>
                </a:lnTo>
                <a:lnTo>
                  <a:pt x="2908966" y="2087852"/>
                </a:lnTo>
                <a:close/>
                <a:moveTo>
                  <a:pt x="11560177" y="2006425"/>
                </a:moveTo>
                <a:cubicBezTo>
                  <a:pt x="11558270" y="2006397"/>
                  <a:pt x="11555804" y="2006328"/>
                  <a:pt x="11555082" y="2008521"/>
                </a:cubicBezTo>
                <a:cubicBezTo>
                  <a:pt x="11554360" y="2010714"/>
                  <a:pt x="11554618" y="2013318"/>
                  <a:pt x="11556865" y="2014831"/>
                </a:cubicBezTo>
                <a:cubicBezTo>
                  <a:pt x="11558132" y="2015936"/>
                  <a:pt x="11559862" y="2016849"/>
                  <a:pt x="11561360" y="2017859"/>
                </a:cubicBezTo>
                <a:cubicBezTo>
                  <a:pt x="11563091" y="2018773"/>
                  <a:pt x="11564358" y="2019878"/>
                  <a:pt x="11563445" y="2021607"/>
                </a:cubicBezTo>
                <a:lnTo>
                  <a:pt x="11559370" y="2022540"/>
                </a:lnTo>
                <a:lnTo>
                  <a:pt x="11594267" y="2059689"/>
                </a:lnTo>
                <a:lnTo>
                  <a:pt x="11633896" y="2110568"/>
                </a:lnTo>
                <a:lnTo>
                  <a:pt x="11637471" y="2108321"/>
                </a:lnTo>
                <a:cubicBezTo>
                  <a:pt x="11644016" y="2104366"/>
                  <a:pt x="11650724" y="2105395"/>
                  <a:pt x="11657749" y="2105662"/>
                </a:cubicBezTo>
                <a:cubicBezTo>
                  <a:pt x="11665310" y="2105709"/>
                  <a:pt x="11672463" y="2107817"/>
                  <a:pt x="11675795" y="2115917"/>
                </a:cubicBezTo>
                <a:lnTo>
                  <a:pt x="11676909" y="2116208"/>
                </a:lnTo>
                <a:lnTo>
                  <a:pt x="11655760" y="2090118"/>
                </a:lnTo>
                <a:lnTo>
                  <a:pt x="11605617" y="2037144"/>
                </a:lnTo>
                <a:lnTo>
                  <a:pt x="11602251" y="2037612"/>
                </a:lnTo>
                <a:cubicBezTo>
                  <a:pt x="11599990" y="2039355"/>
                  <a:pt x="11597783" y="2037282"/>
                  <a:pt x="11596654" y="2035851"/>
                </a:cubicBezTo>
                <a:cubicBezTo>
                  <a:pt x="11592090" y="2030684"/>
                  <a:pt x="11587009" y="2029523"/>
                  <a:pt x="11580702" y="2031306"/>
                </a:cubicBezTo>
                <a:cubicBezTo>
                  <a:pt x="11576807" y="2032366"/>
                  <a:pt x="11575540" y="2031262"/>
                  <a:pt x="11576330" y="2026602"/>
                </a:cubicBezTo>
                <a:cubicBezTo>
                  <a:pt x="11577952" y="2016723"/>
                  <a:pt x="11569714" y="2006566"/>
                  <a:pt x="11560177" y="2006425"/>
                </a:cubicBezTo>
                <a:close/>
                <a:moveTo>
                  <a:pt x="1930371" y="2003698"/>
                </a:moveTo>
                <a:lnTo>
                  <a:pt x="1926029" y="2007512"/>
                </a:lnTo>
                <a:cubicBezTo>
                  <a:pt x="1926617" y="2005319"/>
                  <a:pt x="1928009" y="2004516"/>
                  <a:pt x="1929948" y="2003860"/>
                </a:cubicBezTo>
                <a:close/>
                <a:moveTo>
                  <a:pt x="3140180" y="1998474"/>
                </a:moveTo>
                <a:lnTo>
                  <a:pt x="2973305" y="2049522"/>
                </a:lnTo>
                <a:lnTo>
                  <a:pt x="2971125" y="2063043"/>
                </a:lnTo>
                <a:lnTo>
                  <a:pt x="2970922" y="2063638"/>
                </a:lnTo>
                <a:close/>
                <a:moveTo>
                  <a:pt x="701131" y="1980273"/>
                </a:moveTo>
                <a:cubicBezTo>
                  <a:pt x="704031" y="1981807"/>
                  <a:pt x="706199" y="1980459"/>
                  <a:pt x="708848" y="1980279"/>
                </a:cubicBezTo>
                <a:cubicBezTo>
                  <a:pt x="715468" y="1979827"/>
                  <a:pt x="723799" y="1979126"/>
                  <a:pt x="728274" y="1982282"/>
                </a:cubicBezTo>
                <a:cubicBezTo>
                  <a:pt x="737931" y="1989213"/>
                  <a:pt x="747816" y="1995595"/>
                  <a:pt x="757085" y="2002685"/>
                </a:cubicBezTo>
                <a:cubicBezTo>
                  <a:pt x="757405" y="2003463"/>
                  <a:pt x="758044" y="2005017"/>
                  <a:pt x="757428" y="2005725"/>
                </a:cubicBezTo>
                <a:cubicBezTo>
                  <a:pt x="755534" y="2011047"/>
                  <a:pt x="753867" y="2015820"/>
                  <a:pt x="760991" y="2018797"/>
                </a:cubicBezTo>
                <a:cubicBezTo>
                  <a:pt x="763570" y="2019553"/>
                  <a:pt x="762109" y="2021517"/>
                  <a:pt x="760717" y="2022544"/>
                </a:cubicBezTo>
                <a:cubicBezTo>
                  <a:pt x="754599" y="2026424"/>
                  <a:pt x="755878" y="2029531"/>
                  <a:pt x="761677" y="2032597"/>
                </a:cubicBezTo>
                <a:cubicBezTo>
                  <a:pt x="765672" y="2034589"/>
                  <a:pt x="765535" y="2036463"/>
                  <a:pt x="761655" y="2038059"/>
                </a:cubicBezTo>
                <a:cubicBezTo>
                  <a:pt x="759326" y="2039016"/>
                  <a:pt x="756290" y="2039356"/>
                  <a:pt x="757340" y="2043013"/>
                </a:cubicBezTo>
                <a:cubicBezTo>
                  <a:pt x="758986" y="2051423"/>
                  <a:pt x="754831" y="2056766"/>
                  <a:pt x="747686" y="2059251"/>
                </a:cubicBezTo>
                <a:cubicBezTo>
                  <a:pt x="742482" y="2060938"/>
                  <a:pt x="740793" y="2063450"/>
                  <a:pt x="740291" y="2067745"/>
                </a:cubicBezTo>
                <a:cubicBezTo>
                  <a:pt x="738739" y="2068384"/>
                  <a:pt x="737187" y="2069022"/>
                  <a:pt x="735634" y="2069661"/>
                </a:cubicBezTo>
                <a:cubicBezTo>
                  <a:pt x="731707" y="2066732"/>
                  <a:pt x="726959" y="2067323"/>
                  <a:pt x="723558" y="2070085"/>
                </a:cubicBezTo>
                <a:cubicBezTo>
                  <a:pt x="717373" y="2074902"/>
                  <a:pt x="710981" y="2074805"/>
                  <a:pt x="704246" y="2071669"/>
                </a:cubicBezTo>
                <a:cubicBezTo>
                  <a:pt x="701507" y="2070524"/>
                  <a:pt x="699155" y="2069220"/>
                  <a:pt x="696119" y="2069560"/>
                </a:cubicBezTo>
                <a:cubicBezTo>
                  <a:pt x="691531" y="2070540"/>
                  <a:pt x="688244" y="2069166"/>
                  <a:pt x="686874" y="2064733"/>
                </a:cubicBezTo>
                <a:cubicBezTo>
                  <a:pt x="685595" y="2061624"/>
                  <a:pt x="682695" y="2060091"/>
                  <a:pt x="680664" y="2059564"/>
                </a:cubicBezTo>
                <a:cubicBezTo>
                  <a:pt x="668633" y="2056789"/>
                  <a:pt x="669682" y="2045001"/>
                  <a:pt x="665161" y="2037320"/>
                </a:cubicBezTo>
                <a:cubicBezTo>
                  <a:pt x="663335" y="2033982"/>
                  <a:pt x="658357" y="2027399"/>
                  <a:pt x="660434" y="2024726"/>
                </a:cubicBezTo>
                <a:cubicBezTo>
                  <a:pt x="666278" y="2016872"/>
                  <a:pt x="658218" y="2006104"/>
                  <a:pt x="667577" y="1999073"/>
                </a:cubicBezTo>
                <a:cubicBezTo>
                  <a:pt x="670362" y="1997020"/>
                  <a:pt x="670064" y="1990782"/>
                  <a:pt x="676411" y="1994076"/>
                </a:cubicBezTo>
                <a:cubicBezTo>
                  <a:pt x="678214" y="1995152"/>
                  <a:pt x="680383" y="1993806"/>
                  <a:pt x="680132" y="1992092"/>
                </a:cubicBezTo>
                <a:cubicBezTo>
                  <a:pt x="679902" y="1984917"/>
                  <a:pt x="683555" y="1983869"/>
                  <a:pt x="689810" y="1985838"/>
                </a:cubicBezTo>
                <a:cubicBezTo>
                  <a:pt x="691842" y="1986366"/>
                  <a:pt x="693142" y="1984013"/>
                  <a:pt x="694375" y="1982598"/>
                </a:cubicBezTo>
                <a:cubicBezTo>
                  <a:pt x="696064" y="1980086"/>
                  <a:pt x="698232" y="1978740"/>
                  <a:pt x="701131" y="1980273"/>
                </a:cubicBezTo>
                <a:close/>
                <a:moveTo>
                  <a:pt x="11975466" y="1973253"/>
                </a:moveTo>
                <a:cubicBezTo>
                  <a:pt x="11978297" y="1974750"/>
                  <a:pt x="11980415" y="1973436"/>
                  <a:pt x="11983000" y="1973258"/>
                </a:cubicBezTo>
                <a:cubicBezTo>
                  <a:pt x="11989466" y="1972818"/>
                  <a:pt x="11997602" y="1972133"/>
                  <a:pt x="12001971" y="1975215"/>
                </a:cubicBezTo>
                <a:cubicBezTo>
                  <a:pt x="12011401" y="1981983"/>
                  <a:pt x="12021054" y="1988216"/>
                  <a:pt x="12030106" y="1995139"/>
                </a:cubicBezTo>
                <a:cubicBezTo>
                  <a:pt x="12030419" y="1995898"/>
                  <a:pt x="12031042" y="1997416"/>
                  <a:pt x="12030440" y="1998107"/>
                </a:cubicBezTo>
                <a:cubicBezTo>
                  <a:pt x="12028592" y="2003304"/>
                  <a:pt x="12026964" y="2007966"/>
                  <a:pt x="12033919" y="2010872"/>
                </a:cubicBezTo>
                <a:cubicBezTo>
                  <a:pt x="12036439" y="2011610"/>
                  <a:pt x="12035012" y="2013528"/>
                  <a:pt x="12033652" y="2014531"/>
                </a:cubicBezTo>
                <a:cubicBezTo>
                  <a:pt x="12027679" y="2018319"/>
                  <a:pt x="12028927" y="2021355"/>
                  <a:pt x="12034590" y="2024349"/>
                </a:cubicBezTo>
                <a:cubicBezTo>
                  <a:pt x="12038492" y="2026293"/>
                  <a:pt x="12038357" y="2028122"/>
                  <a:pt x="12034568" y="2029682"/>
                </a:cubicBezTo>
                <a:cubicBezTo>
                  <a:pt x="12032294" y="2030618"/>
                  <a:pt x="12029329" y="2030949"/>
                  <a:pt x="12030355" y="2034520"/>
                </a:cubicBezTo>
                <a:cubicBezTo>
                  <a:pt x="12031962" y="2042732"/>
                  <a:pt x="12027905" y="2047950"/>
                  <a:pt x="12020928" y="2050376"/>
                </a:cubicBezTo>
                <a:cubicBezTo>
                  <a:pt x="12015845" y="2052024"/>
                  <a:pt x="12014196" y="2054477"/>
                  <a:pt x="12013707" y="2058670"/>
                </a:cubicBezTo>
                <a:cubicBezTo>
                  <a:pt x="12012190" y="2059294"/>
                  <a:pt x="12010675" y="2059918"/>
                  <a:pt x="12009158" y="2060541"/>
                </a:cubicBezTo>
                <a:cubicBezTo>
                  <a:pt x="12005325" y="2057682"/>
                  <a:pt x="12000687" y="2058259"/>
                  <a:pt x="11997366" y="2060956"/>
                </a:cubicBezTo>
                <a:cubicBezTo>
                  <a:pt x="11991325" y="2065660"/>
                  <a:pt x="11985083" y="2065566"/>
                  <a:pt x="11978508" y="2062503"/>
                </a:cubicBezTo>
                <a:cubicBezTo>
                  <a:pt x="11975833" y="2061386"/>
                  <a:pt x="11973536" y="2060112"/>
                  <a:pt x="11970571" y="2060444"/>
                </a:cubicBezTo>
                <a:cubicBezTo>
                  <a:pt x="11966090" y="2061400"/>
                  <a:pt x="11962880" y="2060060"/>
                  <a:pt x="11961543" y="2055730"/>
                </a:cubicBezTo>
                <a:cubicBezTo>
                  <a:pt x="11960293" y="2052694"/>
                  <a:pt x="11957463" y="2051196"/>
                  <a:pt x="11955479" y="2050683"/>
                </a:cubicBezTo>
                <a:cubicBezTo>
                  <a:pt x="11943730" y="2047973"/>
                  <a:pt x="11944755" y="2036461"/>
                  <a:pt x="11940339" y="2028960"/>
                </a:cubicBezTo>
                <a:cubicBezTo>
                  <a:pt x="11938557" y="2025702"/>
                  <a:pt x="11933696" y="2019272"/>
                  <a:pt x="11935724" y="2016663"/>
                </a:cubicBezTo>
                <a:cubicBezTo>
                  <a:pt x="11941431" y="2008992"/>
                  <a:pt x="11933559" y="1998477"/>
                  <a:pt x="11942699" y="1991612"/>
                </a:cubicBezTo>
                <a:cubicBezTo>
                  <a:pt x="11945418" y="1989606"/>
                  <a:pt x="11945128" y="1983515"/>
                  <a:pt x="11951325" y="1986732"/>
                </a:cubicBezTo>
                <a:cubicBezTo>
                  <a:pt x="11953086" y="1987782"/>
                  <a:pt x="11955205" y="1986468"/>
                  <a:pt x="11954958" y="1984794"/>
                </a:cubicBezTo>
                <a:cubicBezTo>
                  <a:pt x="11954735" y="1977788"/>
                  <a:pt x="11958301" y="1976765"/>
                  <a:pt x="11964410" y="1978688"/>
                </a:cubicBezTo>
                <a:cubicBezTo>
                  <a:pt x="11966395" y="1979203"/>
                  <a:pt x="11967664" y="1976905"/>
                  <a:pt x="11968868" y="1975523"/>
                </a:cubicBezTo>
                <a:cubicBezTo>
                  <a:pt x="11970517" y="1973071"/>
                  <a:pt x="11972634" y="1971756"/>
                  <a:pt x="11975466" y="1973253"/>
                </a:cubicBezTo>
                <a:close/>
                <a:moveTo>
                  <a:pt x="1188836" y="1948646"/>
                </a:moveTo>
                <a:cubicBezTo>
                  <a:pt x="1193640" y="1949973"/>
                  <a:pt x="1198333" y="1952506"/>
                  <a:pt x="1203092" y="1953172"/>
                </a:cubicBezTo>
                <a:cubicBezTo>
                  <a:pt x="1207136" y="1953869"/>
                  <a:pt x="1216034" y="1954082"/>
                  <a:pt x="1216898" y="1957628"/>
                </a:cubicBezTo>
                <a:cubicBezTo>
                  <a:pt x="1219612" y="1967831"/>
                  <a:pt x="1234111" y="1968248"/>
                  <a:pt x="1233770" y="1980866"/>
                </a:cubicBezTo>
                <a:cubicBezTo>
                  <a:pt x="1233637" y="1984596"/>
                  <a:pt x="1239104" y="1988529"/>
                  <a:pt x="1232064" y="1991678"/>
                </a:cubicBezTo>
                <a:cubicBezTo>
                  <a:pt x="1229946" y="1992480"/>
                  <a:pt x="1229628" y="1995214"/>
                  <a:pt x="1231245" y="1996151"/>
                </a:cubicBezTo>
                <a:cubicBezTo>
                  <a:pt x="1237457" y="2000770"/>
                  <a:pt x="1235893" y="2004559"/>
                  <a:pt x="1230033" y="2008518"/>
                </a:cubicBezTo>
                <a:cubicBezTo>
                  <a:pt x="1228225" y="2009881"/>
                  <a:pt x="1229339" y="2012557"/>
                  <a:pt x="1229708" y="2014547"/>
                </a:cubicBezTo>
                <a:cubicBezTo>
                  <a:pt x="1230696" y="2017658"/>
                  <a:pt x="1230378" y="2020393"/>
                  <a:pt x="1227139" y="2021813"/>
                </a:cubicBezTo>
                <a:cubicBezTo>
                  <a:pt x="1223900" y="2023233"/>
                  <a:pt x="1223582" y="2025967"/>
                  <a:pt x="1221958" y="2028324"/>
                </a:cubicBezTo>
                <a:cubicBezTo>
                  <a:pt x="1217899" y="2034217"/>
                  <a:pt x="1212903" y="2041725"/>
                  <a:pt x="1207236" y="2043387"/>
                </a:cubicBezTo>
                <a:cubicBezTo>
                  <a:pt x="1194905" y="2046892"/>
                  <a:pt x="1182885" y="2050958"/>
                  <a:pt x="1170679" y="2054030"/>
                </a:cubicBezTo>
                <a:cubicBezTo>
                  <a:pt x="1169809" y="2053779"/>
                  <a:pt x="1168067" y="2053275"/>
                  <a:pt x="1167883" y="2052281"/>
                </a:cubicBezTo>
                <a:cubicBezTo>
                  <a:pt x="1164660" y="2047111"/>
                  <a:pt x="1161745" y="2042502"/>
                  <a:pt x="1154454" y="2046521"/>
                </a:cubicBezTo>
                <a:cubicBezTo>
                  <a:pt x="1152085" y="2048192"/>
                  <a:pt x="1151407" y="2045641"/>
                  <a:pt x="1151474" y="2043776"/>
                </a:cubicBezTo>
                <a:cubicBezTo>
                  <a:pt x="1152300" y="2036008"/>
                  <a:pt x="1148818" y="2035003"/>
                  <a:pt x="1142339" y="2037843"/>
                </a:cubicBezTo>
                <a:cubicBezTo>
                  <a:pt x="1137978" y="2039880"/>
                  <a:pt x="1136488" y="2038509"/>
                  <a:pt x="1137743" y="2034161"/>
                </a:cubicBezTo>
                <a:cubicBezTo>
                  <a:pt x="1138496" y="2031552"/>
                  <a:pt x="1140244" y="2028760"/>
                  <a:pt x="1136452" y="2027194"/>
                </a:cubicBezTo>
                <a:cubicBezTo>
                  <a:pt x="1128248" y="2022942"/>
                  <a:pt x="1126521" y="2015850"/>
                  <a:pt x="1129216" y="2008150"/>
                </a:cubicBezTo>
                <a:cubicBezTo>
                  <a:pt x="1131283" y="2002624"/>
                  <a:pt x="1130295" y="1999513"/>
                  <a:pt x="1127004" y="1996208"/>
                </a:cubicBezTo>
                <a:cubicBezTo>
                  <a:pt x="1127506" y="1994468"/>
                  <a:pt x="1128007" y="1992729"/>
                  <a:pt x="1128509" y="1990991"/>
                </a:cubicBezTo>
                <a:cubicBezTo>
                  <a:pt x="1133616" y="1989638"/>
                  <a:pt x="1136302" y="1985233"/>
                  <a:pt x="1136251" y="1980508"/>
                </a:cubicBezTo>
                <a:cubicBezTo>
                  <a:pt x="1136334" y="1972054"/>
                  <a:pt x="1140703" y="1966722"/>
                  <a:pt x="1147867" y="1963137"/>
                </a:cubicBezTo>
                <a:cubicBezTo>
                  <a:pt x="1150672" y="1961592"/>
                  <a:pt x="1153350" y="1960482"/>
                  <a:pt x="1155100" y="1957689"/>
                </a:cubicBezTo>
                <a:cubicBezTo>
                  <a:pt x="1157351" y="1953158"/>
                  <a:pt x="1160716" y="1951303"/>
                  <a:pt x="1165378" y="1953119"/>
                </a:cubicBezTo>
                <a:cubicBezTo>
                  <a:pt x="1168861" y="1954125"/>
                  <a:pt x="1172102" y="1952705"/>
                  <a:pt x="1173909" y="1951343"/>
                </a:cubicBezTo>
                <a:cubicBezTo>
                  <a:pt x="1179116" y="1947194"/>
                  <a:pt x="1184031" y="1947317"/>
                  <a:pt x="1188836" y="1948646"/>
                </a:cubicBezTo>
                <a:close/>
                <a:moveTo>
                  <a:pt x="11736418" y="1947087"/>
                </a:moveTo>
                <a:cubicBezTo>
                  <a:pt x="11736418" y="1947087"/>
                  <a:pt x="11739710" y="1947962"/>
                  <a:pt x="11738836" y="1951254"/>
                </a:cubicBezTo>
                <a:cubicBezTo>
                  <a:pt x="11735544" y="1950383"/>
                  <a:pt x="11735544" y="1950383"/>
                  <a:pt x="11735544" y="1950383"/>
                </a:cubicBezTo>
                <a:cubicBezTo>
                  <a:pt x="11735544" y="1950383"/>
                  <a:pt x="11732253" y="1949511"/>
                  <a:pt x="11732253" y="1949511"/>
                </a:cubicBezTo>
                <a:cubicBezTo>
                  <a:pt x="11733125" y="1946214"/>
                  <a:pt x="11733125" y="1946214"/>
                  <a:pt x="11736418" y="1947087"/>
                </a:cubicBezTo>
                <a:close/>
                <a:moveTo>
                  <a:pt x="33877" y="1923174"/>
                </a:moveTo>
                <a:cubicBezTo>
                  <a:pt x="36398" y="1925188"/>
                  <a:pt x="38614" y="1925634"/>
                  <a:pt x="42260" y="1923795"/>
                </a:cubicBezTo>
                <a:cubicBezTo>
                  <a:pt x="47355" y="1921360"/>
                  <a:pt x="52364" y="1922011"/>
                  <a:pt x="55909" y="1927336"/>
                </a:cubicBezTo>
                <a:cubicBezTo>
                  <a:pt x="57271" y="1929826"/>
                  <a:pt x="59061" y="1928413"/>
                  <a:pt x="60799" y="1927698"/>
                </a:cubicBezTo>
                <a:cubicBezTo>
                  <a:pt x="63696" y="1926506"/>
                  <a:pt x="64752" y="1927428"/>
                  <a:pt x="63679" y="1930582"/>
                </a:cubicBezTo>
                <a:cubicBezTo>
                  <a:pt x="62214" y="1935254"/>
                  <a:pt x="63168" y="1937574"/>
                  <a:pt x="68450" y="1936419"/>
                </a:cubicBezTo>
                <a:cubicBezTo>
                  <a:pt x="69728" y="1936232"/>
                  <a:pt x="71535" y="1936506"/>
                  <a:pt x="70563" y="1938262"/>
                </a:cubicBezTo>
                <a:cubicBezTo>
                  <a:pt x="68349" y="1943581"/>
                  <a:pt x="71740" y="1945239"/>
                  <a:pt x="75539" y="1947066"/>
                </a:cubicBezTo>
                <a:cubicBezTo>
                  <a:pt x="76239" y="1947118"/>
                  <a:pt x="76715" y="1948278"/>
                  <a:pt x="76954" y="1948857"/>
                </a:cubicBezTo>
                <a:cubicBezTo>
                  <a:pt x="75762" y="1957486"/>
                  <a:pt x="73872" y="1966063"/>
                  <a:pt x="72390" y="1974811"/>
                </a:cubicBezTo>
                <a:cubicBezTo>
                  <a:pt x="71674" y="1978835"/>
                  <a:pt x="66887" y="1982839"/>
                  <a:pt x="63139" y="1986076"/>
                </a:cubicBezTo>
                <a:cubicBezTo>
                  <a:pt x="61639" y="1987372"/>
                  <a:pt x="59782" y="1987796"/>
                  <a:pt x="59050" y="1990132"/>
                </a:cubicBezTo>
                <a:cubicBezTo>
                  <a:pt x="58317" y="1992468"/>
                  <a:pt x="56460" y="1992893"/>
                  <a:pt x="54246" y="1992448"/>
                </a:cubicBezTo>
                <a:cubicBezTo>
                  <a:pt x="52849" y="1992344"/>
                  <a:pt x="50923" y="1991780"/>
                  <a:pt x="50122" y="1993126"/>
                </a:cubicBezTo>
                <a:cubicBezTo>
                  <a:pt x="47839" y="1997457"/>
                  <a:pt x="45352" y="1998819"/>
                  <a:pt x="41705" y="1994893"/>
                </a:cubicBezTo>
                <a:cubicBezTo>
                  <a:pt x="40938" y="1993853"/>
                  <a:pt x="39081" y="1994278"/>
                  <a:pt x="38689" y="1995795"/>
                </a:cubicBezTo>
                <a:cubicBezTo>
                  <a:pt x="37054" y="2000875"/>
                  <a:pt x="33936" y="1997411"/>
                  <a:pt x="31379" y="1997785"/>
                </a:cubicBezTo>
                <a:cubicBezTo>
                  <a:pt x="22724" y="1998972"/>
                  <a:pt x="21343" y="1989028"/>
                  <a:pt x="14118" y="1987931"/>
                </a:cubicBezTo>
                <a:cubicBezTo>
                  <a:pt x="11613" y="1987605"/>
                  <a:pt x="10794" y="1981499"/>
                  <a:pt x="10011" y="1978769"/>
                </a:cubicBezTo>
                <a:cubicBezTo>
                  <a:pt x="8374" y="1972322"/>
                  <a:pt x="1627" y="1966620"/>
                  <a:pt x="6549" y="1958830"/>
                </a:cubicBezTo>
                <a:cubicBezTo>
                  <a:pt x="7350" y="1957484"/>
                  <a:pt x="8083" y="1955148"/>
                  <a:pt x="7129" y="1952828"/>
                </a:cubicBezTo>
                <a:cubicBezTo>
                  <a:pt x="5527" y="1949757"/>
                  <a:pt x="6549" y="1947302"/>
                  <a:pt x="9496" y="1945411"/>
                </a:cubicBezTo>
                <a:cubicBezTo>
                  <a:pt x="11285" y="1943997"/>
                  <a:pt x="11847" y="1942070"/>
                  <a:pt x="12699" y="1940025"/>
                </a:cubicBezTo>
                <a:cubicBezTo>
                  <a:pt x="14624" y="1934824"/>
                  <a:pt x="17963" y="1931416"/>
                  <a:pt x="23773" y="1930722"/>
                </a:cubicBezTo>
                <a:cubicBezTo>
                  <a:pt x="27027" y="1930400"/>
                  <a:pt x="29856" y="1928220"/>
                  <a:pt x="30401" y="1924605"/>
                </a:cubicBezTo>
                <a:cubicBezTo>
                  <a:pt x="31560" y="1924128"/>
                  <a:pt x="32718" y="1923651"/>
                  <a:pt x="33877" y="1923174"/>
                </a:cubicBezTo>
                <a:close/>
                <a:moveTo>
                  <a:pt x="8142407" y="1923150"/>
                </a:moveTo>
                <a:lnTo>
                  <a:pt x="8131978" y="1932830"/>
                </a:lnTo>
                <a:lnTo>
                  <a:pt x="8147226" y="1952766"/>
                </a:lnTo>
                <a:lnTo>
                  <a:pt x="8157375" y="1945538"/>
                </a:lnTo>
                <a:close/>
                <a:moveTo>
                  <a:pt x="329548" y="1856074"/>
                </a:moveTo>
                <a:cubicBezTo>
                  <a:pt x="335046" y="1856107"/>
                  <a:pt x="340248" y="1857641"/>
                  <a:pt x="342671" y="1863531"/>
                </a:cubicBezTo>
                <a:cubicBezTo>
                  <a:pt x="342994" y="1864317"/>
                  <a:pt x="343547" y="1864549"/>
                  <a:pt x="344719" y="1864066"/>
                </a:cubicBezTo>
                <a:cubicBezTo>
                  <a:pt x="345850" y="1866815"/>
                  <a:pt x="346818" y="1869171"/>
                  <a:pt x="347949" y="1871920"/>
                </a:cubicBezTo>
                <a:cubicBezTo>
                  <a:pt x="346020" y="1875009"/>
                  <a:pt x="348027" y="1878775"/>
                  <a:pt x="347203" y="1882328"/>
                </a:cubicBezTo>
                <a:cubicBezTo>
                  <a:pt x="346379" y="1885881"/>
                  <a:pt x="345785" y="1888880"/>
                  <a:pt x="342590" y="1891112"/>
                </a:cubicBezTo>
                <a:cubicBezTo>
                  <a:pt x="338842" y="1893114"/>
                  <a:pt x="336131" y="1896523"/>
                  <a:pt x="333812" y="1899773"/>
                </a:cubicBezTo>
                <a:cubicBezTo>
                  <a:pt x="331102" y="1903184"/>
                  <a:pt x="328230" y="1906203"/>
                  <a:pt x="325910" y="1909452"/>
                </a:cubicBezTo>
                <a:cubicBezTo>
                  <a:pt x="323038" y="1912471"/>
                  <a:pt x="321203" y="1916898"/>
                  <a:pt x="320864" y="1921629"/>
                </a:cubicBezTo>
                <a:cubicBezTo>
                  <a:pt x="316172" y="1923559"/>
                  <a:pt x="311482" y="1925488"/>
                  <a:pt x="306790" y="1927418"/>
                </a:cubicBezTo>
                <a:cubicBezTo>
                  <a:pt x="304648" y="1925544"/>
                  <a:pt x="302600" y="1925009"/>
                  <a:pt x="299379" y="1924957"/>
                </a:cubicBezTo>
                <a:cubicBezTo>
                  <a:pt x="295606" y="1924673"/>
                  <a:pt x="291806" y="1922104"/>
                  <a:pt x="290353" y="1918570"/>
                </a:cubicBezTo>
                <a:cubicBezTo>
                  <a:pt x="288899" y="1915035"/>
                  <a:pt x="286825" y="1912216"/>
                  <a:pt x="284589" y="1909003"/>
                </a:cubicBezTo>
                <a:cubicBezTo>
                  <a:pt x="284444" y="1903095"/>
                  <a:pt x="285241" y="1897257"/>
                  <a:pt x="290689" y="1892720"/>
                </a:cubicBezTo>
                <a:cubicBezTo>
                  <a:pt x="291700" y="1891845"/>
                  <a:pt x="291513" y="1889168"/>
                  <a:pt x="294020" y="1888596"/>
                </a:cubicBezTo>
                <a:cubicBezTo>
                  <a:pt x="300759" y="1887201"/>
                  <a:pt x="300776" y="1881685"/>
                  <a:pt x="300333" y="1877275"/>
                </a:cubicBezTo>
                <a:cubicBezTo>
                  <a:pt x="299983" y="1874205"/>
                  <a:pt x="300510" y="1872151"/>
                  <a:pt x="301427" y="1869937"/>
                </a:cubicBezTo>
                <a:cubicBezTo>
                  <a:pt x="303790" y="1863457"/>
                  <a:pt x="309815" y="1861437"/>
                  <a:pt x="314803" y="1858008"/>
                </a:cubicBezTo>
                <a:cubicBezTo>
                  <a:pt x="319561" y="1855132"/>
                  <a:pt x="324440" y="1855880"/>
                  <a:pt x="329548" y="1856074"/>
                </a:cubicBezTo>
                <a:close/>
                <a:moveTo>
                  <a:pt x="8058960" y="1804199"/>
                </a:moveTo>
                <a:lnTo>
                  <a:pt x="8042228" y="1814726"/>
                </a:lnTo>
                <a:lnTo>
                  <a:pt x="8036183" y="1819455"/>
                </a:lnTo>
                <a:lnTo>
                  <a:pt x="8068664" y="1854355"/>
                </a:lnTo>
                <a:lnTo>
                  <a:pt x="8083953" y="1839131"/>
                </a:lnTo>
                <a:close/>
                <a:moveTo>
                  <a:pt x="2305545" y="1769529"/>
                </a:moveTo>
                <a:lnTo>
                  <a:pt x="2304765" y="1770316"/>
                </a:lnTo>
                <a:cubicBezTo>
                  <a:pt x="2299200" y="1773527"/>
                  <a:pt x="2299200" y="1773527"/>
                  <a:pt x="2299200" y="1773527"/>
                </a:cubicBezTo>
                <a:cubicBezTo>
                  <a:pt x="2298022" y="1777915"/>
                  <a:pt x="2293634" y="1776740"/>
                  <a:pt x="2288070" y="1779952"/>
                </a:cubicBezTo>
                <a:close/>
                <a:moveTo>
                  <a:pt x="2307988" y="1767065"/>
                </a:moveTo>
                <a:lnTo>
                  <a:pt x="2309877" y="1767096"/>
                </a:lnTo>
                <a:lnTo>
                  <a:pt x="2306093" y="1769203"/>
                </a:lnTo>
                <a:lnTo>
                  <a:pt x="2305545" y="1769529"/>
                </a:lnTo>
                <a:close/>
                <a:moveTo>
                  <a:pt x="2401948" y="1758726"/>
                </a:moveTo>
                <a:lnTo>
                  <a:pt x="2396347" y="1762071"/>
                </a:lnTo>
                <a:lnTo>
                  <a:pt x="2396382" y="1761940"/>
                </a:lnTo>
                <a:cubicBezTo>
                  <a:pt x="2396382" y="1761940"/>
                  <a:pt x="2396382" y="1761940"/>
                  <a:pt x="2401948" y="1758726"/>
                </a:cubicBezTo>
                <a:close/>
                <a:moveTo>
                  <a:pt x="928044" y="1743740"/>
                </a:moveTo>
                <a:cubicBezTo>
                  <a:pt x="935149" y="1749520"/>
                  <a:pt x="945542" y="1742424"/>
                  <a:pt x="951734" y="1751457"/>
                </a:cubicBezTo>
                <a:cubicBezTo>
                  <a:pt x="953540" y="1754145"/>
                  <a:pt x="959384" y="1754119"/>
                  <a:pt x="956046" y="1759920"/>
                </a:cubicBezTo>
                <a:cubicBezTo>
                  <a:pt x="954968" y="1761560"/>
                  <a:pt x="956138" y="1763642"/>
                  <a:pt x="957750" y="1763476"/>
                </a:cubicBezTo>
                <a:cubicBezTo>
                  <a:pt x="964466" y="1763555"/>
                  <a:pt x="965298" y="1767010"/>
                  <a:pt x="963202" y="1772775"/>
                </a:cubicBezTo>
                <a:cubicBezTo>
                  <a:pt x="962627" y="1774655"/>
                  <a:pt x="964773" y="1775964"/>
                  <a:pt x="966047" y="1777174"/>
                </a:cubicBezTo>
                <a:cubicBezTo>
                  <a:pt x="968326" y="1778855"/>
                  <a:pt x="969497" y="1780935"/>
                  <a:pt x="967946" y="1783585"/>
                </a:cubicBezTo>
                <a:cubicBezTo>
                  <a:pt x="966395" y="1786232"/>
                  <a:pt x="967566" y="1788316"/>
                  <a:pt x="967627" y="1790797"/>
                </a:cubicBezTo>
                <a:cubicBezTo>
                  <a:pt x="967780" y="1797004"/>
                  <a:pt x="968098" y="1804823"/>
                  <a:pt x="964966" y="1808877"/>
                </a:cubicBezTo>
                <a:cubicBezTo>
                  <a:pt x="958095" y="1817623"/>
                  <a:pt x="951728" y="1826605"/>
                  <a:pt x="944724" y="1834980"/>
                </a:cubicBezTo>
                <a:cubicBezTo>
                  <a:pt x="943984" y="1835247"/>
                  <a:pt x="942506" y="1835782"/>
                  <a:pt x="941868" y="1835177"/>
                </a:cubicBezTo>
                <a:cubicBezTo>
                  <a:pt x="936970" y="1833191"/>
                  <a:pt x="932575" y="1831439"/>
                  <a:pt x="929505" y="1837977"/>
                </a:cubicBezTo>
                <a:cubicBezTo>
                  <a:pt x="928693" y="1840358"/>
                  <a:pt x="926916" y="1838913"/>
                  <a:pt x="926013" y="1837569"/>
                </a:cubicBezTo>
                <a:cubicBezTo>
                  <a:pt x="922635" y="1831695"/>
                  <a:pt x="919677" y="1832762"/>
                  <a:pt x="916576" y="1838058"/>
                </a:cubicBezTo>
                <a:cubicBezTo>
                  <a:pt x="914553" y="1841712"/>
                  <a:pt x="912807" y="1841508"/>
                  <a:pt x="911472" y="1837815"/>
                </a:cubicBezTo>
                <a:cubicBezTo>
                  <a:pt x="910672" y="1835601"/>
                  <a:pt x="910476" y="1832749"/>
                  <a:pt x="907015" y="1833582"/>
                </a:cubicBezTo>
                <a:cubicBezTo>
                  <a:pt x="899088" y="1834778"/>
                  <a:pt x="894262" y="1830679"/>
                  <a:pt x="892230" y="1823899"/>
                </a:cubicBezTo>
                <a:cubicBezTo>
                  <a:pt x="890863" y="1818965"/>
                  <a:pt x="888584" y="1817284"/>
                  <a:pt x="884590" y="1816640"/>
                </a:cubicBezTo>
                <a:cubicBezTo>
                  <a:pt x="884056" y="1815164"/>
                  <a:pt x="883522" y="1813687"/>
                  <a:pt x="882988" y="1812210"/>
                </a:cubicBezTo>
                <a:cubicBezTo>
                  <a:pt x="885884" y="1808658"/>
                  <a:pt x="885525" y="1804194"/>
                  <a:pt x="883081" y="1800903"/>
                </a:cubicBezTo>
                <a:cubicBezTo>
                  <a:pt x="878830" y="1794925"/>
                  <a:pt x="879180" y="1788954"/>
                  <a:pt x="882384" y="1782785"/>
                </a:cubicBezTo>
                <a:cubicBezTo>
                  <a:pt x="883566" y="1780270"/>
                  <a:pt x="884880" y="1778127"/>
                  <a:pt x="884685" y="1775275"/>
                </a:cubicBezTo>
                <a:cubicBezTo>
                  <a:pt x="883957" y="1770946"/>
                  <a:pt x="885374" y="1767929"/>
                  <a:pt x="889574" y="1766830"/>
                </a:cubicBezTo>
                <a:cubicBezTo>
                  <a:pt x="892532" y="1765761"/>
                  <a:pt x="894082" y="1763115"/>
                  <a:pt x="894657" y="1761235"/>
                </a:cubicBezTo>
                <a:cubicBezTo>
                  <a:pt x="897739" y="1750101"/>
                  <a:pt x="908717" y="1751561"/>
                  <a:pt x="916080" y="1747647"/>
                </a:cubicBezTo>
                <a:cubicBezTo>
                  <a:pt x="919274" y="1746074"/>
                  <a:pt x="925630" y="1741690"/>
                  <a:pt x="928044" y="1743740"/>
                </a:cubicBezTo>
                <a:close/>
                <a:moveTo>
                  <a:pt x="2340626" y="1742046"/>
                </a:moveTo>
                <a:lnTo>
                  <a:pt x="2340505" y="1742262"/>
                </a:lnTo>
                <a:lnTo>
                  <a:pt x="2340322" y="1742214"/>
                </a:lnTo>
                <a:close/>
                <a:moveTo>
                  <a:pt x="2346071" y="1739050"/>
                </a:moveTo>
                <a:lnTo>
                  <a:pt x="2340626" y="1742046"/>
                </a:lnTo>
                <a:lnTo>
                  <a:pt x="2341643" y="1740214"/>
                </a:lnTo>
                <a:cubicBezTo>
                  <a:pt x="2342486" y="1739264"/>
                  <a:pt x="2343877" y="1738462"/>
                  <a:pt x="2346071" y="1739050"/>
                </a:cubicBezTo>
                <a:close/>
                <a:moveTo>
                  <a:pt x="8201475" y="1706196"/>
                </a:moveTo>
                <a:lnTo>
                  <a:pt x="8194286" y="1711439"/>
                </a:lnTo>
                <a:cubicBezTo>
                  <a:pt x="8177314" y="1723829"/>
                  <a:pt x="8160010" y="1736621"/>
                  <a:pt x="8144839" y="1748467"/>
                </a:cubicBezTo>
                <a:cubicBezTo>
                  <a:pt x="8133368" y="1752540"/>
                  <a:pt x="8122180" y="1759554"/>
                  <a:pt x="8111134" y="1768033"/>
                </a:cubicBezTo>
                <a:lnTo>
                  <a:pt x="8094050" y="1782790"/>
                </a:lnTo>
                <a:lnTo>
                  <a:pt x="8094971" y="1783936"/>
                </a:lnTo>
                <a:cubicBezTo>
                  <a:pt x="8096775" y="1788324"/>
                  <a:pt x="8103746" y="1780330"/>
                  <a:pt x="8109155" y="1793492"/>
                </a:cubicBezTo>
                <a:lnTo>
                  <a:pt x="8116424" y="1808987"/>
                </a:lnTo>
                <a:lnTo>
                  <a:pt x="8210110" y="1729321"/>
                </a:lnTo>
                <a:lnTo>
                  <a:pt x="8200019" y="1715127"/>
                </a:lnTo>
                <a:cubicBezTo>
                  <a:pt x="8200019" y="1715127"/>
                  <a:pt x="8204405" y="1713326"/>
                  <a:pt x="8204405" y="1713326"/>
                </a:cubicBezTo>
                <a:cubicBezTo>
                  <a:pt x="8206207" y="1717712"/>
                  <a:pt x="8208792" y="1711522"/>
                  <a:pt x="8202601" y="1708939"/>
                </a:cubicBezTo>
                <a:close/>
                <a:moveTo>
                  <a:pt x="7970997" y="1681243"/>
                </a:moveTo>
                <a:lnTo>
                  <a:pt x="7934209" y="1709890"/>
                </a:lnTo>
                <a:lnTo>
                  <a:pt x="7963991" y="1741890"/>
                </a:lnTo>
                <a:lnTo>
                  <a:pt x="7995961" y="1716137"/>
                </a:lnTo>
                <a:close/>
                <a:moveTo>
                  <a:pt x="10049" y="1659355"/>
                </a:moveTo>
                <a:cubicBezTo>
                  <a:pt x="12571" y="1661369"/>
                  <a:pt x="14786" y="1661815"/>
                  <a:pt x="18432" y="1659975"/>
                </a:cubicBezTo>
                <a:cubicBezTo>
                  <a:pt x="23526" y="1657541"/>
                  <a:pt x="28536" y="1658192"/>
                  <a:pt x="32080" y="1663516"/>
                </a:cubicBezTo>
                <a:cubicBezTo>
                  <a:pt x="33444" y="1666007"/>
                  <a:pt x="35233" y="1664593"/>
                  <a:pt x="36971" y="1663879"/>
                </a:cubicBezTo>
                <a:cubicBezTo>
                  <a:pt x="39868" y="1662687"/>
                  <a:pt x="40924" y="1663608"/>
                  <a:pt x="39851" y="1666763"/>
                </a:cubicBezTo>
                <a:cubicBezTo>
                  <a:pt x="38386" y="1671434"/>
                  <a:pt x="39341" y="1673754"/>
                  <a:pt x="44623" y="1672599"/>
                </a:cubicBezTo>
                <a:cubicBezTo>
                  <a:pt x="45901" y="1672412"/>
                  <a:pt x="47706" y="1672686"/>
                  <a:pt x="46736" y="1674442"/>
                </a:cubicBezTo>
                <a:cubicBezTo>
                  <a:pt x="44521" y="1679762"/>
                  <a:pt x="47912" y="1681418"/>
                  <a:pt x="51712" y="1683246"/>
                </a:cubicBezTo>
                <a:cubicBezTo>
                  <a:pt x="52410" y="1683298"/>
                  <a:pt x="52888" y="1684458"/>
                  <a:pt x="53126" y="1685038"/>
                </a:cubicBezTo>
                <a:cubicBezTo>
                  <a:pt x="51934" y="1693666"/>
                  <a:pt x="50044" y="1702243"/>
                  <a:pt x="48562" y="1710991"/>
                </a:cubicBezTo>
                <a:cubicBezTo>
                  <a:pt x="47847" y="1715015"/>
                  <a:pt x="43060" y="1719019"/>
                  <a:pt x="39311" y="1722257"/>
                </a:cubicBezTo>
                <a:cubicBezTo>
                  <a:pt x="37812" y="1723552"/>
                  <a:pt x="35955" y="1723976"/>
                  <a:pt x="35223" y="1726312"/>
                </a:cubicBezTo>
                <a:cubicBezTo>
                  <a:pt x="34490" y="1728648"/>
                  <a:pt x="32633" y="1729073"/>
                  <a:pt x="30417" y="1728628"/>
                </a:cubicBezTo>
                <a:cubicBezTo>
                  <a:pt x="29020" y="1728524"/>
                  <a:pt x="27096" y="1727960"/>
                  <a:pt x="26294" y="1729307"/>
                </a:cubicBezTo>
                <a:cubicBezTo>
                  <a:pt x="24012" y="1733637"/>
                  <a:pt x="21524" y="1735000"/>
                  <a:pt x="17878" y="1731074"/>
                </a:cubicBezTo>
                <a:cubicBezTo>
                  <a:pt x="17110" y="1730033"/>
                  <a:pt x="15253" y="1730458"/>
                  <a:pt x="14862" y="1731976"/>
                </a:cubicBezTo>
                <a:cubicBezTo>
                  <a:pt x="13226" y="1737057"/>
                  <a:pt x="10108" y="1733592"/>
                  <a:pt x="7552" y="1733965"/>
                </a:cubicBezTo>
                <a:lnTo>
                  <a:pt x="0" y="1730612"/>
                </a:lnTo>
                <a:lnTo>
                  <a:pt x="0" y="1666852"/>
                </a:lnTo>
                <a:lnTo>
                  <a:pt x="6574" y="1660785"/>
                </a:lnTo>
                <a:cubicBezTo>
                  <a:pt x="7731" y="1660308"/>
                  <a:pt x="8890" y="1659832"/>
                  <a:pt x="10049" y="1659355"/>
                </a:cubicBezTo>
                <a:close/>
                <a:moveTo>
                  <a:pt x="8327378" y="1631809"/>
                </a:moveTo>
                <a:lnTo>
                  <a:pt x="8309506" y="1641367"/>
                </a:lnTo>
                <a:lnTo>
                  <a:pt x="8270749" y="1661648"/>
                </a:lnTo>
                <a:lnTo>
                  <a:pt x="8281054" y="1675507"/>
                </a:lnTo>
                <a:lnTo>
                  <a:pt x="8333174" y="1638870"/>
                </a:lnTo>
                <a:close/>
                <a:moveTo>
                  <a:pt x="11509262" y="1601475"/>
                </a:moveTo>
                <a:cubicBezTo>
                  <a:pt x="11513193" y="1600985"/>
                  <a:pt x="11517037" y="1603578"/>
                  <a:pt x="11520594" y="1601841"/>
                </a:cubicBezTo>
                <a:cubicBezTo>
                  <a:pt x="11523438" y="1603373"/>
                  <a:pt x="11525874" y="1604686"/>
                  <a:pt x="11528717" y="1606217"/>
                </a:cubicBezTo>
                <a:cubicBezTo>
                  <a:pt x="11528063" y="1607430"/>
                  <a:pt x="11528252" y="1608053"/>
                  <a:pt x="11529064" y="1608491"/>
                </a:cubicBezTo>
                <a:cubicBezTo>
                  <a:pt x="11535157" y="1611773"/>
                  <a:pt x="11536228" y="1617568"/>
                  <a:pt x="11535646" y="1623514"/>
                </a:cubicBezTo>
                <a:cubicBezTo>
                  <a:pt x="11535281" y="1629058"/>
                  <a:pt x="11535540" y="1634412"/>
                  <a:pt x="11531896" y="1639232"/>
                </a:cubicBezTo>
                <a:cubicBezTo>
                  <a:pt x="11527626" y="1644237"/>
                  <a:pt x="11524765" y="1650522"/>
                  <a:pt x="11517496" y="1652344"/>
                </a:cubicBezTo>
                <a:cubicBezTo>
                  <a:pt x="11514999" y="1653085"/>
                  <a:pt x="11512721" y="1653423"/>
                  <a:pt x="11509442" y="1652701"/>
                </a:cubicBezTo>
                <a:cubicBezTo>
                  <a:pt x="11504727" y="1651726"/>
                  <a:pt x="11498762" y="1651121"/>
                  <a:pt x="11496496" y="1658247"/>
                </a:cubicBezTo>
                <a:cubicBezTo>
                  <a:pt x="11495596" y="1660893"/>
                  <a:pt x="11492722" y="1660389"/>
                  <a:pt x="11491662" y="1661384"/>
                </a:cubicBezTo>
                <a:cubicBezTo>
                  <a:pt x="11486146" y="1666759"/>
                  <a:pt x="11479747" y="1666964"/>
                  <a:pt x="11473377" y="1666141"/>
                </a:cubicBezTo>
                <a:cubicBezTo>
                  <a:pt x="11470157" y="1663363"/>
                  <a:pt x="11467344" y="1660804"/>
                  <a:pt x="11463688" y="1658834"/>
                </a:cubicBezTo>
                <a:cubicBezTo>
                  <a:pt x="11460032" y="1656865"/>
                  <a:pt x="11457683" y="1652469"/>
                  <a:pt x="11457802" y="1648360"/>
                </a:cubicBezTo>
                <a:cubicBezTo>
                  <a:pt x="11458108" y="1644872"/>
                  <a:pt x="11457760" y="1642598"/>
                  <a:pt x="11455977" y="1640072"/>
                </a:cubicBezTo>
                <a:cubicBezTo>
                  <a:pt x="11458592" y="1635219"/>
                  <a:pt x="11461206" y="1630368"/>
                  <a:pt x="11463820" y="1625515"/>
                </a:cubicBezTo>
                <a:cubicBezTo>
                  <a:pt x="11468971" y="1625682"/>
                  <a:pt x="11473962" y="1624197"/>
                  <a:pt x="11477547" y="1621433"/>
                </a:cubicBezTo>
                <a:cubicBezTo>
                  <a:pt x="11481321" y="1619291"/>
                  <a:pt x="11484906" y="1616527"/>
                  <a:pt x="11488898" y="1613982"/>
                </a:cubicBezTo>
                <a:cubicBezTo>
                  <a:pt x="11492671" y="1611842"/>
                  <a:pt x="11496663" y="1609297"/>
                  <a:pt x="11499247" y="1605471"/>
                </a:cubicBezTo>
                <a:cubicBezTo>
                  <a:pt x="11502021" y="1602270"/>
                  <a:pt x="11505329" y="1601966"/>
                  <a:pt x="11509262" y="1601475"/>
                </a:cubicBezTo>
                <a:close/>
                <a:moveTo>
                  <a:pt x="8092885" y="1595365"/>
                </a:moveTo>
                <a:lnTo>
                  <a:pt x="8000810" y="1658026"/>
                </a:lnTo>
                <a:lnTo>
                  <a:pt x="7992044" y="1664852"/>
                </a:lnTo>
                <a:lnTo>
                  <a:pt x="7991431" y="1666324"/>
                </a:lnTo>
                <a:cubicBezTo>
                  <a:pt x="7993790" y="1669922"/>
                  <a:pt x="7998657" y="1675131"/>
                  <a:pt x="8004489" y="1680749"/>
                </a:cubicBezTo>
                <a:lnTo>
                  <a:pt x="8021279" y="1695745"/>
                </a:lnTo>
                <a:lnTo>
                  <a:pt x="8043420" y="1677910"/>
                </a:lnTo>
                <a:lnTo>
                  <a:pt x="8123974" y="1623142"/>
                </a:lnTo>
                <a:lnTo>
                  <a:pt x="8116959" y="1615374"/>
                </a:lnTo>
                <a:cubicBezTo>
                  <a:pt x="8109667" y="1608355"/>
                  <a:pt x="8102512" y="1602642"/>
                  <a:pt x="8095871" y="1598961"/>
                </a:cubicBezTo>
                <a:close/>
                <a:moveTo>
                  <a:pt x="11331747" y="1585925"/>
                </a:moveTo>
                <a:cubicBezTo>
                  <a:pt x="11347336" y="1593583"/>
                  <a:pt x="11372803" y="1603859"/>
                  <a:pt x="11396524" y="1620727"/>
                </a:cubicBezTo>
                <a:cubicBezTo>
                  <a:pt x="11420245" y="1637596"/>
                  <a:pt x="11437383" y="1652716"/>
                  <a:pt x="11438054" y="1663475"/>
                </a:cubicBezTo>
                <a:cubicBezTo>
                  <a:pt x="11438927" y="1660181"/>
                  <a:pt x="11438927" y="1660181"/>
                  <a:pt x="11442220" y="1661053"/>
                </a:cubicBezTo>
                <a:cubicBezTo>
                  <a:pt x="11444638" y="1665219"/>
                  <a:pt x="11451224" y="1666965"/>
                  <a:pt x="11450352" y="1670260"/>
                </a:cubicBezTo>
                <a:cubicBezTo>
                  <a:pt x="11450352" y="1670260"/>
                  <a:pt x="11453644" y="1671132"/>
                  <a:pt x="11452771" y="1674427"/>
                </a:cubicBezTo>
                <a:cubicBezTo>
                  <a:pt x="11452771" y="1674427"/>
                  <a:pt x="11452771" y="1674427"/>
                  <a:pt x="11453644" y="1671132"/>
                </a:cubicBezTo>
                <a:cubicBezTo>
                  <a:pt x="11461976" y="1666288"/>
                  <a:pt x="11478238" y="1684703"/>
                  <a:pt x="11497792" y="1703993"/>
                </a:cubicBezTo>
                <a:cubicBezTo>
                  <a:pt x="11497792" y="1703993"/>
                  <a:pt x="11497792" y="1703993"/>
                  <a:pt x="11501085" y="1704864"/>
                </a:cubicBezTo>
                <a:cubicBezTo>
                  <a:pt x="11501960" y="1701569"/>
                  <a:pt x="11501960" y="1701569"/>
                  <a:pt x="11504378" y="1705737"/>
                </a:cubicBezTo>
                <a:cubicBezTo>
                  <a:pt x="11504378" y="1705737"/>
                  <a:pt x="11507670" y="1706610"/>
                  <a:pt x="11507670" y="1706610"/>
                </a:cubicBezTo>
                <a:cubicBezTo>
                  <a:pt x="11506796" y="1709905"/>
                  <a:pt x="11506796" y="1709905"/>
                  <a:pt x="11506796" y="1709905"/>
                </a:cubicBezTo>
                <a:cubicBezTo>
                  <a:pt x="11506796" y="1709905"/>
                  <a:pt x="11506796" y="1709905"/>
                  <a:pt x="11510964" y="1707483"/>
                </a:cubicBezTo>
                <a:cubicBezTo>
                  <a:pt x="11516674" y="1712522"/>
                  <a:pt x="11520840" y="1710101"/>
                  <a:pt x="11535558" y="1721053"/>
                </a:cubicBezTo>
                <a:cubicBezTo>
                  <a:pt x="11537303" y="1714462"/>
                  <a:pt x="11519294" y="1702638"/>
                  <a:pt x="11530046" y="1701960"/>
                </a:cubicBezTo>
                <a:cubicBezTo>
                  <a:pt x="11532902" y="1704480"/>
                  <a:pt x="11534547" y="1704916"/>
                  <a:pt x="11536194" y="1705353"/>
                </a:cubicBezTo>
                <a:lnTo>
                  <a:pt x="11539268" y="1707048"/>
                </a:lnTo>
                <a:lnTo>
                  <a:pt x="11539050" y="1707872"/>
                </a:lnTo>
                <a:cubicBezTo>
                  <a:pt x="11542342" y="1708745"/>
                  <a:pt x="11542342" y="1708745"/>
                  <a:pt x="11542342" y="1708745"/>
                </a:cubicBezTo>
                <a:lnTo>
                  <a:pt x="11539268" y="1707048"/>
                </a:lnTo>
                <a:lnTo>
                  <a:pt x="11539923" y="1704578"/>
                </a:lnTo>
                <a:cubicBezTo>
                  <a:pt x="11539923" y="1704578"/>
                  <a:pt x="11543216" y="1705449"/>
                  <a:pt x="11543216" y="1705449"/>
                </a:cubicBezTo>
                <a:cubicBezTo>
                  <a:pt x="11546508" y="1706322"/>
                  <a:pt x="11546508" y="1706322"/>
                  <a:pt x="11546508" y="1706322"/>
                </a:cubicBezTo>
                <a:cubicBezTo>
                  <a:pt x="11548927" y="1710490"/>
                  <a:pt x="11554640" y="1715530"/>
                  <a:pt x="11560351" y="1720570"/>
                </a:cubicBezTo>
                <a:cubicBezTo>
                  <a:pt x="11560351" y="1720570"/>
                  <a:pt x="11562771" y="1724738"/>
                  <a:pt x="11562771" y="1724738"/>
                </a:cubicBezTo>
                <a:cubicBezTo>
                  <a:pt x="11562771" y="1724738"/>
                  <a:pt x="11566062" y="1725611"/>
                  <a:pt x="11568482" y="1729778"/>
                </a:cubicBezTo>
                <a:cubicBezTo>
                  <a:pt x="11568482" y="1729778"/>
                  <a:pt x="11571775" y="1730651"/>
                  <a:pt x="11570902" y="1733946"/>
                </a:cubicBezTo>
                <a:cubicBezTo>
                  <a:pt x="11567610" y="1733074"/>
                  <a:pt x="11567610" y="1733074"/>
                  <a:pt x="11565191" y="1728906"/>
                </a:cubicBezTo>
                <a:cubicBezTo>
                  <a:pt x="11565191" y="1728906"/>
                  <a:pt x="11561897" y="1728032"/>
                  <a:pt x="11559478" y="1723865"/>
                </a:cubicBezTo>
                <a:cubicBezTo>
                  <a:pt x="11564316" y="1732201"/>
                  <a:pt x="11570028" y="1737243"/>
                  <a:pt x="11571576" y="1744704"/>
                </a:cubicBezTo>
                <a:cubicBezTo>
                  <a:pt x="11567409" y="1747128"/>
                  <a:pt x="11558405" y="1741213"/>
                  <a:pt x="11559076" y="1751972"/>
                </a:cubicBezTo>
                <a:cubicBezTo>
                  <a:pt x="11602354" y="1788125"/>
                  <a:pt x="11637498" y="1815074"/>
                  <a:pt x="11674861" y="1860241"/>
                </a:cubicBezTo>
                <a:cubicBezTo>
                  <a:pt x="11678153" y="1861114"/>
                  <a:pt x="11678153" y="1861114"/>
                  <a:pt x="11680573" y="1865282"/>
                </a:cubicBezTo>
                <a:cubicBezTo>
                  <a:pt x="11683866" y="1866154"/>
                  <a:pt x="11682992" y="1869450"/>
                  <a:pt x="11682992" y="1869450"/>
                </a:cubicBezTo>
                <a:cubicBezTo>
                  <a:pt x="11697709" y="1880401"/>
                  <a:pt x="11713971" y="1898817"/>
                  <a:pt x="11726940" y="1916361"/>
                </a:cubicBezTo>
                <a:cubicBezTo>
                  <a:pt x="11741657" y="1927315"/>
                  <a:pt x="11764504" y="1947477"/>
                  <a:pt x="11782314" y="1973355"/>
                </a:cubicBezTo>
                <a:cubicBezTo>
                  <a:pt x="11804288" y="1996813"/>
                  <a:pt x="11822097" y="2022690"/>
                  <a:pt x="11831773" y="2039360"/>
                </a:cubicBezTo>
                <a:cubicBezTo>
                  <a:pt x="11855292" y="2070280"/>
                  <a:pt x="11881233" y="2105365"/>
                  <a:pt x="11904754" y="2136286"/>
                </a:cubicBezTo>
                <a:cubicBezTo>
                  <a:pt x="11924981" y="2166336"/>
                  <a:pt x="11941917" y="2195510"/>
                  <a:pt x="11945681" y="2221190"/>
                </a:cubicBezTo>
                <a:cubicBezTo>
                  <a:pt x="11943261" y="2217023"/>
                  <a:pt x="11940843" y="2212857"/>
                  <a:pt x="11938423" y="2208695"/>
                </a:cubicBezTo>
                <a:cubicBezTo>
                  <a:pt x="11938423" y="2208695"/>
                  <a:pt x="11938423" y="2208695"/>
                  <a:pt x="11939969" y="2216155"/>
                </a:cubicBezTo>
                <a:cubicBezTo>
                  <a:pt x="11943261" y="2217023"/>
                  <a:pt x="11942388" y="2220322"/>
                  <a:pt x="11942388" y="2220322"/>
                </a:cubicBezTo>
                <a:cubicBezTo>
                  <a:pt x="11939096" y="2219449"/>
                  <a:pt x="11939096" y="2219449"/>
                  <a:pt x="11936677" y="2215281"/>
                </a:cubicBezTo>
                <a:cubicBezTo>
                  <a:pt x="11936677" y="2215281"/>
                  <a:pt x="11936677" y="2215281"/>
                  <a:pt x="11933384" y="2214409"/>
                </a:cubicBezTo>
                <a:cubicBezTo>
                  <a:pt x="11950318" y="2243578"/>
                  <a:pt x="11969674" y="2276912"/>
                  <a:pt x="11990775" y="2303670"/>
                </a:cubicBezTo>
                <a:cubicBezTo>
                  <a:pt x="11994539" y="2329354"/>
                  <a:pt x="12016314" y="2366867"/>
                  <a:pt x="12028209" y="2401754"/>
                </a:cubicBezTo>
                <a:cubicBezTo>
                  <a:pt x="12006636" y="2350196"/>
                  <a:pt x="11966854" y="2300858"/>
                  <a:pt x="11941987" y="2248422"/>
                </a:cubicBezTo>
                <a:cubicBezTo>
                  <a:pt x="11935602" y="2232627"/>
                  <a:pt x="11932984" y="2242506"/>
                  <a:pt x="11924852" y="2233305"/>
                </a:cubicBezTo>
                <a:cubicBezTo>
                  <a:pt x="11912755" y="2212469"/>
                  <a:pt x="11908790" y="2200841"/>
                  <a:pt x="11904825" y="2189205"/>
                </a:cubicBezTo>
                <a:cubicBezTo>
                  <a:pt x="11895147" y="2172535"/>
                  <a:pt x="11887689" y="2174087"/>
                  <a:pt x="11877138" y="2160708"/>
                </a:cubicBezTo>
                <a:cubicBezTo>
                  <a:pt x="11870753" y="2144909"/>
                  <a:pt x="11864369" y="2129110"/>
                  <a:pt x="11857984" y="2113311"/>
                </a:cubicBezTo>
                <a:cubicBezTo>
                  <a:pt x="11857984" y="2113311"/>
                  <a:pt x="11857984" y="2113311"/>
                  <a:pt x="11866316" y="2108466"/>
                </a:cubicBezTo>
                <a:cubicBezTo>
                  <a:pt x="11861477" y="2100129"/>
                  <a:pt x="11854219" y="2087630"/>
                  <a:pt x="11846088" y="2078421"/>
                </a:cubicBezTo>
                <a:cubicBezTo>
                  <a:pt x="11846088" y="2078421"/>
                  <a:pt x="11846088" y="2078421"/>
                  <a:pt x="11845215" y="2081717"/>
                </a:cubicBezTo>
                <a:cubicBezTo>
                  <a:pt x="11848508" y="2082589"/>
                  <a:pt x="11850928" y="2086757"/>
                  <a:pt x="11847634" y="2085884"/>
                </a:cubicBezTo>
                <a:cubicBezTo>
                  <a:pt x="11847634" y="2085884"/>
                  <a:pt x="11844342" y="2085012"/>
                  <a:pt x="11844342" y="2085012"/>
                </a:cubicBezTo>
                <a:cubicBezTo>
                  <a:pt x="11843468" y="2088306"/>
                  <a:pt x="11851599" y="2097515"/>
                  <a:pt x="11845014" y="2095770"/>
                </a:cubicBezTo>
                <a:cubicBezTo>
                  <a:pt x="11833590" y="2085689"/>
                  <a:pt x="11837758" y="2083266"/>
                  <a:pt x="11829626" y="2074058"/>
                </a:cubicBezTo>
                <a:cubicBezTo>
                  <a:pt x="11829626" y="2074058"/>
                  <a:pt x="11829626" y="2074058"/>
                  <a:pt x="11826334" y="2073184"/>
                </a:cubicBezTo>
                <a:cubicBezTo>
                  <a:pt x="11826334" y="2073184"/>
                  <a:pt x="11826334" y="2073184"/>
                  <a:pt x="11827205" y="2069890"/>
                </a:cubicBezTo>
                <a:cubicBezTo>
                  <a:pt x="11823914" y="2069018"/>
                  <a:pt x="11821495" y="2064850"/>
                  <a:pt x="11821495" y="2064850"/>
                </a:cubicBezTo>
                <a:cubicBezTo>
                  <a:pt x="11822369" y="2061555"/>
                  <a:pt x="11822369" y="2061555"/>
                  <a:pt x="11822369" y="2061555"/>
                </a:cubicBezTo>
                <a:cubicBezTo>
                  <a:pt x="11813363" y="2055642"/>
                  <a:pt x="11799519" y="2041393"/>
                  <a:pt x="11788970" y="2028019"/>
                </a:cubicBezTo>
                <a:cubicBezTo>
                  <a:pt x="11779292" y="2011348"/>
                  <a:pt x="11772035" y="1998845"/>
                  <a:pt x="11773781" y="1992254"/>
                </a:cubicBezTo>
                <a:cubicBezTo>
                  <a:pt x="11770489" y="1991382"/>
                  <a:pt x="11771362" y="1988086"/>
                  <a:pt x="11771362" y="1988086"/>
                </a:cubicBezTo>
                <a:cubicBezTo>
                  <a:pt x="11768070" y="1987214"/>
                  <a:pt x="11765649" y="1983045"/>
                  <a:pt x="11766523" y="1979751"/>
                </a:cubicBezTo>
                <a:cubicBezTo>
                  <a:pt x="11766523" y="1979751"/>
                  <a:pt x="11766523" y="1979751"/>
                  <a:pt x="11769815" y="1980624"/>
                </a:cubicBezTo>
                <a:cubicBezTo>
                  <a:pt x="11772234" y="1984790"/>
                  <a:pt x="11772234" y="1984790"/>
                  <a:pt x="11772234" y="1984790"/>
                </a:cubicBezTo>
                <a:cubicBezTo>
                  <a:pt x="11772234" y="1984790"/>
                  <a:pt x="11772234" y="1984790"/>
                  <a:pt x="11775528" y="1985663"/>
                </a:cubicBezTo>
                <a:cubicBezTo>
                  <a:pt x="11764977" y="1972289"/>
                  <a:pt x="11764105" y="1975584"/>
                  <a:pt x="11755972" y="1966376"/>
                </a:cubicBezTo>
                <a:cubicBezTo>
                  <a:pt x="11755972" y="1966376"/>
                  <a:pt x="11758392" y="1970544"/>
                  <a:pt x="11758392" y="1970544"/>
                </a:cubicBezTo>
                <a:cubicBezTo>
                  <a:pt x="11758392" y="1970544"/>
                  <a:pt x="11758392" y="1970544"/>
                  <a:pt x="11755099" y="1969671"/>
                </a:cubicBezTo>
                <a:cubicBezTo>
                  <a:pt x="11755099" y="1969671"/>
                  <a:pt x="11755099" y="1969671"/>
                  <a:pt x="11751806" y="1968799"/>
                </a:cubicBezTo>
                <a:cubicBezTo>
                  <a:pt x="11751806" y="1968799"/>
                  <a:pt x="11757517" y="1973839"/>
                  <a:pt x="11753353" y="1976262"/>
                </a:cubicBezTo>
                <a:cubicBezTo>
                  <a:pt x="11745221" y="1967054"/>
                  <a:pt x="11737091" y="1957845"/>
                  <a:pt x="11741256" y="1955422"/>
                </a:cubicBezTo>
                <a:cubicBezTo>
                  <a:pt x="11741256" y="1955422"/>
                  <a:pt x="11737963" y="1954552"/>
                  <a:pt x="11738836" y="1951254"/>
                </a:cubicBezTo>
                <a:cubicBezTo>
                  <a:pt x="11728485" y="1923824"/>
                  <a:pt x="11707386" y="1897073"/>
                  <a:pt x="11678827" y="1871872"/>
                </a:cubicBezTo>
                <a:cubicBezTo>
                  <a:pt x="11678827" y="1871872"/>
                  <a:pt x="11675534" y="1871000"/>
                  <a:pt x="11676407" y="1867705"/>
                </a:cubicBezTo>
                <a:cubicBezTo>
                  <a:pt x="11673114" y="1866832"/>
                  <a:pt x="11670695" y="1862664"/>
                  <a:pt x="11670695" y="1862664"/>
                </a:cubicBezTo>
                <a:cubicBezTo>
                  <a:pt x="11670695" y="1862664"/>
                  <a:pt x="11670695" y="1862664"/>
                  <a:pt x="11673987" y="1863537"/>
                </a:cubicBezTo>
                <a:cubicBezTo>
                  <a:pt x="11664982" y="1857623"/>
                  <a:pt x="11650268" y="1846671"/>
                  <a:pt x="11643682" y="1844925"/>
                </a:cubicBezTo>
                <a:cubicBezTo>
                  <a:pt x="11646975" y="1845797"/>
                  <a:pt x="11646975" y="1845797"/>
                  <a:pt x="11649394" y="1849965"/>
                </a:cubicBezTo>
                <a:cubicBezTo>
                  <a:pt x="11649394" y="1849965"/>
                  <a:pt x="11648520" y="1853260"/>
                  <a:pt x="11648520" y="1853260"/>
                </a:cubicBezTo>
                <a:cubicBezTo>
                  <a:pt x="11645229" y="1852388"/>
                  <a:pt x="11645229" y="1852388"/>
                  <a:pt x="11642809" y="1848219"/>
                </a:cubicBezTo>
                <a:lnTo>
                  <a:pt x="11641611" y="1847903"/>
                </a:lnTo>
                <a:lnTo>
                  <a:pt x="11640254" y="1846219"/>
                </a:lnTo>
                <a:cubicBezTo>
                  <a:pt x="11639349" y="1844658"/>
                  <a:pt x="11638744" y="1843616"/>
                  <a:pt x="11637096" y="1843181"/>
                </a:cubicBezTo>
                <a:cubicBezTo>
                  <a:pt x="11640388" y="1844052"/>
                  <a:pt x="11639516" y="1847348"/>
                  <a:pt x="11639516" y="1847348"/>
                </a:cubicBezTo>
                <a:lnTo>
                  <a:pt x="11641611" y="1847903"/>
                </a:lnTo>
                <a:lnTo>
                  <a:pt x="11645229" y="1852388"/>
                </a:lnTo>
                <a:cubicBezTo>
                  <a:pt x="11605917" y="1827863"/>
                  <a:pt x="11569427" y="1779399"/>
                  <a:pt x="11530990" y="1751583"/>
                </a:cubicBezTo>
                <a:cubicBezTo>
                  <a:pt x="11531864" y="1748287"/>
                  <a:pt x="11520439" y="1738206"/>
                  <a:pt x="11518020" y="1734038"/>
                </a:cubicBezTo>
                <a:cubicBezTo>
                  <a:pt x="11517147" y="1737334"/>
                  <a:pt x="11517147" y="1737334"/>
                  <a:pt x="11510562" y="1735588"/>
                </a:cubicBezTo>
                <a:cubicBezTo>
                  <a:pt x="11510562" y="1735588"/>
                  <a:pt x="11511435" y="1732293"/>
                  <a:pt x="11508144" y="1731420"/>
                </a:cubicBezTo>
                <a:cubicBezTo>
                  <a:pt x="11504850" y="1730547"/>
                  <a:pt x="11505724" y="1727253"/>
                  <a:pt x="11502431" y="1726380"/>
                </a:cubicBezTo>
                <a:cubicBezTo>
                  <a:pt x="11472998" y="1704476"/>
                  <a:pt x="11469032" y="1692844"/>
                  <a:pt x="11455189" y="1678597"/>
                </a:cubicBezTo>
                <a:cubicBezTo>
                  <a:pt x="11455189" y="1678597"/>
                  <a:pt x="11458483" y="1679471"/>
                  <a:pt x="11457609" y="1682764"/>
                </a:cubicBezTo>
                <a:cubicBezTo>
                  <a:pt x="11457609" y="1682764"/>
                  <a:pt x="11456737" y="1686059"/>
                  <a:pt x="11453443" y="1685186"/>
                </a:cubicBezTo>
                <a:cubicBezTo>
                  <a:pt x="11453443" y="1685186"/>
                  <a:pt x="11451024" y="1681019"/>
                  <a:pt x="11451024" y="1681019"/>
                </a:cubicBezTo>
                <a:cubicBezTo>
                  <a:pt x="11447732" y="1680146"/>
                  <a:pt x="11447732" y="1680146"/>
                  <a:pt x="11447732" y="1680146"/>
                </a:cubicBezTo>
                <a:cubicBezTo>
                  <a:pt x="11431269" y="1675784"/>
                  <a:pt x="11396997" y="1645541"/>
                  <a:pt x="11402909" y="1636528"/>
                </a:cubicBezTo>
                <a:cubicBezTo>
                  <a:pt x="11381609" y="1623829"/>
                  <a:pt x="11348010" y="1604342"/>
                  <a:pt x="11331747" y="1585925"/>
                </a:cubicBezTo>
                <a:close/>
                <a:moveTo>
                  <a:pt x="8467781" y="1556361"/>
                </a:moveTo>
                <a:lnTo>
                  <a:pt x="8423966" y="1578779"/>
                </a:lnTo>
                <a:lnTo>
                  <a:pt x="8407534" y="1588158"/>
                </a:lnTo>
                <a:lnTo>
                  <a:pt x="8408594" y="1589670"/>
                </a:lnTo>
                <a:close/>
                <a:moveTo>
                  <a:pt x="4356339" y="1550368"/>
                </a:moveTo>
                <a:lnTo>
                  <a:pt x="4352843" y="1552385"/>
                </a:lnTo>
                <a:lnTo>
                  <a:pt x="4353380" y="1553320"/>
                </a:lnTo>
                <a:close/>
                <a:moveTo>
                  <a:pt x="4359355" y="1549700"/>
                </a:moveTo>
                <a:lnTo>
                  <a:pt x="4358279" y="1550489"/>
                </a:lnTo>
                <a:lnTo>
                  <a:pt x="4354349" y="1554996"/>
                </a:lnTo>
                <a:lnTo>
                  <a:pt x="4354896" y="1555954"/>
                </a:lnTo>
                <a:lnTo>
                  <a:pt x="4360829" y="1550519"/>
                </a:lnTo>
                <a:close/>
                <a:moveTo>
                  <a:pt x="4257144" y="1540856"/>
                </a:moveTo>
                <a:lnTo>
                  <a:pt x="4257659" y="1541757"/>
                </a:lnTo>
                <a:lnTo>
                  <a:pt x="4279035" y="1548214"/>
                </a:lnTo>
                <a:lnTo>
                  <a:pt x="4280483" y="1546928"/>
                </a:lnTo>
                <a:lnTo>
                  <a:pt x="4279086" y="1546735"/>
                </a:lnTo>
                <a:cubicBezTo>
                  <a:pt x="4279086" y="1546735"/>
                  <a:pt x="4274697" y="1545559"/>
                  <a:pt x="4274697" y="1545559"/>
                </a:cubicBezTo>
                <a:cubicBezTo>
                  <a:pt x="4274697" y="1545559"/>
                  <a:pt x="4274697" y="1545559"/>
                  <a:pt x="4270310" y="1544384"/>
                </a:cubicBezTo>
                <a:cubicBezTo>
                  <a:pt x="4265918" y="1543208"/>
                  <a:pt x="4265918" y="1543208"/>
                  <a:pt x="4261530" y="1542032"/>
                </a:cubicBezTo>
                <a:cubicBezTo>
                  <a:pt x="4257144" y="1540856"/>
                  <a:pt x="4257144" y="1540856"/>
                  <a:pt x="4257144" y="1540856"/>
                </a:cubicBezTo>
                <a:close/>
                <a:moveTo>
                  <a:pt x="4341761" y="1537636"/>
                </a:moveTo>
                <a:lnTo>
                  <a:pt x="4340324" y="1538874"/>
                </a:lnTo>
                <a:lnTo>
                  <a:pt x="4350798" y="1542432"/>
                </a:lnTo>
                <a:cubicBezTo>
                  <a:pt x="4346414" y="1541257"/>
                  <a:pt x="4346414" y="1541257"/>
                  <a:pt x="4346414" y="1541257"/>
                </a:cubicBezTo>
                <a:cubicBezTo>
                  <a:pt x="4346414" y="1541257"/>
                  <a:pt x="4346414" y="1541257"/>
                  <a:pt x="4342026" y="1540081"/>
                </a:cubicBezTo>
                <a:lnTo>
                  <a:pt x="4339661" y="1539447"/>
                </a:lnTo>
                <a:lnTo>
                  <a:pt x="4330236" y="1547579"/>
                </a:lnTo>
                <a:lnTo>
                  <a:pt x="4329167" y="1550748"/>
                </a:lnTo>
                <a:cubicBezTo>
                  <a:pt x="4327737" y="1553893"/>
                  <a:pt x="4325764" y="1556890"/>
                  <a:pt x="4322977" y="1558495"/>
                </a:cubicBezTo>
                <a:lnTo>
                  <a:pt x="4318857" y="1557392"/>
                </a:lnTo>
                <a:lnTo>
                  <a:pt x="4316412" y="1559503"/>
                </a:lnTo>
                <a:lnTo>
                  <a:pt x="4340040" y="1566641"/>
                </a:lnTo>
                <a:lnTo>
                  <a:pt x="4342859" y="1563823"/>
                </a:lnTo>
                <a:lnTo>
                  <a:pt x="4333947" y="1561435"/>
                </a:lnTo>
                <a:cubicBezTo>
                  <a:pt x="4331750" y="1560847"/>
                  <a:pt x="4331750" y="1560847"/>
                  <a:pt x="4331750" y="1560847"/>
                </a:cubicBezTo>
                <a:cubicBezTo>
                  <a:pt x="4337317" y="1557637"/>
                  <a:pt x="4344064" y="1550034"/>
                  <a:pt x="4345235" y="1545646"/>
                </a:cubicBezTo>
                <a:cubicBezTo>
                  <a:pt x="4349629" y="1546822"/>
                  <a:pt x="4354014" y="1547997"/>
                  <a:pt x="4354014" y="1547997"/>
                </a:cubicBezTo>
                <a:lnTo>
                  <a:pt x="4357717" y="1548990"/>
                </a:lnTo>
                <a:lnTo>
                  <a:pt x="4358725" y="1547984"/>
                </a:lnTo>
                <a:lnTo>
                  <a:pt x="4359581" y="1544784"/>
                </a:lnTo>
                <a:lnTo>
                  <a:pt x="4359742" y="1544191"/>
                </a:lnTo>
                <a:close/>
                <a:moveTo>
                  <a:pt x="307628" y="1529937"/>
                </a:moveTo>
                <a:cubicBezTo>
                  <a:pt x="310752" y="1530640"/>
                  <a:pt x="313618" y="1532641"/>
                  <a:pt x="315992" y="1536208"/>
                </a:cubicBezTo>
                <a:cubicBezTo>
                  <a:pt x="317819" y="1539545"/>
                  <a:pt x="320215" y="1537650"/>
                  <a:pt x="322544" y="1536692"/>
                </a:cubicBezTo>
                <a:cubicBezTo>
                  <a:pt x="326424" y="1535096"/>
                  <a:pt x="327840" y="1536331"/>
                  <a:pt x="326402" y="1540557"/>
                </a:cubicBezTo>
                <a:cubicBezTo>
                  <a:pt x="324439" y="1546815"/>
                  <a:pt x="325719" y="1549924"/>
                  <a:pt x="332795" y="1548376"/>
                </a:cubicBezTo>
                <a:cubicBezTo>
                  <a:pt x="334507" y="1548126"/>
                  <a:pt x="336927" y="1548494"/>
                  <a:pt x="335625" y="1550846"/>
                </a:cubicBezTo>
                <a:cubicBezTo>
                  <a:pt x="332659" y="1557972"/>
                  <a:pt x="337202" y="1560192"/>
                  <a:pt x="342293" y="1562641"/>
                </a:cubicBezTo>
                <a:cubicBezTo>
                  <a:pt x="343229" y="1562711"/>
                  <a:pt x="343868" y="1564265"/>
                  <a:pt x="344188" y="1565041"/>
                </a:cubicBezTo>
                <a:cubicBezTo>
                  <a:pt x="342591" y="1576602"/>
                  <a:pt x="340059" y="1588093"/>
                  <a:pt x="338074" y="1599813"/>
                </a:cubicBezTo>
                <a:cubicBezTo>
                  <a:pt x="337116" y="1605203"/>
                  <a:pt x="330702" y="1610568"/>
                  <a:pt x="325680" y="1614906"/>
                </a:cubicBezTo>
                <a:cubicBezTo>
                  <a:pt x="323671" y="1616641"/>
                  <a:pt x="321183" y="1617210"/>
                  <a:pt x="320202" y="1620339"/>
                </a:cubicBezTo>
                <a:cubicBezTo>
                  <a:pt x="319220" y="1623469"/>
                  <a:pt x="316732" y="1624037"/>
                  <a:pt x="313765" y="1623441"/>
                </a:cubicBezTo>
                <a:cubicBezTo>
                  <a:pt x="311893" y="1623303"/>
                  <a:pt x="309313" y="1622547"/>
                  <a:pt x="308241" y="1624351"/>
                </a:cubicBezTo>
                <a:cubicBezTo>
                  <a:pt x="305182" y="1630152"/>
                  <a:pt x="301850" y="1631977"/>
                  <a:pt x="296964" y="1626718"/>
                </a:cubicBezTo>
                <a:cubicBezTo>
                  <a:pt x="295937" y="1625323"/>
                  <a:pt x="293448" y="1625892"/>
                  <a:pt x="292924" y="1627926"/>
                </a:cubicBezTo>
                <a:cubicBezTo>
                  <a:pt x="290732" y="1634733"/>
                  <a:pt x="286555" y="1630091"/>
                  <a:pt x="283131" y="1630592"/>
                </a:cubicBezTo>
                <a:cubicBezTo>
                  <a:pt x="271535" y="1632182"/>
                  <a:pt x="269684" y="1618860"/>
                  <a:pt x="260004" y="1617390"/>
                </a:cubicBezTo>
                <a:cubicBezTo>
                  <a:pt x="256649" y="1616953"/>
                  <a:pt x="255553" y="1608773"/>
                  <a:pt x="254502" y="1605116"/>
                </a:cubicBezTo>
                <a:cubicBezTo>
                  <a:pt x="252310" y="1596477"/>
                  <a:pt x="243269" y="1588838"/>
                  <a:pt x="249865" y="1578402"/>
                </a:cubicBezTo>
                <a:cubicBezTo>
                  <a:pt x="250938" y="1576598"/>
                  <a:pt x="251919" y="1573469"/>
                  <a:pt x="250640" y="1570360"/>
                </a:cubicBezTo>
                <a:cubicBezTo>
                  <a:pt x="248494" y="1566246"/>
                  <a:pt x="249863" y="1562957"/>
                  <a:pt x="253812" y="1560423"/>
                </a:cubicBezTo>
                <a:cubicBezTo>
                  <a:pt x="256208" y="1558529"/>
                  <a:pt x="256962" y="1555947"/>
                  <a:pt x="258103" y="1553207"/>
                </a:cubicBezTo>
                <a:cubicBezTo>
                  <a:pt x="260682" y="1546239"/>
                  <a:pt x="265156" y="1541674"/>
                  <a:pt x="272940" y="1540742"/>
                </a:cubicBezTo>
                <a:cubicBezTo>
                  <a:pt x="277299" y="1540313"/>
                  <a:pt x="281089" y="1537390"/>
                  <a:pt x="281818" y="1532547"/>
                </a:cubicBezTo>
                <a:cubicBezTo>
                  <a:pt x="283371" y="1531909"/>
                  <a:pt x="284923" y="1531271"/>
                  <a:pt x="286475" y="1530632"/>
                </a:cubicBezTo>
                <a:cubicBezTo>
                  <a:pt x="289854" y="1533330"/>
                  <a:pt x="292822" y="1533928"/>
                  <a:pt x="297707" y="1531464"/>
                </a:cubicBezTo>
                <a:cubicBezTo>
                  <a:pt x="301119" y="1529832"/>
                  <a:pt x="304503" y="1529235"/>
                  <a:pt x="307628" y="1529937"/>
                </a:cubicBezTo>
                <a:close/>
                <a:moveTo>
                  <a:pt x="11024398" y="1523075"/>
                </a:moveTo>
                <a:cubicBezTo>
                  <a:pt x="11022418" y="1523478"/>
                  <a:pt x="11020248" y="1524918"/>
                  <a:pt x="11017766" y="1527929"/>
                </a:cubicBezTo>
                <a:cubicBezTo>
                  <a:pt x="11007844" y="1539970"/>
                  <a:pt x="11016975" y="1545247"/>
                  <a:pt x="11026339" y="1552961"/>
                </a:cubicBezTo>
                <a:cubicBezTo>
                  <a:pt x="11078914" y="1587295"/>
                  <a:pt x="11131723" y="1624073"/>
                  <a:pt x="11180990" y="1662422"/>
                </a:cubicBezTo>
                <a:cubicBezTo>
                  <a:pt x="11257738" y="1723133"/>
                  <a:pt x="11330757" y="1786455"/>
                  <a:pt x="11399737" y="1852597"/>
                </a:cubicBezTo>
                <a:lnTo>
                  <a:pt x="11487076" y="1945576"/>
                </a:lnTo>
                <a:lnTo>
                  <a:pt x="11489777" y="1942255"/>
                </a:lnTo>
                <a:cubicBezTo>
                  <a:pt x="11491389" y="1941728"/>
                  <a:pt x="11493337" y="1942349"/>
                  <a:pt x="11496026" y="1943952"/>
                </a:cubicBezTo>
                <a:cubicBezTo>
                  <a:pt x="11501598" y="1947621"/>
                  <a:pt x="11501598" y="1947621"/>
                  <a:pt x="11504977" y="1941354"/>
                </a:cubicBezTo>
                <a:cubicBezTo>
                  <a:pt x="11505754" y="1939951"/>
                  <a:pt x="11506393" y="1938874"/>
                  <a:pt x="11508355" y="1939693"/>
                </a:cubicBezTo>
                <a:lnTo>
                  <a:pt x="11515718" y="1942171"/>
                </a:lnTo>
                <a:lnTo>
                  <a:pt x="11392466" y="1811960"/>
                </a:lnTo>
                <a:cubicBezTo>
                  <a:pt x="11298267" y="1716372"/>
                  <a:pt x="11186429" y="1642192"/>
                  <a:pt x="11079001" y="1562658"/>
                </a:cubicBezTo>
                <a:cubicBezTo>
                  <a:pt x="11065856" y="1554075"/>
                  <a:pt x="11052477" y="1543049"/>
                  <a:pt x="11040435" y="1533129"/>
                </a:cubicBezTo>
                <a:cubicBezTo>
                  <a:pt x="11034592" y="1529998"/>
                  <a:pt x="11030343" y="1521865"/>
                  <a:pt x="11024398" y="1523075"/>
                </a:cubicBezTo>
                <a:close/>
                <a:moveTo>
                  <a:pt x="4274246" y="1516710"/>
                </a:moveTo>
                <a:lnTo>
                  <a:pt x="4273416" y="1518701"/>
                </a:lnTo>
                <a:lnTo>
                  <a:pt x="4264924" y="1527148"/>
                </a:lnTo>
                <a:lnTo>
                  <a:pt x="4268645" y="1528653"/>
                </a:lnTo>
                <a:cubicBezTo>
                  <a:pt x="4276578" y="1531954"/>
                  <a:pt x="4283768" y="1534761"/>
                  <a:pt x="4290011" y="1536141"/>
                </a:cubicBezTo>
                <a:lnTo>
                  <a:pt x="4292841" y="1535946"/>
                </a:lnTo>
                <a:lnTo>
                  <a:pt x="4303591" y="1526398"/>
                </a:lnTo>
                <a:lnTo>
                  <a:pt x="4280388" y="1518519"/>
                </a:lnTo>
                <a:close/>
                <a:moveTo>
                  <a:pt x="8228763" y="1511682"/>
                </a:moveTo>
                <a:lnTo>
                  <a:pt x="8177452" y="1542015"/>
                </a:lnTo>
                <a:lnTo>
                  <a:pt x="8201400" y="1570501"/>
                </a:lnTo>
                <a:lnTo>
                  <a:pt x="8206316" y="1567159"/>
                </a:lnTo>
                <a:lnTo>
                  <a:pt x="8252683" y="1540819"/>
                </a:lnTo>
                <a:close/>
                <a:moveTo>
                  <a:pt x="594462" y="1499428"/>
                </a:moveTo>
                <a:cubicBezTo>
                  <a:pt x="597298" y="1498439"/>
                  <a:pt x="600249" y="1498170"/>
                  <a:pt x="603545" y="1500459"/>
                </a:cubicBezTo>
                <a:cubicBezTo>
                  <a:pt x="604686" y="1501206"/>
                  <a:pt x="606691" y="1501931"/>
                  <a:pt x="608745" y="1501189"/>
                </a:cubicBezTo>
                <a:cubicBezTo>
                  <a:pt x="611476" y="1499911"/>
                  <a:pt x="613573" y="1500893"/>
                  <a:pt x="615106" y="1503528"/>
                </a:cubicBezTo>
                <a:cubicBezTo>
                  <a:pt x="616269" y="1505137"/>
                  <a:pt x="617924" y="1505699"/>
                  <a:pt x="619672" y="1506518"/>
                </a:cubicBezTo>
                <a:cubicBezTo>
                  <a:pt x="624122" y="1508389"/>
                  <a:pt x="626961" y="1511423"/>
                  <a:pt x="627345" y="1516503"/>
                </a:cubicBezTo>
                <a:cubicBezTo>
                  <a:pt x="627502" y="1519346"/>
                  <a:pt x="629292" y="1521887"/>
                  <a:pt x="632417" y="1522498"/>
                </a:cubicBezTo>
                <a:cubicBezTo>
                  <a:pt x="632787" y="1523523"/>
                  <a:pt x="633158" y="1524550"/>
                  <a:pt x="633529" y="1525576"/>
                </a:cubicBezTo>
                <a:cubicBezTo>
                  <a:pt x="631682" y="1527693"/>
                  <a:pt x="631210" y="1529603"/>
                  <a:pt x="632672" y="1532844"/>
                </a:cubicBezTo>
                <a:cubicBezTo>
                  <a:pt x="634597" y="1537367"/>
                  <a:pt x="633842" y="1541700"/>
                  <a:pt x="629077" y="1544583"/>
                </a:cubicBezTo>
                <a:cubicBezTo>
                  <a:pt x="626859" y="1545674"/>
                  <a:pt x="628020" y="1547284"/>
                  <a:pt x="628576" y="1548824"/>
                </a:cubicBezTo>
                <a:cubicBezTo>
                  <a:pt x="629504" y="1551387"/>
                  <a:pt x="628662" y="1552271"/>
                  <a:pt x="625958" y="1551220"/>
                </a:cubicBezTo>
                <a:cubicBezTo>
                  <a:pt x="621950" y="1549768"/>
                  <a:pt x="619896" y="1550511"/>
                  <a:pt x="620701" y="1555149"/>
                </a:cubicBezTo>
                <a:cubicBezTo>
                  <a:pt x="620815" y="1556268"/>
                  <a:pt x="620509" y="1557829"/>
                  <a:pt x="619018" y="1556917"/>
                </a:cubicBezTo>
                <a:cubicBezTo>
                  <a:pt x="614475" y="1554791"/>
                  <a:pt x="612906" y="1557677"/>
                  <a:pt x="611171" y="1560913"/>
                </a:cubicBezTo>
                <a:cubicBezTo>
                  <a:pt x="611100" y="1561520"/>
                  <a:pt x="610073" y="1561890"/>
                  <a:pt x="609560" y="1562076"/>
                </a:cubicBezTo>
                <a:cubicBezTo>
                  <a:pt x="602099" y="1560714"/>
                  <a:pt x="594710" y="1558745"/>
                  <a:pt x="587156" y="1557125"/>
                </a:cubicBezTo>
                <a:cubicBezTo>
                  <a:pt x="583682" y="1556351"/>
                  <a:pt x="580381" y="1552035"/>
                  <a:pt x="577705" y="1548653"/>
                </a:cubicBezTo>
                <a:cubicBezTo>
                  <a:pt x="576636" y="1547300"/>
                  <a:pt x="576336" y="1545668"/>
                  <a:pt x="574333" y="1544942"/>
                </a:cubicBezTo>
                <a:cubicBezTo>
                  <a:pt x="572328" y="1544218"/>
                  <a:pt x="572029" y="1542586"/>
                  <a:pt x="572499" y="1540676"/>
                </a:cubicBezTo>
                <a:cubicBezTo>
                  <a:pt x="572642" y="1539464"/>
                  <a:pt x="573205" y="1537811"/>
                  <a:pt x="572065" y="1537064"/>
                </a:cubicBezTo>
                <a:cubicBezTo>
                  <a:pt x="568384" y="1534914"/>
                  <a:pt x="567293" y="1532699"/>
                  <a:pt x="570846" y="1529676"/>
                </a:cubicBezTo>
                <a:cubicBezTo>
                  <a:pt x="571779" y="1529048"/>
                  <a:pt x="571481" y="1527417"/>
                  <a:pt x="570175" y="1527019"/>
                </a:cubicBezTo>
                <a:cubicBezTo>
                  <a:pt x="565817" y="1525404"/>
                  <a:pt x="568949" y="1522822"/>
                  <a:pt x="568721" y="1520585"/>
                </a:cubicBezTo>
                <a:cubicBezTo>
                  <a:pt x="568015" y="1513011"/>
                  <a:pt x="576717" y="1512185"/>
                  <a:pt x="577945" y="1505943"/>
                </a:cubicBezTo>
                <a:cubicBezTo>
                  <a:pt x="578323" y="1503777"/>
                  <a:pt x="583665" y="1503295"/>
                  <a:pt x="586069" y="1502716"/>
                </a:cubicBezTo>
                <a:cubicBezTo>
                  <a:pt x="588904" y="1502126"/>
                  <a:pt x="591626" y="1500417"/>
                  <a:pt x="594462" y="1499428"/>
                </a:cubicBezTo>
                <a:close/>
                <a:moveTo>
                  <a:pt x="4206736" y="1499134"/>
                </a:moveTo>
                <a:lnTo>
                  <a:pt x="4202886" y="1502803"/>
                </a:lnTo>
                <a:lnTo>
                  <a:pt x="4205957" y="1503628"/>
                </a:lnTo>
                <a:cubicBezTo>
                  <a:pt x="4200399" y="1506840"/>
                  <a:pt x="4204785" y="1508016"/>
                  <a:pt x="4208000" y="1513579"/>
                </a:cubicBezTo>
                <a:cubicBezTo>
                  <a:pt x="4212389" y="1514756"/>
                  <a:pt x="4212389" y="1514756"/>
                  <a:pt x="4212389" y="1514756"/>
                </a:cubicBezTo>
                <a:cubicBezTo>
                  <a:pt x="4213563" y="1510369"/>
                  <a:pt x="4213563" y="1510369"/>
                  <a:pt x="4213563" y="1510369"/>
                </a:cubicBezTo>
                <a:lnTo>
                  <a:pt x="4223666" y="1513075"/>
                </a:lnTo>
                <a:lnTo>
                  <a:pt x="4223111" y="1508606"/>
                </a:lnTo>
                <a:lnTo>
                  <a:pt x="4227953" y="1504201"/>
                </a:lnTo>
                <a:lnTo>
                  <a:pt x="4211529" y="1500415"/>
                </a:lnTo>
                <a:cubicBezTo>
                  <a:pt x="4211529" y="1500415"/>
                  <a:pt x="4207139" y="1499238"/>
                  <a:pt x="4207139" y="1499238"/>
                </a:cubicBezTo>
                <a:close/>
                <a:moveTo>
                  <a:pt x="1543648" y="1490496"/>
                </a:moveTo>
                <a:cubicBezTo>
                  <a:pt x="1542689" y="1494077"/>
                  <a:pt x="1542689" y="1494077"/>
                  <a:pt x="1542689" y="1494077"/>
                </a:cubicBezTo>
                <a:cubicBezTo>
                  <a:pt x="1542689" y="1494077"/>
                  <a:pt x="1541729" y="1497657"/>
                  <a:pt x="1541729" y="1497657"/>
                </a:cubicBezTo>
                <a:cubicBezTo>
                  <a:pt x="1538146" y="1496699"/>
                  <a:pt x="1538146" y="1496699"/>
                  <a:pt x="1539106" y="1493118"/>
                </a:cubicBezTo>
                <a:cubicBezTo>
                  <a:pt x="1539106" y="1493118"/>
                  <a:pt x="1540065" y="1489538"/>
                  <a:pt x="1543648" y="1490496"/>
                </a:cubicBezTo>
                <a:close/>
                <a:moveTo>
                  <a:pt x="842043" y="1487867"/>
                </a:moveTo>
                <a:cubicBezTo>
                  <a:pt x="844879" y="1486878"/>
                  <a:pt x="847830" y="1486609"/>
                  <a:pt x="851125" y="1488898"/>
                </a:cubicBezTo>
                <a:cubicBezTo>
                  <a:pt x="852266" y="1489645"/>
                  <a:pt x="854271" y="1490369"/>
                  <a:pt x="856325" y="1489626"/>
                </a:cubicBezTo>
                <a:cubicBezTo>
                  <a:pt x="859057" y="1488349"/>
                  <a:pt x="861155" y="1489331"/>
                  <a:pt x="862687" y="1491967"/>
                </a:cubicBezTo>
                <a:cubicBezTo>
                  <a:pt x="863850" y="1493577"/>
                  <a:pt x="865505" y="1494138"/>
                  <a:pt x="867252" y="1494956"/>
                </a:cubicBezTo>
                <a:cubicBezTo>
                  <a:pt x="871703" y="1496827"/>
                  <a:pt x="874541" y="1499861"/>
                  <a:pt x="874926" y="1504941"/>
                </a:cubicBezTo>
                <a:cubicBezTo>
                  <a:pt x="875083" y="1507784"/>
                  <a:pt x="876874" y="1510327"/>
                  <a:pt x="879997" y="1510937"/>
                </a:cubicBezTo>
                <a:cubicBezTo>
                  <a:pt x="880368" y="1511963"/>
                  <a:pt x="880738" y="1512988"/>
                  <a:pt x="881110" y="1514014"/>
                </a:cubicBezTo>
                <a:cubicBezTo>
                  <a:pt x="879262" y="1516132"/>
                  <a:pt x="878792" y="1518042"/>
                  <a:pt x="880253" y="1521283"/>
                </a:cubicBezTo>
                <a:cubicBezTo>
                  <a:pt x="882179" y="1525806"/>
                  <a:pt x="881422" y="1530139"/>
                  <a:pt x="876657" y="1533021"/>
                </a:cubicBezTo>
                <a:cubicBezTo>
                  <a:pt x="874439" y="1534113"/>
                  <a:pt x="875602" y="1535722"/>
                  <a:pt x="876158" y="1537261"/>
                </a:cubicBezTo>
                <a:cubicBezTo>
                  <a:pt x="877085" y="1539826"/>
                  <a:pt x="876243" y="1540710"/>
                  <a:pt x="873539" y="1539657"/>
                </a:cubicBezTo>
                <a:cubicBezTo>
                  <a:pt x="869532" y="1538206"/>
                  <a:pt x="867477" y="1538949"/>
                  <a:pt x="868282" y="1543587"/>
                </a:cubicBezTo>
                <a:cubicBezTo>
                  <a:pt x="868396" y="1544706"/>
                  <a:pt x="868089" y="1546267"/>
                  <a:pt x="866598" y="1545356"/>
                </a:cubicBezTo>
                <a:cubicBezTo>
                  <a:pt x="862056" y="1543228"/>
                  <a:pt x="860487" y="1546115"/>
                  <a:pt x="858753" y="1549352"/>
                </a:cubicBezTo>
                <a:cubicBezTo>
                  <a:pt x="858682" y="1549959"/>
                  <a:pt x="857654" y="1550329"/>
                  <a:pt x="857141" y="1550516"/>
                </a:cubicBezTo>
                <a:cubicBezTo>
                  <a:pt x="849679" y="1549152"/>
                  <a:pt x="842290" y="1547183"/>
                  <a:pt x="834737" y="1545565"/>
                </a:cubicBezTo>
                <a:cubicBezTo>
                  <a:pt x="831263" y="1544789"/>
                  <a:pt x="827961" y="1540474"/>
                  <a:pt x="825287" y="1537091"/>
                </a:cubicBezTo>
                <a:cubicBezTo>
                  <a:pt x="824217" y="1535738"/>
                  <a:pt x="823918" y="1534107"/>
                  <a:pt x="821913" y="1533381"/>
                </a:cubicBezTo>
                <a:cubicBezTo>
                  <a:pt x="819909" y="1532656"/>
                  <a:pt x="819609" y="1531025"/>
                  <a:pt x="820081" y="1529115"/>
                </a:cubicBezTo>
                <a:cubicBezTo>
                  <a:pt x="820223" y="1527904"/>
                  <a:pt x="820787" y="1526250"/>
                  <a:pt x="819645" y="1525503"/>
                </a:cubicBezTo>
                <a:cubicBezTo>
                  <a:pt x="815965" y="1523354"/>
                  <a:pt x="814874" y="1521138"/>
                  <a:pt x="818426" y="1518114"/>
                </a:cubicBezTo>
                <a:cubicBezTo>
                  <a:pt x="819361" y="1517486"/>
                  <a:pt x="819061" y="1515855"/>
                  <a:pt x="817756" y="1515457"/>
                </a:cubicBezTo>
                <a:cubicBezTo>
                  <a:pt x="813398" y="1513843"/>
                  <a:pt x="816530" y="1511261"/>
                  <a:pt x="816301" y="1509024"/>
                </a:cubicBezTo>
                <a:cubicBezTo>
                  <a:pt x="815596" y="1501450"/>
                  <a:pt x="824298" y="1500624"/>
                  <a:pt x="825525" y="1494381"/>
                </a:cubicBezTo>
                <a:cubicBezTo>
                  <a:pt x="825904" y="1492215"/>
                  <a:pt x="831247" y="1491733"/>
                  <a:pt x="833650" y="1491155"/>
                </a:cubicBezTo>
                <a:cubicBezTo>
                  <a:pt x="836485" y="1490565"/>
                  <a:pt x="839206" y="1488856"/>
                  <a:pt x="842043" y="1487867"/>
                </a:cubicBezTo>
                <a:close/>
                <a:moveTo>
                  <a:pt x="4147559" y="1484545"/>
                </a:moveTo>
                <a:lnTo>
                  <a:pt x="4144678" y="1487191"/>
                </a:lnTo>
                <a:lnTo>
                  <a:pt x="4157032" y="1490501"/>
                </a:lnTo>
                <a:lnTo>
                  <a:pt x="4164524" y="1492510"/>
                </a:lnTo>
                <a:lnTo>
                  <a:pt x="4168282" y="1489160"/>
                </a:lnTo>
                <a:lnTo>
                  <a:pt x="4160224" y="1487072"/>
                </a:lnTo>
                <a:close/>
                <a:moveTo>
                  <a:pt x="55449" y="1460759"/>
                </a:moveTo>
                <a:lnTo>
                  <a:pt x="55834" y="1460817"/>
                </a:lnTo>
                <a:lnTo>
                  <a:pt x="55708" y="1461121"/>
                </a:lnTo>
                <a:close/>
                <a:moveTo>
                  <a:pt x="7962086" y="1437716"/>
                </a:moveTo>
                <a:lnTo>
                  <a:pt x="7963118" y="1438147"/>
                </a:lnTo>
                <a:cubicBezTo>
                  <a:pt x="7963118" y="1438147"/>
                  <a:pt x="7963118" y="1438147"/>
                  <a:pt x="7964921" y="1442533"/>
                </a:cubicBezTo>
                <a:close/>
                <a:moveTo>
                  <a:pt x="11648643" y="1406296"/>
                </a:moveTo>
                <a:lnTo>
                  <a:pt x="11648664" y="1406793"/>
                </a:lnTo>
                <a:lnTo>
                  <a:pt x="11648240" y="1406415"/>
                </a:lnTo>
                <a:close/>
                <a:moveTo>
                  <a:pt x="4505374" y="1403113"/>
                </a:moveTo>
                <a:lnTo>
                  <a:pt x="4422809" y="1469278"/>
                </a:lnTo>
                <a:lnTo>
                  <a:pt x="4451788" y="1477692"/>
                </a:lnTo>
                <a:lnTo>
                  <a:pt x="4512832" y="1429125"/>
                </a:lnTo>
                <a:lnTo>
                  <a:pt x="4532701" y="1415605"/>
                </a:lnTo>
                <a:lnTo>
                  <a:pt x="4521088" y="1411664"/>
                </a:lnTo>
                <a:close/>
                <a:moveTo>
                  <a:pt x="1051478" y="1397103"/>
                </a:moveTo>
                <a:cubicBezTo>
                  <a:pt x="1057007" y="1397206"/>
                  <a:pt x="1062431" y="1398190"/>
                  <a:pt x="1066451" y="1403466"/>
                </a:cubicBezTo>
                <a:cubicBezTo>
                  <a:pt x="1067228" y="1404446"/>
                  <a:pt x="1069738" y="1404379"/>
                  <a:pt x="1070172" y="1406746"/>
                </a:cubicBezTo>
                <a:cubicBezTo>
                  <a:pt x="1071203" y="1413103"/>
                  <a:pt x="1076359" y="1413344"/>
                  <a:pt x="1080498" y="1413108"/>
                </a:cubicBezTo>
                <a:cubicBezTo>
                  <a:pt x="1083382" y="1412907"/>
                  <a:pt x="1085279" y="1413482"/>
                  <a:pt x="1087312" y="1414431"/>
                </a:cubicBezTo>
                <a:cubicBezTo>
                  <a:pt x="1093274" y="1416901"/>
                  <a:pt x="1094917" y="1422614"/>
                  <a:pt x="1097921" y="1427417"/>
                </a:cubicBezTo>
                <a:cubicBezTo>
                  <a:pt x="1100416" y="1431983"/>
                  <a:pt x="1099519" y="1436513"/>
                  <a:pt x="1099130" y="1441278"/>
                </a:cubicBezTo>
                <a:cubicBezTo>
                  <a:pt x="1098875" y="1446417"/>
                  <a:pt x="1097231" y="1451217"/>
                  <a:pt x="1091627" y="1453244"/>
                </a:cubicBezTo>
                <a:cubicBezTo>
                  <a:pt x="1090879" y="1453514"/>
                  <a:pt x="1090639" y="1454021"/>
                  <a:pt x="1091043" y="1455136"/>
                </a:cubicBezTo>
                <a:cubicBezTo>
                  <a:pt x="1088427" y="1456082"/>
                  <a:pt x="1086186" y="1456892"/>
                  <a:pt x="1083570" y="1457839"/>
                </a:cubicBezTo>
                <a:cubicBezTo>
                  <a:pt x="1080762" y="1455909"/>
                  <a:pt x="1077159" y="1457632"/>
                  <a:pt x="1073872" y="1456719"/>
                </a:cubicBezTo>
                <a:cubicBezTo>
                  <a:pt x="1070584" y="1455803"/>
                  <a:pt x="1067805" y="1455126"/>
                  <a:pt x="1065847" y="1452048"/>
                </a:cubicBezTo>
                <a:cubicBezTo>
                  <a:pt x="1064129" y="1448464"/>
                  <a:pt x="1061051" y="1445791"/>
                  <a:pt x="1058107" y="1443491"/>
                </a:cubicBezTo>
                <a:cubicBezTo>
                  <a:pt x="1055029" y="1440819"/>
                  <a:pt x="1052324" y="1438012"/>
                  <a:pt x="1049381" y="1435711"/>
                </a:cubicBezTo>
                <a:cubicBezTo>
                  <a:pt x="1046676" y="1432905"/>
                  <a:pt x="1042612" y="1431010"/>
                  <a:pt x="1038203" y="1430500"/>
                </a:cubicBezTo>
                <a:cubicBezTo>
                  <a:pt x="1036590" y="1426036"/>
                  <a:pt x="1034976" y="1421573"/>
                  <a:pt x="1033363" y="1417108"/>
                </a:cubicBezTo>
                <a:cubicBezTo>
                  <a:pt x="1035201" y="1415182"/>
                  <a:pt x="1035784" y="1413290"/>
                  <a:pt x="1035964" y="1410281"/>
                </a:cubicBezTo>
                <a:cubicBezTo>
                  <a:pt x="1036383" y="1406766"/>
                  <a:pt x="1038939" y="1403319"/>
                  <a:pt x="1042302" y="1402102"/>
                </a:cubicBezTo>
                <a:cubicBezTo>
                  <a:pt x="1045664" y="1400887"/>
                  <a:pt x="1048384" y="1399062"/>
                  <a:pt x="1051478" y="1397103"/>
                </a:cubicBezTo>
                <a:close/>
                <a:moveTo>
                  <a:pt x="2814110" y="1396697"/>
                </a:moveTo>
                <a:lnTo>
                  <a:pt x="2813589" y="1398643"/>
                </a:lnTo>
                <a:cubicBezTo>
                  <a:pt x="2813589" y="1398643"/>
                  <a:pt x="2813589" y="1398643"/>
                  <a:pt x="2809201" y="1397467"/>
                </a:cubicBezTo>
                <a:close/>
                <a:moveTo>
                  <a:pt x="11739699" y="1379269"/>
                </a:moveTo>
                <a:lnTo>
                  <a:pt x="11737608" y="1382292"/>
                </a:lnTo>
                <a:cubicBezTo>
                  <a:pt x="11736267" y="1383764"/>
                  <a:pt x="11735810" y="1384613"/>
                  <a:pt x="11737150" y="1386708"/>
                </a:cubicBezTo>
                <a:cubicBezTo>
                  <a:pt x="11738819" y="1388705"/>
                  <a:pt x="11740244" y="1388100"/>
                  <a:pt x="11741781" y="1387282"/>
                </a:cubicBezTo>
                <a:cubicBezTo>
                  <a:pt x="11742878" y="1386776"/>
                  <a:pt x="11743549" y="1386040"/>
                  <a:pt x="11744546" y="1385206"/>
                </a:cubicBezTo>
                <a:cubicBezTo>
                  <a:pt x="11748866" y="1381773"/>
                  <a:pt x="11750257" y="1382248"/>
                  <a:pt x="11751501" y="1387580"/>
                </a:cubicBezTo>
                <a:cubicBezTo>
                  <a:pt x="11751680" y="1388776"/>
                  <a:pt x="11751958" y="1390296"/>
                  <a:pt x="11753235" y="1390984"/>
                </a:cubicBezTo>
                <a:cubicBezTo>
                  <a:pt x="11754838" y="1391574"/>
                  <a:pt x="11755755" y="1389873"/>
                  <a:pt x="11756752" y="1389039"/>
                </a:cubicBezTo>
                <a:cubicBezTo>
                  <a:pt x="11757636" y="1388417"/>
                  <a:pt x="11758307" y="1387682"/>
                  <a:pt x="11758766" y="1386831"/>
                </a:cubicBezTo>
                <a:cubicBezTo>
                  <a:pt x="11760058" y="1385196"/>
                  <a:pt x="11761207" y="1384718"/>
                  <a:pt x="11762211" y="1385019"/>
                </a:cubicBezTo>
                <a:cubicBezTo>
                  <a:pt x="11763216" y="1385320"/>
                  <a:pt x="11764075" y="1386400"/>
                  <a:pt x="11764786" y="1387881"/>
                </a:cubicBezTo>
                <a:cubicBezTo>
                  <a:pt x="11766095" y="1391054"/>
                  <a:pt x="11767175" y="1394653"/>
                  <a:pt x="11768484" y="1397828"/>
                </a:cubicBezTo>
                <a:cubicBezTo>
                  <a:pt x="11769990" y="1401656"/>
                  <a:pt x="11772264" y="1405075"/>
                  <a:pt x="11776698" y="1404996"/>
                </a:cubicBezTo>
                <a:cubicBezTo>
                  <a:pt x="11780151" y="1405210"/>
                  <a:pt x="11780854" y="1406961"/>
                  <a:pt x="11781313" y="1409675"/>
                </a:cubicBezTo>
                <a:cubicBezTo>
                  <a:pt x="11782214" y="1415647"/>
                  <a:pt x="11784325" y="1420899"/>
                  <a:pt x="11790967" y="1422831"/>
                </a:cubicBezTo>
                <a:cubicBezTo>
                  <a:pt x="11792685" y="1423208"/>
                  <a:pt x="11792768" y="1424075"/>
                  <a:pt x="11792178" y="1425678"/>
                </a:cubicBezTo>
                <a:cubicBezTo>
                  <a:pt x="11787416" y="1436554"/>
                  <a:pt x="11787074" y="1447890"/>
                  <a:pt x="11788677" y="1459178"/>
                </a:cubicBezTo>
                <a:cubicBezTo>
                  <a:pt x="11789136" y="1461893"/>
                  <a:pt x="11788023" y="1462939"/>
                  <a:pt x="11786141" y="1464394"/>
                </a:cubicBezTo>
                <a:cubicBezTo>
                  <a:pt x="11781952" y="1467075"/>
                  <a:pt x="11777323" y="1470067"/>
                  <a:pt x="11776520" y="1475121"/>
                </a:cubicBezTo>
                <a:cubicBezTo>
                  <a:pt x="11775719" y="1480176"/>
                  <a:pt x="11773052" y="1482578"/>
                  <a:pt x="11769092" y="1484835"/>
                </a:cubicBezTo>
                <a:cubicBezTo>
                  <a:pt x="11767881" y="1485554"/>
                  <a:pt x="11766883" y="1486387"/>
                  <a:pt x="11765558" y="1487319"/>
                </a:cubicBezTo>
                <a:cubicBezTo>
                  <a:pt x="11759471" y="1491995"/>
                  <a:pt x="11753188" y="1496017"/>
                  <a:pt x="11744991" y="1495441"/>
                </a:cubicBezTo>
                <a:cubicBezTo>
                  <a:pt x="11743486" y="1495179"/>
                  <a:pt x="11743027" y="1496028"/>
                  <a:pt x="11742455" y="1497092"/>
                </a:cubicBezTo>
                <a:cubicBezTo>
                  <a:pt x="11740949" y="1500395"/>
                  <a:pt x="11742570" y="1511142"/>
                  <a:pt x="11745090" y="1513598"/>
                </a:cubicBezTo>
                <a:cubicBezTo>
                  <a:pt x="11749196" y="1517182"/>
                  <a:pt x="11751978" y="1521697"/>
                  <a:pt x="11753222" y="1527030"/>
                </a:cubicBezTo>
                <a:cubicBezTo>
                  <a:pt x="11755170" y="1534114"/>
                  <a:pt x="11756364" y="1541066"/>
                  <a:pt x="11757984" y="1548248"/>
                </a:cubicBezTo>
                <a:cubicBezTo>
                  <a:pt x="11758573" y="1550212"/>
                  <a:pt x="11757477" y="1550718"/>
                  <a:pt x="11756053" y="1551322"/>
                </a:cubicBezTo>
                <a:cubicBezTo>
                  <a:pt x="11749706" y="1553937"/>
                  <a:pt x="11749706" y="1553937"/>
                  <a:pt x="11752666" y="1559647"/>
                </a:cubicBezTo>
                <a:cubicBezTo>
                  <a:pt x="11755204" y="1565128"/>
                  <a:pt x="11754270" y="1567368"/>
                  <a:pt x="11748266" y="1569345"/>
                </a:cubicBezTo>
                <a:cubicBezTo>
                  <a:pt x="11745647" y="1570129"/>
                  <a:pt x="11742915" y="1571125"/>
                  <a:pt x="11741950" y="1574446"/>
                </a:cubicBezTo>
                <a:cubicBezTo>
                  <a:pt x="11739855" y="1582919"/>
                  <a:pt x="11733769" y="1587594"/>
                  <a:pt x="11725899" y="1590487"/>
                </a:cubicBezTo>
                <a:cubicBezTo>
                  <a:pt x="11720761" y="1592382"/>
                  <a:pt x="11715100" y="1593721"/>
                  <a:pt x="11710469" y="1596712"/>
                </a:cubicBezTo>
                <a:cubicBezTo>
                  <a:pt x="11709586" y="1597333"/>
                  <a:pt x="11708490" y="1597841"/>
                  <a:pt x="11707540" y="1597055"/>
                </a:cubicBezTo>
                <a:cubicBezTo>
                  <a:pt x="11703140" y="1592489"/>
                  <a:pt x="11698542" y="1594401"/>
                  <a:pt x="11693731" y="1596198"/>
                </a:cubicBezTo>
                <a:cubicBezTo>
                  <a:pt x="11692307" y="1596803"/>
                  <a:pt x="11690556" y="1597506"/>
                  <a:pt x="11688871" y="1596049"/>
                </a:cubicBezTo>
                <a:cubicBezTo>
                  <a:pt x="11684240" y="1591909"/>
                  <a:pt x="11678366" y="1589568"/>
                  <a:pt x="11673279" y="1586278"/>
                </a:cubicBezTo>
                <a:cubicBezTo>
                  <a:pt x="11668925" y="1583660"/>
                  <a:pt x="11664687" y="1580827"/>
                  <a:pt x="11662136" y="1575886"/>
                </a:cubicBezTo>
                <a:cubicBezTo>
                  <a:pt x="11661120" y="1573695"/>
                  <a:pt x="11659615" y="1573432"/>
                  <a:pt x="11657537" y="1574233"/>
                </a:cubicBezTo>
                <a:cubicBezTo>
                  <a:pt x="11656326" y="1574952"/>
                  <a:pt x="11655230" y="1575458"/>
                  <a:pt x="11653921" y="1575850"/>
                </a:cubicBezTo>
                <a:cubicBezTo>
                  <a:pt x="11652613" y="1576242"/>
                  <a:pt x="11650666" y="1576290"/>
                  <a:pt x="11650060" y="1574868"/>
                </a:cubicBezTo>
                <a:cubicBezTo>
                  <a:pt x="11649241" y="1573330"/>
                  <a:pt x="11650583" y="1571858"/>
                  <a:pt x="11651909" y="1570927"/>
                </a:cubicBezTo>
                <a:cubicBezTo>
                  <a:pt x="11652464" y="1570403"/>
                  <a:pt x="11653119" y="1570206"/>
                  <a:pt x="11653888" y="1569798"/>
                </a:cubicBezTo>
                <a:cubicBezTo>
                  <a:pt x="11659926" y="1566742"/>
                  <a:pt x="11660368" y="1562865"/>
                  <a:pt x="11654967" y="1559134"/>
                </a:cubicBezTo>
                <a:cubicBezTo>
                  <a:pt x="11654018" y="1558348"/>
                  <a:pt x="11652955" y="1557776"/>
                  <a:pt x="11652219" y="1557104"/>
                </a:cubicBezTo>
                <a:cubicBezTo>
                  <a:pt x="11650959" y="1555876"/>
                  <a:pt x="11649029" y="1555385"/>
                  <a:pt x="11649862" y="1552817"/>
                </a:cubicBezTo>
                <a:cubicBezTo>
                  <a:pt x="11650353" y="1550888"/>
                  <a:pt x="11651663" y="1550495"/>
                  <a:pt x="11653396" y="1550333"/>
                </a:cubicBezTo>
                <a:cubicBezTo>
                  <a:pt x="11656654" y="1549893"/>
                  <a:pt x="11657242" y="1548289"/>
                  <a:pt x="11655934" y="1545116"/>
                </a:cubicBezTo>
                <a:cubicBezTo>
                  <a:pt x="11654215" y="1541173"/>
                  <a:pt x="11653052" y="1536706"/>
                  <a:pt x="11655556" y="1532569"/>
                </a:cubicBezTo>
                <a:cubicBezTo>
                  <a:pt x="11657601" y="1529282"/>
                  <a:pt x="11657667" y="1527124"/>
                  <a:pt x="11653379" y="1525911"/>
                </a:cubicBezTo>
                <a:cubicBezTo>
                  <a:pt x="11652414" y="1525665"/>
                  <a:pt x="11651466" y="1524880"/>
                  <a:pt x="11651728" y="1523375"/>
                </a:cubicBezTo>
                <a:cubicBezTo>
                  <a:pt x="11651874" y="1522082"/>
                  <a:pt x="11653281" y="1522018"/>
                  <a:pt x="11654264" y="1521723"/>
                </a:cubicBezTo>
                <a:cubicBezTo>
                  <a:pt x="11656554" y="1521037"/>
                  <a:pt x="11659058" y="1520466"/>
                  <a:pt x="11661038" y="1519338"/>
                </a:cubicBezTo>
                <a:cubicBezTo>
                  <a:pt x="11666845" y="1516707"/>
                  <a:pt x="11668007" y="1514041"/>
                  <a:pt x="11667336" y="1507645"/>
                </a:cubicBezTo>
                <a:cubicBezTo>
                  <a:pt x="11666730" y="1502656"/>
                  <a:pt x="11666878" y="1497797"/>
                  <a:pt x="11669184" y="1493006"/>
                </a:cubicBezTo>
                <a:cubicBezTo>
                  <a:pt x="11670805" y="1489490"/>
                  <a:pt x="11672735" y="1489981"/>
                  <a:pt x="11674928" y="1492534"/>
                </a:cubicBezTo>
                <a:cubicBezTo>
                  <a:pt x="11676498" y="1494203"/>
                  <a:pt x="11676531" y="1496690"/>
                  <a:pt x="11677449" y="1498554"/>
                </a:cubicBezTo>
                <a:cubicBezTo>
                  <a:pt x="11678462" y="1500747"/>
                  <a:pt x="11679886" y="1503708"/>
                  <a:pt x="11682504" y="1502924"/>
                </a:cubicBezTo>
                <a:cubicBezTo>
                  <a:pt x="11685563" y="1501829"/>
                  <a:pt x="11685875" y="1498705"/>
                  <a:pt x="11684991" y="1495760"/>
                </a:cubicBezTo>
                <a:cubicBezTo>
                  <a:pt x="11684598" y="1494452"/>
                  <a:pt x="11683781" y="1492914"/>
                  <a:pt x="11683501" y="1491392"/>
                </a:cubicBezTo>
                <a:cubicBezTo>
                  <a:pt x="11683010" y="1489757"/>
                  <a:pt x="11682848" y="1488023"/>
                  <a:pt x="11684925" y="1487222"/>
                </a:cubicBezTo>
                <a:cubicBezTo>
                  <a:pt x="11686677" y="1486519"/>
                  <a:pt x="11687608" y="1487844"/>
                  <a:pt x="11688312" y="1489595"/>
                </a:cubicBezTo>
                <a:cubicBezTo>
                  <a:pt x="11689131" y="1491132"/>
                  <a:pt x="11689835" y="1492883"/>
                  <a:pt x="11690766" y="1494208"/>
                </a:cubicBezTo>
                <a:cubicBezTo>
                  <a:pt x="11691994" y="1496516"/>
                  <a:pt x="11694464" y="1497023"/>
                  <a:pt x="11696641" y="1496549"/>
                </a:cubicBezTo>
                <a:cubicBezTo>
                  <a:pt x="11698817" y="1496077"/>
                  <a:pt x="11698997" y="1493705"/>
                  <a:pt x="11699161" y="1491873"/>
                </a:cubicBezTo>
                <a:cubicBezTo>
                  <a:pt x="11699979" y="1482713"/>
                  <a:pt x="11691060" y="1473795"/>
                  <a:pt x="11681423" y="1474363"/>
                </a:cubicBezTo>
                <a:cubicBezTo>
                  <a:pt x="11676875" y="1474655"/>
                  <a:pt x="11675942" y="1473331"/>
                  <a:pt x="11677349" y="1469700"/>
                </a:cubicBezTo>
                <a:cubicBezTo>
                  <a:pt x="11679688" y="1463829"/>
                  <a:pt x="11679083" y="1458839"/>
                  <a:pt x="11674583" y="1453946"/>
                </a:cubicBezTo>
                <a:cubicBezTo>
                  <a:pt x="11673323" y="1452719"/>
                  <a:pt x="11671556" y="1450396"/>
                  <a:pt x="11673455" y="1448400"/>
                </a:cubicBezTo>
                <a:cubicBezTo>
                  <a:pt x="11677593" y="1443773"/>
                  <a:pt x="11677872" y="1438163"/>
                  <a:pt x="11677397" y="1432421"/>
                </a:cubicBezTo>
                <a:cubicBezTo>
                  <a:pt x="11676988" y="1428086"/>
                  <a:pt x="11677954" y="1424765"/>
                  <a:pt x="11682355" y="1422199"/>
                </a:cubicBezTo>
                <a:cubicBezTo>
                  <a:pt x="11687083" y="1419535"/>
                  <a:pt x="11686854" y="1416394"/>
                  <a:pt x="11682207" y="1412794"/>
                </a:cubicBezTo>
                <a:cubicBezTo>
                  <a:pt x="11681995" y="1412679"/>
                  <a:pt x="11681782" y="1412564"/>
                  <a:pt x="11681569" y="1412450"/>
                </a:cubicBezTo>
                <a:cubicBezTo>
                  <a:pt x="11679769" y="1411206"/>
                  <a:pt x="11678083" y="1409749"/>
                  <a:pt x="11678902" y="1407721"/>
                </a:cubicBezTo>
                <a:cubicBezTo>
                  <a:pt x="11679507" y="1405579"/>
                  <a:pt x="11681732" y="1407052"/>
                  <a:pt x="11683140" y="1406986"/>
                </a:cubicBezTo>
                <a:cubicBezTo>
                  <a:pt x="11691779" y="1407252"/>
                  <a:pt x="11697408" y="1403426"/>
                  <a:pt x="11700254" y="1395085"/>
                </a:cubicBezTo>
                <a:cubicBezTo>
                  <a:pt x="11701203" y="1392305"/>
                  <a:pt x="11702855" y="1391274"/>
                  <a:pt x="11705556" y="1391358"/>
                </a:cubicBezTo>
                <a:cubicBezTo>
                  <a:pt x="11707175" y="1391407"/>
                  <a:pt x="11708680" y="1391670"/>
                  <a:pt x="11710300" y="1391720"/>
                </a:cubicBezTo>
                <a:cubicBezTo>
                  <a:pt x="11712460" y="1391786"/>
                  <a:pt x="11713786" y="1390854"/>
                  <a:pt x="11714391" y="1388711"/>
                </a:cubicBezTo>
                <a:lnTo>
                  <a:pt x="11714167" y="1386848"/>
                </a:lnTo>
                <a:close/>
                <a:moveTo>
                  <a:pt x="1348845" y="1376582"/>
                </a:moveTo>
                <a:cubicBezTo>
                  <a:pt x="1352929" y="1375158"/>
                  <a:pt x="1357177" y="1374770"/>
                  <a:pt x="1361922" y="1378064"/>
                </a:cubicBezTo>
                <a:cubicBezTo>
                  <a:pt x="1363565" y="1379141"/>
                  <a:pt x="1366451" y="1380185"/>
                  <a:pt x="1369407" y="1379116"/>
                </a:cubicBezTo>
                <a:cubicBezTo>
                  <a:pt x="1373340" y="1377276"/>
                  <a:pt x="1376360" y="1378691"/>
                  <a:pt x="1378568" y="1382485"/>
                </a:cubicBezTo>
                <a:cubicBezTo>
                  <a:pt x="1380242" y="1384803"/>
                  <a:pt x="1382624" y="1385610"/>
                  <a:pt x="1385139" y="1386788"/>
                </a:cubicBezTo>
                <a:cubicBezTo>
                  <a:pt x="1391547" y="1389483"/>
                  <a:pt x="1395634" y="1393849"/>
                  <a:pt x="1396187" y="1401163"/>
                </a:cubicBezTo>
                <a:cubicBezTo>
                  <a:pt x="1396413" y="1405258"/>
                  <a:pt x="1398990" y="1408918"/>
                  <a:pt x="1403489" y="1409797"/>
                </a:cubicBezTo>
                <a:cubicBezTo>
                  <a:pt x="1404022" y="1411274"/>
                  <a:pt x="1404556" y="1412751"/>
                  <a:pt x="1405090" y="1414228"/>
                </a:cubicBezTo>
                <a:cubicBezTo>
                  <a:pt x="1402429" y="1417276"/>
                  <a:pt x="1401752" y="1420025"/>
                  <a:pt x="1403857" y="1424693"/>
                </a:cubicBezTo>
                <a:cubicBezTo>
                  <a:pt x="1406629" y="1431206"/>
                  <a:pt x="1405539" y="1437444"/>
                  <a:pt x="1398680" y="1441594"/>
                </a:cubicBezTo>
                <a:cubicBezTo>
                  <a:pt x="1395485" y="1443165"/>
                  <a:pt x="1397159" y="1445482"/>
                  <a:pt x="1397960" y="1447698"/>
                </a:cubicBezTo>
                <a:cubicBezTo>
                  <a:pt x="1399295" y="1451390"/>
                  <a:pt x="1398083" y="1452663"/>
                  <a:pt x="1394191" y="1451148"/>
                </a:cubicBezTo>
                <a:cubicBezTo>
                  <a:pt x="1388421" y="1449059"/>
                  <a:pt x="1385463" y="1450128"/>
                  <a:pt x="1386623" y="1456807"/>
                </a:cubicBezTo>
                <a:cubicBezTo>
                  <a:pt x="1386786" y="1458418"/>
                  <a:pt x="1386345" y="1460665"/>
                  <a:pt x="1384199" y="1459353"/>
                </a:cubicBezTo>
                <a:cubicBezTo>
                  <a:pt x="1377657" y="1456290"/>
                  <a:pt x="1375399" y="1460448"/>
                  <a:pt x="1372903" y="1465107"/>
                </a:cubicBezTo>
                <a:cubicBezTo>
                  <a:pt x="1372800" y="1465980"/>
                  <a:pt x="1371321" y="1466514"/>
                  <a:pt x="1370582" y="1466781"/>
                </a:cubicBezTo>
                <a:cubicBezTo>
                  <a:pt x="1359840" y="1464819"/>
                  <a:pt x="1349202" y="1461985"/>
                  <a:pt x="1338327" y="1459654"/>
                </a:cubicBezTo>
                <a:cubicBezTo>
                  <a:pt x="1333327" y="1458539"/>
                  <a:pt x="1328572" y="1452324"/>
                  <a:pt x="1324722" y="1447453"/>
                </a:cubicBezTo>
                <a:cubicBezTo>
                  <a:pt x="1323181" y="1445506"/>
                  <a:pt x="1322750" y="1443156"/>
                  <a:pt x="1319866" y="1442112"/>
                </a:cubicBezTo>
                <a:cubicBezTo>
                  <a:pt x="1316980" y="1441068"/>
                  <a:pt x="1316549" y="1438720"/>
                  <a:pt x="1317226" y="1435970"/>
                </a:cubicBezTo>
                <a:cubicBezTo>
                  <a:pt x="1317432" y="1434226"/>
                  <a:pt x="1318244" y="1431846"/>
                  <a:pt x="1316601" y="1430770"/>
                </a:cubicBezTo>
                <a:cubicBezTo>
                  <a:pt x="1311302" y="1427675"/>
                  <a:pt x="1309732" y="1424485"/>
                  <a:pt x="1314845" y="1420130"/>
                </a:cubicBezTo>
                <a:cubicBezTo>
                  <a:pt x="1316190" y="1419228"/>
                  <a:pt x="1315760" y="1416879"/>
                  <a:pt x="1313880" y="1416305"/>
                </a:cubicBezTo>
                <a:cubicBezTo>
                  <a:pt x="1307606" y="1413981"/>
                  <a:pt x="1312114" y="1410263"/>
                  <a:pt x="1311787" y="1407043"/>
                </a:cubicBezTo>
                <a:cubicBezTo>
                  <a:pt x="1310770" y="1396138"/>
                  <a:pt x="1323299" y="1394949"/>
                  <a:pt x="1325066" y="1385960"/>
                </a:cubicBezTo>
                <a:cubicBezTo>
                  <a:pt x="1325610" y="1382843"/>
                  <a:pt x="1333301" y="1382149"/>
                  <a:pt x="1336762" y="1381316"/>
                </a:cubicBezTo>
                <a:cubicBezTo>
                  <a:pt x="1340844" y="1380465"/>
                  <a:pt x="1344762" y="1378004"/>
                  <a:pt x="1348845" y="1376582"/>
                </a:cubicBezTo>
                <a:close/>
                <a:moveTo>
                  <a:pt x="4458893" y="1374835"/>
                </a:moveTo>
                <a:lnTo>
                  <a:pt x="4458153" y="1375481"/>
                </a:lnTo>
                <a:cubicBezTo>
                  <a:pt x="4445922" y="1386276"/>
                  <a:pt x="4435657" y="1395622"/>
                  <a:pt x="4426494" y="1404517"/>
                </a:cubicBezTo>
                <a:cubicBezTo>
                  <a:pt x="4419518" y="1412510"/>
                  <a:pt x="4422105" y="1406320"/>
                  <a:pt x="4413330" y="1409926"/>
                </a:cubicBezTo>
                <a:cubicBezTo>
                  <a:pt x="4415131" y="1414314"/>
                  <a:pt x="4412548" y="1420502"/>
                  <a:pt x="4408157" y="1422307"/>
                </a:cubicBezTo>
                <a:cubicBezTo>
                  <a:pt x="4403773" y="1424109"/>
                  <a:pt x="4413330" y="1409926"/>
                  <a:pt x="4401964" y="1419721"/>
                </a:cubicBezTo>
                <a:cubicBezTo>
                  <a:pt x="4389579" y="1436354"/>
                  <a:pt x="4382997" y="1439059"/>
                  <a:pt x="4368708" y="1452859"/>
                </a:cubicBezTo>
                <a:lnTo>
                  <a:pt x="4368187" y="1453415"/>
                </a:lnTo>
                <a:lnTo>
                  <a:pt x="4381421" y="1457258"/>
                </a:lnTo>
                <a:lnTo>
                  <a:pt x="4386476" y="1452767"/>
                </a:lnTo>
                <a:lnTo>
                  <a:pt x="4478478" y="1388488"/>
                </a:lnTo>
                <a:lnTo>
                  <a:pt x="4476848" y="1388051"/>
                </a:lnTo>
                <a:cubicBezTo>
                  <a:pt x="4477726" y="1384759"/>
                  <a:pt x="4475773" y="1382179"/>
                  <a:pt x="4471905" y="1379891"/>
                </a:cubicBezTo>
                <a:close/>
                <a:moveTo>
                  <a:pt x="3359121" y="1367557"/>
                </a:moveTo>
                <a:lnTo>
                  <a:pt x="3308828" y="1376114"/>
                </a:lnTo>
                <a:lnTo>
                  <a:pt x="3279968" y="1380616"/>
                </a:lnTo>
                <a:lnTo>
                  <a:pt x="3266638" y="1403405"/>
                </a:lnTo>
                <a:cubicBezTo>
                  <a:pt x="3254298" y="1421209"/>
                  <a:pt x="3253064" y="1422990"/>
                  <a:pt x="3246586" y="1434478"/>
                </a:cubicBezTo>
                <a:lnTo>
                  <a:pt x="3244962" y="1437362"/>
                </a:lnTo>
                <a:lnTo>
                  <a:pt x="3304083" y="1424394"/>
                </a:lnTo>
                <a:cubicBezTo>
                  <a:pt x="3406002" y="1408202"/>
                  <a:pt x="3507635" y="1397962"/>
                  <a:pt x="3609546" y="1394424"/>
                </a:cubicBezTo>
                <a:lnTo>
                  <a:pt x="3708724" y="1394305"/>
                </a:lnTo>
                <a:lnTo>
                  <a:pt x="3718262" y="1383228"/>
                </a:lnTo>
                <a:lnTo>
                  <a:pt x="3638268" y="1378233"/>
                </a:lnTo>
                <a:cubicBezTo>
                  <a:pt x="3545038" y="1374414"/>
                  <a:pt x="3451674" y="1373569"/>
                  <a:pt x="3359055" y="1369647"/>
                </a:cubicBezTo>
                <a:close/>
                <a:moveTo>
                  <a:pt x="11516879" y="1358885"/>
                </a:moveTo>
                <a:cubicBezTo>
                  <a:pt x="11517682" y="1359318"/>
                  <a:pt x="11519291" y="1360183"/>
                  <a:pt x="11519259" y="1361203"/>
                </a:cubicBezTo>
                <a:cubicBezTo>
                  <a:pt x="11521332" y="1366981"/>
                  <a:pt x="11523220" y="1372141"/>
                  <a:pt x="11531256" y="1369737"/>
                </a:cubicBezTo>
                <a:cubicBezTo>
                  <a:pt x="11533945" y="1368596"/>
                  <a:pt x="11534069" y="1371253"/>
                  <a:pt x="11533606" y="1373075"/>
                </a:cubicBezTo>
                <a:cubicBezTo>
                  <a:pt x="11531137" y="1380548"/>
                  <a:pt x="11534351" y="1382280"/>
                  <a:pt x="11541337" y="1380865"/>
                </a:cubicBezTo>
                <a:cubicBezTo>
                  <a:pt x="11546067" y="1379787"/>
                  <a:pt x="11547241" y="1381456"/>
                  <a:pt x="11545080" y="1385470"/>
                </a:cubicBezTo>
                <a:cubicBezTo>
                  <a:pt x="11543782" y="1387878"/>
                  <a:pt x="11541464" y="1390255"/>
                  <a:pt x="11544865" y="1392605"/>
                </a:cubicBezTo>
                <a:cubicBezTo>
                  <a:pt x="11552038" y="1398541"/>
                  <a:pt x="11552227" y="1405893"/>
                  <a:pt x="11547932" y="1412902"/>
                </a:cubicBezTo>
                <a:cubicBezTo>
                  <a:pt x="11544720" y="1417904"/>
                  <a:pt x="11545030" y="1421178"/>
                  <a:pt x="11547566" y="1425134"/>
                </a:cubicBezTo>
                <a:cubicBezTo>
                  <a:pt x="11546701" y="1426739"/>
                  <a:pt x="11545835" y="1428345"/>
                  <a:pt x="11544971" y="1429951"/>
                </a:cubicBezTo>
                <a:cubicBezTo>
                  <a:pt x="11539654" y="1430194"/>
                  <a:pt x="11536069" y="1433960"/>
                  <a:pt x="11535114" y="1438624"/>
                </a:cubicBezTo>
                <a:cubicBezTo>
                  <a:pt x="11533230" y="1446931"/>
                  <a:pt x="11527791" y="1451252"/>
                  <a:pt x="11519971" y="1453254"/>
                </a:cubicBezTo>
                <a:cubicBezTo>
                  <a:pt x="11516881" y="1454179"/>
                  <a:pt x="11514006" y="1454702"/>
                  <a:pt x="11511688" y="1457079"/>
                </a:cubicBezTo>
                <a:cubicBezTo>
                  <a:pt x="11508507" y="1461062"/>
                  <a:pt x="11504797" y="1462170"/>
                  <a:pt x="11500592" y="1459388"/>
                </a:cubicBezTo>
                <a:cubicBezTo>
                  <a:pt x="11497378" y="1457656"/>
                  <a:pt x="11493884" y="1458363"/>
                  <a:pt x="11491813" y="1459319"/>
                </a:cubicBezTo>
                <a:cubicBezTo>
                  <a:pt x="11479791" y="1465273"/>
                  <a:pt x="11472555" y="1454642"/>
                  <a:pt x="11463466" y="1451299"/>
                </a:cubicBezTo>
                <a:cubicBezTo>
                  <a:pt x="11459633" y="1449752"/>
                  <a:pt x="11450914" y="1447644"/>
                  <a:pt x="11450820" y="1443969"/>
                </a:cubicBezTo>
                <a:cubicBezTo>
                  <a:pt x="11450322" y="1433343"/>
                  <a:pt x="11436133" y="1429842"/>
                  <a:pt x="11439157" y="1417488"/>
                </a:cubicBezTo>
                <a:cubicBezTo>
                  <a:pt x="11440084" y="1413844"/>
                  <a:pt x="11435538" y="1408805"/>
                  <a:pt x="11443142" y="1407205"/>
                </a:cubicBezTo>
                <a:cubicBezTo>
                  <a:pt x="11445399" y="1406867"/>
                  <a:pt x="11446293" y="1404242"/>
                  <a:pt x="11444903" y="1402974"/>
                </a:cubicBezTo>
                <a:cubicBezTo>
                  <a:pt x="11439769" y="1397102"/>
                  <a:pt x="11442117" y="1393706"/>
                  <a:pt x="11448731" y="1391054"/>
                </a:cubicBezTo>
                <a:cubicBezTo>
                  <a:pt x="11450801" y="1390097"/>
                  <a:pt x="11450276" y="1387224"/>
                  <a:pt x="11450337" y="1385185"/>
                </a:cubicBezTo>
                <a:cubicBezTo>
                  <a:pt x="11450026" y="1381911"/>
                  <a:pt x="11450921" y="1379286"/>
                  <a:pt x="11454415" y="1378578"/>
                </a:cubicBezTo>
                <a:cubicBezTo>
                  <a:pt x="11457907" y="1377870"/>
                  <a:pt x="11458803" y="1375245"/>
                  <a:pt x="11460903" y="1373269"/>
                </a:cubicBezTo>
                <a:cubicBezTo>
                  <a:pt x="11466158" y="1368332"/>
                  <a:pt x="11472677" y="1362004"/>
                  <a:pt x="11478611" y="1361576"/>
                </a:cubicBezTo>
                <a:cubicBezTo>
                  <a:pt x="11491502" y="1360751"/>
                  <a:pt x="11504205" y="1359307"/>
                  <a:pt x="11516879" y="1358885"/>
                </a:cubicBezTo>
                <a:close/>
                <a:moveTo>
                  <a:pt x="3740910" y="1353867"/>
                </a:moveTo>
                <a:lnTo>
                  <a:pt x="3732447" y="1354059"/>
                </a:lnTo>
                <a:lnTo>
                  <a:pt x="3742918" y="1354601"/>
                </a:lnTo>
                <a:lnTo>
                  <a:pt x="3743401" y="1354038"/>
                </a:lnTo>
                <a:close/>
                <a:moveTo>
                  <a:pt x="3664153" y="1349028"/>
                </a:moveTo>
                <a:lnTo>
                  <a:pt x="3660936" y="1351299"/>
                </a:lnTo>
                <a:lnTo>
                  <a:pt x="3667561" y="1351277"/>
                </a:lnTo>
                <a:close/>
                <a:moveTo>
                  <a:pt x="4366837" y="1348129"/>
                </a:moveTo>
                <a:lnTo>
                  <a:pt x="4317814" y="1392768"/>
                </a:lnTo>
                <a:lnTo>
                  <a:pt x="4279352" y="1429734"/>
                </a:lnTo>
                <a:lnTo>
                  <a:pt x="4301544" y="1434604"/>
                </a:lnTo>
                <a:lnTo>
                  <a:pt x="4322383" y="1410122"/>
                </a:lnTo>
                <a:cubicBezTo>
                  <a:pt x="4331094" y="1400131"/>
                  <a:pt x="4339168" y="1391687"/>
                  <a:pt x="4347039" y="1385887"/>
                </a:cubicBezTo>
                <a:cubicBezTo>
                  <a:pt x="4350910" y="1376602"/>
                  <a:pt x="4361821" y="1365711"/>
                  <a:pt x="4375469" y="1353691"/>
                </a:cubicBezTo>
                <a:lnTo>
                  <a:pt x="4377476" y="1351949"/>
                </a:lnTo>
                <a:close/>
                <a:moveTo>
                  <a:pt x="52386" y="1347265"/>
                </a:moveTo>
                <a:cubicBezTo>
                  <a:pt x="53684" y="1346936"/>
                  <a:pt x="54353" y="1347070"/>
                  <a:pt x="54508" y="1348441"/>
                </a:cubicBezTo>
                <a:cubicBezTo>
                  <a:pt x="55476" y="1353781"/>
                  <a:pt x="59401" y="1355854"/>
                  <a:pt x="63986" y="1357042"/>
                </a:cubicBezTo>
                <a:cubicBezTo>
                  <a:pt x="66067" y="1357621"/>
                  <a:pt x="67376" y="1358312"/>
                  <a:pt x="67262" y="1361023"/>
                </a:cubicBezTo>
                <a:cubicBezTo>
                  <a:pt x="66838" y="1364476"/>
                  <a:pt x="69321" y="1366527"/>
                  <a:pt x="72185" y="1368013"/>
                </a:cubicBezTo>
                <a:cubicBezTo>
                  <a:pt x="74555" y="1369293"/>
                  <a:pt x="77275" y="1370427"/>
                  <a:pt x="79644" y="1371707"/>
                </a:cubicBezTo>
                <a:cubicBezTo>
                  <a:pt x="80742" y="1372382"/>
                  <a:pt x="81515" y="1373141"/>
                  <a:pt x="81668" y="1373948"/>
                </a:cubicBezTo>
                <a:cubicBezTo>
                  <a:pt x="81821" y="1374757"/>
                  <a:pt x="81354" y="1375615"/>
                  <a:pt x="79974" y="1376489"/>
                </a:cubicBezTo>
                <a:cubicBezTo>
                  <a:pt x="79273" y="1376778"/>
                  <a:pt x="78645" y="1377242"/>
                  <a:pt x="78088" y="1377880"/>
                </a:cubicBezTo>
                <a:cubicBezTo>
                  <a:pt x="77357" y="1378591"/>
                  <a:pt x="75954" y="1379168"/>
                  <a:pt x="76285" y="1380467"/>
                </a:cubicBezTo>
                <a:cubicBezTo>
                  <a:pt x="76717" y="1381519"/>
                  <a:pt x="77881" y="1381859"/>
                  <a:pt x="78798" y="1382096"/>
                </a:cubicBezTo>
                <a:cubicBezTo>
                  <a:pt x="82857" y="1383500"/>
                  <a:pt x="83115" y="1384624"/>
                  <a:pt x="80085" y="1387715"/>
                </a:cubicBezTo>
                <a:cubicBezTo>
                  <a:pt x="79354" y="1388425"/>
                  <a:pt x="78725" y="1388889"/>
                  <a:pt x="78241" y="1389703"/>
                </a:cubicBezTo>
                <a:cubicBezTo>
                  <a:pt x="77478" y="1390836"/>
                  <a:pt x="76891" y="1391897"/>
                  <a:pt x="78312" y="1393361"/>
                </a:cubicBezTo>
                <a:cubicBezTo>
                  <a:pt x="79837" y="1394579"/>
                  <a:pt x="80537" y="1394291"/>
                  <a:pt x="81794" y="1393364"/>
                </a:cubicBezTo>
                <a:lnTo>
                  <a:pt x="84323" y="1391978"/>
                </a:lnTo>
                <a:lnTo>
                  <a:pt x="76335" y="1411281"/>
                </a:lnTo>
                <a:lnTo>
                  <a:pt x="74899" y="1410955"/>
                </a:lnTo>
                <a:cubicBezTo>
                  <a:pt x="73178" y="1411253"/>
                  <a:pt x="72344" y="1412210"/>
                  <a:pt x="72220" y="1413901"/>
                </a:cubicBezTo>
                <a:cubicBezTo>
                  <a:pt x="72127" y="1415169"/>
                  <a:pt x="72209" y="1416365"/>
                  <a:pt x="72116" y="1417632"/>
                </a:cubicBezTo>
                <a:cubicBezTo>
                  <a:pt x="71961" y="1419745"/>
                  <a:pt x="71023" y="1420950"/>
                  <a:pt x="68777" y="1421464"/>
                </a:cubicBezTo>
                <a:cubicBezTo>
                  <a:pt x="62039" y="1423007"/>
                  <a:pt x="58596" y="1427088"/>
                  <a:pt x="58101" y="1433849"/>
                </a:cubicBezTo>
                <a:cubicBezTo>
                  <a:pt x="57936" y="1434941"/>
                  <a:pt x="58903" y="1436796"/>
                  <a:pt x="57183" y="1437094"/>
                </a:cubicBezTo>
                <a:cubicBezTo>
                  <a:pt x="55535" y="1437568"/>
                  <a:pt x="54535" y="1436135"/>
                  <a:pt x="53711" y="1434629"/>
                </a:cubicBezTo>
                <a:cubicBezTo>
                  <a:pt x="53639" y="1434455"/>
                  <a:pt x="53567" y="1434279"/>
                  <a:pt x="53495" y="1434103"/>
                </a:cubicBezTo>
                <a:cubicBezTo>
                  <a:pt x="51064" y="1430186"/>
                  <a:pt x="48633" y="1429751"/>
                  <a:pt x="46170" y="1433224"/>
                </a:cubicBezTo>
                <a:cubicBezTo>
                  <a:pt x="43809" y="1436449"/>
                  <a:pt x="41141" y="1436932"/>
                  <a:pt x="37792" y="1436261"/>
                </a:cubicBezTo>
                <a:cubicBezTo>
                  <a:pt x="33352" y="1435423"/>
                  <a:pt x="28952" y="1435183"/>
                  <a:pt x="25005" y="1438036"/>
                </a:cubicBezTo>
                <a:cubicBezTo>
                  <a:pt x="23295" y="1439355"/>
                  <a:pt x="21626" y="1437788"/>
                  <a:pt x="20770" y="1436704"/>
                </a:cubicBezTo>
                <a:cubicBezTo>
                  <a:pt x="17320" y="1432797"/>
                  <a:pt x="13477" y="1431919"/>
                  <a:pt x="8706" y="1433266"/>
                </a:cubicBezTo>
                <a:cubicBezTo>
                  <a:pt x="5759" y="1434068"/>
                  <a:pt x="4801" y="1433233"/>
                  <a:pt x="5399" y="1429709"/>
                </a:cubicBezTo>
                <a:cubicBezTo>
                  <a:pt x="6012" y="1425973"/>
                  <a:pt x="4761" y="1422184"/>
                  <a:pt x="2455" y="1419316"/>
                </a:cubicBezTo>
                <a:lnTo>
                  <a:pt x="0" y="1418027"/>
                </a:lnTo>
                <a:lnTo>
                  <a:pt x="0" y="1367117"/>
                </a:lnTo>
                <a:lnTo>
                  <a:pt x="2133" y="1363019"/>
                </a:lnTo>
                <a:cubicBezTo>
                  <a:pt x="2968" y="1362061"/>
                  <a:pt x="3699" y="1361350"/>
                  <a:pt x="4359" y="1360463"/>
                </a:cubicBezTo>
                <a:cubicBezTo>
                  <a:pt x="6441" y="1357558"/>
                  <a:pt x="8532" y="1355674"/>
                  <a:pt x="12541" y="1355459"/>
                </a:cubicBezTo>
                <a:cubicBezTo>
                  <a:pt x="16549" y="1355245"/>
                  <a:pt x="19259" y="1351876"/>
                  <a:pt x="21691" y="1348826"/>
                </a:cubicBezTo>
                <a:cubicBezTo>
                  <a:pt x="22980" y="1347476"/>
                  <a:pt x="23886" y="1346694"/>
                  <a:pt x="25968" y="1347272"/>
                </a:cubicBezTo>
                <a:cubicBezTo>
                  <a:pt x="34643" y="1349441"/>
                  <a:pt x="43515" y="1350094"/>
                  <a:pt x="52386" y="1347265"/>
                </a:cubicBezTo>
                <a:close/>
                <a:moveTo>
                  <a:pt x="4310174" y="1327800"/>
                </a:moveTo>
                <a:lnTo>
                  <a:pt x="4309830" y="1328105"/>
                </a:lnTo>
                <a:cubicBezTo>
                  <a:pt x="4289854" y="1346571"/>
                  <a:pt x="4269779" y="1366356"/>
                  <a:pt x="4256228" y="1377054"/>
                </a:cubicBezTo>
                <a:cubicBezTo>
                  <a:pt x="4240485" y="1388653"/>
                  <a:pt x="4234290" y="1386069"/>
                  <a:pt x="4224739" y="1400251"/>
                </a:cubicBezTo>
                <a:cubicBezTo>
                  <a:pt x="4220347" y="1402054"/>
                  <a:pt x="4217960" y="1405600"/>
                  <a:pt x="4215796" y="1409695"/>
                </a:cubicBezTo>
                <a:lnTo>
                  <a:pt x="4212587" y="1415082"/>
                </a:lnTo>
                <a:lnTo>
                  <a:pt x="4238157" y="1420693"/>
                </a:lnTo>
                <a:lnTo>
                  <a:pt x="4238685" y="1420158"/>
                </a:lnTo>
                <a:cubicBezTo>
                  <a:pt x="4257564" y="1402145"/>
                  <a:pt x="4276993" y="1383905"/>
                  <a:pt x="4293126" y="1367017"/>
                </a:cubicBezTo>
                <a:cubicBezTo>
                  <a:pt x="4304489" y="1357222"/>
                  <a:pt x="4314040" y="1343039"/>
                  <a:pt x="4321014" y="1335046"/>
                </a:cubicBezTo>
                <a:cubicBezTo>
                  <a:pt x="4321014" y="1335046"/>
                  <a:pt x="4318429" y="1341236"/>
                  <a:pt x="4318429" y="1341236"/>
                </a:cubicBezTo>
                <a:lnTo>
                  <a:pt x="4326927" y="1333810"/>
                </a:lnTo>
                <a:close/>
                <a:moveTo>
                  <a:pt x="5980953" y="1318339"/>
                </a:moveTo>
                <a:lnTo>
                  <a:pt x="5833013" y="1332381"/>
                </a:lnTo>
                <a:cubicBezTo>
                  <a:pt x="5780221" y="1338829"/>
                  <a:pt x="5727641" y="1347269"/>
                  <a:pt x="5675794" y="1359371"/>
                </a:cubicBezTo>
                <a:cubicBezTo>
                  <a:pt x="5647673" y="1363956"/>
                  <a:pt x="5620603" y="1362362"/>
                  <a:pt x="5601825" y="1390002"/>
                </a:cubicBezTo>
                <a:cubicBezTo>
                  <a:pt x="5591286" y="1406318"/>
                  <a:pt x="5566729" y="1407102"/>
                  <a:pt x="5547248" y="1412639"/>
                </a:cubicBezTo>
                <a:cubicBezTo>
                  <a:pt x="5494768" y="1424148"/>
                  <a:pt x="5443320" y="1439004"/>
                  <a:pt x="5392539" y="1455683"/>
                </a:cubicBezTo>
                <a:lnTo>
                  <a:pt x="5258281" y="1503775"/>
                </a:lnTo>
                <a:lnTo>
                  <a:pt x="5275248" y="1513094"/>
                </a:lnTo>
                <a:lnTo>
                  <a:pt x="5278445" y="1514532"/>
                </a:lnTo>
                <a:lnTo>
                  <a:pt x="5367633" y="1482156"/>
                </a:lnTo>
                <a:cubicBezTo>
                  <a:pt x="5483885" y="1444162"/>
                  <a:pt x="5602395" y="1417333"/>
                  <a:pt x="5722438" y="1395984"/>
                </a:cubicBezTo>
                <a:cubicBezTo>
                  <a:pt x="5728537" y="1394561"/>
                  <a:pt x="5734639" y="1393138"/>
                  <a:pt x="5740737" y="1391713"/>
                </a:cubicBezTo>
                <a:cubicBezTo>
                  <a:pt x="5749294" y="1390210"/>
                  <a:pt x="5756740" y="1392431"/>
                  <a:pt x="5755866" y="1403522"/>
                </a:cubicBezTo>
                <a:cubicBezTo>
                  <a:pt x="5758710" y="1415722"/>
                  <a:pt x="5751348" y="1415958"/>
                  <a:pt x="5742790" y="1417459"/>
                </a:cubicBezTo>
                <a:cubicBezTo>
                  <a:pt x="5710652" y="1421251"/>
                  <a:pt x="5678876" y="1426875"/>
                  <a:pt x="5647350" y="1433738"/>
                </a:cubicBezTo>
                <a:lnTo>
                  <a:pt x="5612514" y="1442542"/>
                </a:lnTo>
                <a:lnTo>
                  <a:pt x="5768255" y="1422828"/>
                </a:lnTo>
                <a:cubicBezTo>
                  <a:pt x="6023123" y="1406590"/>
                  <a:pt x="6275984" y="1437927"/>
                  <a:pt x="6514852" y="1511829"/>
                </a:cubicBezTo>
                <a:lnTo>
                  <a:pt x="6567531" y="1530923"/>
                </a:lnTo>
                <a:lnTo>
                  <a:pt x="6570782" y="1531741"/>
                </a:lnTo>
                <a:lnTo>
                  <a:pt x="6603935" y="1536184"/>
                </a:lnTo>
                <a:lnTo>
                  <a:pt x="6695034" y="1572501"/>
                </a:lnTo>
                <a:lnTo>
                  <a:pt x="6842218" y="1624650"/>
                </a:lnTo>
                <a:cubicBezTo>
                  <a:pt x="6998375" y="1688959"/>
                  <a:pt x="7147198" y="1769012"/>
                  <a:pt x="7288613" y="1867129"/>
                </a:cubicBezTo>
                <a:cubicBezTo>
                  <a:pt x="7235113" y="1827661"/>
                  <a:pt x="7181395" y="1788583"/>
                  <a:pt x="7126826" y="1751093"/>
                </a:cubicBezTo>
                <a:lnTo>
                  <a:pt x="6966491" y="1648745"/>
                </a:lnTo>
                <a:lnTo>
                  <a:pt x="6778184" y="1562251"/>
                </a:lnTo>
                <a:cubicBezTo>
                  <a:pt x="6740652" y="1548179"/>
                  <a:pt x="6704105" y="1530805"/>
                  <a:pt x="6667626" y="1515611"/>
                </a:cubicBezTo>
                <a:cubicBezTo>
                  <a:pt x="6664323" y="1514626"/>
                  <a:pt x="6660229" y="1514484"/>
                  <a:pt x="6657188" y="1513217"/>
                </a:cubicBezTo>
                <a:lnTo>
                  <a:pt x="6655558" y="1509593"/>
                </a:lnTo>
                <a:lnTo>
                  <a:pt x="6595576" y="1488565"/>
                </a:lnTo>
                <a:lnTo>
                  <a:pt x="6653901" y="1502532"/>
                </a:lnTo>
                <a:lnTo>
                  <a:pt x="6658608" y="1493678"/>
                </a:lnTo>
                <a:cubicBezTo>
                  <a:pt x="6661675" y="1491535"/>
                  <a:pt x="6665735" y="1490587"/>
                  <a:pt x="6670094" y="1490448"/>
                </a:cubicBezTo>
                <a:cubicBezTo>
                  <a:pt x="6689706" y="1489821"/>
                  <a:pt x="6708402" y="1494678"/>
                  <a:pt x="6723935" y="1502908"/>
                </a:cubicBezTo>
                <a:cubicBezTo>
                  <a:pt x="6771518" y="1524291"/>
                  <a:pt x="6820929" y="1543162"/>
                  <a:pt x="6869337" y="1564794"/>
                </a:cubicBezTo>
                <a:lnTo>
                  <a:pt x="6930405" y="1594832"/>
                </a:lnTo>
                <a:lnTo>
                  <a:pt x="6932086" y="1595507"/>
                </a:lnTo>
                <a:lnTo>
                  <a:pt x="6935824" y="1597498"/>
                </a:lnTo>
                <a:lnTo>
                  <a:pt x="6940845" y="1599968"/>
                </a:lnTo>
                <a:lnTo>
                  <a:pt x="6942799" y="1601214"/>
                </a:lnTo>
                <a:lnTo>
                  <a:pt x="7008880" y="1636416"/>
                </a:lnTo>
                <a:lnTo>
                  <a:pt x="7008973" y="1632340"/>
                </a:lnTo>
                <a:cubicBezTo>
                  <a:pt x="7008102" y="1629110"/>
                  <a:pt x="7006476" y="1626197"/>
                  <a:pt x="7004680" y="1623324"/>
                </a:cubicBezTo>
                <a:lnTo>
                  <a:pt x="7002838" y="1619015"/>
                </a:lnTo>
                <a:lnTo>
                  <a:pt x="6914912" y="1564557"/>
                </a:lnTo>
                <a:lnTo>
                  <a:pt x="6700816" y="1464655"/>
                </a:lnTo>
                <a:lnTo>
                  <a:pt x="6675593" y="1454052"/>
                </a:lnTo>
                <a:cubicBezTo>
                  <a:pt x="6669375" y="1451794"/>
                  <a:pt x="6662563" y="1450167"/>
                  <a:pt x="6656009" y="1446997"/>
                </a:cubicBezTo>
                <a:lnTo>
                  <a:pt x="6652983" y="1444258"/>
                </a:lnTo>
                <a:lnTo>
                  <a:pt x="6401065" y="1366588"/>
                </a:lnTo>
                <a:cubicBezTo>
                  <a:pt x="6310588" y="1345454"/>
                  <a:pt x="6217632" y="1330412"/>
                  <a:pt x="6122108" y="1321688"/>
                </a:cubicBezTo>
                <a:close/>
                <a:moveTo>
                  <a:pt x="4647348" y="1298577"/>
                </a:moveTo>
                <a:lnTo>
                  <a:pt x="4599112" y="1332786"/>
                </a:lnTo>
                <a:lnTo>
                  <a:pt x="4619461" y="1341009"/>
                </a:lnTo>
                <a:lnTo>
                  <a:pt x="4620552" y="1340153"/>
                </a:lnTo>
                <a:cubicBezTo>
                  <a:pt x="4631908" y="1330357"/>
                  <a:pt x="4649462" y="1323145"/>
                  <a:pt x="4660819" y="1313348"/>
                </a:cubicBezTo>
                <a:lnTo>
                  <a:pt x="4668900" y="1308129"/>
                </a:lnTo>
                <a:close/>
                <a:moveTo>
                  <a:pt x="4189235" y="1291973"/>
                </a:moveTo>
                <a:lnTo>
                  <a:pt x="4098598" y="1376875"/>
                </a:lnTo>
                <a:lnTo>
                  <a:pt x="4091755" y="1384594"/>
                </a:lnTo>
                <a:lnTo>
                  <a:pt x="4101724" y="1386740"/>
                </a:lnTo>
                <a:lnTo>
                  <a:pt x="4152119" y="1333968"/>
                </a:lnTo>
                <a:lnTo>
                  <a:pt x="4199163" y="1294597"/>
                </a:lnTo>
                <a:close/>
                <a:moveTo>
                  <a:pt x="10161899" y="1289161"/>
                </a:moveTo>
                <a:lnTo>
                  <a:pt x="10176157" y="1292880"/>
                </a:lnTo>
                <a:lnTo>
                  <a:pt x="10262490" y="1323446"/>
                </a:lnTo>
                <a:lnTo>
                  <a:pt x="10311772" y="1330216"/>
                </a:lnTo>
                <a:lnTo>
                  <a:pt x="10190736" y="1292575"/>
                </a:lnTo>
                <a:lnTo>
                  <a:pt x="10187386" y="1292838"/>
                </a:lnTo>
                <a:close/>
                <a:moveTo>
                  <a:pt x="3806284" y="1281036"/>
                </a:moveTo>
                <a:cubicBezTo>
                  <a:pt x="3795140" y="1282421"/>
                  <a:pt x="3772850" y="1294242"/>
                  <a:pt x="3749995" y="1309223"/>
                </a:cubicBezTo>
                <a:lnTo>
                  <a:pt x="3728766" y="1324443"/>
                </a:lnTo>
                <a:lnTo>
                  <a:pt x="3739360" y="1325082"/>
                </a:lnTo>
                <a:lnTo>
                  <a:pt x="3765386" y="1328517"/>
                </a:lnTo>
                <a:close/>
                <a:moveTo>
                  <a:pt x="4586770" y="1271742"/>
                </a:moveTo>
                <a:lnTo>
                  <a:pt x="4586218" y="1272215"/>
                </a:lnTo>
                <a:lnTo>
                  <a:pt x="4537926" y="1308067"/>
                </a:lnTo>
                <a:lnTo>
                  <a:pt x="4573199" y="1322318"/>
                </a:lnTo>
                <a:lnTo>
                  <a:pt x="4622768" y="1287687"/>
                </a:lnTo>
                <a:close/>
                <a:moveTo>
                  <a:pt x="508724" y="1252916"/>
                </a:moveTo>
                <a:lnTo>
                  <a:pt x="508570" y="1253242"/>
                </a:lnTo>
                <a:lnTo>
                  <a:pt x="508239" y="1252971"/>
                </a:lnTo>
                <a:close/>
                <a:moveTo>
                  <a:pt x="11169826" y="1246950"/>
                </a:moveTo>
                <a:cubicBezTo>
                  <a:pt x="11171329" y="1244162"/>
                  <a:pt x="11172745" y="1244206"/>
                  <a:pt x="11173927" y="1247360"/>
                </a:cubicBezTo>
                <a:cubicBezTo>
                  <a:pt x="11175777" y="1251953"/>
                  <a:pt x="11178010" y="1253157"/>
                  <a:pt x="11181400" y="1248867"/>
                </a:cubicBezTo>
                <a:cubicBezTo>
                  <a:pt x="11182280" y="1247903"/>
                  <a:pt x="11183869" y="1246960"/>
                  <a:pt x="11184234" y="1248956"/>
                </a:cubicBezTo>
                <a:cubicBezTo>
                  <a:pt x="11185911" y="1254536"/>
                  <a:pt x="11189625" y="1253658"/>
                  <a:pt x="11193768" y="1252653"/>
                </a:cubicBezTo>
                <a:cubicBezTo>
                  <a:pt x="11194348" y="1252245"/>
                  <a:pt x="11195465" y="1252847"/>
                  <a:pt x="11196024" y="1253149"/>
                </a:cubicBezTo>
                <a:cubicBezTo>
                  <a:pt x="11200620" y="1260660"/>
                  <a:pt x="11204638" y="1268581"/>
                  <a:pt x="11209086" y="1276373"/>
                </a:cubicBezTo>
                <a:lnTo>
                  <a:pt x="11209086" y="1276374"/>
                </a:lnTo>
                <a:cubicBezTo>
                  <a:pt x="11211104" y="1279979"/>
                  <a:pt x="11209926" y="1286179"/>
                  <a:pt x="11209070" y="1291114"/>
                </a:cubicBezTo>
                <a:cubicBezTo>
                  <a:pt x="11208726" y="1293087"/>
                  <a:pt x="11207545" y="1294610"/>
                  <a:pt x="11208469" y="1296906"/>
                </a:cubicBezTo>
                <a:cubicBezTo>
                  <a:pt x="11209393" y="1299202"/>
                  <a:pt x="11208214" y="1300725"/>
                  <a:pt x="11206195" y="1301796"/>
                </a:cubicBezTo>
                <a:cubicBezTo>
                  <a:pt x="11205036" y="1302611"/>
                  <a:pt x="11203168" y="1303403"/>
                  <a:pt x="11203406" y="1304970"/>
                </a:cubicBezTo>
                <a:cubicBezTo>
                  <a:pt x="11204395" y="1309819"/>
                  <a:pt x="11203322" y="1312479"/>
                  <a:pt x="11197954" y="1311745"/>
                </a:cubicBezTo>
                <a:cubicBezTo>
                  <a:pt x="11196687" y="1311423"/>
                  <a:pt x="11195507" y="1312946"/>
                  <a:pt x="11196173" y="1314384"/>
                </a:cubicBezTo>
                <a:cubicBezTo>
                  <a:pt x="11198150" y="1319405"/>
                  <a:pt x="11193490" y="1318693"/>
                  <a:pt x="11191732" y="1320624"/>
                </a:cubicBezTo>
                <a:cubicBezTo>
                  <a:pt x="11185721" y="1327099"/>
                  <a:pt x="11178268" y="1320207"/>
                  <a:pt x="11171915" y="1323978"/>
                </a:cubicBezTo>
                <a:cubicBezTo>
                  <a:pt x="11169746" y="1325329"/>
                  <a:pt x="11165194" y="1321077"/>
                  <a:pt x="11162831" y="1319445"/>
                </a:cubicBezTo>
                <a:cubicBezTo>
                  <a:pt x="11157419" y="1315450"/>
                  <a:pt x="11148487" y="1315315"/>
                  <a:pt x="11147347" y="1306067"/>
                </a:cubicBezTo>
                <a:cubicBezTo>
                  <a:pt x="11147110" y="1304500"/>
                  <a:pt x="11146186" y="1302204"/>
                  <a:pt x="11143952" y="1301001"/>
                </a:cubicBezTo>
                <a:cubicBezTo>
                  <a:pt x="11140730" y="1299626"/>
                  <a:pt x="11139957" y="1297050"/>
                  <a:pt x="11141050" y="1293682"/>
                </a:cubicBezTo>
                <a:cubicBezTo>
                  <a:pt x="11141545" y="1291430"/>
                  <a:pt x="11140748" y="1289563"/>
                  <a:pt x="11140104" y="1287416"/>
                </a:cubicBezTo>
                <a:lnTo>
                  <a:pt x="11140104" y="1287415"/>
                </a:lnTo>
                <a:cubicBezTo>
                  <a:pt x="11138277" y="1282114"/>
                  <a:pt x="11138706" y="1277309"/>
                  <a:pt x="11142804" y="1273043"/>
                </a:cubicBezTo>
                <a:cubicBezTo>
                  <a:pt x="11145144" y="1270705"/>
                  <a:pt x="11145958" y="1267187"/>
                  <a:pt x="11144068" y="1264011"/>
                </a:cubicBezTo>
                <a:cubicBezTo>
                  <a:pt x="11144668" y="1262895"/>
                  <a:pt x="11145270" y="1261780"/>
                  <a:pt x="11145870" y="1260664"/>
                </a:cubicBezTo>
                <a:cubicBezTo>
                  <a:pt x="11149133" y="1260625"/>
                  <a:pt x="11151152" y="1259553"/>
                  <a:pt x="11152825" y="1255778"/>
                </a:cubicBezTo>
                <a:cubicBezTo>
                  <a:pt x="11155249" y="1250608"/>
                  <a:pt x="11159585" y="1247908"/>
                  <a:pt x="11165770" y="1249800"/>
                </a:cubicBezTo>
                <a:cubicBezTo>
                  <a:pt x="11168432" y="1250875"/>
                  <a:pt x="11168925" y="1248623"/>
                  <a:pt x="11169826" y="1246950"/>
                </a:cubicBezTo>
                <a:close/>
                <a:moveTo>
                  <a:pt x="843455" y="1245204"/>
                </a:moveTo>
                <a:cubicBezTo>
                  <a:pt x="846818" y="1243989"/>
                  <a:pt x="850987" y="1245006"/>
                  <a:pt x="853558" y="1247441"/>
                </a:cubicBezTo>
                <a:cubicBezTo>
                  <a:pt x="855620" y="1249638"/>
                  <a:pt x="857278" y="1250721"/>
                  <a:pt x="859924" y="1251027"/>
                </a:cubicBezTo>
                <a:cubicBezTo>
                  <a:pt x="861536" y="1255491"/>
                  <a:pt x="863151" y="1259955"/>
                  <a:pt x="864764" y="1264418"/>
                </a:cubicBezTo>
                <a:cubicBezTo>
                  <a:pt x="861700" y="1267628"/>
                  <a:pt x="859787" y="1271684"/>
                  <a:pt x="859502" y="1275572"/>
                </a:cubicBezTo>
                <a:cubicBezTo>
                  <a:pt x="858709" y="1279222"/>
                  <a:pt x="858425" y="1283111"/>
                  <a:pt x="857766" y="1287133"/>
                </a:cubicBezTo>
                <a:cubicBezTo>
                  <a:pt x="856974" y="1290784"/>
                  <a:pt x="856316" y="1294807"/>
                  <a:pt x="857287" y="1298662"/>
                </a:cubicBezTo>
                <a:cubicBezTo>
                  <a:pt x="857750" y="1302279"/>
                  <a:pt x="856046" y="1304578"/>
                  <a:pt x="854103" y="1307383"/>
                </a:cubicBezTo>
                <a:cubicBezTo>
                  <a:pt x="852160" y="1310188"/>
                  <a:pt x="848289" y="1311166"/>
                  <a:pt x="847362" y="1314446"/>
                </a:cubicBezTo>
                <a:cubicBezTo>
                  <a:pt x="844746" y="1315390"/>
                  <a:pt x="842505" y="1316201"/>
                  <a:pt x="839889" y="1317146"/>
                </a:cubicBezTo>
                <a:cubicBezTo>
                  <a:pt x="839486" y="1316031"/>
                  <a:pt x="838978" y="1315794"/>
                  <a:pt x="838231" y="1316063"/>
                </a:cubicBezTo>
                <a:cubicBezTo>
                  <a:pt x="832627" y="1318089"/>
                  <a:pt x="828293" y="1315451"/>
                  <a:pt x="824811" y="1311663"/>
                </a:cubicBezTo>
                <a:cubicBezTo>
                  <a:pt x="821465" y="1308247"/>
                  <a:pt x="817878" y="1305338"/>
                  <a:pt x="816878" y="1300231"/>
                </a:cubicBezTo>
                <a:cubicBezTo>
                  <a:pt x="816116" y="1294620"/>
                  <a:pt x="813726" y="1289175"/>
                  <a:pt x="816730" y="1283464"/>
                </a:cubicBezTo>
                <a:cubicBezTo>
                  <a:pt x="817688" y="1281435"/>
                  <a:pt x="818778" y="1279779"/>
                  <a:pt x="821124" y="1278090"/>
                </a:cubicBezTo>
                <a:cubicBezTo>
                  <a:pt x="824457" y="1275624"/>
                  <a:pt x="828269" y="1272142"/>
                  <a:pt x="824996" y="1266597"/>
                </a:cubicBezTo>
                <a:cubicBezTo>
                  <a:pt x="823816" y="1264501"/>
                  <a:pt x="825789" y="1262946"/>
                  <a:pt x="825760" y="1261696"/>
                </a:cubicBezTo>
                <a:cubicBezTo>
                  <a:pt x="825476" y="1255068"/>
                  <a:pt x="829018" y="1250843"/>
                  <a:pt x="833203" y="1247229"/>
                </a:cubicBezTo>
                <a:cubicBezTo>
                  <a:pt x="836835" y="1246757"/>
                  <a:pt x="840093" y="1246420"/>
                  <a:pt x="843455" y="1245204"/>
                </a:cubicBezTo>
                <a:close/>
                <a:moveTo>
                  <a:pt x="6379346" y="1243108"/>
                </a:moveTo>
                <a:cubicBezTo>
                  <a:pt x="6380426" y="1243186"/>
                  <a:pt x="6381688" y="1243715"/>
                  <a:pt x="6382424" y="1245505"/>
                </a:cubicBezTo>
                <a:lnTo>
                  <a:pt x="6377442" y="1243384"/>
                </a:lnTo>
                <a:close/>
                <a:moveTo>
                  <a:pt x="4491710" y="1235763"/>
                </a:moveTo>
                <a:lnTo>
                  <a:pt x="4479069" y="1247020"/>
                </a:lnTo>
                <a:cubicBezTo>
                  <a:pt x="4470000" y="1254592"/>
                  <a:pt x="4462579" y="1261488"/>
                  <a:pt x="4462185" y="1266776"/>
                </a:cubicBezTo>
                <a:cubicBezTo>
                  <a:pt x="4462185" y="1266776"/>
                  <a:pt x="4457802" y="1268579"/>
                  <a:pt x="4453416" y="1270383"/>
                </a:cubicBezTo>
                <a:lnTo>
                  <a:pt x="4451026" y="1276105"/>
                </a:lnTo>
                <a:lnTo>
                  <a:pt x="4459625" y="1278788"/>
                </a:lnTo>
                <a:lnTo>
                  <a:pt x="4461407" y="1277352"/>
                </a:lnTo>
                <a:cubicBezTo>
                  <a:pt x="4461407" y="1277352"/>
                  <a:pt x="4465791" y="1275549"/>
                  <a:pt x="4465791" y="1275549"/>
                </a:cubicBezTo>
                <a:cubicBezTo>
                  <a:pt x="4465791" y="1275549"/>
                  <a:pt x="4470183" y="1273746"/>
                  <a:pt x="4470183" y="1273746"/>
                </a:cubicBezTo>
                <a:cubicBezTo>
                  <a:pt x="4474565" y="1271943"/>
                  <a:pt x="4474565" y="1271943"/>
                  <a:pt x="4474565" y="1271943"/>
                </a:cubicBezTo>
                <a:cubicBezTo>
                  <a:pt x="4477152" y="1265756"/>
                  <a:pt x="4477152" y="1265756"/>
                  <a:pt x="4472767" y="1267558"/>
                </a:cubicBezTo>
                <a:cubicBezTo>
                  <a:pt x="4484126" y="1257761"/>
                  <a:pt x="4475352" y="1261367"/>
                  <a:pt x="4473548" y="1256980"/>
                </a:cubicBezTo>
                <a:cubicBezTo>
                  <a:pt x="4481022" y="1256469"/>
                  <a:pt x="4483421" y="1252924"/>
                  <a:pt x="4486127" y="1248605"/>
                </a:cubicBezTo>
                <a:lnTo>
                  <a:pt x="4497918" y="1238040"/>
                </a:lnTo>
                <a:close/>
                <a:moveTo>
                  <a:pt x="3205385" y="1235506"/>
                </a:moveTo>
                <a:cubicBezTo>
                  <a:pt x="3205385" y="1235506"/>
                  <a:pt x="3205385" y="1235506"/>
                  <a:pt x="3209772" y="1236682"/>
                </a:cubicBezTo>
                <a:lnTo>
                  <a:pt x="3204457" y="1236041"/>
                </a:lnTo>
                <a:close/>
                <a:moveTo>
                  <a:pt x="3202175" y="1229941"/>
                </a:moveTo>
                <a:cubicBezTo>
                  <a:pt x="3201584" y="1232135"/>
                  <a:pt x="3200998" y="1234332"/>
                  <a:pt x="3201800" y="1235721"/>
                </a:cubicBezTo>
                <a:lnTo>
                  <a:pt x="3204457" y="1236041"/>
                </a:lnTo>
                <a:lnTo>
                  <a:pt x="3194255" y="1241931"/>
                </a:lnTo>
                <a:cubicBezTo>
                  <a:pt x="3198644" y="1243107"/>
                  <a:pt x="3203032" y="1244283"/>
                  <a:pt x="3207419" y="1245458"/>
                </a:cubicBezTo>
                <a:cubicBezTo>
                  <a:pt x="3190729" y="1255095"/>
                  <a:pt x="3179599" y="1261522"/>
                  <a:pt x="3155306" y="1264420"/>
                </a:cubicBezTo>
                <a:cubicBezTo>
                  <a:pt x="3160870" y="1261208"/>
                  <a:pt x="3156481" y="1260031"/>
                  <a:pt x="3152094" y="1258856"/>
                </a:cubicBezTo>
                <a:cubicBezTo>
                  <a:pt x="3127797" y="1261754"/>
                  <a:pt x="3099971" y="1277817"/>
                  <a:pt x="3085629" y="1278678"/>
                </a:cubicBezTo>
                <a:cubicBezTo>
                  <a:pt x="3085629" y="1278678"/>
                  <a:pt x="3086805" y="1274289"/>
                  <a:pt x="3091193" y="1275464"/>
                </a:cubicBezTo>
                <a:cubicBezTo>
                  <a:pt x="3056943" y="1280399"/>
                  <a:pt x="3029120" y="1296463"/>
                  <a:pt x="3017129" y="1288546"/>
                </a:cubicBezTo>
                <a:cubicBezTo>
                  <a:pt x="3021518" y="1289722"/>
                  <a:pt x="3015956" y="1292936"/>
                  <a:pt x="3011568" y="1291759"/>
                </a:cubicBezTo>
                <a:cubicBezTo>
                  <a:pt x="2999260" y="1302574"/>
                  <a:pt x="3024732" y="1295287"/>
                  <a:pt x="3029120" y="1296463"/>
                </a:cubicBezTo>
                <a:cubicBezTo>
                  <a:pt x="2999260" y="1302574"/>
                  <a:pt x="2990484" y="1300221"/>
                  <a:pt x="2978178" y="1311036"/>
                </a:cubicBezTo>
                <a:cubicBezTo>
                  <a:pt x="2974964" y="1305470"/>
                  <a:pt x="2986093" y="1299045"/>
                  <a:pt x="2970573" y="1304295"/>
                </a:cubicBezTo>
                <a:cubicBezTo>
                  <a:pt x="2963833" y="1311896"/>
                  <a:pt x="2969398" y="1308683"/>
                  <a:pt x="2958270" y="1315109"/>
                </a:cubicBezTo>
                <a:cubicBezTo>
                  <a:pt x="2957092" y="1319498"/>
                  <a:pt x="2952704" y="1318323"/>
                  <a:pt x="2952704" y="1318323"/>
                </a:cubicBezTo>
                <a:cubicBezTo>
                  <a:pt x="2947139" y="1321535"/>
                  <a:pt x="2942749" y="1320359"/>
                  <a:pt x="2941573" y="1324748"/>
                </a:cubicBezTo>
                <a:cubicBezTo>
                  <a:pt x="2940397" y="1329137"/>
                  <a:pt x="2944785" y="1330313"/>
                  <a:pt x="2950352" y="1327101"/>
                </a:cubicBezTo>
                <a:cubicBezTo>
                  <a:pt x="2950352" y="1327101"/>
                  <a:pt x="2950352" y="1327101"/>
                  <a:pt x="2954742" y="1328276"/>
                </a:cubicBezTo>
                <a:cubicBezTo>
                  <a:pt x="2909368" y="1339636"/>
                  <a:pt x="2897060" y="1350449"/>
                  <a:pt x="2840552" y="1368236"/>
                </a:cubicBezTo>
                <a:cubicBezTo>
                  <a:pt x="2825345" y="1354754"/>
                  <a:pt x="2834986" y="1371449"/>
                  <a:pt x="2803088" y="1367605"/>
                </a:cubicBezTo>
                <a:cubicBezTo>
                  <a:pt x="2804265" y="1363217"/>
                  <a:pt x="2804265" y="1363217"/>
                  <a:pt x="2804265" y="1363217"/>
                </a:cubicBezTo>
                <a:cubicBezTo>
                  <a:pt x="2809830" y="1360004"/>
                  <a:pt x="2805440" y="1358827"/>
                  <a:pt x="2799875" y="1362039"/>
                </a:cubicBezTo>
                <a:cubicBezTo>
                  <a:pt x="2795487" y="1360864"/>
                  <a:pt x="2789920" y="1364077"/>
                  <a:pt x="2788746" y="1368466"/>
                </a:cubicBezTo>
                <a:cubicBezTo>
                  <a:pt x="2783178" y="1371679"/>
                  <a:pt x="2783178" y="1371679"/>
                  <a:pt x="2783178" y="1371679"/>
                </a:cubicBezTo>
                <a:cubicBezTo>
                  <a:pt x="2773228" y="1373716"/>
                  <a:pt x="2772054" y="1378104"/>
                  <a:pt x="2775266" y="1383669"/>
                </a:cubicBezTo>
                <a:cubicBezTo>
                  <a:pt x="2766487" y="1381318"/>
                  <a:pt x="2759746" y="1388919"/>
                  <a:pt x="2754182" y="1392132"/>
                </a:cubicBezTo>
                <a:cubicBezTo>
                  <a:pt x="2764135" y="1390094"/>
                  <a:pt x="2774089" y="1388059"/>
                  <a:pt x="2784042" y="1386021"/>
                </a:cubicBezTo>
                <a:cubicBezTo>
                  <a:pt x="2785218" y="1381632"/>
                  <a:pt x="2786393" y="1377243"/>
                  <a:pt x="2786393" y="1377243"/>
                </a:cubicBezTo>
                <a:cubicBezTo>
                  <a:pt x="2786393" y="1377243"/>
                  <a:pt x="2790782" y="1378420"/>
                  <a:pt x="2791959" y="1374031"/>
                </a:cubicBezTo>
                <a:cubicBezTo>
                  <a:pt x="2791959" y="1374031"/>
                  <a:pt x="2796348" y="1375208"/>
                  <a:pt x="2796348" y="1375208"/>
                </a:cubicBezTo>
                <a:cubicBezTo>
                  <a:pt x="2800735" y="1376384"/>
                  <a:pt x="2801912" y="1371994"/>
                  <a:pt x="2803088" y="1367605"/>
                </a:cubicBezTo>
                <a:cubicBezTo>
                  <a:pt x="2822680" y="1382264"/>
                  <a:pt x="2850190" y="1384929"/>
                  <a:pt x="2889144" y="1362440"/>
                </a:cubicBezTo>
                <a:cubicBezTo>
                  <a:pt x="2893532" y="1363616"/>
                  <a:pt x="2899098" y="1360403"/>
                  <a:pt x="2897922" y="1364792"/>
                </a:cubicBezTo>
                <a:cubicBezTo>
                  <a:pt x="2893532" y="1363616"/>
                  <a:pt x="2892357" y="1368005"/>
                  <a:pt x="2896747" y="1369181"/>
                </a:cubicBezTo>
                <a:cubicBezTo>
                  <a:pt x="2896747" y="1369181"/>
                  <a:pt x="2896747" y="1369181"/>
                  <a:pt x="2902310" y="1365967"/>
                </a:cubicBezTo>
                <a:cubicBezTo>
                  <a:pt x="2902310" y="1365967"/>
                  <a:pt x="2906700" y="1367144"/>
                  <a:pt x="2906700" y="1367144"/>
                </a:cubicBezTo>
                <a:cubicBezTo>
                  <a:pt x="2892197" y="1377371"/>
                  <a:pt x="2878580" y="1384305"/>
                  <a:pt x="2863208" y="1389007"/>
                </a:cubicBezTo>
                <a:lnTo>
                  <a:pt x="2814110" y="1396697"/>
                </a:lnTo>
                <a:lnTo>
                  <a:pt x="2814765" y="1394253"/>
                </a:lnTo>
                <a:cubicBezTo>
                  <a:pt x="2810375" y="1393076"/>
                  <a:pt x="2810375" y="1393076"/>
                  <a:pt x="2809201" y="1397467"/>
                </a:cubicBezTo>
                <a:cubicBezTo>
                  <a:pt x="2800421" y="1395114"/>
                  <a:pt x="2799246" y="1399502"/>
                  <a:pt x="2789292" y="1401540"/>
                </a:cubicBezTo>
                <a:cubicBezTo>
                  <a:pt x="2789292" y="1401540"/>
                  <a:pt x="2790468" y="1397151"/>
                  <a:pt x="2794857" y="1398327"/>
                </a:cubicBezTo>
                <a:cubicBezTo>
                  <a:pt x="2794857" y="1398327"/>
                  <a:pt x="2790468" y="1397151"/>
                  <a:pt x="2790468" y="1397151"/>
                </a:cubicBezTo>
                <a:cubicBezTo>
                  <a:pt x="2790468" y="1397151"/>
                  <a:pt x="2784901" y="1400363"/>
                  <a:pt x="2784901" y="1400363"/>
                </a:cubicBezTo>
                <a:cubicBezTo>
                  <a:pt x="2755043" y="1406475"/>
                  <a:pt x="2733099" y="1400594"/>
                  <a:pt x="2705278" y="1416658"/>
                </a:cubicBezTo>
                <a:cubicBezTo>
                  <a:pt x="2716409" y="1410232"/>
                  <a:pt x="2706453" y="1412269"/>
                  <a:pt x="2697676" y="1409918"/>
                </a:cubicBezTo>
                <a:cubicBezTo>
                  <a:pt x="2714367" y="1400279"/>
                  <a:pt x="2727537" y="1403808"/>
                  <a:pt x="2725497" y="1393853"/>
                </a:cubicBezTo>
                <a:cubicBezTo>
                  <a:pt x="2693287" y="1408742"/>
                  <a:pt x="2672205" y="1417204"/>
                  <a:pt x="2626824" y="1428564"/>
                </a:cubicBezTo>
                <a:cubicBezTo>
                  <a:pt x="2628001" y="1424175"/>
                  <a:pt x="2622435" y="1427388"/>
                  <a:pt x="2618046" y="1426211"/>
                </a:cubicBezTo>
                <a:cubicBezTo>
                  <a:pt x="2612483" y="1429425"/>
                  <a:pt x="2606918" y="1432639"/>
                  <a:pt x="2611306" y="1433815"/>
                </a:cubicBezTo>
                <a:cubicBezTo>
                  <a:pt x="2601351" y="1435852"/>
                  <a:pt x="2594613" y="1443452"/>
                  <a:pt x="2582307" y="1454266"/>
                </a:cubicBezTo>
                <a:cubicBezTo>
                  <a:pt x="2579095" y="1448700"/>
                  <a:pt x="2590226" y="1442277"/>
                  <a:pt x="2580271" y="1444312"/>
                </a:cubicBezTo>
                <a:cubicBezTo>
                  <a:pt x="2579095" y="1448700"/>
                  <a:pt x="2569140" y="1450739"/>
                  <a:pt x="2567967" y="1455127"/>
                </a:cubicBezTo>
                <a:cubicBezTo>
                  <a:pt x="2567967" y="1455127"/>
                  <a:pt x="2563577" y="1453952"/>
                  <a:pt x="2562402" y="1458341"/>
                </a:cubicBezTo>
                <a:cubicBezTo>
                  <a:pt x="2558016" y="1457164"/>
                  <a:pt x="2558016" y="1457164"/>
                  <a:pt x="2558016" y="1457164"/>
                </a:cubicBezTo>
                <a:cubicBezTo>
                  <a:pt x="2556838" y="1461554"/>
                  <a:pt x="2556838" y="1461554"/>
                  <a:pt x="2556838" y="1461554"/>
                </a:cubicBezTo>
                <a:cubicBezTo>
                  <a:pt x="2562402" y="1458341"/>
                  <a:pt x="2562402" y="1458341"/>
                  <a:pt x="2562402" y="1458341"/>
                </a:cubicBezTo>
                <a:cubicBezTo>
                  <a:pt x="2566791" y="1459517"/>
                  <a:pt x="2566791" y="1459517"/>
                  <a:pt x="2566791" y="1459517"/>
                </a:cubicBezTo>
                <a:cubicBezTo>
                  <a:pt x="2545708" y="1467980"/>
                  <a:pt x="2545708" y="1467980"/>
                  <a:pt x="2545708" y="1467980"/>
                </a:cubicBezTo>
                <a:cubicBezTo>
                  <a:pt x="2551273" y="1464768"/>
                  <a:pt x="2552449" y="1460377"/>
                  <a:pt x="2546884" y="1463592"/>
                </a:cubicBezTo>
                <a:cubicBezTo>
                  <a:pt x="2497978" y="1488117"/>
                  <a:pt x="2454321" y="1528160"/>
                  <a:pt x="2407450" y="1562639"/>
                </a:cubicBezTo>
                <a:cubicBezTo>
                  <a:pt x="2363793" y="1602681"/>
                  <a:pt x="2321313" y="1638340"/>
                  <a:pt x="2278831" y="1673995"/>
                </a:cubicBezTo>
                <a:cubicBezTo>
                  <a:pt x="2270051" y="1671644"/>
                  <a:pt x="2271230" y="1667256"/>
                  <a:pt x="2273581" y="1658480"/>
                </a:cubicBezTo>
                <a:cubicBezTo>
                  <a:pt x="2241054" y="1692100"/>
                  <a:pt x="2216444" y="1713724"/>
                  <a:pt x="2195047" y="1740918"/>
                </a:cubicBezTo>
                <a:cubicBezTo>
                  <a:pt x="2169260" y="1766936"/>
                  <a:pt x="2147862" y="1794126"/>
                  <a:pt x="2110944" y="1826569"/>
                </a:cubicBezTo>
                <a:cubicBezTo>
                  <a:pt x="2116506" y="1823357"/>
                  <a:pt x="2116506" y="1823357"/>
                  <a:pt x="2112117" y="1822182"/>
                </a:cubicBezTo>
                <a:cubicBezTo>
                  <a:pt x="2112117" y="1822182"/>
                  <a:pt x="2107728" y="1821006"/>
                  <a:pt x="2102165" y="1824218"/>
                </a:cubicBezTo>
                <a:cubicBezTo>
                  <a:pt x="2097778" y="1823043"/>
                  <a:pt x="2097778" y="1823043"/>
                  <a:pt x="2097778" y="1823043"/>
                </a:cubicBezTo>
                <a:cubicBezTo>
                  <a:pt x="2091019" y="1830644"/>
                  <a:pt x="2079890" y="1837069"/>
                  <a:pt x="2083104" y="1842634"/>
                </a:cubicBezTo>
                <a:cubicBezTo>
                  <a:pt x="2078714" y="1841457"/>
                  <a:pt x="2073150" y="1844669"/>
                  <a:pt x="2071973" y="1849058"/>
                </a:cubicBezTo>
                <a:cubicBezTo>
                  <a:pt x="2066408" y="1852272"/>
                  <a:pt x="2070798" y="1853448"/>
                  <a:pt x="2070798" y="1853448"/>
                </a:cubicBezTo>
                <a:cubicBezTo>
                  <a:pt x="2075187" y="1854624"/>
                  <a:pt x="2075187" y="1854624"/>
                  <a:pt x="2075187" y="1854624"/>
                </a:cubicBezTo>
                <a:cubicBezTo>
                  <a:pt x="2051749" y="1871863"/>
                  <a:pt x="2048222" y="1885029"/>
                  <a:pt x="2024787" y="1902268"/>
                </a:cubicBezTo>
                <a:cubicBezTo>
                  <a:pt x="2037952" y="1905795"/>
                  <a:pt x="2022435" y="1911045"/>
                  <a:pt x="2021260" y="1915435"/>
                </a:cubicBezTo>
                <a:cubicBezTo>
                  <a:pt x="2033562" y="1904620"/>
                  <a:pt x="2031213" y="1913397"/>
                  <a:pt x="2042342" y="1906972"/>
                </a:cubicBezTo>
                <a:cubicBezTo>
                  <a:pt x="2049083" y="1899370"/>
                  <a:pt x="2032388" y="1909009"/>
                  <a:pt x="2040304" y="1897019"/>
                </a:cubicBezTo>
                <a:cubicBezTo>
                  <a:pt x="2055823" y="1891769"/>
                  <a:pt x="2063741" y="1879779"/>
                  <a:pt x="2073696" y="1877744"/>
                </a:cubicBezTo>
                <a:cubicBezTo>
                  <a:pt x="2068131" y="1880955"/>
                  <a:pt x="2062565" y="1884168"/>
                  <a:pt x="2061389" y="1888556"/>
                </a:cubicBezTo>
                <a:cubicBezTo>
                  <a:pt x="2084825" y="1871319"/>
                  <a:pt x="2113840" y="1850864"/>
                  <a:pt x="2144018" y="1826025"/>
                </a:cubicBezTo>
                <a:cubicBezTo>
                  <a:pt x="2174192" y="1801181"/>
                  <a:pt x="2204371" y="1776340"/>
                  <a:pt x="2228980" y="1754713"/>
                </a:cubicBezTo>
                <a:cubicBezTo>
                  <a:pt x="2227804" y="1759104"/>
                  <a:pt x="2232192" y="1760279"/>
                  <a:pt x="2237760" y="1757066"/>
                </a:cubicBezTo>
                <a:cubicBezTo>
                  <a:pt x="2266756" y="1736614"/>
                  <a:pt x="2290191" y="1719373"/>
                  <a:pt x="2322406" y="1704487"/>
                </a:cubicBezTo>
                <a:cubicBezTo>
                  <a:pt x="2320368" y="1694534"/>
                  <a:pt x="2344664" y="1691635"/>
                  <a:pt x="2355794" y="1685211"/>
                </a:cubicBezTo>
                <a:cubicBezTo>
                  <a:pt x="2361357" y="1681998"/>
                  <a:pt x="2358145" y="1676432"/>
                  <a:pt x="2368099" y="1674396"/>
                </a:cubicBezTo>
                <a:cubicBezTo>
                  <a:pt x="2369274" y="1670007"/>
                  <a:pt x="2383616" y="1669147"/>
                  <a:pt x="2394746" y="1662721"/>
                </a:cubicBezTo>
                <a:cubicBezTo>
                  <a:pt x="2411439" y="1653083"/>
                  <a:pt x="2429309" y="1639056"/>
                  <a:pt x="2446004" y="1629417"/>
                </a:cubicBezTo>
                <a:cubicBezTo>
                  <a:pt x="2468263" y="1616565"/>
                  <a:pt x="2469438" y="1612175"/>
                  <a:pt x="2496086" y="1600499"/>
                </a:cubicBezTo>
                <a:cubicBezTo>
                  <a:pt x="2547343" y="1567196"/>
                  <a:pt x="2619370" y="1544161"/>
                  <a:pt x="2642806" y="1526922"/>
                </a:cubicBezTo>
                <a:cubicBezTo>
                  <a:pt x="2655973" y="1530450"/>
                  <a:pt x="2675016" y="1512037"/>
                  <a:pt x="2686146" y="1505610"/>
                </a:cubicBezTo>
                <a:cubicBezTo>
                  <a:pt x="2679407" y="1513212"/>
                  <a:pt x="2684972" y="1509998"/>
                  <a:pt x="2689360" y="1511175"/>
                </a:cubicBezTo>
                <a:cubicBezTo>
                  <a:pt x="2728311" y="1488686"/>
                  <a:pt x="2781290" y="1484067"/>
                  <a:pt x="2840151" y="1457503"/>
                </a:cubicBezTo>
                <a:cubicBezTo>
                  <a:pt x="2862408" y="1444651"/>
                  <a:pt x="2846893" y="1449901"/>
                  <a:pt x="2876751" y="1443790"/>
                </a:cubicBezTo>
                <a:cubicBezTo>
                  <a:pt x="2896662" y="1439716"/>
                  <a:pt x="2913356" y="1430078"/>
                  <a:pt x="2933259" y="1426004"/>
                </a:cubicBezTo>
                <a:cubicBezTo>
                  <a:pt x="3004108" y="1407359"/>
                  <a:pt x="3073785" y="1393099"/>
                  <a:pt x="3133510" y="1380879"/>
                </a:cubicBezTo>
                <a:cubicBezTo>
                  <a:pt x="3158980" y="1373592"/>
                  <a:pt x="3177709" y="1373908"/>
                  <a:pt x="3194405" y="1364270"/>
                </a:cubicBezTo>
                <a:cubicBezTo>
                  <a:pt x="3198792" y="1365447"/>
                  <a:pt x="3198792" y="1365447"/>
                  <a:pt x="3203178" y="1366621"/>
                </a:cubicBezTo>
                <a:lnTo>
                  <a:pt x="3213583" y="1368060"/>
                </a:lnTo>
                <a:lnTo>
                  <a:pt x="3230130" y="1339463"/>
                </a:lnTo>
                <a:cubicBezTo>
                  <a:pt x="3246582" y="1315722"/>
                  <a:pt x="3266324" y="1287234"/>
                  <a:pt x="3282776" y="1263496"/>
                </a:cubicBezTo>
                <a:cubicBezTo>
                  <a:pt x="3294109" y="1257289"/>
                  <a:pt x="3273635" y="1281758"/>
                  <a:pt x="3277652" y="1281029"/>
                </a:cubicBezTo>
                <a:cubicBezTo>
                  <a:pt x="3277652" y="1281029"/>
                  <a:pt x="3280943" y="1276280"/>
                  <a:pt x="3280943" y="1276280"/>
                </a:cubicBezTo>
                <a:cubicBezTo>
                  <a:pt x="3284233" y="1271534"/>
                  <a:pt x="3283506" y="1267514"/>
                  <a:pt x="3288254" y="1270805"/>
                </a:cubicBezTo>
                <a:cubicBezTo>
                  <a:pt x="3288254" y="1270805"/>
                  <a:pt x="3288254" y="1270805"/>
                  <a:pt x="3284965" y="1275553"/>
                </a:cubicBezTo>
                <a:cubicBezTo>
                  <a:pt x="3284965" y="1275553"/>
                  <a:pt x="3284965" y="1275553"/>
                  <a:pt x="3285692" y="1279570"/>
                </a:cubicBezTo>
                <a:cubicBezTo>
                  <a:pt x="3295564" y="1265328"/>
                  <a:pt x="3305438" y="1251083"/>
                  <a:pt x="3310185" y="1254375"/>
                </a:cubicBezTo>
                <a:cubicBezTo>
                  <a:pt x="3308353" y="1267159"/>
                  <a:pt x="3291899" y="1290898"/>
                  <a:pt x="3289337" y="1299664"/>
                </a:cubicBezTo>
                <a:cubicBezTo>
                  <a:pt x="3289337" y="1299664"/>
                  <a:pt x="3289337" y="1299664"/>
                  <a:pt x="3292629" y="1294916"/>
                </a:cubicBezTo>
                <a:cubicBezTo>
                  <a:pt x="3295919" y="1290168"/>
                  <a:pt x="3295919" y="1290168"/>
                  <a:pt x="3299209" y="1285421"/>
                </a:cubicBezTo>
                <a:cubicBezTo>
                  <a:pt x="3299209" y="1285421"/>
                  <a:pt x="3299938" y="1289441"/>
                  <a:pt x="3299938" y="1289441"/>
                </a:cubicBezTo>
                <a:cubicBezTo>
                  <a:pt x="3295919" y="1290168"/>
                  <a:pt x="3296649" y="1294187"/>
                  <a:pt x="3296649" y="1294187"/>
                </a:cubicBezTo>
                <a:cubicBezTo>
                  <a:pt x="3299209" y="1285421"/>
                  <a:pt x="3310540" y="1279216"/>
                  <a:pt x="3317120" y="1269719"/>
                </a:cubicBezTo>
                <a:lnTo>
                  <a:pt x="3342575" y="1230436"/>
                </a:lnTo>
                <a:lnTo>
                  <a:pt x="3327111" y="1231078"/>
                </a:lnTo>
                <a:cubicBezTo>
                  <a:pt x="3296337" y="1234005"/>
                  <a:pt x="3260990" y="1238646"/>
                  <a:pt x="3221765" y="1244598"/>
                </a:cubicBezTo>
                <a:cubicBezTo>
                  <a:pt x="3222941" y="1240210"/>
                  <a:pt x="3222941" y="1240210"/>
                  <a:pt x="3222941" y="1240210"/>
                </a:cubicBezTo>
                <a:cubicBezTo>
                  <a:pt x="3222941" y="1240210"/>
                  <a:pt x="3227330" y="1241385"/>
                  <a:pt x="3227330" y="1241385"/>
                </a:cubicBezTo>
                <a:cubicBezTo>
                  <a:pt x="3232895" y="1238172"/>
                  <a:pt x="3237283" y="1239348"/>
                  <a:pt x="3234069" y="1233785"/>
                </a:cubicBezTo>
                <a:cubicBezTo>
                  <a:pt x="3234069" y="1233785"/>
                  <a:pt x="3229681" y="1232608"/>
                  <a:pt x="3224118" y="1235821"/>
                </a:cubicBezTo>
                <a:cubicBezTo>
                  <a:pt x="3219729" y="1234645"/>
                  <a:pt x="3219729" y="1234645"/>
                  <a:pt x="3214165" y="1237857"/>
                </a:cubicBezTo>
                <a:cubicBezTo>
                  <a:pt x="3215341" y="1233469"/>
                  <a:pt x="3210951" y="1232293"/>
                  <a:pt x="3202175" y="1229941"/>
                </a:cubicBezTo>
                <a:close/>
                <a:moveTo>
                  <a:pt x="4443437" y="1218038"/>
                </a:moveTo>
                <a:lnTo>
                  <a:pt x="4441569" y="1219725"/>
                </a:lnTo>
                <a:cubicBezTo>
                  <a:pt x="4433307" y="1227689"/>
                  <a:pt x="4433644" y="1228511"/>
                  <a:pt x="4415248" y="1239914"/>
                </a:cubicBezTo>
                <a:cubicBezTo>
                  <a:pt x="4410860" y="1241716"/>
                  <a:pt x="4410860" y="1241716"/>
                  <a:pt x="4406480" y="1243520"/>
                </a:cubicBezTo>
                <a:cubicBezTo>
                  <a:pt x="4403890" y="1249709"/>
                  <a:pt x="4403890" y="1249709"/>
                  <a:pt x="4408280" y="1247907"/>
                </a:cubicBezTo>
                <a:lnTo>
                  <a:pt x="4391772" y="1257619"/>
                </a:lnTo>
                <a:lnTo>
                  <a:pt x="4414019" y="1264560"/>
                </a:lnTo>
                <a:lnTo>
                  <a:pt x="4435464" y="1246990"/>
                </a:lnTo>
                <a:lnTo>
                  <a:pt x="4461838" y="1224795"/>
                </a:lnTo>
                <a:close/>
                <a:moveTo>
                  <a:pt x="6232478" y="1216560"/>
                </a:moveTo>
                <a:lnTo>
                  <a:pt x="6222229" y="1218411"/>
                </a:lnTo>
                <a:lnTo>
                  <a:pt x="6223479" y="1218722"/>
                </a:lnTo>
                <a:lnTo>
                  <a:pt x="6221201" y="1219657"/>
                </a:lnTo>
                <a:lnTo>
                  <a:pt x="6219429" y="1218917"/>
                </a:lnTo>
                <a:lnTo>
                  <a:pt x="6212139" y="1220233"/>
                </a:lnTo>
                <a:lnTo>
                  <a:pt x="6229831" y="1220297"/>
                </a:lnTo>
                <a:lnTo>
                  <a:pt x="6223479" y="1218722"/>
                </a:lnTo>
                <a:lnTo>
                  <a:pt x="6224780" y="1218186"/>
                </a:lnTo>
                <a:cubicBezTo>
                  <a:pt x="6229831" y="1220297"/>
                  <a:pt x="6229831" y="1220297"/>
                  <a:pt x="6233410" y="1218826"/>
                </a:cubicBezTo>
                <a:close/>
                <a:moveTo>
                  <a:pt x="7577843" y="1211888"/>
                </a:moveTo>
                <a:lnTo>
                  <a:pt x="7581590" y="1215476"/>
                </a:lnTo>
                <a:lnTo>
                  <a:pt x="7579646" y="1216276"/>
                </a:lnTo>
                <a:cubicBezTo>
                  <a:pt x="7579646" y="1216276"/>
                  <a:pt x="7579646" y="1216276"/>
                  <a:pt x="7577843" y="1211888"/>
                </a:cubicBezTo>
                <a:close/>
                <a:moveTo>
                  <a:pt x="3528825" y="1204578"/>
                </a:moveTo>
                <a:cubicBezTo>
                  <a:pt x="3523262" y="1207790"/>
                  <a:pt x="3527649" y="1208965"/>
                  <a:pt x="3526475" y="1213355"/>
                </a:cubicBezTo>
                <a:cubicBezTo>
                  <a:pt x="3526475" y="1213355"/>
                  <a:pt x="3522087" y="1212179"/>
                  <a:pt x="3522087" y="1212179"/>
                </a:cubicBezTo>
                <a:cubicBezTo>
                  <a:pt x="3517697" y="1211003"/>
                  <a:pt x="3512132" y="1214217"/>
                  <a:pt x="3512132" y="1214217"/>
                </a:cubicBezTo>
                <a:cubicBezTo>
                  <a:pt x="3510958" y="1218606"/>
                  <a:pt x="3515346" y="1219780"/>
                  <a:pt x="3519733" y="1220956"/>
                </a:cubicBezTo>
                <a:cubicBezTo>
                  <a:pt x="3520911" y="1216568"/>
                  <a:pt x="3520911" y="1216568"/>
                  <a:pt x="3520911" y="1216568"/>
                </a:cubicBezTo>
                <a:cubicBezTo>
                  <a:pt x="3524122" y="1222133"/>
                  <a:pt x="3524122" y="1222133"/>
                  <a:pt x="3524122" y="1222133"/>
                </a:cubicBezTo>
                <a:cubicBezTo>
                  <a:pt x="3487838" y="1217114"/>
                  <a:pt x="3431651" y="1216168"/>
                  <a:pt x="3405006" y="1227843"/>
                </a:cubicBezTo>
                <a:lnTo>
                  <a:pt x="3381961" y="1228800"/>
                </a:lnTo>
                <a:lnTo>
                  <a:pt x="3345615" y="1283748"/>
                </a:lnTo>
                <a:lnTo>
                  <a:pt x="3297377" y="1353856"/>
                </a:lnTo>
                <a:lnTo>
                  <a:pt x="3347270" y="1351136"/>
                </a:lnTo>
                <a:cubicBezTo>
                  <a:pt x="3367688" y="1349549"/>
                  <a:pt x="3384814" y="1347083"/>
                  <a:pt x="3393163" y="1342264"/>
                </a:cubicBezTo>
                <a:cubicBezTo>
                  <a:pt x="3380855" y="1353079"/>
                  <a:pt x="3440575" y="1340857"/>
                  <a:pt x="3456091" y="1335609"/>
                </a:cubicBezTo>
                <a:cubicBezTo>
                  <a:pt x="3472467" y="1344700"/>
                  <a:pt x="3509068" y="1330989"/>
                  <a:pt x="3545350" y="1336008"/>
                </a:cubicBezTo>
                <a:cubicBezTo>
                  <a:pt x="3549738" y="1337184"/>
                  <a:pt x="3547701" y="1327231"/>
                  <a:pt x="3560866" y="1330759"/>
                </a:cubicBezTo>
                <a:cubicBezTo>
                  <a:pt x="3568467" y="1337499"/>
                  <a:pt x="3601537" y="1336953"/>
                  <a:pt x="3598325" y="1331388"/>
                </a:cubicBezTo>
                <a:cubicBezTo>
                  <a:pt x="3609139" y="1343694"/>
                  <a:pt x="3640173" y="1333194"/>
                  <a:pt x="3647776" y="1339935"/>
                </a:cubicBezTo>
                <a:cubicBezTo>
                  <a:pt x="3650126" y="1331158"/>
                  <a:pt x="3655692" y="1327946"/>
                  <a:pt x="3661256" y="1324732"/>
                </a:cubicBezTo>
                <a:cubicBezTo>
                  <a:pt x="3671209" y="1322695"/>
                  <a:pt x="3675599" y="1323870"/>
                  <a:pt x="3685550" y="1321836"/>
                </a:cubicBezTo>
                <a:lnTo>
                  <a:pt x="3706844" y="1323120"/>
                </a:lnTo>
                <a:lnTo>
                  <a:pt x="3732033" y="1288591"/>
                </a:lnTo>
                <a:cubicBezTo>
                  <a:pt x="3744063" y="1273702"/>
                  <a:pt x="3758163" y="1257478"/>
                  <a:pt x="3773637" y="1240615"/>
                </a:cubicBezTo>
                <a:lnTo>
                  <a:pt x="3784607" y="1229209"/>
                </a:lnTo>
                <a:lnTo>
                  <a:pt x="3748885" y="1225912"/>
                </a:lnTo>
                <a:cubicBezTo>
                  <a:pt x="3712596" y="1220896"/>
                  <a:pt x="3693865" y="1220581"/>
                  <a:pt x="3652016" y="1218774"/>
                </a:cubicBezTo>
                <a:cubicBezTo>
                  <a:pt x="3642064" y="1220812"/>
                  <a:pt x="3628899" y="1217284"/>
                  <a:pt x="3620122" y="1214932"/>
                </a:cubicBezTo>
                <a:cubicBezTo>
                  <a:pt x="3597004" y="1213439"/>
                  <a:pt x="3575920" y="1221901"/>
                  <a:pt x="3553981" y="1216022"/>
                </a:cubicBezTo>
                <a:cubicBezTo>
                  <a:pt x="3553981" y="1216022"/>
                  <a:pt x="3555155" y="1211634"/>
                  <a:pt x="3555155" y="1211634"/>
                </a:cubicBezTo>
                <a:cubicBezTo>
                  <a:pt x="3559543" y="1212811"/>
                  <a:pt x="3556332" y="1207245"/>
                  <a:pt x="3550768" y="1210457"/>
                </a:cubicBezTo>
                <a:cubicBezTo>
                  <a:pt x="3546379" y="1209282"/>
                  <a:pt x="3541990" y="1208105"/>
                  <a:pt x="3541990" y="1208105"/>
                </a:cubicBezTo>
                <a:cubicBezTo>
                  <a:pt x="3540815" y="1212494"/>
                  <a:pt x="3536427" y="1211319"/>
                  <a:pt x="3536427" y="1211319"/>
                </a:cubicBezTo>
                <a:cubicBezTo>
                  <a:pt x="3537601" y="1206931"/>
                  <a:pt x="3533214" y="1205754"/>
                  <a:pt x="3528825" y="1204578"/>
                </a:cubicBezTo>
                <a:close/>
                <a:moveTo>
                  <a:pt x="6241298" y="1203868"/>
                </a:moveTo>
                <a:lnTo>
                  <a:pt x="6249337" y="1211409"/>
                </a:lnTo>
                <a:lnTo>
                  <a:pt x="6263513" y="1210642"/>
                </a:lnTo>
                <a:cubicBezTo>
                  <a:pt x="6259934" y="1212113"/>
                  <a:pt x="6259934" y="1212113"/>
                  <a:pt x="6259934" y="1212113"/>
                </a:cubicBezTo>
                <a:cubicBezTo>
                  <a:pt x="6259934" y="1212113"/>
                  <a:pt x="6264985" y="1214224"/>
                  <a:pt x="6268564" y="1212752"/>
                </a:cubicBezTo>
                <a:cubicBezTo>
                  <a:pt x="6270035" y="1216335"/>
                  <a:pt x="6273613" y="1214863"/>
                  <a:pt x="6273613" y="1214863"/>
                </a:cubicBezTo>
                <a:cubicBezTo>
                  <a:pt x="6295189" y="1216465"/>
                  <a:pt x="6315341" y="1219695"/>
                  <a:pt x="6333625" y="1224740"/>
                </a:cubicBezTo>
                <a:lnTo>
                  <a:pt x="6377442" y="1243384"/>
                </a:lnTo>
                <a:lnTo>
                  <a:pt x="6377372" y="1243395"/>
                </a:lnTo>
                <a:cubicBezTo>
                  <a:pt x="6373794" y="1244864"/>
                  <a:pt x="6373794" y="1244864"/>
                  <a:pt x="6375267" y="1248446"/>
                </a:cubicBezTo>
                <a:cubicBezTo>
                  <a:pt x="6375267" y="1248446"/>
                  <a:pt x="6378845" y="1246976"/>
                  <a:pt x="6378845" y="1246976"/>
                </a:cubicBezTo>
                <a:cubicBezTo>
                  <a:pt x="6378845" y="1246976"/>
                  <a:pt x="6378845" y="1246976"/>
                  <a:pt x="6382424" y="1245505"/>
                </a:cubicBezTo>
                <a:cubicBezTo>
                  <a:pt x="6383896" y="1249087"/>
                  <a:pt x="6387475" y="1247616"/>
                  <a:pt x="6387475" y="1247616"/>
                </a:cubicBezTo>
                <a:cubicBezTo>
                  <a:pt x="6385367" y="1252669"/>
                  <a:pt x="6399048" y="1255421"/>
                  <a:pt x="6412728" y="1258171"/>
                </a:cubicBezTo>
                <a:cubicBezTo>
                  <a:pt x="6414836" y="1253118"/>
                  <a:pt x="6406206" y="1252479"/>
                  <a:pt x="6406206" y="1252479"/>
                </a:cubicBezTo>
                <a:cubicBezTo>
                  <a:pt x="6409784" y="1251007"/>
                  <a:pt x="6409784" y="1251007"/>
                  <a:pt x="6409784" y="1251007"/>
                </a:cubicBezTo>
                <a:cubicBezTo>
                  <a:pt x="6413364" y="1249537"/>
                  <a:pt x="6413364" y="1249537"/>
                  <a:pt x="6413364" y="1249537"/>
                </a:cubicBezTo>
                <a:cubicBezTo>
                  <a:pt x="6413364" y="1249537"/>
                  <a:pt x="6408312" y="1247426"/>
                  <a:pt x="6408312" y="1247426"/>
                </a:cubicBezTo>
                <a:cubicBezTo>
                  <a:pt x="6421994" y="1250177"/>
                  <a:pt x="6420521" y="1246596"/>
                  <a:pt x="6439253" y="1251457"/>
                </a:cubicBezTo>
                <a:cubicBezTo>
                  <a:pt x="6435674" y="1252929"/>
                  <a:pt x="6435674" y="1252929"/>
                  <a:pt x="6435674" y="1252929"/>
                </a:cubicBezTo>
                <a:cubicBezTo>
                  <a:pt x="6435674" y="1252929"/>
                  <a:pt x="6435674" y="1252929"/>
                  <a:pt x="6430623" y="1250816"/>
                </a:cubicBezTo>
                <a:cubicBezTo>
                  <a:pt x="6427045" y="1252288"/>
                  <a:pt x="6427045" y="1252288"/>
                  <a:pt x="6427045" y="1252288"/>
                </a:cubicBezTo>
                <a:cubicBezTo>
                  <a:pt x="6428515" y="1255870"/>
                  <a:pt x="6433567" y="1257980"/>
                  <a:pt x="6437146" y="1256509"/>
                </a:cubicBezTo>
                <a:cubicBezTo>
                  <a:pt x="6437146" y="1256509"/>
                  <a:pt x="6438617" y="1260091"/>
                  <a:pt x="6442196" y="1258621"/>
                </a:cubicBezTo>
                <a:cubicBezTo>
                  <a:pt x="6445141" y="1265786"/>
                  <a:pt x="6460292" y="1272117"/>
                  <a:pt x="6480495" y="1280560"/>
                </a:cubicBezTo>
                <a:cubicBezTo>
                  <a:pt x="6489861" y="1282991"/>
                  <a:pt x="6500122" y="1285054"/>
                  <a:pt x="6509567" y="1286407"/>
                </a:cubicBezTo>
                <a:lnTo>
                  <a:pt x="6519680" y="1287066"/>
                </a:lnTo>
                <a:lnTo>
                  <a:pt x="6537936" y="1280075"/>
                </a:lnTo>
                <a:cubicBezTo>
                  <a:pt x="6548805" y="1278911"/>
                  <a:pt x="6559225" y="1280760"/>
                  <a:pt x="6568644" y="1285367"/>
                </a:cubicBezTo>
                <a:lnTo>
                  <a:pt x="6596597" y="1297148"/>
                </a:lnTo>
                <a:lnTo>
                  <a:pt x="6598170" y="1297686"/>
                </a:lnTo>
                <a:lnTo>
                  <a:pt x="6608881" y="1284665"/>
                </a:lnTo>
                <a:lnTo>
                  <a:pt x="6527020" y="1261440"/>
                </a:lnTo>
                <a:cubicBezTo>
                  <a:pt x="6506817" y="1252997"/>
                  <a:pt x="6472935" y="1241801"/>
                  <a:pt x="6436943" y="1235659"/>
                </a:cubicBezTo>
                <a:cubicBezTo>
                  <a:pt x="6403060" y="1224466"/>
                  <a:pt x="6368540" y="1221906"/>
                  <a:pt x="6347703" y="1222095"/>
                </a:cubicBezTo>
                <a:cubicBezTo>
                  <a:pt x="6323920" y="1215124"/>
                  <a:pt x="6296560" y="1209620"/>
                  <a:pt x="6275721" y="1209810"/>
                </a:cubicBezTo>
                <a:cubicBezTo>
                  <a:pt x="6275721" y="1209810"/>
                  <a:pt x="6274249" y="1206230"/>
                  <a:pt x="6270670" y="1207702"/>
                </a:cubicBezTo>
                <a:cubicBezTo>
                  <a:pt x="6265619" y="1205589"/>
                  <a:pt x="6265619" y="1205589"/>
                  <a:pt x="6262039" y="1207060"/>
                </a:cubicBezTo>
                <a:close/>
                <a:moveTo>
                  <a:pt x="1479789" y="1201104"/>
                </a:moveTo>
                <a:lnTo>
                  <a:pt x="1479720" y="1201462"/>
                </a:lnTo>
                <a:lnTo>
                  <a:pt x="1479440" y="1201333"/>
                </a:lnTo>
                <a:close/>
                <a:moveTo>
                  <a:pt x="6127443" y="1190892"/>
                </a:moveTo>
                <a:lnTo>
                  <a:pt x="6199100" y="1197375"/>
                </a:lnTo>
                <a:lnTo>
                  <a:pt x="6172169" y="1193231"/>
                </a:lnTo>
                <a:close/>
                <a:moveTo>
                  <a:pt x="6005273" y="1182802"/>
                </a:moveTo>
                <a:lnTo>
                  <a:pt x="6005212" y="1182828"/>
                </a:lnTo>
                <a:lnTo>
                  <a:pt x="6005285" y="1182827"/>
                </a:lnTo>
                <a:close/>
                <a:moveTo>
                  <a:pt x="5953261" y="1182201"/>
                </a:moveTo>
                <a:cubicBezTo>
                  <a:pt x="5947643" y="1181891"/>
                  <a:pt x="5942861" y="1182026"/>
                  <a:pt x="5939219" y="1182867"/>
                </a:cubicBezTo>
                <a:lnTo>
                  <a:pt x="5937563" y="1184001"/>
                </a:lnTo>
                <a:lnTo>
                  <a:pt x="5964268" y="1183537"/>
                </a:lnTo>
                <a:close/>
                <a:moveTo>
                  <a:pt x="5845732" y="1181386"/>
                </a:moveTo>
                <a:cubicBezTo>
                  <a:pt x="5812686" y="1182406"/>
                  <a:pt x="5782589" y="1190591"/>
                  <a:pt x="5763221" y="1194364"/>
                </a:cubicBezTo>
                <a:lnTo>
                  <a:pt x="5766793" y="1194487"/>
                </a:lnTo>
                <a:lnTo>
                  <a:pt x="5843528" y="1185629"/>
                </a:lnTo>
                <a:lnTo>
                  <a:pt x="5894340" y="1184750"/>
                </a:lnTo>
                <a:lnTo>
                  <a:pt x="5888593" y="1182613"/>
                </a:lnTo>
                <a:cubicBezTo>
                  <a:pt x="5876991" y="1181099"/>
                  <a:pt x="5862256" y="1180876"/>
                  <a:pt x="5845732" y="1181386"/>
                </a:cubicBezTo>
                <a:close/>
                <a:moveTo>
                  <a:pt x="4851551" y="1178554"/>
                </a:moveTo>
                <a:cubicBezTo>
                  <a:pt x="4851551" y="1178554"/>
                  <a:pt x="4847160" y="1180357"/>
                  <a:pt x="4844587" y="1186547"/>
                </a:cubicBezTo>
                <a:cubicBezTo>
                  <a:pt x="4835813" y="1190153"/>
                  <a:pt x="4831426" y="1191956"/>
                  <a:pt x="4827038" y="1193758"/>
                </a:cubicBezTo>
                <a:cubicBezTo>
                  <a:pt x="4829619" y="1187569"/>
                  <a:pt x="4834010" y="1185766"/>
                  <a:pt x="4838391" y="1183963"/>
                </a:cubicBezTo>
                <a:cubicBezTo>
                  <a:pt x="4838391" y="1183963"/>
                  <a:pt x="4838391" y="1183963"/>
                  <a:pt x="4842782" y="1182160"/>
                </a:cubicBezTo>
                <a:cubicBezTo>
                  <a:pt x="4847160" y="1180357"/>
                  <a:pt x="4847160" y="1180357"/>
                  <a:pt x="4847160" y="1180357"/>
                </a:cubicBezTo>
                <a:close/>
                <a:moveTo>
                  <a:pt x="4316974" y="1178325"/>
                </a:moveTo>
                <a:lnTo>
                  <a:pt x="4278530" y="1208283"/>
                </a:lnTo>
                <a:lnTo>
                  <a:pt x="4266951" y="1219130"/>
                </a:lnTo>
                <a:lnTo>
                  <a:pt x="4272447" y="1220396"/>
                </a:lnTo>
                <a:lnTo>
                  <a:pt x="4283732" y="1223914"/>
                </a:lnTo>
                <a:lnTo>
                  <a:pt x="4332724" y="1182960"/>
                </a:lnTo>
                <a:close/>
                <a:moveTo>
                  <a:pt x="7192583" y="1177898"/>
                </a:moveTo>
                <a:lnTo>
                  <a:pt x="7190537" y="1180492"/>
                </a:lnTo>
                <a:cubicBezTo>
                  <a:pt x="7190104" y="1183944"/>
                  <a:pt x="7188810" y="1184592"/>
                  <a:pt x="7185357" y="1182435"/>
                </a:cubicBezTo>
                <a:cubicBezTo>
                  <a:pt x="7178019" y="1177905"/>
                  <a:pt x="7167227" y="1181141"/>
                  <a:pt x="7163990" y="1188690"/>
                </a:cubicBezTo>
                <a:lnTo>
                  <a:pt x="7163990" y="1191657"/>
                </a:lnTo>
                <a:lnTo>
                  <a:pt x="7164566" y="1192000"/>
                </a:lnTo>
                <a:lnTo>
                  <a:pt x="7163989" y="1192236"/>
                </a:lnTo>
                <a:lnTo>
                  <a:pt x="7163990" y="1193435"/>
                </a:lnTo>
                <a:cubicBezTo>
                  <a:pt x="7165501" y="1194730"/>
                  <a:pt x="7167658" y="1195376"/>
                  <a:pt x="7169601" y="1194083"/>
                </a:cubicBezTo>
                <a:lnTo>
                  <a:pt x="7171149" y="1193050"/>
                </a:lnTo>
                <a:lnTo>
                  <a:pt x="7168952" y="1190197"/>
                </a:lnTo>
                <a:lnTo>
                  <a:pt x="7172937" y="1191860"/>
                </a:lnTo>
                <a:lnTo>
                  <a:pt x="7173486" y="1191494"/>
                </a:lnTo>
                <a:cubicBezTo>
                  <a:pt x="7174781" y="1190416"/>
                  <a:pt x="7176076" y="1189768"/>
                  <a:pt x="7177155" y="1191063"/>
                </a:cubicBezTo>
                <a:lnTo>
                  <a:pt x="7176762" y="1193420"/>
                </a:lnTo>
                <a:lnTo>
                  <a:pt x="7195808" y="1200955"/>
                </a:lnTo>
                <a:cubicBezTo>
                  <a:pt x="7199902" y="1203116"/>
                  <a:pt x="7202997" y="1204409"/>
                  <a:pt x="7210479" y="1203899"/>
                </a:cubicBezTo>
                <a:cubicBezTo>
                  <a:pt x="7198099" y="1198731"/>
                  <a:pt x="7200683" y="1192538"/>
                  <a:pt x="7198881" y="1188154"/>
                </a:cubicBezTo>
                <a:cubicBezTo>
                  <a:pt x="7205069" y="1190738"/>
                  <a:pt x="7213063" y="1197709"/>
                  <a:pt x="7219254" y="1200291"/>
                </a:cubicBezTo>
                <a:cubicBezTo>
                  <a:pt x="7225442" y="1202876"/>
                  <a:pt x="7231632" y="1205458"/>
                  <a:pt x="7237823" y="1208044"/>
                </a:cubicBezTo>
                <a:cubicBezTo>
                  <a:pt x="7239625" y="1212431"/>
                  <a:pt x="7245814" y="1215016"/>
                  <a:pt x="7245814" y="1215016"/>
                </a:cubicBezTo>
                <a:cubicBezTo>
                  <a:pt x="7247618" y="1219403"/>
                  <a:pt x="7241428" y="1216818"/>
                  <a:pt x="7237041" y="1218620"/>
                </a:cubicBezTo>
                <a:cubicBezTo>
                  <a:pt x="7261800" y="1228957"/>
                  <a:pt x="7261800" y="1228957"/>
                  <a:pt x="7261800" y="1228957"/>
                </a:cubicBezTo>
                <a:cubicBezTo>
                  <a:pt x="7259216" y="1235146"/>
                  <a:pt x="7259216" y="1235146"/>
                  <a:pt x="7259216" y="1235146"/>
                </a:cubicBezTo>
                <a:cubicBezTo>
                  <a:pt x="7259216" y="1235146"/>
                  <a:pt x="7254829" y="1236950"/>
                  <a:pt x="7253026" y="1232562"/>
                </a:cubicBezTo>
                <a:cubicBezTo>
                  <a:pt x="7248639" y="1234366"/>
                  <a:pt x="7248639" y="1234366"/>
                  <a:pt x="7248639" y="1234366"/>
                </a:cubicBezTo>
                <a:cubicBezTo>
                  <a:pt x="7248639" y="1234366"/>
                  <a:pt x="7248639" y="1234366"/>
                  <a:pt x="7250443" y="1238753"/>
                </a:cubicBezTo>
                <a:cubicBezTo>
                  <a:pt x="7252246" y="1243138"/>
                  <a:pt x="7256632" y="1241336"/>
                  <a:pt x="7256632" y="1241336"/>
                </a:cubicBezTo>
                <a:cubicBezTo>
                  <a:pt x="7261019" y="1239533"/>
                  <a:pt x="7261019" y="1239533"/>
                  <a:pt x="7261019" y="1239533"/>
                </a:cubicBezTo>
                <a:cubicBezTo>
                  <a:pt x="7261019" y="1239533"/>
                  <a:pt x="7262822" y="1243921"/>
                  <a:pt x="7267210" y="1242117"/>
                </a:cubicBezTo>
                <a:cubicBezTo>
                  <a:pt x="7267210" y="1242117"/>
                  <a:pt x="7267210" y="1242117"/>
                  <a:pt x="7273400" y="1244701"/>
                </a:cubicBezTo>
                <a:cubicBezTo>
                  <a:pt x="7273400" y="1244701"/>
                  <a:pt x="7273400" y="1244701"/>
                  <a:pt x="7275204" y="1249088"/>
                </a:cubicBezTo>
                <a:cubicBezTo>
                  <a:pt x="7275204" y="1249088"/>
                  <a:pt x="7279589" y="1247286"/>
                  <a:pt x="7279589" y="1247286"/>
                </a:cubicBezTo>
                <a:cubicBezTo>
                  <a:pt x="7281392" y="1251672"/>
                  <a:pt x="7281392" y="1251672"/>
                  <a:pt x="7281392" y="1251672"/>
                </a:cubicBezTo>
                <a:cubicBezTo>
                  <a:pt x="7277006" y="1253475"/>
                  <a:pt x="7277006" y="1253475"/>
                  <a:pt x="7277006" y="1253475"/>
                </a:cubicBezTo>
                <a:cubicBezTo>
                  <a:pt x="7266428" y="1252694"/>
                  <a:pt x="7266428" y="1252694"/>
                  <a:pt x="7266428" y="1252694"/>
                </a:cubicBezTo>
                <a:cubicBezTo>
                  <a:pt x="7260239" y="1250110"/>
                  <a:pt x="7258434" y="1245721"/>
                  <a:pt x="7254048" y="1247525"/>
                </a:cubicBezTo>
                <a:cubicBezTo>
                  <a:pt x="7254048" y="1247525"/>
                  <a:pt x="7254048" y="1247525"/>
                  <a:pt x="7255851" y="1251914"/>
                </a:cubicBezTo>
                <a:cubicBezTo>
                  <a:pt x="7257655" y="1256301"/>
                  <a:pt x="7262041" y="1254497"/>
                  <a:pt x="7262041" y="1254497"/>
                </a:cubicBezTo>
                <a:cubicBezTo>
                  <a:pt x="7270034" y="1261468"/>
                  <a:pt x="7274421" y="1259665"/>
                  <a:pt x="7280612" y="1262249"/>
                </a:cubicBezTo>
                <a:cubicBezTo>
                  <a:pt x="7284998" y="1260446"/>
                  <a:pt x="7284998" y="1260446"/>
                  <a:pt x="7284998" y="1260446"/>
                </a:cubicBezTo>
                <a:cubicBezTo>
                  <a:pt x="7295574" y="1261228"/>
                  <a:pt x="7297378" y="1265614"/>
                  <a:pt x="7301765" y="1263812"/>
                </a:cubicBezTo>
                <a:cubicBezTo>
                  <a:pt x="7322137" y="1275950"/>
                  <a:pt x="7344312" y="1292478"/>
                  <a:pt x="7369072" y="1302813"/>
                </a:cubicBezTo>
                <a:cubicBezTo>
                  <a:pt x="7370875" y="1307200"/>
                  <a:pt x="7370875" y="1307200"/>
                  <a:pt x="7370875" y="1307200"/>
                </a:cubicBezTo>
                <a:cubicBezTo>
                  <a:pt x="7372678" y="1311588"/>
                  <a:pt x="7377066" y="1309784"/>
                  <a:pt x="7377066" y="1309784"/>
                </a:cubicBezTo>
                <a:cubicBezTo>
                  <a:pt x="7378868" y="1314171"/>
                  <a:pt x="7385059" y="1316755"/>
                  <a:pt x="7391246" y="1319340"/>
                </a:cubicBezTo>
                <a:cubicBezTo>
                  <a:pt x="7391246" y="1319340"/>
                  <a:pt x="7391246" y="1319340"/>
                  <a:pt x="7397438" y="1321924"/>
                </a:cubicBezTo>
                <a:cubicBezTo>
                  <a:pt x="7399240" y="1326309"/>
                  <a:pt x="7405430" y="1328896"/>
                  <a:pt x="7411620" y="1331479"/>
                </a:cubicBezTo>
                <a:cubicBezTo>
                  <a:pt x="7413422" y="1335867"/>
                  <a:pt x="7419613" y="1338451"/>
                  <a:pt x="7425803" y="1341033"/>
                </a:cubicBezTo>
                <a:cubicBezTo>
                  <a:pt x="7429409" y="1349808"/>
                  <a:pt x="7452365" y="1355757"/>
                  <a:pt x="7463963" y="1371502"/>
                </a:cubicBezTo>
                <a:cubicBezTo>
                  <a:pt x="7474541" y="1372284"/>
                  <a:pt x="7502905" y="1391394"/>
                  <a:pt x="7521475" y="1399146"/>
                </a:cubicBezTo>
                <a:cubicBezTo>
                  <a:pt x="7521475" y="1399146"/>
                  <a:pt x="7537461" y="1413089"/>
                  <a:pt x="7535658" y="1408701"/>
                </a:cubicBezTo>
                <a:cubicBezTo>
                  <a:pt x="7524570" y="1400439"/>
                  <a:pt x="7527861" y="1399087"/>
                  <a:pt x="7532923" y="1398929"/>
                </a:cubicBezTo>
                <a:lnTo>
                  <a:pt x="7533929" y="1398921"/>
                </a:lnTo>
                <a:lnTo>
                  <a:pt x="7507772" y="1379553"/>
                </a:lnTo>
                <a:lnTo>
                  <a:pt x="7488977" y="1364076"/>
                </a:lnTo>
                <a:lnTo>
                  <a:pt x="7481128" y="1358680"/>
                </a:lnTo>
                <a:cubicBezTo>
                  <a:pt x="7469268" y="1350094"/>
                  <a:pt x="7456632" y="1341185"/>
                  <a:pt x="7453147" y="1345180"/>
                </a:cubicBezTo>
                <a:cubicBezTo>
                  <a:pt x="7473519" y="1357320"/>
                  <a:pt x="7446957" y="1342596"/>
                  <a:pt x="7432773" y="1333041"/>
                </a:cubicBezTo>
                <a:cubicBezTo>
                  <a:pt x="7432773" y="1333041"/>
                  <a:pt x="7432773" y="1333041"/>
                  <a:pt x="7437161" y="1331238"/>
                </a:cubicBezTo>
                <a:cubicBezTo>
                  <a:pt x="7438964" y="1335625"/>
                  <a:pt x="7438964" y="1335625"/>
                  <a:pt x="7438964" y="1335625"/>
                </a:cubicBezTo>
                <a:cubicBezTo>
                  <a:pt x="7445154" y="1338210"/>
                  <a:pt x="7445154" y="1338210"/>
                  <a:pt x="7443350" y="1333822"/>
                </a:cubicBezTo>
                <a:cubicBezTo>
                  <a:pt x="7443350" y="1333822"/>
                  <a:pt x="7443350" y="1333822"/>
                  <a:pt x="7441548" y="1329435"/>
                </a:cubicBezTo>
                <a:cubicBezTo>
                  <a:pt x="7435357" y="1326850"/>
                  <a:pt x="7435357" y="1326850"/>
                  <a:pt x="7435357" y="1326850"/>
                </a:cubicBezTo>
                <a:cubicBezTo>
                  <a:pt x="7429167" y="1324265"/>
                  <a:pt x="7424781" y="1326069"/>
                  <a:pt x="7422197" y="1332260"/>
                </a:cubicBezTo>
                <a:cubicBezTo>
                  <a:pt x="7416006" y="1329675"/>
                  <a:pt x="7409817" y="1327092"/>
                  <a:pt x="7408014" y="1322705"/>
                </a:cubicBezTo>
                <a:cubicBezTo>
                  <a:pt x="7406211" y="1318318"/>
                  <a:pt x="7406211" y="1318318"/>
                  <a:pt x="7404409" y="1313931"/>
                </a:cubicBezTo>
                <a:cubicBezTo>
                  <a:pt x="7404409" y="1313931"/>
                  <a:pt x="7404409" y="1313931"/>
                  <a:pt x="7408795" y="1312127"/>
                </a:cubicBezTo>
                <a:cubicBezTo>
                  <a:pt x="7406992" y="1307740"/>
                  <a:pt x="7402604" y="1309544"/>
                  <a:pt x="7402604" y="1309544"/>
                </a:cubicBezTo>
                <a:cubicBezTo>
                  <a:pt x="7402604" y="1309544"/>
                  <a:pt x="7398219" y="1311347"/>
                  <a:pt x="7398219" y="1311347"/>
                </a:cubicBezTo>
                <a:cubicBezTo>
                  <a:pt x="7393832" y="1313150"/>
                  <a:pt x="7392029" y="1308762"/>
                  <a:pt x="7387641" y="1310566"/>
                </a:cubicBezTo>
                <a:cubicBezTo>
                  <a:pt x="7385839" y="1306179"/>
                  <a:pt x="7379649" y="1303595"/>
                  <a:pt x="7379649" y="1303595"/>
                </a:cubicBezTo>
                <a:cubicBezTo>
                  <a:pt x="7379649" y="1303595"/>
                  <a:pt x="7379649" y="1303595"/>
                  <a:pt x="7377847" y="1299208"/>
                </a:cubicBezTo>
                <a:cubicBezTo>
                  <a:pt x="7373458" y="1301011"/>
                  <a:pt x="7373458" y="1301011"/>
                  <a:pt x="7373458" y="1301011"/>
                </a:cubicBezTo>
                <a:cubicBezTo>
                  <a:pt x="7373458" y="1301011"/>
                  <a:pt x="7371657" y="1296623"/>
                  <a:pt x="7367269" y="1298427"/>
                </a:cubicBezTo>
                <a:cubicBezTo>
                  <a:pt x="7346896" y="1286287"/>
                  <a:pt x="7322137" y="1275950"/>
                  <a:pt x="7304349" y="1257622"/>
                </a:cubicBezTo>
                <a:cubicBezTo>
                  <a:pt x="7298158" y="1255037"/>
                  <a:pt x="7298158" y="1255037"/>
                  <a:pt x="7298158" y="1255037"/>
                </a:cubicBezTo>
                <a:cubicBezTo>
                  <a:pt x="7298158" y="1255037"/>
                  <a:pt x="7293772" y="1256840"/>
                  <a:pt x="7293772" y="1256840"/>
                </a:cubicBezTo>
                <a:cubicBezTo>
                  <a:pt x="7293772" y="1256840"/>
                  <a:pt x="7291969" y="1252453"/>
                  <a:pt x="7291969" y="1252453"/>
                </a:cubicBezTo>
                <a:cubicBezTo>
                  <a:pt x="7291969" y="1252453"/>
                  <a:pt x="7296356" y="1250650"/>
                  <a:pt x="7296356" y="1250650"/>
                </a:cubicBezTo>
                <a:cubicBezTo>
                  <a:pt x="7292750" y="1241877"/>
                  <a:pt x="7286561" y="1239293"/>
                  <a:pt x="7278568" y="1232322"/>
                </a:cubicBezTo>
                <a:cubicBezTo>
                  <a:pt x="7274181" y="1234124"/>
                  <a:pt x="7274181" y="1234124"/>
                  <a:pt x="7274181" y="1234124"/>
                </a:cubicBezTo>
                <a:cubicBezTo>
                  <a:pt x="7273160" y="1219161"/>
                  <a:pt x="7286561" y="1239293"/>
                  <a:pt x="7289144" y="1233103"/>
                </a:cubicBezTo>
                <a:cubicBezTo>
                  <a:pt x="7282954" y="1230518"/>
                  <a:pt x="7266969" y="1216578"/>
                  <a:pt x="7248398" y="1208825"/>
                </a:cubicBezTo>
                <a:cubicBezTo>
                  <a:pt x="7242209" y="1206242"/>
                  <a:pt x="7229830" y="1201073"/>
                  <a:pt x="7221837" y="1194103"/>
                </a:cubicBezTo>
                <a:cubicBezTo>
                  <a:pt x="7215647" y="1191518"/>
                  <a:pt x="7203266" y="1186350"/>
                  <a:pt x="7195274" y="1179378"/>
                </a:cubicBezTo>
                <a:close/>
                <a:moveTo>
                  <a:pt x="9486745" y="1176999"/>
                </a:moveTo>
                <a:cubicBezTo>
                  <a:pt x="9481434" y="1183444"/>
                  <a:pt x="9466457" y="1181924"/>
                  <a:pt x="9454702" y="1183057"/>
                </a:cubicBezTo>
                <a:cubicBezTo>
                  <a:pt x="9091476" y="1184374"/>
                  <a:pt x="8731966" y="1265381"/>
                  <a:pt x="8403626" y="1419708"/>
                </a:cubicBezTo>
                <a:lnTo>
                  <a:pt x="8317356" y="1463619"/>
                </a:lnTo>
                <a:lnTo>
                  <a:pt x="8338713" y="1491949"/>
                </a:lnTo>
                <a:lnTo>
                  <a:pt x="8376282" y="1470609"/>
                </a:lnTo>
                <a:cubicBezTo>
                  <a:pt x="8549497" y="1381187"/>
                  <a:pt x="8732032" y="1313239"/>
                  <a:pt x="8920026" y="1267287"/>
                </a:cubicBezTo>
                <a:cubicBezTo>
                  <a:pt x="8911493" y="1271077"/>
                  <a:pt x="8908838" y="1274299"/>
                  <a:pt x="8912060" y="1276955"/>
                </a:cubicBezTo>
                <a:cubicBezTo>
                  <a:pt x="8950548" y="1276207"/>
                  <a:pt x="8949413" y="1264452"/>
                  <a:pt x="8984112" y="1255169"/>
                </a:cubicBezTo>
                <a:cubicBezTo>
                  <a:pt x="8984112" y="1255169"/>
                  <a:pt x="8980889" y="1252515"/>
                  <a:pt x="8980889" y="1252515"/>
                </a:cubicBezTo>
                <a:cubicBezTo>
                  <a:pt x="9012931" y="1246454"/>
                  <a:pt x="9039097" y="1240965"/>
                  <a:pt x="9071140" y="1234907"/>
                </a:cubicBezTo>
                <a:cubicBezTo>
                  <a:pt x="9080240" y="1236994"/>
                  <a:pt x="9118161" y="1230368"/>
                  <a:pt x="9126695" y="1226580"/>
                </a:cubicBezTo>
                <a:cubicBezTo>
                  <a:pt x="9129917" y="1229233"/>
                  <a:pt x="9132572" y="1226011"/>
                  <a:pt x="9132572" y="1226011"/>
                </a:cubicBezTo>
                <a:cubicBezTo>
                  <a:pt x="9138448" y="1225445"/>
                  <a:pt x="9138448" y="1225445"/>
                  <a:pt x="9135226" y="1222789"/>
                </a:cubicBezTo>
                <a:cubicBezTo>
                  <a:pt x="9138448" y="1225445"/>
                  <a:pt x="9141105" y="1222224"/>
                  <a:pt x="9144326" y="1224877"/>
                </a:cubicBezTo>
                <a:cubicBezTo>
                  <a:pt x="9152859" y="1221088"/>
                  <a:pt x="9164614" y="1219954"/>
                  <a:pt x="9170492" y="1219386"/>
                </a:cubicBezTo>
                <a:cubicBezTo>
                  <a:pt x="9196657" y="1213895"/>
                  <a:pt x="9223390" y="1214280"/>
                  <a:pt x="9249556" y="1208790"/>
                </a:cubicBezTo>
                <a:cubicBezTo>
                  <a:pt x="9261310" y="1207654"/>
                  <a:pt x="9273065" y="1206520"/>
                  <a:pt x="9284820" y="1205386"/>
                </a:cubicBezTo>
                <a:cubicBezTo>
                  <a:pt x="9308332" y="1203118"/>
                  <a:pt x="9335064" y="1203504"/>
                  <a:pt x="9358574" y="1201235"/>
                </a:cubicBezTo>
                <a:cubicBezTo>
                  <a:pt x="9358574" y="1201235"/>
                  <a:pt x="9355918" y="1204456"/>
                  <a:pt x="9355918" y="1204456"/>
                </a:cubicBezTo>
                <a:cubicBezTo>
                  <a:pt x="9361796" y="1203891"/>
                  <a:pt x="9364451" y="1200667"/>
                  <a:pt x="9370328" y="1200099"/>
                </a:cubicBezTo>
                <a:cubicBezTo>
                  <a:pt x="9475082" y="1194439"/>
                  <a:pt x="9579737" y="1195461"/>
                  <a:pt x="9684296" y="1203166"/>
                </a:cubicBezTo>
                <a:lnTo>
                  <a:pt x="9708626" y="1205738"/>
                </a:lnTo>
                <a:lnTo>
                  <a:pt x="9805007" y="1209310"/>
                </a:lnTo>
                <a:lnTo>
                  <a:pt x="9792173" y="1206845"/>
                </a:lnTo>
                <a:lnTo>
                  <a:pt x="9821252" y="1209912"/>
                </a:lnTo>
                <a:lnTo>
                  <a:pt x="9831506" y="1210292"/>
                </a:lnTo>
                <a:lnTo>
                  <a:pt x="9851515" y="1207049"/>
                </a:lnTo>
                <a:cubicBezTo>
                  <a:pt x="9835970" y="1199653"/>
                  <a:pt x="9806016" y="1196611"/>
                  <a:pt x="9781938" y="1193001"/>
                </a:cubicBezTo>
                <a:cubicBezTo>
                  <a:pt x="9755207" y="1192615"/>
                  <a:pt x="9734351" y="1191662"/>
                  <a:pt x="9729041" y="1198108"/>
                </a:cubicBezTo>
                <a:cubicBezTo>
                  <a:pt x="9747240" y="1202283"/>
                  <a:pt x="9768096" y="1203237"/>
                  <a:pt x="9786295" y="1207411"/>
                </a:cubicBezTo>
                <a:cubicBezTo>
                  <a:pt x="9738139" y="1200195"/>
                  <a:pt x="9687329" y="1196200"/>
                  <a:pt x="9633299" y="1189551"/>
                </a:cubicBezTo>
                <a:cubicBezTo>
                  <a:pt x="9620408" y="1178930"/>
                  <a:pt x="9578699" y="1177024"/>
                  <a:pt x="9546655" y="1183082"/>
                </a:cubicBezTo>
                <a:cubicBezTo>
                  <a:pt x="9525799" y="1182129"/>
                  <a:pt x="9499069" y="1181741"/>
                  <a:pt x="9486745" y="1176999"/>
                </a:cubicBezTo>
                <a:close/>
                <a:moveTo>
                  <a:pt x="2034745" y="1176954"/>
                </a:moveTo>
                <a:cubicBezTo>
                  <a:pt x="1978572" y="1200275"/>
                  <a:pt x="1924767" y="1243417"/>
                  <a:pt x="1867633" y="1270320"/>
                </a:cubicBezTo>
                <a:cubicBezTo>
                  <a:pt x="1850421" y="1277220"/>
                  <a:pt x="1861172" y="1280100"/>
                  <a:pt x="1851126" y="1288920"/>
                </a:cubicBezTo>
                <a:cubicBezTo>
                  <a:pt x="1828415" y="1302020"/>
                  <a:pt x="1815746" y="1306301"/>
                  <a:pt x="1803078" y="1310582"/>
                </a:cubicBezTo>
                <a:cubicBezTo>
                  <a:pt x="1784908" y="1321062"/>
                  <a:pt x="1786573" y="1329183"/>
                  <a:pt x="1771986" y="1340624"/>
                </a:cubicBezTo>
                <a:cubicBezTo>
                  <a:pt x="1754776" y="1347524"/>
                  <a:pt x="1737564" y="1354425"/>
                  <a:pt x="1720354" y="1361325"/>
                </a:cubicBezTo>
                <a:cubicBezTo>
                  <a:pt x="1720354" y="1361325"/>
                  <a:pt x="1720354" y="1361325"/>
                  <a:pt x="1715106" y="1352243"/>
                </a:cubicBezTo>
                <a:cubicBezTo>
                  <a:pt x="1706021" y="1357485"/>
                  <a:pt x="1692393" y="1365345"/>
                  <a:pt x="1682350" y="1374166"/>
                </a:cubicBezTo>
                <a:cubicBezTo>
                  <a:pt x="1682350" y="1374166"/>
                  <a:pt x="1682350" y="1374166"/>
                  <a:pt x="1685932" y="1375125"/>
                </a:cubicBezTo>
                <a:cubicBezTo>
                  <a:pt x="1686892" y="1371545"/>
                  <a:pt x="1691434" y="1368925"/>
                  <a:pt x="1690475" y="1372504"/>
                </a:cubicBezTo>
                <a:cubicBezTo>
                  <a:pt x="1690475" y="1372504"/>
                  <a:pt x="1689516" y="1376086"/>
                  <a:pt x="1689516" y="1376086"/>
                </a:cubicBezTo>
                <a:cubicBezTo>
                  <a:pt x="1693099" y="1377045"/>
                  <a:pt x="1703143" y="1368225"/>
                  <a:pt x="1701224" y="1375385"/>
                </a:cubicBezTo>
                <a:cubicBezTo>
                  <a:pt x="1690220" y="1387788"/>
                  <a:pt x="1687597" y="1383248"/>
                  <a:pt x="1677553" y="1392067"/>
                </a:cubicBezTo>
                <a:cubicBezTo>
                  <a:pt x="1677553" y="1392067"/>
                  <a:pt x="1677553" y="1392067"/>
                  <a:pt x="1676594" y="1395648"/>
                </a:cubicBezTo>
                <a:cubicBezTo>
                  <a:pt x="1676594" y="1395648"/>
                  <a:pt x="1676594" y="1395648"/>
                  <a:pt x="1673011" y="1394689"/>
                </a:cubicBezTo>
                <a:cubicBezTo>
                  <a:pt x="1672051" y="1398268"/>
                  <a:pt x="1667508" y="1400888"/>
                  <a:pt x="1667508" y="1400888"/>
                </a:cubicBezTo>
                <a:cubicBezTo>
                  <a:pt x="1663926" y="1399927"/>
                  <a:pt x="1663926" y="1399927"/>
                  <a:pt x="1663926" y="1399927"/>
                </a:cubicBezTo>
                <a:cubicBezTo>
                  <a:pt x="1657465" y="1409709"/>
                  <a:pt x="1641919" y="1424731"/>
                  <a:pt x="1627332" y="1436172"/>
                </a:cubicBezTo>
                <a:cubicBezTo>
                  <a:pt x="1609161" y="1446651"/>
                  <a:pt x="1595533" y="1454514"/>
                  <a:pt x="1588367" y="1452593"/>
                </a:cubicBezTo>
                <a:cubicBezTo>
                  <a:pt x="1587408" y="1456173"/>
                  <a:pt x="1583825" y="1455214"/>
                  <a:pt x="1583825" y="1455214"/>
                </a:cubicBezTo>
                <a:cubicBezTo>
                  <a:pt x="1582866" y="1458794"/>
                  <a:pt x="1578324" y="1461415"/>
                  <a:pt x="1574740" y="1460454"/>
                </a:cubicBezTo>
                <a:cubicBezTo>
                  <a:pt x="1574740" y="1460454"/>
                  <a:pt x="1574740" y="1460454"/>
                  <a:pt x="1575699" y="1456874"/>
                </a:cubicBezTo>
                <a:cubicBezTo>
                  <a:pt x="1580242" y="1454253"/>
                  <a:pt x="1580242" y="1454253"/>
                  <a:pt x="1580242" y="1454253"/>
                </a:cubicBezTo>
                <a:cubicBezTo>
                  <a:pt x="1580242" y="1454253"/>
                  <a:pt x="1580242" y="1454253"/>
                  <a:pt x="1581201" y="1450673"/>
                </a:cubicBezTo>
                <a:cubicBezTo>
                  <a:pt x="1566615" y="1462115"/>
                  <a:pt x="1570197" y="1463075"/>
                  <a:pt x="1560153" y="1471897"/>
                </a:cubicBezTo>
                <a:cubicBezTo>
                  <a:pt x="1560153" y="1471897"/>
                  <a:pt x="1564695" y="1469277"/>
                  <a:pt x="1564695" y="1469277"/>
                </a:cubicBezTo>
                <a:cubicBezTo>
                  <a:pt x="1564695" y="1469277"/>
                  <a:pt x="1564695" y="1469277"/>
                  <a:pt x="1563737" y="1472858"/>
                </a:cubicBezTo>
                <a:cubicBezTo>
                  <a:pt x="1563737" y="1472858"/>
                  <a:pt x="1563737" y="1472858"/>
                  <a:pt x="1562777" y="1476437"/>
                </a:cubicBezTo>
                <a:cubicBezTo>
                  <a:pt x="1562777" y="1476437"/>
                  <a:pt x="1568279" y="1470236"/>
                  <a:pt x="1570903" y="1474776"/>
                </a:cubicBezTo>
                <a:cubicBezTo>
                  <a:pt x="1560859" y="1483596"/>
                  <a:pt x="1550814" y="1492417"/>
                  <a:pt x="1548191" y="1487877"/>
                </a:cubicBezTo>
                <a:cubicBezTo>
                  <a:pt x="1548191" y="1487877"/>
                  <a:pt x="1547231" y="1491457"/>
                  <a:pt x="1543648" y="1490496"/>
                </a:cubicBezTo>
                <a:cubicBezTo>
                  <a:pt x="1513769" y="1501678"/>
                  <a:pt x="1484596" y="1524558"/>
                  <a:pt x="1457086" y="1555558"/>
                </a:cubicBezTo>
                <a:cubicBezTo>
                  <a:pt x="1457086" y="1555558"/>
                  <a:pt x="1456127" y="1559140"/>
                  <a:pt x="1452544" y="1558179"/>
                </a:cubicBezTo>
                <a:cubicBezTo>
                  <a:pt x="1451584" y="1561759"/>
                  <a:pt x="1447043" y="1564381"/>
                  <a:pt x="1447043" y="1564381"/>
                </a:cubicBezTo>
                <a:cubicBezTo>
                  <a:pt x="1447043" y="1564381"/>
                  <a:pt x="1447043" y="1564381"/>
                  <a:pt x="1448002" y="1560801"/>
                </a:cubicBezTo>
                <a:cubicBezTo>
                  <a:pt x="1441539" y="1570580"/>
                  <a:pt x="1429578" y="1586558"/>
                  <a:pt x="1427659" y="1593721"/>
                </a:cubicBezTo>
                <a:cubicBezTo>
                  <a:pt x="1428619" y="1590140"/>
                  <a:pt x="1428619" y="1590140"/>
                  <a:pt x="1433161" y="1587521"/>
                </a:cubicBezTo>
                <a:cubicBezTo>
                  <a:pt x="1433161" y="1587521"/>
                  <a:pt x="1436743" y="1588480"/>
                  <a:pt x="1436743" y="1588480"/>
                </a:cubicBezTo>
                <a:cubicBezTo>
                  <a:pt x="1435783" y="1592061"/>
                  <a:pt x="1435783" y="1592061"/>
                  <a:pt x="1431243" y="1594679"/>
                </a:cubicBezTo>
                <a:lnTo>
                  <a:pt x="1430893" y="1595984"/>
                </a:lnTo>
                <a:lnTo>
                  <a:pt x="1429059" y="1597453"/>
                </a:lnTo>
                <a:cubicBezTo>
                  <a:pt x="1427355" y="1598437"/>
                  <a:pt x="1426220" y="1599090"/>
                  <a:pt x="1425740" y="1600882"/>
                </a:cubicBezTo>
                <a:cubicBezTo>
                  <a:pt x="1426700" y="1597301"/>
                  <a:pt x="1430283" y="1598261"/>
                  <a:pt x="1430283" y="1598261"/>
                </a:cubicBezTo>
                <a:lnTo>
                  <a:pt x="1430893" y="1595984"/>
                </a:lnTo>
                <a:lnTo>
                  <a:pt x="1435783" y="1592061"/>
                </a:lnTo>
                <a:cubicBezTo>
                  <a:pt x="1408980" y="1634767"/>
                  <a:pt x="1356135" y="1674329"/>
                  <a:pt x="1325748" y="1716073"/>
                </a:cubicBezTo>
                <a:cubicBezTo>
                  <a:pt x="1322165" y="1715112"/>
                  <a:pt x="1311162" y="1727513"/>
                  <a:pt x="1306619" y="1730135"/>
                </a:cubicBezTo>
                <a:cubicBezTo>
                  <a:pt x="1310203" y="1731095"/>
                  <a:pt x="1310203" y="1731095"/>
                  <a:pt x="1308282" y="1738254"/>
                </a:cubicBezTo>
                <a:cubicBezTo>
                  <a:pt x="1308282" y="1738254"/>
                  <a:pt x="1304700" y="1737294"/>
                  <a:pt x="1303740" y="1740876"/>
                </a:cubicBezTo>
                <a:cubicBezTo>
                  <a:pt x="1302781" y="1744455"/>
                  <a:pt x="1299197" y="1743494"/>
                  <a:pt x="1298240" y="1747075"/>
                </a:cubicBezTo>
                <a:cubicBezTo>
                  <a:pt x="1274314" y="1779036"/>
                  <a:pt x="1261645" y="1783315"/>
                  <a:pt x="1246099" y="1798338"/>
                </a:cubicBezTo>
                <a:cubicBezTo>
                  <a:pt x="1246099" y="1798338"/>
                  <a:pt x="1247060" y="1794757"/>
                  <a:pt x="1250642" y="1795716"/>
                </a:cubicBezTo>
                <a:cubicBezTo>
                  <a:pt x="1250642" y="1795716"/>
                  <a:pt x="1254224" y="1796676"/>
                  <a:pt x="1253265" y="1800259"/>
                </a:cubicBezTo>
                <a:cubicBezTo>
                  <a:pt x="1253265" y="1800259"/>
                  <a:pt x="1248724" y="1802877"/>
                  <a:pt x="1248724" y="1802877"/>
                </a:cubicBezTo>
                <a:cubicBezTo>
                  <a:pt x="1247763" y="1806458"/>
                  <a:pt x="1247763" y="1806458"/>
                  <a:pt x="1247763" y="1806458"/>
                </a:cubicBezTo>
                <a:cubicBezTo>
                  <a:pt x="1242967" y="1824359"/>
                  <a:pt x="1209956" y="1861563"/>
                  <a:pt x="1200166" y="1855102"/>
                </a:cubicBezTo>
                <a:cubicBezTo>
                  <a:pt x="1186285" y="1878243"/>
                  <a:pt x="1164982" y="1914746"/>
                  <a:pt x="1144894" y="1932387"/>
                </a:cubicBezTo>
                <a:cubicBezTo>
                  <a:pt x="1153273" y="1915446"/>
                  <a:pt x="1164531" y="1887763"/>
                  <a:pt x="1182955" y="1862003"/>
                </a:cubicBezTo>
                <a:cubicBezTo>
                  <a:pt x="1201380" y="1836240"/>
                  <a:pt x="1217885" y="1817639"/>
                  <a:pt x="1229593" y="1816940"/>
                </a:cubicBezTo>
                <a:cubicBezTo>
                  <a:pt x="1226010" y="1815979"/>
                  <a:pt x="1226010" y="1815979"/>
                  <a:pt x="1226969" y="1812400"/>
                </a:cubicBezTo>
                <a:cubicBezTo>
                  <a:pt x="1231513" y="1809779"/>
                  <a:pt x="1233433" y="1802616"/>
                  <a:pt x="1237014" y="1803578"/>
                </a:cubicBezTo>
                <a:cubicBezTo>
                  <a:pt x="1237014" y="1803578"/>
                  <a:pt x="1237975" y="1799997"/>
                  <a:pt x="1241556" y="1800957"/>
                </a:cubicBezTo>
                <a:cubicBezTo>
                  <a:pt x="1241556" y="1800957"/>
                  <a:pt x="1241556" y="1800957"/>
                  <a:pt x="1237975" y="1799997"/>
                </a:cubicBezTo>
                <a:cubicBezTo>
                  <a:pt x="1232727" y="1790916"/>
                  <a:pt x="1252816" y="1773275"/>
                  <a:pt x="1273863" y="1752056"/>
                </a:cubicBezTo>
                <a:cubicBezTo>
                  <a:pt x="1273863" y="1752056"/>
                  <a:pt x="1273863" y="1752056"/>
                  <a:pt x="1274821" y="1748474"/>
                </a:cubicBezTo>
                <a:cubicBezTo>
                  <a:pt x="1271239" y="1747514"/>
                  <a:pt x="1271239" y="1747514"/>
                  <a:pt x="1275781" y="1744894"/>
                </a:cubicBezTo>
                <a:cubicBezTo>
                  <a:pt x="1275781" y="1744894"/>
                  <a:pt x="1276740" y="1741315"/>
                  <a:pt x="1276740" y="1741315"/>
                </a:cubicBezTo>
                <a:cubicBezTo>
                  <a:pt x="1280323" y="1742274"/>
                  <a:pt x="1280323" y="1742274"/>
                  <a:pt x="1280323" y="1742274"/>
                </a:cubicBezTo>
                <a:cubicBezTo>
                  <a:pt x="1280323" y="1742274"/>
                  <a:pt x="1280323" y="1742274"/>
                  <a:pt x="1277700" y="1737733"/>
                </a:cubicBezTo>
                <a:cubicBezTo>
                  <a:pt x="1283202" y="1731534"/>
                  <a:pt x="1280577" y="1726993"/>
                  <a:pt x="1292541" y="1711012"/>
                </a:cubicBezTo>
                <a:cubicBezTo>
                  <a:pt x="1285374" y="1709093"/>
                  <a:pt x="1272452" y="1728653"/>
                  <a:pt x="1271747" y="1716953"/>
                </a:cubicBezTo>
                <a:cubicBezTo>
                  <a:pt x="1274497" y="1713852"/>
                  <a:pt x="1274977" y="1712063"/>
                  <a:pt x="1275457" y="1710272"/>
                </a:cubicBezTo>
                <a:lnTo>
                  <a:pt x="1277312" y="1706933"/>
                </a:lnTo>
                <a:lnTo>
                  <a:pt x="1278208" y="1707173"/>
                </a:lnTo>
                <a:cubicBezTo>
                  <a:pt x="1279166" y="1703593"/>
                  <a:pt x="1279166" y="1703593"/>
                  <a:pt x="1279166" y="1703593"/>
                </a:cubicBezTo>
                <a:lnTo>
                  <a:pt x="1277312" y="1706933"/>
                </a:lnTo>
                <a:lnTo>
                  <a:pt x="1274624" y="1706213"/>
                </a:lnTo>
                <a:cubicBezTo>
                  <a:pt x="1274624" y="1706213"/>
                  <a:pt x="1275584" y="1702632"/>
                  <a:pt x="1275584" y="1702632"/>
                </a:cubicBezTo>
                <a:cubicBezTo>
                  <a:pt x="1276543" y="1699051"/>
                  <a:pt x="1276543" y="1699051"/>
                  <a:pt x="1276543" y="1699051"/>
                </a:cubicBezTo>
                <a:cubicBezTo>
                  <a:pt x="1281086" y="1696432"/>
                  <a:pt x="1286588" y="1690231"/>
                  <a:pt x="1292090" y="1684031"/>
                </a:cubicBezTo>
                <a:cubicBezTo>
                  <a:pt x="1292090" y="1684031"/>
                  <a:pt x="1296632" y="1681412"/>
                  <a:pt x="1296632" y="1681412"/>
                </a:cubicBezTo>
                <a:cubicBezTo>
                  <a:pt x="1296632" y="1681412"/>
                  <a:pt x="1297591" y="1677830"/>
                  <a:pt x="1302134" y="1675210"/>
                </a:cubicBezTo>
                <a:cubicBezTo>
                  <a:pt x="1302134" y="1675210"/>
                  <a:pt x="1303094" y="1671629"/>
                  <a:pt x="1306676" y="1672590"/>
                </a:cubicBezTo>
                <a:cubicBezTo>
                  <a:pt x="1305716" y="1676171"/>
                  <a:pt x="1305716" y="1676171"/>
                  <a:pt x="1301175" y="1678791"/>
                </a:cubicBezTo>
                <a:cubicBezTo>
                  <a:pt x="1301175" y="1678791"/>
                  <a:pt x="1300215" y="1682372"/>
                  <a:pt x="1295672" y="1684992"/>
                </a:cubicBezTo>
                <a:cubicBezTo>
                  <a:pt x="1304757" y="1679751"/>
                  <a:pt x="1310259" y="1673549"/>
                  <a:pt x="1318385" y="1671890"/>
                </a:cubicBezTo>
                <a:cubicBezTo>
                  <a:pt x="1321008" y="1676430"/>
                  <a:pt x="1314548" y="1686212"/>
                  <a:pt x="1326257" y="1685511"/>
                </a:cubicBezTo>
                <a:cubicBezTo>
                  <a:pt x="1365728" y="1638528"/>
                  <a:pt x="1395157" y="1600362"/>
                  <a:pt x="1444418" y="1559840"/>
                </a:cubicBezTo>
                <a:cubicBezTo>
                  <a:pt x="1445378" y="1556259"/>
                  <a:pt x="1445378" y="1556259"/>
                  <a:pt x="1449921" y="1553638"/>
                </a:cubicBezTo>
                <a:cubicBezTo>
                  <a:pt x="1450880" y="1550060"/>
                  <a:pt x="1454463" y="1551020"/>
                  <a:pt x="1454463" y="1551020"/>
                </a:cubicBezTo>
                <a:cubicBezTo>
                  <a:pt x="1466426" y="1535038"/>
                  <a:pt x="1486514" y="1517399"/>
                  <a:pt x="1505642" y="1503338"/>
                </a:cubicBezTo>
                <a:cubicBezTo>
                  <a:pt x="1517606" y="1487356"/>
                  <a:pt x="1539613" y="1462555"/>
                  <a:pt x="1567827" y="1443251"/>
                </a:cubicBezTo>
                <a:cubicBezTo>
                  <a:pt x="1593418" y="1419409"/>
                  <a:pt x="1621633" y="1400107"/>
                  <a:pt x="1639803" y="1389628"/>
                </a:cubicBezTo>
                <a:cubicBezTo>
                  <a:pt x="1673519" y="1364125"/>
                  <a:pt x="1711776" y="1336003"/>
                  <a:pt x="1745494" y="1310501"/>
                </a:cubicBezTo>
                <a:cubicBezTo>
                  <a:pt x="1778250" y="1288579"/>
                  <a:pt x="1810048" y="1270238"/>
                  <a:pt x="1838008" y="1266217"/>
                </a:cubicBezTo>
                <a:cubicBezTo>
                  <a:pt x="1833464" y="1268838"/>
                  <a:pt x="1828922" y="1271458"/>
                  <a:pt x="1824381" y="1274080"/>
                </a:cubicBezTo>
                <a:cubicBezTo>
                  <a:pt x="1824381" y="1274080"/>
                  <a:pt x="1824381" y="1274080"/>
                  <a:pt x="1832505" y="1272418"/>
                </a:cubicBezTo>
                <a:cubicBezTo>
                  <a:pt x="1833464" y="1268838"/>
                  <a:pt x="1837048" y="1269798"/>
                  <a:pt x="1837048" y="1269798"/>
                </a:cubicBezTo>
                <a:cubicBezTo>
                  <a:pt x="1836089" y="1273378"/>
                  <a:pt x="1836089" y="1273378"/>
                  <a:pt x="1831546" y="1275999"/>
                </a:cubicBezTo>
                <a:cubicBezTo>
                  <a:pt x="1831546" y="1275999"/>
                  <a:pt x="1831546" y="1275999"/>
                  <a:pt x="1830586" y="1279579"/>
                </a:cubicBezTo>
                <a:cubicBezTo>
                  <a:pt x="1862385" y="1261237"/>
                  <a:pt x="1898724" y="1240276"/>
                  <a:pt x="1927897" y="1217396"/>
                </a:cubicBezTo>
                <a:cubicBezTo>
                  <a:pt x="1955859" y="1213376"/>
                  <a:pt x="1996742" y="1189795"/>
                  <a:pt x="2034745" y="1176954"/>
                </a:cubicBezTo>
                <a:close/>
                <a:moveTo>
                  <a:pt x="7329058" y="1166349"/>
                </a:moveTo>
                <a:lnTo>
                  <a:pt x="7331857" y="1171524"/>
                </a:lnTo>
                <a:cubicBezTo>
                  <a:pt x="7333869" y="1176030"/>
                  <a:pt x="7337892" y="1180035"/>
                  <a:pt x="7342922" y="1182539"/>
                </a:cubicBezTo>
                <a:lnTo>
                  <a:pt x="7342923" y="1188010"/>
                </a:lnTo>
                <a:lnTo>
                  <a:pt x="7363918" y="1199811"/>
                </a:lnTo>
                <a:cubicBezTo>
                  <a:pt x="7390932" y="1215631"/>
                  <a:pt x="7416848" y="1231901"/>
                  <a:pt x="7439023" y="1248427"/>
                </a:cubicBezTo>
                <a:cubicBezTo>
                  <a:pt x="7440825" y="1252813"/>
                  <a:pt x="7450622" y="1264172"/>
                  <a:pt x="7450622" y="1264172"/>
                </a:cubicBezTo>
                <a:cubicBezTo>
                  <a:pt x="7478987" y="1283280"/>
                  <a:pt x="7511739" y="1300589"/>
                  <a:pt x="7533914" y="1317114"/>
                </a:cubicBezTo>
                <a:cubicBezTo>
                  <a:pt x="7535717" y="1321502"/>
                  <a:pt x="7529528" y="1318918"/>
                  <a:pt x="7537521" y="1325889"/>
                </a:cubicBezTo>
                <a:cubicBezTo>
                  <a:pt x="7535717" y="1321502"/>
                  <a:pt x="7541906" y="1324087"/>
                  <a:pt x="7546293" y="1322282"/>
                </a:cubicBezTo>
                <a:cubicBezTo>
                  <a:pt x="7582653" y="1348365"/>
                  <a:pt x="7610236" y="1378052"/>
                  <a:pt x="7640404" y="1401550"/>
                </a:cubicBezTo>
                <a:cubicBezTo>
                  <a:pt x="7634215" y="1398966"/>
                  <a:pt x="7632411" y="1394580"/>
                  <a:pt x="7626222" y="1391994"/>
                </a:cubicBezTo>
                <a:cubicBezTo>
                  <a:pt x="7599660" y="1377271"/>
                  <a:pt x="7577484" y="1360745"/>
                  <a:pt x="7585477" y="1367716"/>
                </a:cubicBezTo>
                <a:cubicBezTo>
                  <a:pt x="7563302" y="1351189"/>
                  <a:pt x="7530549" y="1333883"/>
                  <a:pt x="7510177" y="1321743"/>
                </a:cubicBezTo>
                <a:cubicBezTo>
                  <a:pt x="7503987" y="1319158"/>
                  <a:pt x="7503987" y="1319158"/>
                  <a:pt x="7502184" y="1314771"/>
                </a:cubicBezTo>
                <a:cubicBezTo>
                  <a:pt x="7512761" y="1315553"/>
                  <a:pt x="7489805" y="1309604"/>
                  <a:pt x="7498579" y="1305998"/>
                </a:cubicBezTo>
                <a:cubicBezTo>
                  <a:pt x="7486198" y="1300829"/>
                  <a:pt x="7473818" y="1295662"/>
                  <a:pt x="7467628" y="1293077"/>
                </a:cubicBezTo>
                <a:cubicBezTo>
                  <a:pt x="7453447" y="1283522"/>
                  <a:pt x="7445453" y="1276552"/>
                  <a:pt x="7433074" y="1271381"/>
                </a:cubicBezTo>
                <a:cubicBezTo>
                  <a:pt x="7410898" y="1254854"/>
                  <a:pt x="7386920" y="1233945"/>
                  <a:pt x="7378927" y="1226974"/>
                </a:cubicBezTo>
                <a:cubicBezTo>
                  <a:pt x="7380730" y="1231360"/>
                  <a:pt x="7374540" y="1228776"/>
                  <a:pt x="7374540" y="1228776"/>
                </a:cubicBezTo>
                <a:cubicBezTo>
                  <a:pt x="7368350" y="1226192"/>
                  <a:pt x="7362159" y="1223608"/>
                  <a:pt x="7354167" y="1216639"/>
                </a:cubicBezTo>
                <a:cubicBezTo>
                  <a:pt x="7354167" y="1216639"/>
                  <a:pt x="7352364" y="1212250"/>
                  <a:pt x="7347977" y="1214053"/>
                </a:cubicBezTo>
                <a:lnTo>
                  <a:pt x="7336962" y="1207488"/>
                </a:lnTo>
                <a:lnTo>
                  <a:pt x="7336887" y="1207574"/>
                </a:lnTo>
                <a:cubicBezTo>
                  <a:pt x="7334875" y="1211580"/>
                  <a:pt x="7330348" y="1214585"/>
                  <a:pt x="7325821" y="1214585"/>
                </a:cubicBezTo>
                <a:lnTo>
                  <a:pt x="7319603" y="1215538"/>
                </a:lnTo>
                <a:lnTo>
                  <a:pt x="7324240" y="1218680"/>
                </a:lnTo>
                <a:cubicBezTo>
                  <a:pt x="7371175" y="1245542"/>
                  <a:pt x="7413723" y="1274208"/>
                  <a:pt x="7458074" y="1307259"/>
                </a:cubicBezTo>
                <a:cubicBezTo>
                  <a:pt x="7466068" y="1314230"/>
                  <a:pt x="7477664" y="1329977"/>
                  <a:pt x="7486440" y="1326370"/>
                </a:cubicBezTo>
                <a:cubicBezTo>
                  <a:pt x="7486440" y="1326370"/>
                  <a:pt x="7486440" y="1326370"/>
                  <a:pt x="7488242" y="1330757"/>
                </a:cubicBezTo>
                <a:cubicBezTo>
                  <a:pt x="7490044" y="1335143"/>
                  <a:pt x="7496234" y="1337728"/>
                  <a:pt x="7498037" y="1342115"/>
                </a:cubicBezTo>
                <a:cubicBezTo>
                  <a:pt x="7498037" y="1342115"/>
                  <a:pt x="7504228" y="1344700"/>
                  <a:pt x="7504228" y="1344700"/>
                </a:cubicBezTo>
                <a:cubicBezTo>
                  <a:pt x="7504228" y="1344700"/>
                  <a:pt x="7502425" y="1340313"/>
                  <a:pt x="7502425" y="1340313"/>
                </a:cubicBezTo>
                <a:cubicBezTo>
                  <a:pt x="7524600" y="1356838"/>
                  <a:pt x="7546775" y="1373365"/>
                  <a:pt x="7568951" y="1389892"/>
                </a:cubicBezTo>
                <a:cubicBezTo>
                  <a:pt x="7621294" y="1429916"/>
                  <a:pt x="7621294" y="1429916"/>
                  <a:pt x="7621294" y="1429916"/>
                </a:cubicBezTo>
                <a:lnTo>
                  <a:pt x="7623842" y="1432139"/>
                </a:lnTo>
                <a:lnTo>
                  <a:pt x="7625017" y="1432966"/>
                </a:lnTo>
                <a:lnTo>
                  <a:pt x="7714956" y="1509206"/>
                </a:lnTo>
                <a:lnTo>
                  <a:pt x="7715406" y="1509182"/>
                </a:lnTo>
                <a:lnTo>
                  <a:pt x="7726375" y="1518885"/>
                </a:lnTo>
                <a:lnTo>
                  <a:pt x="7852902" y="1626143"/>
                </a:lnTo>
                <a:lnTo>
                  <a:pt x="7890997" y="1592967"/>
                </a:lnTo>
                <a:lnTo>
                  <a:pt x="7859034" y="1562328"/>
                </a:lnTo>
                <a:cubicBezTo>
                  <a:pt x="7842372" y="1546740"/>
                  <a:pt x="7827484" y="1532348"/>
                  <a:pt x="7816787" y="1518797"/>
                </a:cubicBezTo>
                <a:cubicBezTo>
                  <a:pt x="7814202" y="1524985"/>
                  <a:pt x="7812400" y="1520600"/>
                  <a:pt x="7804407" y="1513629"/>
                </a:cubicBezTo>
                <a:cubicBezTo>
                  <a:pt x="7810597" y="1516214"/>
                  <a:pt x="7814984" y="1514411"/>
                  <a:pt x="7808793" y="1511827"/>
                </a:cubicBezTo>
                <a:cubicBezTo>
                  <a:pt x="7802603" y="1509243"/>
                  <a:pt x="7757231" y="1461228"/>
                  <a:pt x="7756450" y="1471804"/>
                </a:cubicBezTo>
                <a:cubicBezTo>
                  <a:pt x="7734275" y="1455277"/>
                  <a:pt x="7735056" y="1444698"/>
                  <a:pt x="7735056" y="1444698"/>
                </a:cubicBezTo>
                <a:cubicBezTo>
                  <a:pt x="7714683" y="1432560"/>
                  <a:pt x="7730669" y="1446501"/>
                  <a:pt x="7728084" y="1452692"/>
                </a:cubicBezTo>
                <a:cubicBezTo>
                  <a:pt x="7705909" y="1436166"/>
                  <a:pt x="7705909" y="1436166"/>
                  <a:pt x="7705909" y="1436166"/>
                </a:cubicBezTo>
                <a:cubicBezTo>
                  <a:pt x="7722676" y="1439531"/>
                  <a:pt x="7706690" y="1425589"/>
                  <a:pt x="7704888" y="1421202"/>
                </a:cubicBezTo>
                <a:cubicBezTo>
                  <a:pt x="7675742" y="1412668"/>
                  <a:pt x="7642748" y="1369819"/>
                  <a:pt x="7597616" y="1347342"/>
                </a:cubicBezTo>
                <a:cubicBezTo>
                  <a:pt x="7595813" y="1342957"/>
                  <a:pt x="7591426" y="1344760"/>
                  <a:pt x="7589624" y="1340372"/>
                </a:cubicBezTo>
                <a:cubicBezTo>
                  <a:pt x="7587821" y="1335986"/>
                  <a:pt x="7583432" y="1337788"/>
                  <a:pt x="7583432" y="1337788"/>
                </a:cubicBezTo>
                <a:cubicBezTo>
                  <a:pt x="7577244" y="1335203"/>
                  <a:pt x="7579046" y="1339590"/>
                  <a:pt x="7585237" y="1342175"/>
                </a:cubicBezTo>
                <a:cubicBezTo>
                  <a:pt x="7585237" y="1342175"/>
                  <a:pt x="7585237" y="1342175"/>
                  <a:pt x="7587039" y="1346562"/>
                </a:cubicBezTo>
                <a:cubicBezTo>
                  <a:pt x="7538301" y="1315311"/>
                  <a:pt x="7518710" y="1292595"/>
                  <a:pt x="7471775" y="1265735"/>
                </a:cubicBezTo>
                <a:cubicBezTo>
                  <a:pt x="7474359" y="1259543"/>
                  <a:pt x="7468169" y="1256958"/>
                  <a:pt x="7470753" y="1250769"/>
                </a:cubicBezTo>
                <a:cubicBezTo>
                  <a:pt x="7440195" y="1232561"/>
                  <a:pt x="7409185" y="1213257"/>
                  <a:pt x="7377626" y="1194177"/>
                </a:cubicBezTo>
                <a:close/>
                <a:moveTo>
                  <a:pt x="6038116" y="1160930"/>
                </a:moveTo>
                <a:cubicBezTo>
                  <a:pt x="6038116" y="1160930"/>
                  <a:pt x="6038116" y="1160930"/>
                  <a:pt x="6034539" y="1162402"/>
                </a:cubicBezTo>
                <a:lnTo>
                  <a:pt x="6034171" y="1161507"/>
                </a:lnTo>
                <a:close/>
                <a:moveTo>
                  <a:pt x="399572" y="1157374"/>
                </a:moveTo>
                <a:cubicBezTo>
                  <a:pt x="401029" y="1157732"/>
                  <a:pt x="401204" y="1159438"/>
                  <a:pt x="401040" y="1160824"/>
                </a:cubicBezTo>
                <a:cubicBezTo>
                  <a:pt x="401057" y="1161482"/>
                  <a:pt x="400806" y="1162015"/>
                  <a:pt x="400628" y="1162742"/>
                </a:cubicBezTo>
                <a:cubicBezTo>
                  <a:pt x="399123" y="1168372"/>
                  <a:pt x="401357" y="1170881"/>
                  <a:pt x="406852" y="1169558"/>
                </a:cubicBezTo>
                <a:cubicBezTo>
                  <a:pt x="407901" y="1169400"/>
                  <a:pt x="408880" y="1169047"/>
                  <a:pt x="409733" y="1168959"/>
                </a:cubicBezTo>
                <a:cubicBezTo>
                  <a:pt x="411243" y="1168855"/>
                  <a:pt x="412667" y="1167897"/>
                  <a:pt x="413836" y="1169907"/>
                </a:cubicBezTo>
                <a:cubicBezTo>
                  <a:pt x="414793" y="1171330"/>
                  <a:pt x="414293" y="1172396"/>
                  <a:pt x="413402" y="1173603"/>
                </a:cubicBezTo>
                <a:cubicBezTo>
                  <a:pt x="411816" y="1175945"/>
                  <a:pt x="412506" y="1177243"/>
                  <a:pt x="415294" y="1178224"/>
                </a:cubicBezTo>
                <a:cubicBezTo>
                  <a:pt x="418812" y="1179386"/>
                  <a:pt x="422345" y="1181203"/>
                  <a:pt x="423563" y="1185186"/>
                </a:cubicBezTo>
                <a:cubicBezTo>
                  <a:pt x="424498" y="1188386"/>
                  <a:pt x="425846" y="1189667"/>
                  <a:pt x="429085" y="1187612"/>
                </a:cubicBezTo>
                <a:cubicBezTo>
                  <a:pt x="429797" y="1187133"/>
                  <a:pt x="430846" y="1186977"/>
                  <a:pt x="431662" y="1188007"/>
                </a:cubicBezTo>
                <a:cubicBezTo>
                  <a:pt x="432407" y="1188844"/>
                  <a:pt x="431640" y="1189784"/>
                  <a:pt x="431266" y="1190583"/>
                </a:cubicBezTo>
                <a:cubicBezTo>
                  <a:pt x="430391" y="1192446"/>
                  <a:pt x="429320" y="1194381"/>
                  <a:pt x="428907" y="1196299"/>
                </a:cubicBezTo>
                <a:cubicBezTo>
                  <a:pt x="427261" y="1201537"/>
                  <a:pt x="428306" y="1203814"/>
                  <a:pt x="432795" y="1207055"/>
                </a:cubicBezTo>
                <a:cubicBezTo>
                  <a:pt x="436344" y="1209532"/>
                  <a:pt x="439378" y="1212416"/>
                  <a:pt x="441129" y="1216647"/>
                </a:cubicBezTo>
                <a:cubicBezTo>
                  <a:pt x="442456" y="1219706"/>
                  <a:pt x="441032" y="1220662"/>
                  <a:pt x="438135" y="1220603"/>
                </a:cubicBezTo>
                <a:cubicBezTo>
                  <a:pt x="436162" y="1220653"/>
                  <a:pt x="434547" y="1219247"/>
                  <a:pt x="432825" y="1218764"/>
                </a:cubicBezTo>
                <a:cubicBezTo>
                  <a:pt x="430835" y="1218157"/>
                  <a:pt x="428117" y="1217370"/>
                  <a:pt x="427117" y="1219501"/>
                </a:cubicBezTo>
                <a:cubicBezTo>
                  <a:pt x="426063" y="1222093"/>
                  <a:pt x="427890" y="1224085"/>
                  <a:pt x="430287" y="1225208"/>
                </a:cubicBezTo>
                <a:cubicBezTo>
                  <a:pt x="431353" y="1225708"/>
                  <a:pt x="432809" y="1226066"/>
                  <a:pt x="433945" y="1226760"/>
                </a:cubicBezTo>
                <a:cubicBezTo>
                  <a:pt x="435277" y="1227384"/>
                  <a:pt x="436484" y="1228275"/>
                  <a:pt x="435805" y="1230069"/>
                </a:cubicBezTo>
                <a:cubicBezTo>
                  <a:pt x="435250" y="1231594"/>
                  <a:pt x="433865" y="1231433"/>
                  <a:pt x="432337" y="1230879"/>
                </a:cubicBezTo>
                <a:cubicBezTo>
                  <a:pt x="430881" y="1230521"/>
                  <a:pt x="429354" y="1229968"/>
                  <a:pt x="427967" y="1229807"/>
                </a:cubicBezTo>
                <a:cubicBezTo>
                  <a:pt x="425783" y="1229269"/>
                  <a:pt x="424037" y="1230563"/>
                  <a:pt x="423092" y="1232232"/>
                </a:cubicBezTo>
                <a:cubicBezTo>
                  <a:pt x="422146" y="1233900"/>
                  <a:pt x="423566" y="1235377"/>
                  <a:pt x="424647" y="1236534"/>
                </a:cubicBezTo>
                <a:cubicBezTo>
                  <a:pt x="430056" y="1242317"/>
                  <a:pt x="440900" y="1241714"/>
                  <a:pt x="446067" y="1235203"/>
                </a:cubicBezTo>
                <a:cubicBezTo>
                  <a:pt x="448491" y="1232116"/>
                  <a:pt x="449877" y="1232278"/>
                  <a:pt x="451399" y="1235266"/>
                </a:cubicBezTo>
                <a:cubicBezTo>
                  <a:pt x="453825" y="1240138"/>
                  <a:pt x="457374" y="1242614"/>
                  <a:pt x="463097" y="1242534"/>
                </a:cubicBezTo>
                <a:cubicBezTo>
                  <a:pt x="464609" y="1242430"/>
                  <a:pt x="467114" y="1242629"/>
                  <a:pt x="467304" y="1244994"/>
                </a:cubicBezTo>
                <a:cubicBezTo>
                  <a:pt x="467897" y="1250307"/>
                  <a:pt x="471339" y="1253706"/>
                  <a:pt x="475296" y="1256698"/>
                </a:cubicBezTo>
                <a:cubicBezTo>
                  <a:pt x="478313" y="1258924"/>
                  <a:pt x="479889" y="1261450"/>
                  <a:pt x="479010" y="1265748"/>
                </a:cubicBezTo>
                <a:cubicBezTo>
                  <a:pt x="478006" y="1270312"/>
                  <a:pt x="480152" y="1271969"/>
                  <a:pt x="485131" y="1271052"/>
                </a:cubicBezTo>
                <a:cubicBezTo>
                  <a:pt x="485326" y="1270982"/>
                  <a:pt x="485523" y="1270912"/>
                  <a:pt x="485718" y="1270841"/>
                </a:cubicBezTo>
                <a:cubicBezTo>
                  <a:pt x="487550" y="1270400"/>
                  <a:pt x="489452" y="1270154"/>
                  <a:pt x="490283" y="1271844"/>
                </a:cubicBezTo>
                <a:cubicBezTo>
                  <a:pt x="491312" y="1273462"/>
                  <a:pt x="489088" y="1274046"/>
                  <a:pt x="488322" y="1274986"/>
                </a:cubicBezTo>
                <a:cubicBezTo>
                  <a:pt x="483192" y="1280377"/>
                  <a:pt x="482416" y="1286185"/>
                  <a:pt x="486135" y="1292801"/>
                </a:cubicBezTo>
                <a:cubicBezTo>
                  <a:pt x="487375" y="1295007"/>
                  <a:pt x="487087" y="1296658"/>
                  <a:pt x="485483" y="1298344"/>
                </a:cubicBezTo>
                <a:cubicBezTo>
                  <a:pt x="484521" y="1299354"/>
                  <a:pt x="483489" y="1300171"/>
                  <a:pt x="482527" y="1301181"/>
                </a:cubicBezTo>
                <a:cubicBezTo>
                  <a:pt x="481244" y="1302529"/>
                  <a:pt x="481082" y="1303914"/>
                  <a:pt x="482109" y="1305533"/>
                </a:cubicBezTo>
                <a:lnTo>
                  <a:pt x="483434" y="1306459"/>
                </a:lnTo>
                <a:lnTo>
                  <a:pt x="473639" y="1327197"/>
                </a:lnTo>
                <a:lnTo>
                  <a:pt x="472900" y="1324120"/>
                </a:lnTo>
                <a:cubicBezTo>
                  <a:pt x="472725" y="1322412"/>
                  <a:pt x="472442" y="1321632"/>
                  <a:pt x="470329" y="1321290"/>
                </a:cubicBezTo>
                <a:cubicBezTo>
                  <a:pt x="468089" y="1321214"/>
                  <a:pt x="467659" y="1322476"/>
                  <a:pt x="467301" y="1323932"/>
                </a:cubicBezTo>
                <a:cubicBezTo>
                  <a:pt x="466997" y="1324926"/>
                  <a:pt x="467084" y="1325779"/>
                  <a:pt x="467046" y="1326899"/>
                </a:cubicBezTo>
                <a:cubicBezTo>
                  <a:pt x="466770" y="1331642"/>
                  <a:pt x="465666" y="1332261"/>
                  <a:pt x="461529" y="1329998"/>
                </a:cubicBezTo>
                <a:cubicBezTo>
                  <a:pt x="460660" y="1329429"/>
                  <a:pt x="459524" y="1328733"/>
                  <a:pt x="458350" y="1329158"/>
                </a:cubicBezTo>
                <a:cubicBezTo>
                  <a:pt x="457051" y="1329848"/>
                  <a:pt x="457616" y="1331412"/>
                  <a:pt x="457579" y="1332532"/>
                </a:cubicBezTo>
                <a:cubicBezTo>
                  <a:pt x="457470" y="1333456"/>
                  <a:pt x="457558" y="1334309"/>
                  <a:pt x="457841" y="1335091"/>
                </a:cubicBezTo>
                <a:cubicBezTo>
                  <a:pt x="458148" y="1336860"/>
                  <a:pt x="457795" y="1337872"/>
                  <a:pt x="457025" y="1338343"/>
                </a:cubicBezTo>
                <a:cubicBezTo>
                  <a:pt x="456255" y="1338815"/>
                  <a:pt x="455069" y="1338746"/>
                  <a:pt x="453710" y="1338353"/>
                </a:cubicBezTo>
                <a:cubicBezTo>
                  <a:pt x="450921" y="1337371"/>
                  <a:pt x="447991" y="1335998"/>
                  <a:pt x="445202" y="1335016"/>
                </a:cubicBezTo>
                <a:cubicBezTo>
                  <a:pt x="441882" y="1333784"/>
                  <a:pt x="438382" y="1333281"/>
                  <a:pt x="435887" y="1336172"/>
                </a:cubicBezTo>
                <a:cubicBezTo>
                  <a:pt x="433768" y="1338265"/>
                  <a:pt x="432241" y="1337711"/>
                  <a:pt x="430234" y="1336446"/>
                </a:cubicBezTo>
                <a:cubicBezTo>
                  <a:pt x="425886" y="1333596"/>
                  <a:pt x="421304" y="1331936"/>
                  <a:pt x="416250" y="1335090"/>
                </a:cubicBezTo>
                <a:cubicBezTo>
                  <a:pt x="415021" y="1335976"/>
                  <a:pt x="414418" y="1335530"/>
                  <a:pt x="413728" y="1334233"/>
                </a:cubicBezTo>
                <a:cubicBezTo>
                  <a:pt x="409481" y="1324932"/>
                  <a:pt x="402403" y="1318204"/>
                  <a:pt x="394238" y="1312753"/>
                </a:cubicBezTo>
                <a:cubicBezTo>
                  <a:pt x="392233" y="1311488"/>
                  <a:pt x="392200" y="1310174"/>
                  <a:pt x="392346" y="1308131"/>
                </a:cubicBezTo>
                <a:cubicBezTo>
                  <a:pt x="393030" y="1303902"/>
                  <a:pt x="393769" y="1299214"/>
                  <a:pt x="390986" y="1295798"/>
                </a:cubicBezTo>
                <a:cubicBezTo>
                  <a:pt x="388202" y="1292382"/>
                  <a:pt x="388190" y="1289290"/>
                  <a:pt x="389016" y="1285455"/>
                </a:cubicBezTo>
                <a:cubicBezTo>
                  <a:pt x="389249" y="1284264"/>
                  <a:pt x="389287" y="1283146"/>
                  <a:pt x="389451" y="1281760"/>
                </a:cubicBezTo>
                <a:cubicBezTo>
                  <a:pt x="389944" y="1275170"/>
                  <a:pt x="390970" y="1268828"/>
                  <a:pt x="396046" y="1263898"/>
                </a:cubicBezTo>
                <a:cubicBezTo>
                  <a:pt x="397078" y="1263083"/>
                  <a:pt x="396796" y="1262300"/>
                  <a:pt x="396442" y="1261322"/>
                </a:cubicBezTo>
                <a:cubicBezTo>
                  <a:pt x="395187" y="1258460"/>
                  <a:pt x="387358" y="1253329"/>
                  <a:pt x="384337" y="1253537"/>
                </a:cubicBezTo>
                <a:cubicBezTo>
                  <a:pt x="379679" y="1254115"/>
                  <a:pt x="375183" y="1253307"/>
                  <a:pt x="371046" y="1251043"/>
                </a:cubicBezTo>
                <a:cubicBezTo>
                  <a:pt x="365383" y="1248227"/>
                  <a:pt x="360235" y="1245002"/>
                  <a:pt x="354696" y="1241919"/>
                </a:cubicBezTo>
                <a:cubicBezTo>
                  <a:pt x="353098" y="1241171"/>
                  <a:pt x="353403" y="1240175"/>
                  <a:pt x="353832" y="1238916"/>
                </a:cubicBezTo>
                <a:cubicBezTo>
                  <a:pt x="355798" y="1233340"/>
                  <a:pt x="355798" y="1233340"/>
                  <a:pt x="350433" y="1231962"/>
                </a:cubicBezTo>
                <a:cubicBezTo>
                  <a:pt x="345460" y="1230444"/>
                  <a:pt x="344557" y="1228559"/>
                  <a:pt x="346735" y="1223571"/>
                </a:cubicBezTo>
                <a:cubicBezTo>
                  <a:pt x="347736" y="1221440"/>
                  <a:pt x="348665" y="1219115"/>
                  <a:pt x="347088" y="1216589"/>
                </a:cubicBezTo>
                <a:cubicBezTo>
                  <a:pt x="342853" y="1210382"/>
                  <a:pt x="343347" y="1203789"/>
                  <a:pt x="346008" y="1197080"/>
                </a:cubicBezTo>
                <a:cubicBezTo>
                  <a:pt x="347742" y="1192694"/>
                  <a:pt x="350132" y="1188291"/>
                  <a:pt x="350871" y="1183602"/>
                </a:cubicBezTo>
                <a:cubicBezTo>
                  <a:pt x="350979" y="1182679"/>
                  <a:pt x="351284" y="1181684"/>
                  <a:pt x="352333" y="1181526"/>
                </a:cubicBezTo>
                <a:cubicBezTo>
                  <a:pt x="357790" y="1181323"/>
                  <a:pt x="359202" y="1177274"/>
                  <a:pt x="360811" y="1173155"/>
                </a:cubicBezTo>
                <a:cubicBezTo>
                  <a:pt x="361239" y="1171894"/>
                  <a:pt x="361794" y="1170368"/>
                  <a:pt x="363696" y="1170122"/>
                </a:cubicBezTo>
                <a:cubicBezTo>
                  <a:pt x="369012" y="1169527"/>
                  <a:pt x="373887" y="1167103"/>
                  <a:pt x="378919" y="1165725"/>
                </a:cubicBezTo>
                <a:cubicBezTo>
                  <a:pt x="383099" y="1164434"/>
                  <a:pt x="387349" y="1163341"/>
                  <a:pt x="391985" y="1164539"/>
                </a:cubicBezTo>
                <a:cubicBezTo>
                  <a:pt x="393975" y="1165148"/>
                  <a:pt x="395007" y="1164332"/>
                  <a:pt x="395687" y="1162538"/>
                </a:cubicBezTo>
                <a:cubicBezTo>
                  <a:pt x="395920" y="1161350"/>
                  <a:pt x="396224" y="1160354"/>
                  <a:pt x="396724" y="1159289"/>
                </a:cubicBezTo>
                <a:cubicBezTo>
                  <a:pt x="397224" y="1158224"/>
                  <a:pt x="398311" y="1156946"/>
                  <a:pt x="399572" y="1157374"/>
                </a:cubicBezTo>
                <a:close/>
                <a:moveTo>
                  <a:pt x="6040222" y="1155880"/>
                </a:moveTo>
                <a:cubicBezTo>
                  <a:pt x="6040222" y="1155880"/>
                  <a:pt x="6040222" y="1155880"/>
                  <a:pt x="6036645" y="1157350"/>
                </a:cubicBezTo>
                <a:cubicBezTo>
                  <a:pt x="6036645" y="1157350"/>
                  <a:pt x="6033067" y="1158820"/>
                  <a:pt x="6033067" y="1158820"/>
                </a:cubicBezTo>
                <a:lnTo>
                  <a:pt x="6034171" y="1161507"/>
                </a:lnTo>
                <a:lnTo>
                  <a:pt x="6030223" y="1162083"/>
                </a:lnTo>
                <a:cubicBezTo>
                  <a:pt x="6028437" y="1162818"/>
                  <a:pt x="6026645" y="1163554"/>
                  <a:pt x="6022327" y="1163233"/>
                </a:cubicBezTo>
                <a:cubicBezTo>
                  <a:pt x="6013067" y="1171227"/>
                  <a:pt x="6037481" y="1169566"/>
                  <a:pt x="6040425" y="1176729"/>
                </a:cubicBezTo>
                <a:cubicBezTo>
                  <a:pt x="6019588" y="1176920"/>
                  <a:pt x="6017483" y="1181972"/>
                  <a:pt x="6008854" y="1181333"/>
                </a:cubicBezTo>
                <a:lnTo>
                  <a:pt x="6008251" y="1182776"/>
                </a:lnTo>
                <a:lnTo>
                  <a:pt x="6033002" y="1182347"/>
                </a:lnTo>
                <a:lnTo>
                  <a:pt x="6082822" y="1186854"/>
                </a:lnTo>
                <a:lnTo>
                  <a:pt x="6082310" y="1179403"/>
                </a:lnTo>
                <a:cubicBezTo>
                  <a:pt x="6084620" y="1177404"/>
                  <a:pt x="6088197" y="1175932"/>
                  <a:pt x="6089254" y="1173407"/>
                </a:cubicBezTo>
                <a:cubicBezTo>
                  <a:pt x="6082736" y="1167715"/>
                  <a:pt x="6074108" y="1167073"/>
                  <a:pt x="6064001" y="1162852"/>
                </a:cubicBezTo>
                <a:cubicBezTo>
                  <a:pt x="6069055" y="1164962"/>
                  <a:pt x="6072632" y="1163493"/>
                  <a:pt x="6072632" y="1163493"/>
                </a:cubicBezTo>
                <a:cubicBezTo>
                  <a:pt x="6077686" y="1165603"/>
                  <a:pt x="6077686" y="1165603"/>
                  <a:pt x="6081262" y="1164133"/>
                </a:cubicBezTo>
                <a:cubicBezTo>
                  <a:pt x="6079793" y="1160549"/>
                  <a:pt x="6076211" y="1162021"/>
                  <a:pt x="6076211" y="1162021"/>
                </a:cubicBezTo>
                <a:cubicBezTo>
                  <a:pt x="6071162" y="1159910"/>
                  <a:pt x="6067583" y="1161382"/>
                  <a:pt x="6067583" y="1161382"/>
                </a:cubicBezTo>
                <a:cubicBezTo>
                  <a:pt x="6067583" y="1161382"/>
                  <a:pt x="6062532" y="1159270"/>
                  <a:pt x="6062532" y="1159270"/>
                </a:cubicBezTo>
                <a:cubicBezTo>
                  <a:pt x="6053901" y="1158630"/>
                  <a:pt x="6045275" y="1157990"/>
                  <a:pt x="6040222" y="1155880"/>
                </a:cubicBezTo>
                <a:close/>
                <a:moveTo>
                  <a:pt x="4553348" y="1137654"/>
                </a:moveTo>
                <a:lnTo>
                  <a:pt x="4550276" y="1138535"/>
                </a:lnTo>
                <a:lnTo>
                  <a:pt x="4552446" y="1139234"/>
                </a:lnTo>
                <a:close/>
                <a:moveTo>
                  <a:pt x="1006422" y="1134067"/>
                </a:moveTo>
                <a:cubicBezTo>
                  <a:pt x="1009471" y="1133005"/>
                  <a:pt x="1012642" y="1132715"/>
                  <a:pt x="1016183" y="1135175"/>
                </a:cubicBezTo>
                <a:cubicBezTo>
                  <a:pt x="1017409" y="1135979"/>
                  <a:pt x="1019563" y="1136758"/>
                  <a:pt x="1021771" y="1135960"/>
                </a:cubicBezTo>
                <a:cubicBezTo>
                  <a:pt x="1024706" y="1134586"/>
                  <a:pt x="1026960" y="1135641"/>
                  <a:pt x="1028608" y="1138474"/>
                </a:cubicBezTo>
                <a:cubicBezTo>
                  <a:pt x="1029857" y="1140203"/>
                  <a:pt x="1031635" y="1140808"/>
                  <a:pt x="1033513" y="1141687"/>
                </a:cubicBezTo>
                <a:cubicBezTo>
                  <a:pt x="1038295" y="1143698"/>
                  <a:pt x="1041346" y="1146957"/>
                  <a:pt x="1041759" y="1152416"/>
                </a:cubicBezTo>
                <a:cubicBezTo>
                  <a:pt x="1041927" y="1155473"/>
                  <a:pt x="1043852" y="1158204"/>
                  <a:pt x="1047209" y="1158861"/>
                </a:cubicBezTo>
                <a:cubicBezTo>
                  <a:pt x="1047607" y="1159964"/>
                  <a:pt x="1048006" y="1161065"/>
                  <a:pt x="1048404" y="1162168"/>
                </a:cubicBezTo>
                <a:cubicBezTo>
                  <a:pt x="1046419" y="1164444"/>
                  <a:pt x="1045912" y="1166497"/>
                  <a:pt x="1047483" y="1169980"/>
                </a:cubicBezTo>
                <a:cubicBezTo>
                  <a:pt x="1049553" y="1174841"/>
                  <a:pt x="1048740" y="1179496"/>
                  <a:pt x="1043620" y="1182594"/>
                </a:cubicBezTo>
                <a:cubicBezTo>
                  <a:pt x="1041235" y="1183768"/>
                  <a:pt x="1042485" y="1185497"/>
                  <a:pt x="1043083" y="1187151"/>
                </a:cubicBezTo>
                <a:cubicBezTo>
                  <a:pt x="1044079" y="1189907"/>
                  <a:pt x="1043174" y="1190856"/>
                  <a:pt x="1040270" y="1189724"/>
                </a:cubicBezTo>
                <a:cubicBezTo>
                  <a:pt x="1035962" y="1188168"/>
                  <a:pt x="1033754" y="1188965"/>
                  <a:pt x="1034621" y="1193949"/>
                </a:cubicBezTo>
                <a:cubicBezTo>
                  <a:pt x="1034742" y="1195151"/>
                  <a:pt x="1034413" y="1196829"/>
                  <a:pt x="1032811" y="1195849"/>
                </a:cubicBezTo>
                <a:cubicBezTo>
                  <a:pt x="1027928" y="1193562"/>
                  <a:pt x="1026242" y="1196665"/>
                  <a:pt x="1024379" y="1200144"/>
                </a:cubicBezTo>
                <a:cubicBezTo>
                  <a:pt x="1024303" y="1200794"/>
                  <a:pt x="1023198" y="1201194"/>
                  <a:pt x="1022647" y="1201393"/>
                </a:cubicBezTo>
                <a:cubicBezTo>
                  <a:pt x="1014629" y="1199928"/>
                  <a:pt x="1006689" y="1197815"/>
                  <a:pt x="998572" y="1196074"/>
                </a:cubicBezTo>
                <a:cubicBezTo>
                  <a:pt x="994839" y="1195241"/>
                  <a:pt x="991290" y="1190604"/>
                  <a:pt x="988417" y="1186970"/>
                </a:cubicBezTo>
                <a:cubicBezTo>
                  <a:pt x="987267" y="1185514"/>
                  <a:pt x="986945" y="1183761"/>
                  <a:pt x="984791" y="1182981"/>
                </a:cubicBezTo>
                <a:cubicBezTo>
                  <a:pt x="982638" y="1182201"/>
                  <a:pt x="982315" y="1180449"/>
                  <a:pt x="982822" y="1178395"/>
                </a:cubicBezTo>
                <a:cubicBezTo>
                  <a:pt x="982975" y="1177095"/>
                  <a:pt x="983580" y="1175318"/>
                  <a:pt x="982355" y="1174515"/>
                </a:cubicBezTo>
                <a:cubicBezTo>
                  <a:pt x="978399" y="1172205"/>
                  <a:pt x="977227" y="1169823"/>
                  <a:pt x="981044" y="1166574"/>
                </a:cubicBezTo>
                <a:cubicBezTo>
                  <a:pt x="982048" y="1165899"/>
                  <a:pt x="981727" y="1164147"/>
                  <a:pt x="980324" y="1163718"/>
                </a:cubicBezTo>
                <a:cubicBezTo>
                  <a:pt x="975641" y="1161983"/>
                  <a:pt x="979006" y="1159209"/>
                  <a:pt x="978761" y="1156805"/>
                </a:cubicBezTo>
                <a:cubicBezTo>
                  <a:pt x="978003" y="1148666"/>
                  <a:pt x="987354" y="1147777"/>
                  <a:pt x="988674" y="1141069"/>
                </a:cubicBezTo>
                <a:cubicBezTo>
                  <a:pt x="989080" y="1138741"/>
                  <a:pt x="994820" y="1138223"/>
                  <a:pt x="997403" y="1137601"/>
                </a:cubicBezTo>
                <a:cubicBezTo>
                  <a:pt x="1000451" y="1136967"/>
                  <a:pt x="1003375" y="1135131"/>
                  <a:pt x="1006422" y="1134067"/>
                </a:cubicBezTo>
                <a:close/>
                <a:moveTo>
                  <a:pt x="7211787" y="1133483"/>
                </a:moveTo>
                <a:lnTo>
                  <a:pt x="7211471" y="1133681"/>
                </a:lnTo>
                <a:cubicBezTo>
                  <a:pt x="7211256" y="1133681"/>
                  <a:pt x="7211040" y="1133682"/>
                  <a:pt x="7210824" y="1133682"/>
                </a:cubicBezTo>
                <a:cubicBezTo>
                  <a:pt x="7205644" y="1134544"/>
                  <a:pt x="7204134" y="1136918"/>
                  <a:pt x="7206723" y="1141017"/>
                </a:cubicBezTo>
                <a:lnTo>
                  <a:pt x="7206391" y="1148834"/>
                </a:lnTo>
                <a:lnTo>
                  <a:pt x="7222377" y="1157984"/>
                </a:lnTo>
                <a:cubicBezTo>
                  <a:pt x="7222377" y="1157984"/>
                  <a:pt x="7222377" y="1157984"/>
                  <a:pt x="7226763" y="1156183"/>
                </a:cubicBezTo>
                <a:cubicBezTo>
                  <a:pt x="7244041" y="1167030"/>
                  <a:pt x="7260868" y="1176781"/>
                  <a:pt x="7277147" y="1186757"/>
                </a:cubicBezTo>
                <a:lnTo>
                  <a:pt x="7295990" y="1199530"/>
                </a:lnTo>
                <a:lnTo>
                  <a:pt x="7294636" y="1197060"/>
                </a:lnTo>
                <a:cubicBezTo>
                  <a:pt x="7296146" y="1189049"/>
                  <a:pt x="7290109" y="1186545"/>
                  <a:pt x="7285080" y="1185044"/>
                </a:cubicBezTo>
                <a:cubicBezTo>
                  <a:pt x="7281559" y="1184041"/>
                  <a:pt x="7279547" y="1182539"/>
                  <a:pt x="7277535" y="1180536"/>
                </a:cubicBezTo>
                <a:lnTo>
                  <a:pt x="7273774" y="1169839"/>
                </a:lnTo>
                <a:lnTo>
                  <a:pt x="7225743" y="1141218"/>
                </a:lnTo>
                <a:close/>
                <a:moveTo>
                  <a:pt x="4567066" y="1130093"/>
                </a:moveTo>
                <a:cubicBezTo>
                  <a:pt x="4566822" y="1129875"/>
                  <a:pt x="4565279" y="1130826"/>
                  <a:pt x="4561347" y="1133726"/>
                </a:cubicBezTo>
                <a:cubicBezTo>
                  <a:pt x="4562246" y="1135918"/>
                  <a:pt x="4559405" y="1138368"/>
                  <a:pt x="4556343" y="1140268"/>
                </a:cubicBezTo>
                <a:lnTo>
                  <a:pt x="4556078" y="1140406"/>
                </a:lnTo>
                <a:lnTo>
                  <a:pt x="4563736" y="1142876"/>
                </a:lnTo>
                <a:lnTo>
                  <a:pt x="4564950" y="1142500"/>
                </a:lnTo>
                <a:cubicBezTo>
                  <a:pt x="4557014" y="1141913"/>
                  <a:pt x="4567812" y="1130746"/>
                  <a:pt x="4567066" y="1130093"/>
                </a:cubicBezTo>
                <a:close/>
                <a:moveTo>
                  <a:pt x="1254004" y="1122504"/>
                </a:moveTo>
                <a:cubicBezTo>
                  <a:pt x="1257052" y="1121442"/>
                  <a:pt x="1260223" y="1121153"/>
                  <a:pt x="1263764" y="1123613"/>
                </a:cubicBezTo>
                <a:cubicBezTo>
                  <a:pt x="1264990" y="1124416"/>
                  <a:pt x="1267144" y="1125195"/>
                  <a:pt x="1269352" y="1124397"/>
                </a:cubicBezTo>
                <a:cubicBezTo>
                  <a:pt x="1272287" y="1123024"/>
                  <a:pt x="1274542" y="1124079"/>
                  <a:pt x="1276188" y="1126911"/>
                </a:cubicBezTo>
                <a:cubicBezTo>
                  <a:pt x="1277437" y="1128641"/>
                  <a:pt x="1279216" y="1129245"/>
                  <a:pt x="1281094" y="1130124"/>
                </a:cubicBezTo>
                <a:cubicBezTo>
                  <a:pt x="1285876" y="1132134"/>
                  <a:pt x="1288927" y="1135394"/>
                  <a:pt x="1289340" y="1140853"/>
                </a:cubicBezTo>
                <a:cubicBezTo>
                  <a:pt x="1289508" y="1143909"/>
                  <a:pt x="1291432" y="1146642"/>
                  <a:pt x="1294789" y="1147297"/>
                </a:cubicBezTo>
                <a:cubicBezTo>
                  <a:pt x="1295188" y="1148401"/>
                  <a:pt x="1295587" y="1149502"/>
                  <a:pt x="1295985" y="1150604"/>
                </a:cubicBezTo>
                <a:cubicBezTo>
                  <a:pt x="1294000" y="1152880"/>
                  <a:pt x="1293494" y="1154933"/>
                  <a:pt x="1295064" y="1158417"/>
                </a:cubicBezTo>
                <a:cubicBezTo>
                  <a:pt x="1297134" y="1163277"/>
                  <a:pt x="1296321" y="1167933"/>
                  <a:pt x="1291201" y="1171032"/>
                </a:cubicBezTo>
                <a:cubicBezTo>
                  <a:pt x="1288816" y="1172204"/>
                  <a:pt x="1290066" y="1173934"/>
                  <a:pt x="1290664" y="1175588"/>
                </a:cubicBezTo>
                <a:cubicBezTo>
                  <a:pt x="1291660" y="1178344"/>
                  <a:pt x="1290755" y="1179294"/>
                  <a:pt x="1287850" y="1178163"/>
                </a:cubicBezTo>
                <a:cubicBezTo>
                  <a:pt x="1283543" y="1176604"/>
                  <a:pt x="1281335" y="1177402"/>
                  <a:pt x="1282201" y="1182386"/>
                </a:cubicBezTo>
                <a:cubicBezTo>
                  <a:pt x="1282324" y="1183588"/>
                  <a:pt x="1281994" y="1185265"/>
                  <a:pt x="1280392" y="1184286"/>
                </a:cubicBezTo>
                <a:cubicBezTo>
                  <a:pt x="1275509" y="1182000"/>
                  <a:pt x="1273823" y="1185103"/>
                  <a:pt x="1271960" y="1188580"/>
                </a:cubicBezTo>
                <a:cubicBezTo>
                  <a:pt x="1271884" y="1189232"/>
                  <a:pt x="1270779" y="1189630"/>
                  <a:pt x="1270228" y="1189830"/>
                </a:cubicBezTo>
                <a:cubicBezTo>
                  <a:pt x="1262210" y="1188366"/>
                  <a:pt x="1254269" y="1186251"/>
                  <a:pt x="1246153" y="1184510"/>
                </a:cubicBezTo>
                <a:cubicBezTo>
                  <a:pt x="1242420" y="1183679"/>
                  <a:pt x="1238871" y="1179041"/>
                  <a:pt x="1235997" y="1175406"/>
                </a:cubicBezTo>
                <a:cubicBezTo>
                  <a:pt x="1234848" y="1173951"/>
                  <a:pt x="1234525" y="1172198"/>
                  <a:pt x="1232372" y="1171418"/>
                </a:cubicBezTo>
                <a:cubicBezTo>
                  <a:pt x="1230219" y="1170639"/>
                  <a:pt x="1229897" y="1168886"/>
                  <a:pt x="1230403" y="1166833"/>
                </a:cubicBezTo>
                <a:cubicBezTo>
                  <a:pt x="1230556" y="1165531"/>
                  <a:pt x="1231162" y="1163755"/>
                  <a:pt x="1229936" y="1162951"/>
                </a:cubicBezTo>
                <a:cubicBezTo>
                  <a:pt x="1225980" y="1160641"/>
                  <a:pt x="1224808" y="1158262"/>
                  <a:pt x="1228625" y="1155012"/>
                </a:cubicBezTo>
                <a:cubicBezTo>
                  <a:pt x="1229629" y="1154336"/>
                  <a:pt x="1229308" y="1152584"/>
                  <a:pt x="1227906" y="1152155"/>
                </a:cubicBezTo>
                <a:cubicBezTo>
                  <a:pt x="1223221" y="1150420"/>
                  <a:pt x="1226587" y="1147646"/>
                  <a:pt x="1226343" y="1145241"/>
                </a:cubicBezTo>
                <a:cubicBezTo>
                  <a:pt x="1225584" y="1137102"/>
                  <a:pt x="1234935" y="1136214"/>
                  <a:pt x="1236254" y="1129505"/>
                </a:cubicBezTo>
                <a:cubicBezTo>
                  <a:pt x="1236661" y="1127176"/>
                  <a:pt x="1242402" y="1126661"/>
                  <a:pt x="1244984" y="1126038"/>
                </a:cubicBezTo>
                <a:cubicBezTo>
                  <a:pt x="1248032" y="1125404"/>
                  <a:pt x="1250956" y="1123567"/>
                  <a:pt x="1254004" y="1122504"/>
                </a:cubicBezTo>
                <a:close/>
                <a:moveTo>
                  <a:pt x="8537522" y="1105800"/>
                </a:moveTo>
                <a:cubicBezTo>
                  <a:pt x="8540023" y="1105800"/>
                  <a:pt x="8542166" y="1105801"/>
                  <a:pt x="8544666" y="1105801"/>
                </a:cubicBezTo>
                <a:cubicBezTo>
                  <a:pt x="8544666" y="1106867"/>
                  <a:pt x="8545023" y="1107223"/>
                  <a:pt x="8545737" y="1107222"/>
                </a:cubicBezTo>
                <a:cubicBezTo>
                  <a:pt x="8551096" y="1107223"/>
                  <a:pt x="8553952" y="1110779"/>
                  <a:pt x="8555739" y="1115046"/>
                </a:cubicBezTo>
                <a:cubicBezTo>
                  <a:pt x="8557525" y="1118957"/>
                  <a:pt x="8559668" y="1122513"/>
                  <a:pt x="8558954" y="1127136"/>
                </a:cubicBezTo>
                <a:cubicBezTo>
                  <a:pt x="8557882" y="1132113"/>
                  <a:pt x="8558239" y="1137448"/>
                  <a:pt x="8553952" y="1141360"/>
                </a:cubicBezTo>
                <a:cubicBezTo>
                  <a:pt x="8552524" y="1142781"/>
                  <a:pt x="8551095" y="1143848"/>
                  <a:pt x="8548595" y="1144559"/>
                </a:cubicBezTo>
                <a:cubicBezTo>
                  <a:pt x="8545023" y="1145626"/>
                  <a:pt x="8540738" y="1147403"/>
                  <a:pt x="8541808" y="1153093"/>
                </a:cubicBezTo>
                <a:cubicBezTo>
                  <a:pt x="8542166" y="1155227"/>
                  <a:pt x="8540023" y="1155937"/>
                  <a:pt x="8539666" y="1157005"/>
                </a:cubicBezTo>
                <a:cubicBezTo>
                  <a:pt x="8537881" y="1162693"/>
                  <a:pt x="8533593" y="1165183"/>
                  <a:pt x="8528950" y="1166961"/>
                </a:cubicBezTo>
                <a:cubicBezTo>
                  <a:pt x="8525736" y="1166250"/>
                  <a:pt x="8522878" y="1165538"/>
                  <a:pt x="8519664" y="1165538"/>
                </a:cubicBezTo>
                <a:cubicBezTo>
                  <a:pt x="8516450" y="1165537"/>
                  <a:pt x="8513236" y="1163405"/>
                  <a:pt x="8511807" y="1160559"/>
                </a:cubicBezTo>
                <a:cubicBezTo>
                  <a:pt x="8510735" y="1158072"/>
                  <a:pt x="8509663" y="1156648"/>
                  <a:pt x="8507520" y="1155582"/>
                </a:cubicBezTo>
                <a:cubicBezTo>
                  <a:pt x="8507520" y="1151315"/>
                  <a:pt x="8507521" y="1147049"/>
                  <a:pt x="8507521" y="1142781"/>
                </a:cubicBezTo>
                <a:cubicBezTo>
                  <a:pt x="8511092" y="1141004"/>
                  <a:pt x="8513949" y="1138159"/>
                  <a:pt x="8515379" y="1134958"/>
                </a:cubicBezTo>
                <a:cubicBezTo>
                  <a:pt x="8517165" y="1132114"/>
                  <a:pt x="8518592" y="1128914"/>
                  <a:pt x="8520378" y="1125713"/>
                </a:cubicBezTo>
                <a:cubicBezTo>
                  <a:pt x="8522165" y="1122868"/>
                  <a:pt x="8523951" y="1119669"/>
                  <a:pt x="8524307" y="1116113"/>
                </a:cubicBezTo>
                <a:cubicBezTo>
                  <a:pt x="8525021" y="1112912"/>
                  <a:pt x="8527164" y="1111490"/>
                  <a:pt x="8529665" y="1109713"/>
                </a:cubicBezTo>
                <a:cubicBezTo>
                  <a:pt x="8532165" y="1107933"/>
                  <a:pt x="8535738" y="1108289"/>
                  <a:pt x="8537522" y="1105800"/>
                </a:cubicBezTo>
                <a:close/>
                <a:moveTo>
                  <a:pt x="597961" y="1104654"/>
                </a:moveTo>
                <a:cubicBezTo>
                  <a:pt x="605067" y="1110436"/>
                  <a:pt x="615459" y="1103337"/>
                  <a:pt x="621651" y="1112373"/>
                </a:cubicBezTo>
                <a:cubicBezTo>
                  <a:pt x="623457" y="1115060"/>
                  <a:pt x="629301" y="1115035"/>
                  <a:pt x="625963" y="1120833"/>
                </a:cubicBezTo>
                <a:cubicBezTo>
                  <a:pt x="624885" y="1122475"/>
                  <a:pt x="626056" y="1124557"/>
                  <a:pt x="627667" y="1124392"/>
                </a:cubicBezTo>
                <a:cubicBezTo>
                  <a:pt x="634383" y="1124469"/>
                  <a:pt x="635215" y="1127926"/>
                  <a:pt x="633119" y="1133694"/>
                </a:cubicBezTo>
                <a:cubicBezTo>
                  <a:pt x="632545" y="1135571"/>
                  <a:pt x="634690" y="1136883"/>
                  <a:pt x="635963" y="1138092"/>
                </a:cubicBezTo>
                <a:cubicBezTo>
                  <a:pt x="638244" y="1139774"/>
                  <a:pt x="639413" y="1141855"/>
                  <a:pt x="637863" y="1144504"/>
                </a:cubicBezTo>
                <a:cubicBezTo>
                  <a:pt x="636312" y="1147152"/>
                  <a:pt x="637483" y="1149235"/>
                  <a:pt x="637543" y="1151716"/>
                </a:cubicBezTo>
                <a:cubicBezTo>
                  <a:pt x="637698" y="1157924"/>
                  <a:pt x="638016" y="1165741"/>
                  <a:pt x="634883" y="1169795"/>
                </a:cubicBezTo>
                <a:cubicBezTo>
                  <a:pt x="628012" y="1178540"/>
                  <a:pt x="621645" y="1187522"/>
                  <a:pt x="614641" y="1195898"/>
                </a:cubicBezTo>
                <a:cubicBezTo>
                  <a:pt x="613902" y="1196165"/>
                  <a:pt x="612423" y="1196701"/>
                  <a:pt x="611786" y="1196095"/>
                </a:cubicBezTo>
                <a:cubicBezTo>
                  <a:pt x="606887" y="1194109"/>
                  <a:pt x="602492" y="1192358"/>
                  <a:pt x="599422" y="1198895"/>
                </a:cubicBezTo>
                <a:cubicBezTo>
                  <a:pt x="598610" y="1201275"/>
                  <a:pt x="596833" y="1199830"/>
                  <a:pt x="595931" y="1198487"/>
                </a:cubicBezTo>
                <a:cubicBezTo>
                  <a:pt x="592552" y="1192611"/>
                  <a:pt x="589596" y="1193680"/>
                  <a:pt x="586493" y="1198976"/>
                </a:cubicBezTo>
                <a:cubicBezTo>
                  <a:pt x="584470" y="1202629"/>
                  <a:pt x="582724" y="1202425"/>
                  <a:pt x="581389" y="1198734"/>
                </a:cubicBezTo>
                <a:cubicBezTo>
                  <a:pt x="580589" y="1196517"/>
                  <a:pt x="580393" y="1193666"/>
                  <a:pt x="576932" y="1194499"/>
                </a:cubicBezTo>
                <a:cubicBezTo>
                  <a:pt x="569005" y="1195695"/>
                  <a:pt x="564179" y="1191595"/>
                  <a:pt x="562147" y="1184816"/>
                </a:cubicBezTo>
                <a:cubicBezTo>
                  <a:pt x="560781" y="1179881"/>
                  <a:pt x="558501" y="1178202"/>
                  <a:pt x="554507" y="1177558"/>
                </a:cubicBezTo>
                <a:cubicBezTo>
                  <a:pt x="553973" y="1176081"/>
                  <a:pt x="553439" y="1174605"/>
                  <a:pt x="552905" y="1173128"/>
                </a:cubicBezTo>
                <a:cubicBezTo>
                  <a:pt x="555801" y="1169575"/>
                  <a:pt x="555442" y="1165113"/>
                  <a:pt x="552999" y="1161822"/>
                </a:cubicBezTo>
                <a:cubicBezTo>
                  <a:pt x="548748" y="1155844"/>
                  <a:pt x="549098" y="1149873"/>
                  <a:pt x="552302" y="1143705"/>
                </a:cubicBezTo>
                <a:cubicBezTo>
                  <a:pt x="553482" y="1141190"/>
                  <a:pt x="554797" y="1139045"/>
                  <a:pt x="554602" y="1136193"/>
                </a:cubicBezTo>
                <a:cubicBezTo>
                  <a:pt x="553874" y="1131864"/>
                  <a:pt x="555291" y="1128846"/>
                  <a:pt x="559491" y="1127746"/>
                </a:cubicBezTo>
                <a:cubicBezTo>
                  <a:pt x="562449" y="1126676"/>
                  <a:pt x="564000" y="1124029"/>
                  <a:pt x="564575" y="1122151"/>
                </a:cubicBezTo>
                <a:cubicBezTo>
                  <a:pt x="567657" y="1111018"/>
                  <a:pt x="578633" y="1112477"/>
                  <a:pt x="585997" y="1108563"/>
                </a:cubicBezTo>
                <a:cubicBezTo>
                  <a:pt x="589191" y="1106989"/>
                  <a:pt x="595547" y="1102604"/>
                  <a:pt x="597961" y="1104654"/>
                </a:cubicBezTo>
                <a:close/>
                <a:moveTo>
                  <a:pt x="7013964" y="1100052"/>
                </a:moveTo>
                <a:cubicBezTo>
                  <a:pt x="7013964" y="1100052"/>
                  <a:pt x="7013964" y="1100052"/>
                  <a:pt x="7020155" y="1102634"/>
                </a:cubicBezTo>
                <a:lnTo>
                  <a:pt x="7013833" y="1100105"/>
                </a:lnTo>
                <a:close/>
                <a:moveTo>
                  <a:pt x="7183887" y="1087008"/>
                </a:moveTo>
                <a:lnTo>
                  <a:pt x="7196682" y="1099734"/>
                </a:lnTo>
                <a:lnTo>
                  <a:pt x="7195716" y="1101106"/>
                </a:lnTo>
                <a:lnTo>
                  <a:pt x="7197615" y="1105110"/>
                </a:lnTo>
                <a:lnTo>
                  <a:pt x="7198660" y="1105650"/>
                </a:lnTo>
                <a:lnTo>
                  <a:pt x="7201544" y="1106931"/>
                </a:lnTo>
                <a:lnTo>
                  <a:pt x="7201681" y="1107206"/>
                </a:lnTo>
                <a:lnTo>
                  <a:pt x="7214474" y="1113799"/>
                </a:lnTo>
                <a:lnTo>
                  <a:pt x="7273609" y="1148793"/>
                </a:lnTo>
                <a:lnTo>
                  <a:pt x="7275020" y="1143484"/>
                </a:lnTo>
                <a:lnTo>
                  <a:pt x="7278871" y="1137687"/>
                </a:lnTo>
                <a:close/>
                <a:moveTo>
                  <a:pt x="11811558" y="1073556"/>
                </a:moveTo>
                <a:cubicBezTo>
                  <a:pt x="11813060" y="1070768"/>
                  <a:pt x="11814477" y="1070813"/>
                  <a:pt x="11815660" y="1073967"/>
                </a:cubicBezTo>
                <a:cubicBezTo>
                  <a:pt x="11817509" y="1078561"/>
                  <a:pt x="11819741" y="1079763"/>
                  <a:pt x="11823133" y="1075474"/>
                </a:cubicBezTo>
                <a:cubicBezTo>
                  <a:pt x="11824012" y="1074509"/>
                  <a:pt x="11825601" y="1073567"/>
                  <a:pt x="11825966" y="1075563"/>
                </a:cubicBezTo>
                <a:cubicBezTo>
                  <a:pt x="11827643" y="1081141"/>
                  <a:pt x="11831358" y="1080265"/>
                  <a:pt x="11835500" y="1079259"/>
                </a:cubicBezTo>
                <a:cubicBezTo>
                  <a:pt x="11836080" y="1078852"/>
                  <a:pt x="11837196" y="1079454"/>
                  <a:pt x="11837755" y="1079754"/>
                </a:cubicBezTo>
                <a:cubicBezTo>
                  <a:pt x="11842353" y="1087266"/>
                  <a:pt x="11846370" y="1095186"/>
                  <a:pt x="11850817" y="1102979"/>
                </a:cubicBezTo>
                <a:cubicBezTo>
                  <a:pt x="11852836" y="1106585"/>
                  <a:pt x="11851659" y="1112786"/>
                  <a:pt x="11850801" y="1117720"/>
                </a:cubicBezTo>
                <a:cubicBezTo>
                  <a:pt x="11850459" y="1119694"/>
                  <a:pt x="11849277" y="1121215"/>
                  <a:pt x="11850201" y="1123512"/>
                </a:cubicBezTo>
                <a:cubicBezTo>
                  <a:pt x="11851126" y="1125808"/>
                  <a:pt x="11849945" y="1127331"/>
                  <a:pt x="11847927" y="1128402"/>
                </a:cubicBezTo>
                <a:cubicBezTo>
                  <a:pt x="11846768" y="1129217"/>
                  <a:pt x="11844900" y="1130009"/>
                  <a:pt x="11845137" y="1131575"/>
                </a:cubicBezTo>
                <a:cubicBezTo>
                  <a:pt x="11846126" y="1136425"/>
                  <a:pt x="11845055" y="1139085"/>
                  <a:pt x="11839686" y="1138351"/>
                </a:cubicBezTo>
                <a:cubicBezTo>
                  <a:pt x="11838420" y="1138029"/>
                  <a:pt x="11837239" y="1139552"/>
                  <a:pt x="11837905" y="1140989"/>
                </a:cubicBezTo>
                <a:cubicBezTo>
                  <a:pt x="11839882" y="1146010"/>
                  <a:pt x="11835222" y="1145300"/>
                  <a:pt x="11833463" y="1147230"/>
                </a:cubicBezTo>
                <a:cubicBezTo>
                  <a:pt x="11827453" y="1153705"/>
                  <a:pt x="11820001" y="1146812"/>
                  <a:pt x="11813646" y="1150584"/>
                </a:cubicBezTo>
                <a:cubicBezTo>
                  <a:pt x="11811478" y="1151934"/>
                  <a:pt x="11806925" y="1147683"/>
                  <a:pt x="11804563" y="1146050"/>
                </a:cubicBezTo>
                <a:cubicBezTo>
                  <a:pt x="11799151" y="1142056"/>
                  <a:pt x="11790219" y="1141920"/>
                  <a:pt x="11789078" y="1132672"/>
                </a:cubicBezTo>
                <a:cubicBezTo>
                  <a:pt x="11788841" y="1131106"/>
                  <a:pt x="11787917" y="1128810"/>
                  <a:pt x="11785685" y="1127607"/>
                </a:cubicBezTo>
                <a:cubicBezTo>
                  <a:pt x="11782463" y="1126230"/>
                  <a:pt x="11781689" y="1123656"/>
                  <a:pt x="11782783" y="1120288"/>
                </a:cubicBezTo>
                <a:cubicBezTo>
                  <a:pt x="11783276" y="1118036"/>
                  <a:pt x="11782480" y="1116169"/>
                  <a:pt x="11781836" y="1114023"/>
                </a:cubicBezTo>
                <a:cubicBezTo>
                  <a:pt x="11780010" y="1108721"/>
                  <a:pt x="11780437" y="1103915"/>
                  <a:pt x="11784536" y="1099649"/>
                </a:cubicBezTo>
                <a:cubicBezTo>
                  <a:pt x="11786875" y="1097311"/>
                  <a:pt x="11787690" y="1093793"/>
                  <a:pt x="11785800" y="1090616"/>
                </a:cubicBezTo>
                <a:cubicBezTo>
                  <a:pt x="11786401" y="1089501"/>
                  <a:pt x="11787001" y="1088385"/>
                  <a:pt x="11787602" y="1087270"/>
                </a:cubicBezTo>
                <a:cubicBezTo>
                  <a:pt x="11790865" y="1087229"/>
                  <a:pt x="11792883" y="1086158"/>
                  <a:pt x="11794558" y="1082383"/>
                </a:cubicBezTo>
                <a:cubicBezTo>
                  <a:pt x="11796981" y="1077215"/>
                  <a:pt x="11801317" y="1074514"/>
                  <a:pt x="11807502" y="1076407"/>
                </a:cubicBezTo>
                <a:cubicBezTo>
                  <a:pt x="11810164" y="1077482"/>
                  <a:pt x="11810657" y="1075230"/>
                  <a:pt x="11811558" y="1073556"/>
                </a:cubicBezTo>
                <a:close/>
                <a:moveTo>
                  <a:pt x="3461799" y="1070611"/>
                </a:moveTo>
                <a:lnTo>
                  <a:pt x="3458820" y="1070638"/>
                </a:lnTo>
                <a:cubicBezTo>
                  <a:pt x="3223343" y="1079063"/>
                  <a:pt x="2994505" y="1118439"/>
                  <a:pt x="2776378" y="1186408"/>
                </a:cubicBezTo>
                <a:cubicBezTo>
                  <a:pt x="1986425" y="1431018"/>
                  <a:pt x="1335965" y="2032852"/>
                  <a:pt x="1048197" y="2825953"/>
                </a:cubicBezTo>
                <a:cubicBezTo>
                  <a:pt x="1028521" y="2881831"/>
                  <a:pt x="1010021" y="2933316"/>
                  <a:pt x="994734" y="2990368"/>
                </a:cubicBezTo>
                <a:cubicBezTo>
                  <a:pt x="994734" y="2990368"/>
                  <a:pt x="990345" y="2989191"/>
                  <a:pt x="989169" y="2993579"/>
                </a:cubicBezTo>
                <a:cubicBezTo>
                  <a:pt x="985640" y="3006747"/>
                  <a:pt x="985640" y="3006747"/>
                  <a:pt x="985640" y="3006747"/>
                </a:cubicBezTo>
                <a:cubicBezTo>
                  <a:pt x="985640" y="3006747"/>
                  <a:pt x="984465" y="3011132"/>
                  <a:pt x="988854" y="3012311"/>
                </a:cubicBezTo>
                <a:lnTo>
                  <a:pt x="955927" y="3135204"/>
                </a:lnTo>
                <a:cubicBezTo>
                  <a:pt x="934445" y="3232938"/>
                  <a:pt x="918529" y="3327443"/>
                  <a:pt x="905823" y="3427500"/>
                </a:cubicBezTo>
                <a:cubicBezTo>
                  <a:pt x="866218" y="3750829"/>
                  <a:pt x="883983" y="4070744"/>
                  <a:pt x="958252" y="4372873"/>
                </a:cubicBezTo>
                <a:cubicBezTo>
                  <a:pt x="992878" y="4542080"/>
                  <a:pt x="1050624" y="4712778"/>
                  <a:pt x="1119498" y="4877053"/>
                </a:cubicBezTo>
                <a:cubicBezTo>
                  <a:pt x="1116287" y="4871488"/>
                  <a:pt x="1116287" y="4871488"/>
                  <a:pt x="1111898" y="4870312"/>
                </a:cubicBezTo>
                <a:cubicBezTo>
                  <a:pt x="1117146" y="4885829"/>
                  <a:pt x="1132035" y="4918041"/>
                  <a:pt x="1143710" y="4944689"/>
                </a:cubicBezTo>
                <a:cubicBezTo>
                  <a:pt x="1153348" y="4961382"/>
                  <a:pt x="1158599" y="4976902"/>
                  <a:pt x="1166200" y="4983643"/>
                </a:cubicBezTo>
                <a:cubicBezTo>
                  <a:pt x="1188689" y="5022595"/>
                  <a:pt x="1210002" y="5065936"/>
                  <a:pt x="1232490" y="5104889"/>
                </a:cubicBezTo>
                <a:cubicBezTo>
                  <a:pt x="1237742" y="5120407"/>
                  <a:pt x="1247379" y="5137101"/>
                  <a:pt x="1258195" y="5149406"/>
                </a:cubicBezTo>
                <a:cubicBezTo>
                  <a:pt x="1330912" y="5281783"/>
                  <a:pt x="1420323" y="5404521"/>
                  <a:pt x="1519689" y="5525221"/>
                </a:cubicBezTo>
                <a:cubicBezTo>
                  <a:pt x="1486070" y="5492695"/>
                  <a:pt x="1452452" y="5460167"/>
                  <a:pt x="1426433" y="5434382"/>
                </a:cubicBezTo>
                <a:cubicBezTo>
                  <a:pt x="1428786" y="5425604"/>
                  <a:pt x="1413583" y="5412122"/>
                  <a:pt x="1414759" y="5407733"/>
                </a:cubicBezTo>
                <a:cubicBezTo>
                  <a:pt x="1385528" y="5376383"/>
                  <a:pt x="1355438" y="5330689"/>
                  <a:pt x="1323856" y="5308115"/>
                </a:cubicBezTo>
                <a:cubicBezTo>
                  <a:pt x="1333494" y="5324809"/>
                  <a:pt x="1346346" y="5347068"/>
                  <a:pt x="1339605" y="5354669"/>
                </a:cubicBezTo>
                <a:cubicBezTo>
                  <a:pt x="1356845" y="5378104"/>
                  <a:pt x="1398925" y="5431712"/>
                  <a:pt x="1415304" y="5440806"/>
                </a:cubicBezTo>
                <a:cubicBezTo>
                  <a:pt x="1421730" y="5451936"/>
                  <a:pt x="1423767" y="5461889"/>
                  <a:pt x="1426979" y="5467453"/>
                </a:cubicBezTo>
                <a:cubicBezTo>
                  <a:pt x="1448608" y="5492064"/>
                  <a:pt x="1468200" y="5506723"/>
                  <a:pt x="1491003" y="5526944"/>
                </a:cubicBezTo>
                <a:cubicBezTo>
                  <a:pt x="1505031" y="5544814"/>
                  <a:pt x="1528696" y="5579377"/>
                  <a:pt x="1547112" y="5598424"/>
                </a:cubicBezTo>
                <a:cubicBezTo>
                  <a:pt x="1554712" y="5605165"/>
                  <a:pt x="1560277" y="5601951"/>
                  <a:pt x="1567879" y="5608694"/>
                </a:cubicBezTo>
                <a:cubicBezTo>
                  <a:pt x="1575482" y="5615433"/>
                  <a:pt x="1583943" y="5636515"/>
                  <a:pt x="1591545" y="5643256"/>
                </a:cubicBezTo>
                <a:cubicBezTo>
                  <a:pt x="1613173" y="5667869"/>
                  <a:pt x="1626340" y="5671395"/>
                  <a:pt x="1623988" y="5680173"/>
                </a:cubicBezTo>
                <a:cubicBezTo>
                  <a:pt x="1640367" y="5689265"/>
                  <a:pt x="1663172" y="5709488"/>
                  <a:pt x="1674301" y="5703061"/>
                </a:cubicBezTo>
                <a:cubicBezTo>
                  <a:pt x="1657921" y="5693969"/>
                  <a:pt x="1663486" y="5690756"/>
                  <a:pt x="1664663" y="5686367"/>
                </a:cubicBezTo>
                <a:cubicBezTo>
                  <a:pt x="1989722" y="6018064"/>
                  <a:pt x="2402115" y="6269674"/>
                  <a:pt x="2884881" y="6399030"/>
                </a:cubicBezTo>
                <a:lnTo>
                  <a:pt x="2885870" y="6399247"/>
                </a:lnTo>
                <a:lnTo>
                  <a:pt x="2757097" y="6354345"/>
                </a:lnTo>
                <a:cubicBezTo>
                  <a:pt x="2669363" y="6317811"/>
                  <a:pt x="2586017" y="6272211"/>
                  <a:pt x="2503954" y="6224184"/>
                </a:cubicBezTo>
                <a:lnTo>
                  <a:pt x="2420336" y="6174340"/>
                </a:lnTo>
                <a:lnTo>
                  <a:pt x="2407395" y="6168781"/>
                </a:lnTo>
                <a:cubicBezTo>
                  <a:pt x="2150462" y="6045842"/>
                  <a:pt x="1917591" y="5883495"/>
                  <a:pt x="1715291" y="5690526"/>
                </a:cubicBezTo>
                <a:cubicBezTo>
                  <a:pt x="1724067" y="5692877"/>
                  <a:pt x="1727281" y="5698442"/>
                  <a:pt x="1728457" y="5694053"/>
                </a:cubicBezTo>
                <a:cubicBezTo>
                  <a:pt x="1704791" y="5659490"/>
                  <a:pt x="1694838" y="5661525"/>
                  <a:pt x="1667644" y="5640128"/>
                </a:cubicBezTo>
                <a:cubicBezTo>
                  <a:pt x="1644841" y="5619905"/>
                  <a:pt x="1618822" y="5594120"/>
                  <a:pt x="1597193" y="5569508"/>
                </a:cubicBezTo>
                <a:cubicBezTo>
                  <a:pt x="1595158" y="5559555"/>
                  <a:pt x="1565928" y="5528204"/>
                  <a:pt x="1557151" y="5525852"/>
                </a:cubicBezTo>
                <a:cubicBezTo>
                  <a:pt x="1558327" y="5521463"/>
                  <a:pt x="1558327" y="5521463"/>
                  <a:pt x="1558327" y="5521463"/>
                </a:cubicBezTo>
                <a:cubicBezTo>
                  <a:pt x="1553938" y="5520289"/>
                  <a:pt x="1553938" y="5520289"/>
                  <a:pt x="1553938" y="5520289"/>
                </a:cubicBezTo>
                <a:cubicBezTo>
                  <a:pt x="1555113" y="5515900"/>
                  <a:pt x="1555113" y="5515900"/>
                  <a:pt x="1550725" y="5514723"/>
                </a:cubicBezTo>
                <a:cubicBezTo>
                  <a:pt x="1546335" y="5513547"/>
                  <a:pt x="1546335" y="5513547"/>
                  <a:pt x="1543124" y="5507982"/>
                </a:cubicBezTo>
                <a:cubicBezTo>
                  <a:pt x="1539911" y="5502417"/>
                  <a:pt x="1529097" y="5490112"/>
                  <a:pt x="1524708" y="5488937"/>
                </a:cubicBezTo>
                <a:cubicBezTo>
                  <a:pt x="1507468" y="5465502"/>
                  <a:pt x="1490228" y="5442067"/>
                  <a:pt x="1467423" y="5421844"/>
                </a:cubicBezTo>
                <a:cubicBezTo>
                  <a:pt x="1460997" y="5410716"/>
                  <a:pt x="1454573" y="5399586"/>
                  <a:pt x="1446970" y="5392846"/>
                </a:cubicBezTo>
                <a:cubicBezTo>
                  <a:pt x="1429730" y="5369412"/>
                  <a:pt x="1412491" y="5345977"/>
                  <a:pt x="1398464" y="5328106"/>
                </a:cubicBezTo>
                <a:cubicBezTo>
                  <a:pt x="1398464" y="5328106"/>
                  <a:pt x="1402853" y="5329282"/>
                  <a:pt x="1402853" y="5329282"/>
                </a:cubicBezTo>
                <a:cubicBezTo>
                  <a:pt x="1399640" y="5323718"/>
                  <a:pt x="1396427" y="5318153"/>
                  <a:pt x="1392039" y="5316977"/>
                </a:cubicBezTo>
                <a:cubicBezTo>
                  <a:pt x="1189550" y="5036937"/>
                  <a:pt x="1040672" y="4714816"/>
                  <a:pt x="958252" y="4372873"/>
                </a:cubicBezTo>
                <a:cubicBezTo>
                  <a:pt x="874427" y="3983514"/>
                  <a:pt x="875795" y="3574655"/>
                  <a:pt x="976380" y="3164204"/>
                </a:cubicBezTo>
                <a:cubicBezTo>
                  <a:pt x="980768" y="3165382"/>
                  <a:pt x="980768" y="3165382"/>
                  <a:pt x="985158" y="3166556"/>
                </a:cubicBezTo>
                <a:cubicBezTo>
                  <a:pt x="973083" y="3229175"/>
                  <a:pt x="992360" y="3262571"/>
                  <a:pt x="999331" y="3306771"/>
                </a:cubicBezTo>
                <a:cubicBezTo>
                  <a:pt x="999331" y="3306771"/>
                  <a:pt x="1006071" y="3299171"/>
                  <a:pt x="1008424" y="3290393"/>
                </a:cubicBezTo>
                <a:cubicBezTo>
                  <a:pt x="1012498" y="3310290"/>
                  <a:pt x="998700" y="3344219"/>
                  <a:pt x="996035" y="3371709"/>
                </a:cubicBezTo>
                <a:cubicBezTo>
                  <a:pt x="998931" y="3396008"/>
                  <a:pt x="1002691" y="3434641"/>
                  <a:pt x="1002691" y="3434641"/>
                </a:cubicBezTo>
                <a:cubicBezTo>
                  <a:pt x="1012644" y="3432607"/>
                  <a:pt x="1017347" y="3415060"/>
                  <a:pt x="1023227" y="3393108"/>
                </a:cubicBezTo>
                <a:cubicBezTo>
                  <a:pt x="1027616" y="3394299"/>
                  <a:pt x="1026441" y="3398673"/>
                  <a:pt x="1026441" y="3398673"/>
                </a:cubicBezTo>
                <a:cubicBezTo>
                  <a:pt x="1025264" y="3403067"/>
                  <a:pt x="1025264" y="3403067"/>
                  <a:pt x="1025264" y="3403067"/>
                </a:cubicBezTo>
                <a:cubicBezTo>
                  <a:pt x="1025264" y="3403067"/>
                  <a:pt x="1024089" y="3407448"/>
                  <a:pt x="1024089" y="3407448"/>
                </a:cubicBezTo>
                <a:cubicBezTo>
                  <a:pt x="1024089" y="3407448"/>
                  <a:pt x="1022912" y="3411849"/>
                  <a:pt x="1021737" y="3416226"/>
                </a:cubicBezTo>
                <a:cubicBezTo>
                  <a:pt x="1026126" y="3417407"/>
                  <a:pt x="1026126" y="3417407"/>
                  <a:pt x="1027300" y="3413014"/>
                </a:cubicBezTo>
                <a:cubicBezTo>
                  <a:pt x="1027300" y="3413014"/>
                  <a:pt x="1028477" y="3408636"/>
                  <a:pt x="1028477" y="3408636"/>
                </a:cubicBezTo>
                <a:cubicBezTo>
                  <a:pt x="1029653" y="3404237"/>
                  <a:pt x="1029653" y="3404237"/>
                  <a:pt x="1029653" y="3404237"/>
                </a:cubicBezTo>
                <a:cubicBezTo>
                  <a:pt x="1031373" y="3432920"/>
                  <a:pt x="1040782" y="3397815"/>
                  <a:pt x="1037569" y="3392250"/>
                </a:cubicBezTo>
                <a:cubicBezTo>
                  <a:pt x="1038744" y="3387872"/>
                  <a:pt x="1034356" y="3386690"/>
                  <a:pt x="1034356" y="3386690"/>
                </a:cubicBezTo>
                <a:cubicBezTo>
                  <a:pt x="1034356" y="3386690"/>
                  <a:pt x="1033180" y="3391085"/>
                  <a:pt x="1033180" y="3391085"/>
                </a:cubicBezTo>
                <a:cubicBezTo>
                  <a:pt x="1027616" y="3394299"/>
                  <a:pt x="1027616" y="3394299"/>
                  <a:pt x="1027616" y="3394299"/>
                </a:cubicBezTo>
                <a:cubicBezTo>
                  <a:pt x="1027616" y="3394299"/>
                  <a:pt x="1029968" y="3385518"/>
                  <a:pt x="1031143" y="3381121"/>
                </a:cubicBezTo>
                <a:cubicBezTo>
                  <a:pt x="1032320" y="3376735"/>
                  <a:pt x="1032320" y="3376735"/>
                  <a:pt x="1032320" y="3376735"/>
                </a:cubicBezTo>
                <a:cubicBezTo>
                  <a:pt x="1040551" y="3346021"/>
                  <a:pt x="1055208" y="3326444"/>
                  <a:pt x="1063671" y="3347514"/>
                </a:cubicBezTo>
                <a:cubicBezTo>
                  <a:pt x="1057791" y="3369464"/>
                  <a:pt x="1062180" y="3370630"/>
                  <a:pt x="1053948" y="3401338"/>
                </a:cubicBezTo>
                <a:cubicBezTo>
                  <a:pt x="1061550" y="3408084"/>
                  <a:pt x="1066253" y="3390534"/>
                  <a:pt x="1076207" y="3388493"/>
                </a:cubicBezTo>
                <a:cubicBezTo>
                  <a:pt x="1078790" y="3431516"/>
                  <a:pt x="1069928" y="3499687"/>
                  <a:pt x="1091872" y="3505565"/>
                </a:cubicBezTo>
                <a:cubicBezTo>
                  <a:pt x="1091872" y="3505565"/>
                  <a:pt x="1090695" y="3509957"/>
                  <a:pt x="1090695" y="3509957"/>
                </a:cubicBezTo>
                <a:cubicBezTo>
                  <a:pt x="1090695" y="3509957"/>
                  <a:pt x="1088344" y="3518731"/>
                  <a:pt x="1088344" y="3518731"/>
                </a:cubicBezTo>
                <a:cubicBezTo>
                  <a:pt x="1091555" y="3524296"/>
                  <a:pt x="1090380" y="3528685"/>
                  <a:pt x="1091555" y="3524296"/>
                </a:cubicBezTo>
                <a:cubicBezTo>
                  <a:pt x="1093593" y="3534250"/>
                  <a:pt x="1090064" y="3547416"/>
                  <a:pt x="1091787" y="3576082"/>
                </a:cubicBezTo>
                <a:cubicBezTo>
                  <a:pt x="1093824" y="3586039"/>
                  <a:pt x="1092647" y="3590425"/>
                  <a:pt x="1091471" y="3594812"/>
                </a:cubicBezTo>
                <a:cubicBezTo>
                  <a:pt x="1091471" y="3594812"/>
                  <a:pt x="1094684" y="3600379"/>
                  <a:pt x="1094684" y="3600379"/>
                </a:cubicBezTo>
                <a:cubicBezTo>
                  <a:pt x="1093508" y="3604767"/>
                  <a:pt x="1093508" y="3604767"/>
                  <a:pt x="1093508" y="3604767"/>
                </a:cubicBezTo>
                <a:cubicBezTo>
                  <a:pt x="1092333" y="3609156"/>
                  <a:pt x="1097897" y="3605941"/>
                  <a:pt x="1097897" y="3605941"/>
                </a:cubicBezTo>
                <a:cubicBezTo>
                  <a:pt x="1096721" y="3610330"/>
                  <a:pt x="1096721" y="3610330"/>
                  <a:pt x="1096721" y="3610330"/>
                </a:cubicBezTo>
                <a:cubicBezTo>
                  <a:pt x="1101109" y="3611506"/>
                  <a:pt x="1096405" y="3629059"/>
                  <a:pt x="1100795" y="3630235"/>
                </a:cubicBezTo>
                <a:cubicBezTo>
                  <a:pt x="1102285" y="3607119"/>
                  <a:pt x="1101970" y="3625849"/>
                  <a:pt x="1108711" y="3618247"/>
                </a:cubicBezTo>
                <a:cubicBezTo>
                  <a:pt x="1106045" y="3645753"/>
                  <a:pt x="1115452" y="3610647"/>
                  <a:pt x="1115137" y="3629376"/>
                </a:cubicBezTo>
                <a:cubicBezTo>
                  <a:pt x="1112470" y="3656883"/>
                  <a:pt x="1116859" y="3658059"/>
                  <a:pt x="1108943" y="3670048"/>
                </a:cubicBezTo>
                <a:cubicBezTo>
                  <a:pt x="1122108" y="3673577"/>
                  <a:pt x="1114424" y="3737370"/>
                  <a:pt x="1115830" y="3784784"/>
                </a:cubicBezTo>
                <a:cubicBezTo>
                  <a:pt x="1114653" y="3789173"/>
                  <a:pt x="1116691" y="3799128"/>
                  <a:pt x="1117551" y="3813469"/>
                </a:cubicBezTo>
                <a:cubicBezTo>
                  <a:pt x="1120133" y="3856495"/>
                  <a:pt x="1121855" y="3885178"/>
                  <a:pt x="1124752" y="3909475"/>
                </a:cubicBezTo>
                <a:cubicBezTo>
                  <a:pt x="1126788" y="3919429"/>
                  <a:pt x="1123576" y="3913864"/>
                  <a:pt x="1121225" y="3922641"/>
                </a:cubicBezTo>
                <a:cubicBezTo>
                  <a:pt x="1125613" y="3923818"/>
                  <a:pt x="1128826" y="3929381"/>
                  <a:pt x="1127650" y="3933770"/>
                </a:cubicBezTo>
                <a:cubicBezTo>
                  <a:pt x="1126475" y="3938159"/>
                  <a:pt x="1121225" y="3922641"/>
                  <a:pt x="1122085" y="3936983"/>
                </a:cubicBezTo>
                <a:cubicBezTo>
                  <a:pt x="1129372" y="3962455"/>
                  <a:pt x="1123808" y="3965667"/>
                  <a:pt x="1131953" y="4005480"/>
                </a:cubicBezTo>
                <a:cubicBezTo>
                  <a:pt x="1123178" y="4003129"/>
                  <a:pt x="1123178" y="4003129"/>
                  <a:pt x="1123178" y="4003129"/>
                </a:cubicBezTo>
                <a:cubicBezTo>
                  <a:pt x="1126075" y="4027424"/>
                  <a:pt x="1128112" y="4037378"/>
                  <a:pt x="1132816" y="4019823"/>
                </a:cubicBezTo>
                <a:cubicBezTo>
                  <a:pt x="1138066" y="4035341"/>
                  <a:pt x="1128112" y="4037378"/>
                  <a:pt x="1137750" y="4054073"/>
                </a:cubicBezTo>
                <a:cubicBezTo>
                  <a:pt x="1134538" y="4048507"/>
                  <a:pt x="1133362" y="4052896"/>
                  <a:pt x="1136575" y="4058460"/>
                </a:cubicBezTo>
                <a:cubicBezTo>
                  <a:pt x="1132186" y="4057284"/>
                  <a:pt x="1132186" y="4057284"/>
                  <a:pt x="1132186" y="4057284"/>
                </a:cubicBezTo>
                <a:cubicBezTo>
                  <a:pt x="1128972" y="4051720"/>
                  <a:pt x="1127797" y="4056109"/>
                  <a:pt x="1127797" y="4056109"/>
                </a:cubicBezTo>
                <a:cubicBezTo>
                  <a:pt x="1126621" y="4060497"/>
                  <a:pt x="1126621" y="4060497"/>
                  <a:pt x="1126621" y="4060497"/>
                </a:cubicBezTo>
                <a:cubicBezTo>
                  <a:pt x="1122546" y="4040590"/>
                  <a:pt x="1119880" y="4068099"/>
                  <a:pt x="1125131" y="4083618"/>
                </a:cubicBezTo>
                <a:cubicBezTo>
                  <a:pt x="1120741" y="4082442"/>
                  <a:pt x="1120741" y="4082442"/>
                  <a:pt x="1120741" y="4082442"/>
                </a:cubicBezTo>
                <a:cubicBezTo>
                  <a:pt x="1120741" y="4082442"/>
                  <a:pt x="1120741" y="4082442"/>
                  <a:pt x="1119566" y="4086829"/>
                </a:cubicBezTo>
                <a:cubicBezTo>
                  <a:pt x="1119566" y="4086829"/>
                  <a:pt x="1122778" y="4092394"/>
                  <a:pt x="1122778" y="4092394"/>
                </a:cubicBezTo>
                <a:cubicBezTo>
                  <a:pt x="1125675" y="4116689"/>
                  <a:pt x="1130610" y="4150938"/>
                  <a:pt x="1135543" y="4185188"/>
                </a:cubicBezTo>
                <a:cubicBezTo>
                  <a:pt x="1144868" y="4220613"/>
                  <a:pt x="1154192" y="4256038"/>
                  <a:pt x="1161478" y="4281508"/>
                </a:cubicBezTo>
                <a:cubicBezTo>
                  <a:pt x="1161321" y="4290874"/>
                  <a:pt x="1163866" y="4303317"/>
                  <a:pt x="1167618" y="4317844"/>
                </a:cubicBezTo>
                <a:lnTo>
                  <a:pt x="1171554" y="4332234"/>
                </a:lnTo>
                <a:lnTo>
                  <a:pt x="1160505" y="4265501"/>
                </a:lnTo>
                <a:cubicBezTo>
                  <a:pt x="1133943" y="4068731"/>
                  <a:pt x="1130909" y="3868871"/>
                  <a:pt x="1150929" y="3665582"/>
                </a:cubicBezTo>
                <a:cubicBezTo>
                  <a:pt x="1158281" y="3588426"/>
                  <a:pt x="1157425" y="3512656"/>
                  <a:pt x="1178732" y="3438240"/>
                </a:cubicBezTo>
                <a:cubicBezTo>
                  <a:pt x="1180917" y="3431132"/>
                  <a:pt x="1179546" y="3422923"/>
                  <a:pt x="1189121" y="3419631"/>
                </a:cubicBezTo>
                <a:cubicBezTo>
                  <a:pt x="1197603" y="3419904"/>
                  <a:pt x="1197059" y="3426741"/>
                  <a:pt x="1195965" y="3430300"/>
                </a:cubicBezTo>
                <a:cubicBezTo>
                  <a:pt x="1155857" y="3674881"/>
                  <a:pt x="1166366" y="3919469"/>
                  <a:pt x="1183716" y="4164602"/>
                </a:cubicBezTo>
                <a:cubicBezTo>
                  <a:pt x="1191709" y="4293189"/>
                  <a:pt x="1225968" y="4417385"/>
                  <a:pt x="1253661" y="4542677"/>
                </a:cubicBezTo>
                <a:cubicBezTo>
                  <a:pt x="1257770" y="4557176"/>
                  <a:pt x="1260515" y="4573591"/>
                  <a:pt x="1262984" y="4588363"/>
                </a:cubicBezTo>
                <a:cubicBezTo>
                  <a:pt x="1265997" y="4596297"/>
                  <a:pt x="1261352" y="4608885"/>
                  <a:pt x="1276127" y="4606414"/>
                </a:cubicBezTo>
                <a:cubicBezTo>
                  <a:pt x="1290900" y="4603945"/>
                  <a:pt x="1287612" y="4594370"/>
                  <a:pt x="1285691" y="4582880"/>
                </a:cubicBezTo>
                <a:cubicBezTo>
                  <a:pt x="1269249" y="4524886"/>
                  <a:pt x="1254172" y="4464976"/>
                  <a:pt x="1242654" y="4406159"/>
                </a:cubicBezTo>
                <a:cubicBezTo>
                  <a:pt x="1231098" y="4344605"/>
                  <a:pt x="1221478" y="4283256"/>
                  <a:pt x="1213893" y="4222124"/>
                </a:cubicBezTo>
                <a:lnTo>
                  <a:pt x="1201399" y="4084102"/>
                </a:lnTo>
                <a:lnTo>
                  <a:pt x="1200053" y="4084878"/>
                </a:lnTo>
                <a:cubicBezTo>
                  <a:pt x="1195980" y="4064970"/>
                  <a:pt x="1196295" y="4046239"/>
                  <a:pt x="1192221" y="4026335"/>
                </a:cubicBezTo>
                <a:cubicBezTo>
                  <a:pt x="1196609" y="4027511"/>
                  <a:pt x="1196609" y="4027511"/>
                  <a:pt x="1196609" y="4027511"/>
                </a:cubicBezTo>
                <a:cubicBezTo>
                  <a:pt x="1195433" y="4031898"/>
                  <a:pt x="1197471" y="4041851"/>
                  <a:pt x="1196295" y="4046239"/>
                </a:cubicBezTo>
                <a:lnTo>
                  <a:pt x="1199302" y="4060941"/>
                </a:lnTo>
                <a:lnTo>
                  <a:pt x="1197352" y="4039386"/>
                </a:lnTo>
                <a:lnTo>
                  <a:pt x="1196501" y="3997671"/>
                </a:lnTo>
                <a:lnTo>
                  <a:pt x="1192077" y="3993956"/>
                </a:lnTo>
                <a:cubicBezTo>
                  <a:pt x="1190578" y="3992966"/>
                  <a:pt x="1189480" y="3992672"/>
                  <a:pt x="1187286" y="3992084"/>
                </a:cubicBezTo>
                <a:cubicBezTo>
                  <a:pt x="1188461" y="3987696"/>
                  <a:pt x="1189638" y="3983306"/>
                  <a:pt x="1189638" y="3983306"/>
                </a:cubicBezTo>
                <a:cubicBezTo>
                  <a:pt x="1194026" y="3984482"/>
                  <a:pt x="1192851" y="3988871"/>
                  <a:pt x="1194026" y="3984482"/>
                </a:cubicBezTo>
                <a:cubicBezTo>
                  <a:pt x="1194026" y="3984482"/>
                  <a:pt x="1194026" y="3984482"/>
                  <a:pt x="1195201" y="3980095"/>
                </a:cubicBezTo>
                <a:lnTo>
                  <a:pt x="1196078" y="3976830"/>
                </a:lnTo>
                <a:lnTo>
                  <a:pt x="1193656" y="3858023"/>
                </a:lnTo>
                <a:lnTo>
                  <a:pt x="1195387" y="3826168"/>
                </a:lnTo>
                <a:lnTo>
                  <a:pt x="1189261" y="3809165"/>
                </a:lnTo>
                <a:cubicBezTo>
                  <a:pt x="1197177" y="3797175"/>
                  <a:pt x="1193965" y="3791611"/>
                  <a:pt x="1186364" y="3784870"/>
                </a:cubicBezTo>
                <a:cubicBezTo>
                  <a:pt x="1188715" y="3776091"/>
                  <a:pt x="1191067" y="3767313"/>
                  <a:pt x="1189031" y="3757361"/>
                </a:cubicBezTo>
                <a:cubicBezTo>
                  <a:pt x="1186994" y="3747409"/>
                  <a:pt x="1190521" y="3734242"/>
                  <a:pt x="1188486" y="3724289"/>
                </a:cubicBezTo>
                <a:cubicBezTo>
                  <a:pt x="1187623" y="3709945"/>
                  <a:pt x="1192327" y="3692391"/>
                  <a:pt x="1191467" y="3678050"/>
                </a:cubicBezTo>
                <a:cubicBezTo>
                  <a:pt x="1193819" y="3669273"/>
                  <a:pt x="1192957" y="3654931"/>
                  <a:pt x="1189745" y="3649366"/>
                </a:cubicBezTo>
                <a:cubicBezTo>
                  <a:pt x="1190921" y="3644976"/>
                  <a:pt x="1190921" y="3644976"/>
                  <a:pt x="1190921" y="3644976"/>
                </a:cubicBezTo>
                <a:cubicBezTo>
                  <a:pt x="1190060" y="3630634"/>
                  <a:pt x="1192412" y="3621860"/>
                  <a:pt x="1191551" y="3607517"/>
                </a:cubicBezTo>
                <a:cubicBezTo>
                  <a:pt x="1193902" y="3598741"/>
                  <a:pt x="1191865" y="3588790"/>
                  <a:pt x="1191005" y="3574448"/>
                </a:cubicBezTo>
                <a:cubicBezTo>
                  <a:pt x="1198921" y="3562476"/>
                  <a:pt x="1194533" y="3561297"/>
                  <a:pt x="1190145" y="3560123"/>
                </a:cubicBezTo>
                <a:cubicBezTo>
                  <a:pt x="1191320" y="3555733"/>
                  <a:pt x="1191320" y="3555733"/>
                  <a:pt x="1191320" y="3555733"/>
                </a:cubicBezTo>
                <a:cubicBezTo>
                  <a:pt x="1192496" y="3551344"/>
                  <a:pt x="1198062" y="3548131"/>
                  <a:pt x="1199237" y="3543742"/>
                </a:cubicBezTo>
                <a:cubicBezTo>
                  <a:pt x="1199237" y="3543742"/>
                  <a:pt x="1200413" y="3539355"/>
                  <a:pt x="1200413" y="3539355"/>
                </a:cubicBezTo>
                <a:cubicBezTo>
                  <a:pt x="1201589" y="3534966"/>
                  <a:pt x="1201589" y="3534966"/>
                  <a:pt x="1198376" y="3529400"/>
                </a:cubicBezTo>
                <a:cubicBezTo>
                  <a:pt x="1198376" y="3529400"/>
                  <a:pt x="1198376" y="3529400"/>
                  <a:pt x="1193987" y="3528224"/>
                </a:cubicBezTo>
                <a:cubicBezTo>
                  <a:pt x="1199867" y="3506280"/>
                  <a:pt x="1199867" y="3506280"/>
                  <a:pt x="1199867" y="3506280"/>
                </a:cubicBezTo>
                <a:cubicBezTo>
                  <a:pt x="1199867" y="3506280"/>
                  <a:pt x="1196655" y="3500715"/>
                  <a:pt x="1196655" y="3500715"/>
                </a:cubicBezTo>
                <a:cubicBezTo>
                  <a:pt x="1196655" y="3500715"/>
                  <a:pt x="1195479" y="3505105"/>
                  <a:pt x="1195479" y="3505105"/>
                </a:cubicBezTo>
                <a:cubicBezTo>
                  <a:pt x="1193987" y="3528224"/>
                  <a:pt x="1193987" y="3528224"/>
                  <a:pt x="1193987" y="3528224"/>
                </a:cubicBezTo>
                <a:cubicBezTo>
                  <a:pt x="1193987" y="3528224"/>
                  <a:pt x="1189599" y="3527046"/>
                  <a:pt x="1189599" y="3527046"/>
                </a:cubicBezTo>
                <a:cubicBezTo>
                  <a:pt x="1190776" y="3522657"/>
                  <a:pt x="1191951" y="3518270"/>
                  <a:pt x="1191951" y="3518270"/>
                </a:cubicBezTo>
                <a:cubicBezTo>
                  <a:pt x="1193127" y="3513881"/>
                  <a:pt x="1193127" y="3513881"/>
                  <a:pt x="1193127" y="3513881"/>
                </a:cubicBezTo>
                <a:cubicBezTo>
                  <a:pt x="1194302" y="3509494"/>
                  <a:pt x="1191090" y="3503929"/>
                  <a:pt x="1192266" y="3499539"/>
                </a:cubicBezTo>
                <a:cubicBezTo>
                  <a:pt x="1193442" y="3495152"/>
                  <a:pt x="1194617" y="3490764"/>
                  <a:pt x="1196970" y="3481986"/>
                </a:cubicBezTo>
                <a:cubicBezTo>
                  <a:pt x="1195794" y="3486373"/>
                  <a:pt x="1200183" y="3487553"/>
                  <a:pt x="1200183" y="3487553"/>
                </a:cubicBezTo>
                <a:cubicBezTo>
                  <a:pt x="1200183" y="3487553"/>
                  <a:pt x="1201358" y="3483160"/>
                  <a:pt x="1202534" y="3478773"/>
                </a:cubicBezTo>
                <a:cubicBezTo>
                  <a:pt x="1202534" y="3478773"/>
                  <a:pt x="1203711" y="3474385"/>
                  <a:pt x="1204886" y="3469994"/>
                </a:cubicBezTo>
                <a:cubicBezTo>
                  <a:pt x="1201673" y="3464432"/>
                  <a:pt x="1202849" y="3460047"/>
                  <a:pt x="1204026" y="3455658"/>
                </a:cubicBezTo>
                <a:cubicBezTo>
                  <a:pt x="1205201" y="3451275"/>
                  <a:pt x="1205201" y="3451275"/>
                  <a:pt x="1206377" y="3446890"/>
                </a:cubicBezTo>
                <a:cubicBezTo>
                  <a:pt x="1203164" y="3441325"/>
                  <a:pt x="1203164" y="3441325"/>
                  <a:pt x="1203164" y="3441325"/>
                </a:cubicBezTo>
                <a:cubicBezTo>
                  <a:pt x="1204340" y="3436934"/>
                  <a:pt x="1201127" y="3431367"/>
                  <a:pt x="1202303" y="3426982"/>
                </a:cubicBezTo>
                <a:cubicBezTo>
                  <a:pt x="1203479" y="3422592"/>
                  <a:pt x="1204655" y="3418201"/>
                  <a:pt x="1204655" y="3418201"/>
                </a:cubicBezTo>
                <a:cubicBezTo>
                  <a:pt x="1209044" y="3419381"/>
                  <a:pt x="1209044" y="3419381"/>
                  <a:pt x="1210220" y="3414990"/>
                </a:cubicBezTo>
                <a:cubicBezTo>
                  <a:pt x="1210220" y="3414990"/>
                  <a:pt x="1211396" y="3410605"/>
                  <a:pt x="1207006" y="3409422"/>
                </a:cubicBezTo>
                <a:cubicBezTo>
                  <a:pt x="1207006" y="3409422"/>
                  <a:pt x="1208184" y="3405040"/>
                  <a:pt x="1213747" y="3401828"/>
                </a:cubicBezTo>
                <a:cubicBezTo>
                  <a:pt x="1211710" y="3391869"/>
                  <a:pt x="1211710" y="3391869"/>
                  <a:pt x="1211710" y="3391869"/>
                </a:cubicBezTo>
                <a:cubicBezTo>
                  <a:pt x="1211710" y="3391869"/>
                  <a:pt x="1210534" y="3396263"/>
                  <a:pt x="1206147" y="3395082"/>
                </a:cubicBezTo>
                <a:cubicBezTo>
                  <a:pt x="1207323" y="3390699"/>
                  <a:pt x="1208498" y="3386320"/>
                  <a:pt x="1209675" y="3381925"/>
                </a:cubicBezTo>
                <a:cubicBezTo>
                  <a:pt x="1210852" y="3377530"/>
                  <a:pt x="1210852" y="3377530"/>
                  <a:pt x="1210852" y="3377530"/>
                </a:cubicBezTo>
                <a:cubicBezTo>
                  <a:pt x="1208813" y="3367585"/>
                  <a:pt x="1209989" y="3363200"/>
                  <a:pt x="1211164" y="3358810"/>
                </a:cubicBezTo>
                <a:cubicBezTo>
                  <a:pt x="1213516" y="3350036"/>
                  <a:pt x="1214693" y="3345650"/>
                  <a:pt x="1215869" y="3341259"/>
                </a:cubicBezTo>
                <a:cubicBezTo>
                  <a:pt x="1217044" y="3336878"/>
                  <a:pt x="1217044" y="3336878"/>
                  <a:pt x="1219396" y="3328096"/>
                </a:cubicBezTo>
                <a:cubicBezTo>
                  <a:pt x="1224961" y="3324885"/>
                  <a:pt x="1224100" y="3310554"/>
                  <a:pt x="1226452" y="3301773"/>
                </a:cubicBezTo>
                <a:cubicBezTo>
                  <a:pt x="1227629" y="3297388"/>
                  <a:pt x="1233193" y="3294175"/>
                  <a:pt x="1234369" y="3289786"/>
                </a:cubicBezTo>
                <a:cubicBezTo>
                  <a:pt x="1234369" y="3289786"/>
                  <a:pt x="1237581" y="3295346"/>
                  <a:pt x="1237581" y="3295346"/>
                </a:cubicBezTo>
                <a:cubicBezTo>
                  <a:pt x="1236406" y="3299742"/>
                  <a:pt x="1240795" y="3300916"/>
                  <a:pt x="1240795" y="3300916"/>
                </a:cubicBezTo>
                <a:cubicBezTo>
                  <a:pt x="1240795" y="3300916"/>
                  <a:pt x="1240795" y="3300916"/>
                  <a:pt x="1241970" y="3296528"/>
                </a:cubicBezTo>
                <a:cubicBezTo>
                  <a:pt x="1243146" y="3292135"/>
                  <a:pt x="1243146" y="3292135"/>
                  <a:pt x="1243146" y="3292135"/>
                </a:cubicBezTo>
                <a:cubicBezTo>
                  <a:pt x="1244321" y="3287749"/>
                  <a:pt x="1244321" y="3287749"/>
                  <a:pt x="1239934" y="3286572"/>
                </a:cubicBezTo>
                <a:cubicBezTo>
                  <a:pt x="1239934" y="3286572"/>
                  <a:pt x="1236721" y="3281008"/>
                  <a:pt x="1236721" y="3281008"/>
                </a:cubicBezTo>
                <a:cubicBezTo>
                  <a:pt x="1232332" y="3279831"/>
                  <a:pt x="1232332" y="3279831"/>
                  <a:pt x="1232332" y="3279831"/>
                </a:cubicBezTo>
                <a:cubicBezTo>
                  <a:pt x="1231156" y="3284218"/>
                  <a:pt x="1224415" y="3291818"/>
                  <a:pt x="1222064" y="3300599"/>
                </a:cubicBezTo>
                <a:cubicBezTo>
                  <a:pt x="1220889" y="3304985"/>
                  <a:pt x="1220889" y="3304985"/>
                  <a:pt x="1220889" y="3304985"/>
                </a:cubicBezTo>
                <a:cubicBezTo>
                  <a:pt x="1219712" y="3309379"/>
                  <a:pt x="1221748" y="3319325"/>
                  <a:pt x="1216184" y="3322536"/>
                </a:cubicBezTo>
                <a:cubicBezTo>
                  <a:pt x="1215008" y="3326921"/>
                  <a:pt x="1215008" y="3326921"/>
                  <a:pt x="1213832" y="3331310"/>
                </a:cubicBezTo>
                <a:cubicBezTo>
                  <a:pt x="1210620" y="3325750"/>
                  <a:pt x="1212971" y="3316976"/>
                  <a:pt x="1215323" y="3308198"/>
                </a:cubicBezTo>
                <a:cubicBezTo>
                  <a:pt x="1217675" y="3299426"/>
                  <a:pt x="1220027" y="3290643"/>
                  <a:pt x="1217989" y="3280691"/>
                </a:cubicBezTo>
                <a:cubicBezTo>
                  <a:pt x="1219166" y="3276298"/>
                  <a:pt x="1223556" y="3277482"/>
                  <a:pt x="1224731" y="3273086"/>
                </a:cubicBezTo>
                <a:cubicBezTo>
                  <a:pt x="1227083" y="3264315"/>
                  <a:pt x="1227083" y="3264315"/>
                  <a:pt x="1227083" y="3264315"/>
                </a:cubicBezTo>
                <a:cubicBezTo>
                  <a:pt x="1229435" y="3255535"/>
                  <a:pt x="1230611" y="3251149"/>
                  <a:pt x="1232963" y="3242369"/>
                </a:cubicBezTo>
                <a:cubicBezTo>
                  <a:pt x="1236175" y="3247936"/>
                  <a:pt x="1236175" y="3247936"/>
                  <a:pt x="1236175" y="3247936"/>
                </a:cubicBezTo>
                <a:cubicBezTo>
                  <a:pt x="1234999" y="3252322"/>
                  <a:pt x="1234999" y="3252322"/>
                  <a:pt x="1240563" y="3249108"/>
                </a:cubicBezTo>
                <a:cubicBezTo>
                  <a:pt x="1240563" y="3249108"/>
                  <a:pt x="1240563" y="3249108"/>
                  <a:pt x="1241739" y="3244723"/>
                </a:cubicBezTo>
                <a:cubicBezTo>
                  <a:pt x="1241739" y="3244723"/>
                  <a:pt x="1242916" y="3240333"/>
                  <a:pt x="1242916" y="3240333"/>
                </a:cubicBezTo>
                <a:cubicBezTo>
                  <a:pt x="1239703" y="3234769"/>
                  <a:pt x="1239703" y="3234769"/>
                  <a:pt x="1239703" y="3234769"/>
                </a:cubicBezTo>
                <a:cubicBezTo>
                  <a:pt x="1239703" y="3234769"/>
                  <a:pt x="1240878" y="3230376"/>
                  <a:pt x="1240878" y="3230376"/>
                </a:cubicBezTo>
                <a:cubicBezTo>
                  <a:pt x="1240878" y="3230376"/>
                  <a:pt x="1240878" y="3230376"/>
                  <a:pt x="1242054" y="3225989"/>
                </a:cubicBezTo>
                <a:cubicBezTo>
                  <a:pt x="1243230" y="3221598"/>
                  <a:pt x="1241194" y="3211648"/>
                  <a:pt x="1242370" y="3207259"/>
                </a:cubicBezTo>
                <a:cubicBezTo>
                  <a:pt x="1245898" y="3194094"/>
                  <a:pt x="1242684" y="3188526"/>
                  <a:pt x="1248251" y="3185312"/>
                </a:cubicBezTo>
                <a:cubicBezTo>
                  <a:pt x="1252638" y="3186490"/>
                  <a:pt x="1253814" y="3182099"/>
                  <a:pt x="1253814" y="3182099"/>
                </a:cubicBezTo>
                <a:cubicBezTo>
                  <a:pt x="1253814" y="3182099"/>
                  <a:pt x="1258204" y="3183274"/>
                  <a:pt x="1257029" y="3187663"/>
                </a:cubicBezTo>
                <a:cubicBezTo>
                  <a:pt x="1252323" y="3205221"/>
                  <a:pt x="1247619" y="3222774"/>
                  <a:pt x="1247304" y="3241511"/>
                </a:cubicBezTo>
                <a:cubicBezTo>
                  <a:pt x="1246128" y="3245898"/>
                  <a:pt x="1246128" y="3245898"/>
                  <a:pt x="1246128" y="3245898"/>
                </a:cubicBezTo>
                <a:cubicBezTo>
                  <a:pt x="1250517" y="3247072"/>
                  <a:pt x="1251693" y="3242685"/>
                  <a:pt x="1251693" y="3242685"/>
                </a:cubicBezTo>
                <a:cubicBezTo>
                  <a:pt x="1252009" y="3223951"/>
                  <a:pt x="1256712" y="3206398"/>
                  <a:pt x="1261416" y="3188839"/>
                </a:cubicBezTo>
                <a:cubicBezTo>
                  <a:pt x="1265805" y="3190014"/>
                  <a:pt x="1270192" y="3191195"/>
                  <a:pt x="1276934" y="3183592"/>
                </a:cubicBezTo>
                <a:cubicBezTo>
                  <a:pt x="1282813" y="3161645"/>
                  <a:pt x="1292767" y="3159608"/>
                  <a:pt x="1298646" y="3137662"/>
                </a:cubicBezTo>
                <a:lnTo>
                  <a:pt x="1303878" y="3128544"/>
                </a:lnTo>
                <a:lnTo>
                  <a:pt x="1303323" y="3125969"/>
                </a:lnTo>
                <a:lnTo>
                  <a:pt x="1302413" y="3117734"/>
                </a:lnTo>
                <a:lnTo>
                  <a:pt x="1296610" y="3127709"/>
                </a:lnTo>
                <a:cubicBezTo>
                  <a:pt x="1297786" y="3123321"/>
                  <a:pt x="1297786" y="3123321"/>
                  <a:pt x="1297786" y="3123321"/>
                </a:cubicBezTo>
                <a:cubicBezTo>
                  <a:pt x="1293396" y="3122144"/>
                  <a:pt x="1292221" y="3126533"/>
                  <a:pt x="1286656" y="3129749"/>
                </a:cubicBezTo>
                <a:cubicBezTo>
                  <a:pt x="1287832" y="3125360"/>
                  <a:pt x="1289008" y="3120969"/>
                  <a:pt x="1290183" y="3116583"/>
                </a:cubicBezTo>
                <a:cubicBezTo>
                  <a:pt x="1290183" y="3116583"/>
                  <a:pt x="1290183" y="3116583"/>
                  <a:pt x="1294573" y="3117757"/>
                </a:cubicBezTo>
                <a:cubicBezTo>
                  <a:pt x="1295749" y="3113366"/>
                  <a:pt x="1295749" y="3113366"/>
                  <a:pt x="1295749" y="3113366"/>
                </a:cubicBezTo>
                <a:cubicBezTo>
                  <a:pt x="1295749" y="3113366"/>
                  <a:pt x="1295749" y="3113366"/>
                  <a:pt x="1296924" y="3108979"/>
                </a:cubicBezTo>
                <a:cubicBezTo>
                  <a:pt x="1296924" y="3108979"/>
                  <a:pt x="1292536" y="3107802"/>
                  <a:pt x="1292536" y="3107802"/>
                </a:cubicBezTo>
                <a:cubicBezTo>
                  <a:pt x="1299277" y="3100200"/>
                  <a:pt x="1301628" y="3091420"/>
                  <a:pt x="1302804" y="3087032"/>
                </a:cubicBezTo>
                <a:cubicBezTo>
                  <a:pt x="1303981" y="3082643"/>
                  <a:pt x="1303981" y="3082643"/>
                  <a:pt x="1305156" y="3078252"/>
                </a:cubicBezTo>
                <a:cubicBezTo>
                  <a:pt x="1306332" y="3073866"/>
                  <a:pt x="1307509" y="3069480"/>
                  <a:pt x="1308685" y="3065092"/>
                </a:cubicBezTo>
                <a:lnTo>
                  <a:pt x="1309860" y="3060704"/>
                </a:lnTo>
                <a:cubicBezTo>
                  <a:pt x="1314250" y="3061879"/>
                  <a:pt x="1314250" y="3061879"/>
                  <a:pt x="1315426" y="3057491"/>
                </a:cubicBezTo>
                <a:cubicBezTo>
                  <a:pt x="1316601" y="3053101"/>
                  <a:pt x="1316601" y="3053101"/>
                  <a:pt x="1317777" y="3048712"/>
                </a:cubicBezTo>
                <a:cubicBezTo>
                  <a:pt x="1317777" y="3048712"/>
                  <a:pt x="1314564" y="3043147"/>
                  <a:pt x="1314564" y="3043147"/>
                </a:cubicBezTo>
                <a:cubicBezTo>
                  <a:pt x="1319582" y="3006853"/>
                  <a:pt x="1328990" y="2971746"/>
                  <a:pt x="1342787" y="2937813"/>
                </a:cubicBezTo>
                <a:cubicBezTo>
                  <a:pt x="1351879" y="2921435"/>
                  <a:pt x="1355407" y="2908267"/>
                  <a:pt x="1364499" y="2891895"/>
                </a:cubicBezTo>
                <a:cubicBezTo>
                  <a:pt x="1364499" y="2891895"/>
                  <a:pt x="1360112" y="2890718"/>
                  <a:pt x="1358935" y="2895102"/>
                </a:cubicBezTo>
                <a:cubicBezTo>
                  <a:pt x="1371554" y="2865559"/>
                  <a:pt x="1378610" y="2839228"/>
                  <a:pt x="1391231" y="2809681"/>
                </a:cubicBezTo>
                <a:cubicBezTo>
                  <a:pt x="1392407" y="2805293"/>
                  <a:pt x="1392407" y="2805293"/>
                  <a:pt x="1388018" y="2804112"/>
                </a:cubicBezTo>
                <a:cubicBezTo>
                  <a:pt x="1390370" y="2795341"/>
                  <a:pt x="1395935" y="2792129"/>
                  <a:pt x="1398286" y="2783346"/>
                </a:cubicBezTo>
                <a:cubicBezTo>
                  <a:pt x="1397111" y="2787738"/>
                  <a:pt x="1402675" y="2784524"/>
                  <a:pt x="1403851" y="2780138"/>
                </a:cubicBezTo>
                <a:cubicBezTo>
                  <a:pt x="1399462" y="2778964"/>
                  <a:pt x="1400639" y="2774573"/>
                  <a:pt x="1401815" y="2770183"/>
                </a:cubicBezTo>
                <a:cubicBezTo>
                  <a:pt x="1404166" y="2761406"/>
                  <a:pt x="1410909" y="2753806"/>
                  <a:pt x="1413259" y="2745029"/>
                </a:cubicBezTo>
                <a:cubicBezTo>
                  <a:pt x="1413259" y="2745029"/>
                  <a:pt x="1414436" y="2740640"/>
                  <a:pt x="1414436" y="2740640"/>
                </a:cubicBezTo>
                <a:cubicBezTo>
                  <a:pt x="1415611" y="2736252"/>
                  <a:pt x="1421175" y="2733035"/>
                  <a:pt x="1422351" y="2728649"/>
                </a:cubicBezTo>
                <a:cubicBezTo>
                  <a:pt x="1423527" y="2724261"/>
                  <a:pt x="1423527" y="2724261"/>
                  <a:pt x="1423527" y="2724261"/>
                </a:cubicBezTo>
                <a:cubicBezTo>
                  <a:pt x="1423527" y="2724261"/>
                  <a:pt x="1424703" y="2719874"/>
                  <a:pt x="1424703" y="2719874"/>
                </a:cubicBezTo>
                <a:cubicBezTo>
                  <a:pt x="1436147" y="2694709"/>
                  <a:pt x="1451981" y="2670733"/>
                  <a:pt x="1462248" y="2649963"/>
                </a:cubicBezTo>
                <a:cubicBezTo>
                  <a:pt x="1462248" y="2649963"/>
                  <a:pt x="1460212" y="2640011"/>
                  <a:pt x="1465777" y="2636797"/>
                </a:cubicBezTo>
                <a:cubicBezTo>
                  <a:pt x="1465777" y="2636797"/>
                  <a:pt x="1466952" y="2632407"/>
                  <a:pt x="1466952" y="2632407"/>
                </a:cubicBezTo>
                <a:cubicBezTo>
                  <a:pt x="1465777" y="2636797"/>
                  <a:pt x="1469305" y="2623629"/>
                  <a:pt x="1471655" y="2614853"/>
                </a:cubicBezTo>
                <a:cubicBezTo>
                  <a:pt x="1480749" y="2598476"/>
                  <a:pt x="1494229" y="2583270"/>
                  <a:pt x="1502147" y="2571278"/>
                </a:cubicBezTo>
                <a:cubicBezTo>
                  <a:pt x="1544082" y="2502548"/>
                  <a:pt x="1576925" y="2450198"/>
                  <a:pt x="1608591" y="2402239"/>
                </a:cubicBezTo>
                <a:cubicBezTo>
                  <a:pt x="1609767" y="2397846"/>
                  <a:pt x="1609767" y="2397846"/>
                  <a:pt x="1609767" y="2397846"/>
                </a:cubicBezTo>
                <a:cubicBezTo>
                  <a:pt x="1615330" y="2394634"/>
                  <a:pt x="1615330" y="2394634"/>
                  <a:pt x="1615330" y="2394634"/>
                </a:cubicBezTo>
                <a:cubicBezTo>
                  <a:pt x="1631595" y="2377826"/>
                  <a:pt x="1647564" y="2362116"/>
                  <a:pt x="1663827" y="2345305"/>
                </a:cubicBezTo>
                <a:lnTo>
                  <a:pt x="1708684" y="2295402"/>
                </a:lnTo>
                <a:lnTo>
                  <a:pt x="1707836" y="2296534"/>
                </a:lnTo>
                <a:cubicBezTo>
                  <a:pt x="1704378" y="2301486"/>
                  <a:pt x="1701410" y="2305981"/>
                  <a:pt x="1699430" y="2308981"/>
                </a:cubicBezTo>
                <a:cubicBezTo>
                  <a:pt x="1698255" y="2313371"/>
                  <a:pt x="1692690" y="2316585"/>
                  <a:pt x="1692690" y="2316585"/>
                </a:cubicBezTo>
                <a:cubicBezTo>
                  <a:pt x="1679209" y="2331787"/>
                  <a:pt x="1668079" y="2338211"/>
                  <a:pt x="1671292" y="2343775"/>
                </a:cubicBezTo>
                <a:cubicBezTo>
                  <a:pt x="1661338" y="2345814"/>
                  <a:pt x="1645506" y="2369796"/>
                  <a:pt x="1635237" y="2390564"/>
                </a:cubicBezTo>
                <a:cubicBezTo>
                  <a:pt x="1634061" y="2394950"/>
                  <a:pt x="1632885" y="2399339"/>
                  <a:pt x="1628497" y="2398157"/>
                </a:cubicBezTo>
                <a:cubicBezTo>
                  <a:pt x="1628497" y="2398157"/>
                  <a:pt x="1622932" y="2401377"/>
                  <a:pt x="1621756" y="2405764"/>
                </a:cubicBezTo>
                <a:cubicBezTo>
                  <a:pt x="1620580" y="2410153"/>
                  <a:pt x="1619404" y="2414543"/>
                  <a:pt x="1624969" y="2411329"/>
                </a:cubicBezTo>
                <a:cubicBezTo>
                  <a:pt x="1629356" y="2412506"/>
                  <a:pt x="1636099" y="2404902"/>
                  <a:pt x="1642839" y="2397304"/>
                </a:cubicBezTo>
                <a:cubicBezTo>
                  <a:pt x="1644015" y="2392913"/>
                  <a:pt x="1644015" y="2392913"/>
                  <a:pt x="1644015" y="2392913"/>
                </a:cubicBezTo>
                <a:cubicBezTo>
                  <a:pt x="1670978" y="2362512"/>
                  <a:pt x="1683283" y="2351696"/>
                  <a:pt x="1700292" y="2323327"/>
                </a:cubicBezTo>
                <a:cubicBezTo>
                  <a:pt x="1700292" y="2323327"/>
                  <a:pt x="1701467" y="2318935"/>
                  <a:pt x="1701467" y="2318935"/>
                </a:cubicBezTo>
                <a:cubicBezTo>
                  <a:pt x="1707032" y="2315722"/>
                  <a:pt x="1719339" y="2304907"/>
                  <a:pt x="1724901" y="2301696"/>
                </a:cubicBezTo>
                <a:cubicBezTo>
                  <a:pt x="1722865" y="2291741"/>
                  <a:pt x="1731643" y="2294093"/>
                  <a:pt x="1745124" y="2278887"/>
                </a:cubicBezTo>
                <a:cubicBezTo>
                  <a:pt x="1755823" y="2265293"/>
                  <a:pt x="1768501" y="2248699"/>
                  <a:pt x="1782824" y="2232551"/>
                </a:cubicBezTo>
                <a:lnTo>
                  <a:pt x="1822696" y="2195935"/>
                </a:lnTo>
                <a:lnTo>
                  <a:pt x="1822484" y="2200849"/>
                </a:lnTo>
                <a:cubicBezTo>
                  <a:pt x="1876408" y="2140032"/>
                  <a:pt x="1932370" y="2089177"/>
                  <a:pt x="1999462" y="2031893"/>
                </a:cubicBezTo>
                <a:cubicBezTo>
                  <a:pt x="1999462" y="2031893"/>
                  <a:pt x="2003849" y="2033068"/>
                  <a:pt x="2003849" y="2033068"/>
                </a:cubicBezTo>
                <a:cubicBezTo>
                  <a:pt x="2005028" y="2028679"/>
                  <a:pt x="2005028" y="2028679"/>
                  <a:pt x="2005028" y="2028679"/>
                </a:cubicBezTo>
                <a:cubicBezTo>
                  <a:pt x="2005028" y="2028679"/>
                  <a:pt x="2005028" y="2028679"/>
                  <a:pt x="2006202" y="2024291"/>
                </a:cubicBezTo>
                <a:cubicBezTo>
                  <a:pt x="2011767" y="2021078"/>
                  <a:pt x="2021720" y="2019041"/>
                  <a:pt x="2027284" y="2015829"/>
                </a:cubicBezTo>
                <a:cubicBezTo>
                  <a:pt x="2022036" y="2000311"/>
                  <a:pt x="2059814" y="1982211"/>
                  <a:pt x="2078861" y="1963796"/>
                </a:cubicBezTo>
                <a:cubicBezTo>
                  <a:pt x="2082072" y="1969362"/>
                  <a:pt x="2070944" y="1975785"/>
                  <a:pt x="2075332" y="1976962"/>
                </a:cubicBezTo>
                <a:cubicBezTo>
                  <a:pt x="2103171" y="1960899"/>
                  <a:pt x="2067730" y="1970221"/>
                  <a:pt x="2096730" y="1949770"/>
                </a:cubicBezTo>
                <a:cubicBezTo>
                  <a:pt x="2101134" y="1950945"/>
                  <a:pt x="2095554" y="1954158"/>
                  <a:pt x="2099959" y="1955334"/>
                </a:cubicBezTo>
                <a:cubicBezTo>
                  <a:pt x="2125747" y="1929316"/>
                  <a:pt x="2157961" y="1914427"/>
                  <a:pt x="2172619" y="1894836"/>
                </a:cubicBezTo>
                <a:cubicBezTo>
                  <a:pt x="2172619" y="1894836"/>
                  <a:pt x="2165880" y="1902436"/>
                  <a:pt x="2177007" y="1896012"/>
                </a:cubicBezTo>
                <a:cubicBezTo>
                  <a:pt x="2187275" y="1875244"/>
                  <a:pt x="2217133" y="1869134"/>
                  <a:pt x="2239395" y="1856284"/>
                </a:cubicBezTo>
                <a:cubicBezTo>
                  <a:pt x="2259614" y="1833479"/>
                  <a:pt x="2287439" y="1817416"/>
                  <a:pt x="2314087" y="1805741"/>
                </a:cubicBezTo>
                <a:cubicBezTo>
                  <a:pt x="2327412" y="1799902"/>
                  <a:pt x="2340736" y="1794064"/>
                  <a:pt x="2355050" y="1786728"/>
                </a:cubicBezTo>
                <a:lnTo>
                  <a:pt x="2396347" y="1762071"/>
                </a:lnTo>
                <a:lnTo>
                  <a:pt x="2395206" y="1766326"/>
                </a:lnTo>
                <a:cubicBezTo>
                  <a:pt x="2399596" y="1767505"/>
                  <a:pt x="2399596" y="1767505"/>
                  <a:pt x="2400772" y="1763115"/>
                </a:cubicBezTo>
                <a:cubicBezTo>
                  <a:pt x="2407512" y="1755513"/>
                  <a:pt x="2407512" y="1755513"/>
                  <a:pt x="2407512" y="1755513"/>
                </a:cubicBezTo>
                <a:cubicBezTo>
                  <a:pt x="2406336" y="1759904"/>
                  <a:pt x="2406336" y="1759904"/>
                  <a:pt x="2406336" y="1759904"/>
                </a:cubicBezTo>
                <a:cubicBezTo>
                  <a:pt x="2416289" y="1757866"/>
                  <a:pt x="2427419" y="1751440"/>
                  <a:pt x="2439724" y="1740626"/>
                </a:cubicBezTo>
                <a:cubicBezTo>
                  <a:pt x="2439724" y="1740626"/>
                  <a:pt x="2440900" y="1736237"/>
                  <a:pt x="2440900" y="1736237"/>
                </a:cubicBezTo>
                <a:cubicBezTo>
                  <a:pt x="2442075" y="1731847"/>
                  <a:pt x="2446466" y="1733024"/>
                  <a:pt x="2447641" y="1728636"/>
                </a:cubicBezTo>
                <a:cubicBezTo>
                  <a:pt x="2446466" y="1733024"/>
                  <a:pt x="2440900" y="1736237"/>
                  <a:pt x="2445289" y="1737413"/>
                </a:cubicBezTo>
                <a:cubicBezTo>
                  <a:pt x="2450854" y="1734200"/>
                  <a:pt x="2456419" y="1730988"/>
                  <a:pt x="2461984" y="1727775"/>
                </a:cubicBezTo>
                <a:cubicBezTo>
                  <a:pt x="2460807" y="1732164"/>
                  <a:pt x="2460807" y="1732164"/>
                  <a:pt x="2460807" y="1732164"/>
                </a:cubicBezTo>
                <a:cubicBezTo>
                  <a:pt x="2460807" y="1732164"/>
                  <a:pt x="2460807" y="1732164"/>
                  <a:pt x="2459631" y="1736551"/>
                </a:cubicBezTo>
                <a:cubicBezTo>
                  <a:pt x="2459631" y="1736551"/>
                  <a:pt x="2459631" y="1736551"/>
                  <a:pt x="2464021" y="1737728"/>
                </a:cubicBezTo>
                <a:cubicBezTo>
                  <a:pt x="2465197" y="1733340"/>
                  <a:pt x="2466372" y="1728950"/>
                  <a:pt x="2466372" y="1728950"/>
                </a:cubicBezTo>
                <a:cubicBezTo>
                  <a:pt x="2466372" y="1728950"/>
                  <a:pt x="2466372" y="1728950"/>
                  <a:pt x="2467548" y="1724561"/>
                </a:cubicBezTo>
                <a:cubicBezTo>
                  <a:pt x="2467548" y="1724561"/>
                  <a:pt x="2473113" y="1721349"/>
                  <a:pt x="2473113" y="1721349"/>
                </a:cubicBezTo>
                <a:cubicBezTo>
                  <a:pt x="2473113" y="1721349"/>
                  <a:pt x="2477501" y="1722524"/>
                  <a:pt x="2477501" y="1722524"/>
                </a:cubicBezTo>
                <a:cubicBezTo>
                  <a:pt x="2477501" y="1722524"/>
                  <a:pt x="2481891" y="1723700"/>
                  <a:pt x="2481891" y="1723700"/>
                </a:cubicBezTo>
                <a:cubicBezTo>
                  <a:pt x="2483066" y="1719312"/>
                  <a:pt x="2483066" y="1719312"/>
                  <a:pt x="2483066" y="1719312"/>
                </a:cubicBezTo>
                <a:cubicBezTo>
                  <a:pt x="2484241" y="1714923"/>
                  <a:pt x="2484241" y="1714923"/>
                  <a:pt x="2484241" y="1714923"/>
                </a:cubicBezTo>
                <a:cubicBezTo>
                  <a:pt x="2489808" y="1711710"/>
                  <a:pt x="2495370" y="1708499"/>
                  <a:pt x="2499760" y="1709675"/>
                </a:cubicBezTo>
                <a:cubicBezTo>
                  <a:pt x="2499760" y="1709675"/>
                  <a:pt x="2499760" y="1709675"/>
                  <a:pt x="2498584" y="1714063"/>
                </a:cubicBezTo>
                <a:cubicBezTo>
                  <a:pt x="2498584" y="1714063"/>
                  <a:pt x="2504150" y="1710851"/>
                  <a:pt x="2504150" y="1710851"/>
                </a:cubicBezTo>
                <a:cubicBezTo>
                  <a:pt x="2509714" y="1707638"/>
                  <a:pt x="2509714" y="1707638"/>
                  <a:pt x="2509714" y="1707638"/>
                </a:cubicBezTo>
                <a:cubicBezTo>
                  <a:pt x="2509714" y="1707638"/>
                  <a:pt x="2515278" y="1704424"/>
                  <a:pt x="2516453" y="1700037"/>
                </a:cubicBezTo>
                <a:cubicBezTo>
                  <a:pt x="2515278" y="1704424"/>
                  <a:pt x="2515278" y="1704424"/>
                  <a:pt x="2515278" y="1704424"/>
                </a:cubicBezTo>
                <a:cubicBezTo>
                  <a:pt x="2519667" y="1705602"/>
                  <a:pt x="2525231" y="1702389"/>
                  <a:pt x="2535183" y="1700351"/>
                </a:cubicBezTo>
                <a:cubicBezTo>
                  <a:pt x="2528445" y="1707952"/>
                  <a:pt x="2539573" y="1701528"/>
                  <a:pt x="2532833" y="1709129"/>
                </a:cubicBezTo>
                <a:cubicBezTo>
                  <a:pt x="2553917" y="1700667"/>
                  <a:pt x="2553917" y="1700667"/>
                  <a:pt x="2553917" y="1700667"/>
                </a:cubicBezTo>
                <a:cubicBezTo>
                  <a:pt x="2553917" y="1700667"/>
                  <a:pt x="2552740" y="1705055"/>
                  <a:pt x="2552740" y="1705055"/>
                </a:cubicBezTo>
                <a:cubicBezTo>
                  <a:pt x="2547174" y="1708269"/>
                  <a:pt x="2547174" y="1708269"/>
                  <a:pt x="2547174" y="1708269"/>
                </a:cubicBezTo>
                <a:cubicBezTo>
                  <a:pt x="2547174" y="1708269"/>
                  <a:pt x="2542785" y="1707094"/>
                  <a:pt x="2545999" y="1712656"/>
                </a:cubicBezTo>
                <a:cubicBezTo>
                  <a:pt x="2545999" y="1712656"/>
                  <a:pt x="2545999" y="1712656"/>
                  <a:pt x="2551565" y="1709444"/>
                </a:cubicBezTo>
                <a:cubicBezTo>
                  <a:pt x="2557127" y="1706231"/>
                  <a:pt x="2557127" y="1706231"/>
                  <a:pt x="2557127" y="1706231"/>
                </a:cubicBezTo>
                <a:cubicBezTo>
                  <a:pt x="2558303" y="1701842"/>
                  <a:pt x="2562692" y="1703018"/>
                  <a:pt x="2563873" y="1698631"/>
                </a:cubicBezTo>
                <a:cubicBezTo>
                  <a:pt x="2563873" y="1698631"/>
                  <a:pt x="2560654" y="1693066"/>
                  <a:pt x="2555092" y="1696279"/>
                </a:cubicBezTo>
                <a:cubicBezTo>
                  <a:pt x="2560654" y="1693066"/>
                  <a:pt x="2560654" y="1693066"/>
                  <a:pt x="2560654" y="1693066"/>
                </a:cubicBezTo>
                <a:cubicBezTo>
                  <a:pt x="2578524" y="1679040"/>
                  <a:pt x="2581744" y="1684604"/>
                  <a:pt x="2589658" y="1672614"/>
                </a:cubicBezTo>
                <a:cubicBezTo>
                  <a:pt x="2578524" y="1679040"/>
                  <a:pt x="2575314" y="1673473"/>
                  <a:pt x="2570929" y="1672297"/>
                </a:cubicBezTo>
                <a:cubicBezTo>
                  <a:pt x="2576490" y="1669085"/>
                  <a:pt x="2586446" y="1667049"/>
                  <a:pt x="2592009" y="1663836"/>
                </a:cubicBezTo>
                <a:cubicBezTo>
                  <a:pt x="2597571" y="1660624"/>
                  <a:pt x="2603137" y="1657411"/>
                  <a:pt x="2608703" y="1654198"/>
                </a:cubicBezTo>
                <a:cubicBezTo>
                  <a:pt x="2613090" y="1655374"/>
                  <a:pt x="2618656" y="1652161"/>
                  <a:pt x="2618656" y="1652161"/>
                </a:cubicBezTo>
                <a:cubicBezTo>
                  <a:pt x="2623044" y="1653337"/>
                  <a:pt x="2617478" y="1656550"/>
                  <a:pt x="2616301" y="1660938"/>
                </a:cubicBezTo>
                <a:cubicBezTo>
                  <a:pt x="2638562" y="1648089"/>
                  <a:pt x="2638562" y="1648089"/>
                  <a:pt x="2638562" y="1648089"/>
                </a:cubicBezTo>
                <a:cubicBezTo>
                  <a:pt x="2641775" y="1653652"/>
                  <a:pt x="2641775" y="1653652"/>
                  <a:pt x="2641775" y="1653652"/>
                </a:cubicBezTo>
                <a:cubicBezTo>
                  <a:pt x="2641775" y="1653652"/>
                  <a:pt x="2640600" y="1658041"/>
                  <a:pt x="2636209" y="1656866"/>
                </a:cubicBezTo>
                <a:cubicBezTo>
                  <a:pt x="2635034" y="1661255"/>
                  <a:pt x="2635034" y="1661255"/>
                  <a:pt x="2635034" y="1661255"/>
                </a:cubicBezTo>
                <a:cubicBezTo>
                  <a:pt x="2635034" y="1661255"/>
                  <a:pt x="2635034" y="1661255"/>
                  <a:pt x="2639422" y="1662430"/>
                </a:cubicBezTo>
                <a:cubicBezTo>
                  <a:pt x="2643813" y="1663606"/>
                  <a:pt x="2644988" y="1659216"/>
                  <a:pt x="2644988" y="1659216"/>
                </a:cubicBezTo>
                <a:cubicBezTo>
                  <a:pt x="2646164" y="1654827"/>
                  <a:pt x="2646164" y="1654827"/>
                  <a:pt x="2646164" y="1654827"/>
                </a:cubicBezTo>
                <a:cubicBezTo>
                  <a:pt x="2646164" y="1654827"/>
                  <a:pt x="2650552" y="1656003"/>
                  <a:pt x="2651728" y="1651615"/>
                </a:cubicBezTo>
                <a:cubicBezTo>
                  <a:pt x="2651728" y="1651615"/>
                  <a:pt x="2651728" y="1651615"/>
                  <a:pt x="2657295" y="1648402"/>
                </a:cubicBezTo>
                <a:cubicBezTo>
                  <a:pt x="2657295" y="1648402"/>
                  <a:pt x="2657295" y="1648402"/>
                  <a:pt x="2661683" y="1649578"/>
                </a:cubicBezTo>
                <a:cubicBezTo>
                  <a:pt x="2661683" y="1649578"/>
                  <a:pt x="2662859" y="1645189"/>
                  <a:pt x="2662859" y="1645189"/>
                </a:cubicBezTo>
                <a:cubicBezTo>
                  <a:pt x="2667247" y="1646365"/>
                  <a:pt x="2667247" y="1646365"/>
                  <a:pt x="2667247" y="1646365"/>
                </a:cubicBezTo>
                <a:cubicBezTo>
                  <a:pt x="2666072" y="1650754"/>
                  <a:pt x="2666072" y="1650754"/>
                  <a:pt x="2666072" y="1650754"/>
                </a:cubicBezTo>
                <a:cubicBezTo>
                  <a:pt x="2659333" y="1658356"/>
                  <a:pt x="2659333" y="1658356"/>
                  <a:pt x="2659333" y="1658356"/>
                </a:cubicBezTo>
                <a:cubicBezTo>
                  <a:pt x="2653765" y="1661569"/>
                  <a:pt x="2649376" y="1660393"/>
                  <a:pt x="2648201" y="1664781"/>
                </a:cubicBezTo>
                <a:cubicBezTo>
                  <a:pt x="2648201" y="1664781"/>
                  <a:pt x="2648201" y="1664781"/>
                  <a:pt x="2652590" y="1665958"/>
                </a:cubicBezTo>
                <a:cubicBezTo>
                  <a:pt x="2656981" y="1667133"/>
                  <a:pt x="2658155" y="1662744"/>
                  <a:pt x="2658155" y="1662744"/>
                </a:cubicBezTo>
                <a:cubicBezTo>
                  <a:pt x="2668109" y="1660709"/>
                  <a:pt x="2669284" y="1656320"/>
                  <a:pt x="2674849" y="1653107"/>
                </a:cubicBezTo>
                <a:cubicBezTo>
                  <a:pt x="2676025" y="1648718"/>
                  <a:pt x="2676025" y="1648718"/>
                  <a:pt x="2676025" y="1648718"/>
                </a:cubicBezTo>
                <a:cubicBezTo>
                  <a:pt x="2682767" y="1641116"/>
                  <a:pt x="2687154" y="1642291"/>
                  <a:pt x="2688331" y="1637903"/>
                </a:cubicBezTo>
                <a:cubicBezTo>
                  <a:pt x="2709412" y="1629440"/>
                  <a:pt x="2734884" y="1622153"/>
                  <a:pt x="2757141" y="1609301"/>
                </a:cubicBezTo>
                <a:cubicBezTo>
                  <a:pt x="2761529" y="1610476"/>
                  <a:pt x="2761529" y="1610476"/>
                  <a:pt x="2761529" y="1610476"/>
                </a:cubicBezTo>
                <a:cubicBezTo>
                  <a:pt x="2765919" y="1611652"/>
                  <a:pt x="2767095" y="1607263"/>
                  <a:pt x="2767095" y="1607263"/>
                </a:cubicBezTo>
                <a:cubicBezTo>
                  <a:pt x="2771483" y="1608439"/>
                  <a:pt x="2777052" y="1605227"/>
                  <a:pt x="2782612" y="1602015"/>
                </a:cubicBezTo>
                <a:cubicBezTo>
                  <a:pt x="2782612" y="1602015"/>
                  <a:pt x="2782612" y="1602015"/>
                  <a:pt x="2788178" y="1598800"/>
                </a:cubicBezTo>
                <a:cubicBezTo>
                  <a:pt x="2792566" y="1599977"/>
                  <a:pt x="2798133" y="1596763"/>
                  <a:pt x="2803695" y="1593550"/>
                </a:cubicBezTo>
                <a:cubicBezTo>
                  <a:pt x="2808086" y="1594727"/>
                  <a:pt x="2813651" y="1591514"/>
                  <a:pt x="2819213" y="1588300"/>
                </a:cubicBezTo>
                <a:cubicBezTo>
                  <a:pt x="2827993" y="1590653"/>
                  <a:pt x="2845863" y="1576626"/>
                  <a:pt x="2864594" y="1576943"/>
                </a:cubicBezTo>
                <a:cubicBezTo>
                  <a:pt x="2871336" y="1569340"/>
                  <a:pt x="2902374" y="1558843"/>
                  <a:pt x="2919067" y="1549205"/>
                </a:cubicBezTo>
                <a:cubicBezTo>
                  <a:pt x="2919067" y="1549205"/>
                  <a:pt x="2938967" y="1545130"/>
                  <a:pt x="2934582" y="1543954"/>
                </a:cubicBezTo>
                <a:cubicBezTo>
                  <a:pt x="2921847" y="1547598"/>
                  <a:pt x="2922732" y="1544306"/>
                  <a:pt x="2925554" y="1540358"/>
                </a:cubicBezTo>
                <a:lnTo>
                  <a:pt x="2926131" y="1539588"/>
                </a:lnTo>
                <a:lnTo>
                  <a:pt x="2896181" y="1548255"/>
                </a:lnTo>
                <a:lnTo>
                  <a:pt x="2873472" y="1553580"/>
                </a:lnTo>
                <a:lnTo>
                  <a:pt x="2864801" y="1556418"/>
                </a:lnTo>
                <a:cubicBezTo>
                  <a:pt x="2851372" y="1560464"/>
                  <a:pt x="2837244" y="1564910"/>
                  <a:pt x="2838261" y="1569888"/>
                </a:cubicBezTo>
                <a:cubicBezTo>
                  <a:pt x="2859343" y="1561425"/>
                  <a:pt x="2832696" y="1573098"/>
                  <a:pt x="2817177" y="1578349"/>
                </a:cubicBezTo>
                <a:cubicBezTo>
                  <a:pt x="2817177" y="1578349"/>
                  <a:pt x="2817177" y="1578349"/>
                  <a:pt x="2818353" y="1573960"/>
                </a:cubicBezTo>
                <a:cubicBezTo>
                  <a:pt x="2822743" y="1575134"/>
                  <a:pt x="2822743" y="1575134"/>
                  <a:pt x="2822743" y="1575134"/>
                </a:cubicBezTo>
                <a:cubicBezTo>
                  <a:pt x="2828309" y="1571922"/>
                  <a:pt x="2828309" y="1571922"/>
                  <a:pt x="2823919" y="1570746"/>
                </a:cubicBezTo>
                <a:cubicBezTo>
                  <a:pt x="2823919" y="1570746"/>
                  <a:pt x="2823919" y="1570746"/>
                  <a:pt x="2819530" y="1569571"/>
                </a:cubicBezTo>
                <a:cubicBezTo>
                  <a:pt x="2813965" y="1572784"/>
                  <a:pt x="2813965" y="1572784"/>
                  <a:pt x="2813965" y="1572784"/>
                </a:cubicBezTo>
                <a:cubicBezTo>
                  <a:pt x="2808397" y="1575997"/>
                  <a:pt x="2807225" y="1580384"/>
                  <a:pt x="2810439" y="1585948"/>
                </a:cubicBezTo>
                <a:cubicBezTo>
                  <a:pt x="2804872" y="1589160"/>
                  <a:pt x="2799308" y="1592374"/>
                  <a:pt x="2794920" y="1591198"/>
                </a:cubicBezTo>
                <a:cubicBezTo>
                  <a:pt x="2790529" y="1590022"/>
                  <a:pt x="2790529" y="1590022"/>
                  <a:pt x="2786141" y="1588846"/>
                </a:cubicBezTo>
                <a:cubicBezTo>
                  <a:pt x="2786141" y="1588846"/>
                  <a:pt x="2786141" y="1588846"/>
                  <a:pt x="2787317" y="1584457"/>
                </a:cubicBezTo>
                <a:cubicBezTo>
                  <a:pt x="2782925" y="1583282"/>
                  <a:pt x="2781755" y="1587670"/>
                  <a:pt x="2781755" y="1587670"/>
                </a:cubicBezTo>
                <a:cubicBezTo>
                  <a:pt x="2781755" y="1587670"/>
                  <a:pt x="2780580" y="1592059"/>
                  <a:pt x="2780580" y="1592059"/>
                </a:cubicBezTo>
                <a:cubicBezTo>
                  <a:pt x="2779404" y="1596449"/>
                  <a:pt x="2775014" y="1595271"/>
                  <a:pt x="2773837" y="1599661"/>
                </a:cubicBezTo>
                <a:cubicBezTo>
                  <a:pt x="2769448" y="1598486"/>
                  <a:pt x="2763883" y="1601698"/>
                  <a:pt x="2763883" y="1601698"/>
                </a:cubicBezTo>
                <a:cubicBezTo>
                  <a:pt x="2763883" y="1601698"/>
                  <a:pt x="2763883" y="1601698"/>
                  <a:pt x="2759493" y="1600521"/>
                </a:cubicBezTo>
                <a:cubicBezTo>
                  <a:pt x="2758317" y="1604911"/>
                  <a:pt x="2758317" y="1604911"/>
                  <a:pt x="2758317" y="1604911"/>
                </a:cubicBezTo>
                <a:cubicBezTo>
                  <a:pt x="2758317" y="1604911"/>
                  <a:pt x="2753928" y="1603735"/>
                  <a:pt x="2752753" y="1608124"/>
                </a:cubicBezTo>
                <a:cubicBezTo>
                  <a:pt x="2731670" y="1616587"/>
                  <a:pt x="2709412" y="1629440"/>
                  <a:pt x="2685119" y="1632337"/>
                </a:cubicBezTo>
                <a:cubicBezTo>
                  <a:pt x="2679549" y="1635550"/>
                  <a:pt x="2679549" y="1635550"/>
                  <a:pt x="2679549" y="1635550"/>
                </a:cubicBezTo>
                <a:cubicBezTo>
                  <a:pt x="2679549" y="1635550"/>
                  <a:pt x="2678376" y="1639939"/>
                  <a:pt x="2678376" y="1639939"/>
                </a:cubicBezTo>
                <a:cubicBezTo>
                  <a:pt x="2678376" y="1639939"/>
                  <a:pt x="2673989" y="1638763"/>
                  <a:pt x="2673989" y="1638763"/>
                </a:cubicBezTo>
                <a:cubicBezTo>
                  <a:pt x="2673989" y="1638763"/>
                  <a:pt x="2675162" y="1634373"/>
                  <a:pt x="2675162" y="1634373"/>
                </a:cubicBezTo>
                <a:cubicBezTo>
                  <a:pt x="2666387" y="1632022"/>
                  <a:pt x="2660823" y="1635235"/>
                  <a:pt x="2650869" y="1637272"/>
                </a:cubicBezTo>
                <a:cubicBezTo>
                  <a:pt x="2649692" y="1641661"/>
                  <a:pt x="2649692" y="1641661"/>
                  <a:pt x="2649692" y="1641661"/>
                </a:cubicBezTo>
                <a:cubicBezTo>
                  <a:pt x="2637701" y="1633744"/>
                  <a:pt x="2660823" y="1635235"/>
                  <a:pt x="2657609" y="1629671"/>
                </a:cubicBezTo>
                <a:cubicBezTo>
                  <a:pt x="2652043" y="1632882"/>
                  <a:pt x="2632137" y="1636957"/>
                  <a:pt x="2615441" y="1646597"/>
                </a:cubicBezTo>
                <a:cubicBezTo>
                  <a:pt x="2609878" y="1649811"/>
                  <a:pt x="2598746" y="1656234"/>
                  <a:pt x="2588799" y="1658272"/>
                </a:cubicBezTo>
                <a:cubicBezTo>
                  <a:pt x="2583230" y="1661484"/>
                  <a:pt x="2572103" y="1667909"/>
                  <a:pt x="2562149" y="1669945"/>
                </a:cubicBezTo>
                <a:cubicBezTo>
                  <a:pt x="2545454" y="1679585"/>
                  <a:pt x="2531113" y="1680447"/>
                  <a:pt x="2513243" y="1694471"/>
                </a:cubicBezTo>
                <a:cubicBezTo>
                  <a:pt x="2507677" y="1697686"/>
                  <a:pt x="2497725" y="1699722"/>
                  <a:pt x="2497725" y="1699722"/>
                </a:cubicBezTo>
                <a:cubicBezTo>
                  <a:pt x="2492159" y="1702933"/>
                  <a:pt x="2487770" y="1701759"/>
                  <a:pt x="2486593" y="1706147"/>
                </a:cubicBezTo>
                <a:cubicBezTo>
                  <a:pt x="2482205" y="1704971"/>
                  <a:pt x="2482205" y="1704971"/>
                  <a:pt x="2476641" y="1708184"/>
                </a:cubicBezTo>
                <a:cubicBezTo>
                  <a:pt x="2475466" y="1712571"/>
                  <a:pt x="2465513" y="1714608"/>
                  <a:pt x="2459945" y="1717821"/>
                </a:cubicBezTo>
                <a:cubicBezTo>
                  <a:pt x="2461123" y="1713432"/>
                  <a:pt x="2444428" y="1723070"/>
                  <a:pt x="2444428" y="1723070"/>
                </a:cubicBezTo>
                <a:cubicBezTo>
                  <a:pt x="2438865" y="1726284"/>
                  <a:pt x="2433299" y="1729497"/>
                  <a:pt x="2432123" y="1733884"/>
                </a:cubicBezTo>
                <a:cubicBezTo>
                  <a:pt x="2427734" y="1732709"/>
                  <a:pt x="2427734" y="1732709"/>
                  <a:pt x="2427734" y="1732709"/>
                </a:cubicBezTo>
                <a:cubicBezTo>
                  <a:pt x="2375615" y="1751671"/>
                  <a:pt x="2310014" y="1785830"/>
                  <a:pt x="2265492" y="1811535"/>
                </a:cubicBezTo>
                <a:cubicBezTo>
                  <a:pt x="2261108" y="1810360"/>
                  <a:pt x="2261108" y="1810360"/>
                  <a:pt x="2261108" y="1810360"/>
                </a:cubicBezTo>
                <a:cubicBezTo>
                  <a:pt x="2261108" y="1810360"/>
                  <a:pt x="2261108" y="1810360"/>
                  <a:pt x="2256718" y="1809184"/>
                </a:cubicBezTo>
                <a:cubicBezTo>
                  <a:pt x="2262284" y="1805970"/>
                  <a:pt x="2262284" y="1805970"/>
                  <a:pt x="2267847" y="1802759"/>
                </a:cubicBezTo>
                <a:cubicBezTo>
                  <a:pt x="2267847" y="1802759"/>
                  <a:pt x="2273412" y="1799546"/>
                  <a:pt x="2278977" y="1796331"/>
                </a:cubicBezTo>
                <a:cubicBezTo>
                  <a:pt x="2284542" y="1793120"/>
                  <a:pt x="2284542" y="1793120"/>
                  <a:pt x="2290107" y="1789909"/>
                </a:cubicBezTo>
                <a:cubicBezTo>
                  <a:pt x="2290107" y="1789909"/>
                  <a:pt x="2290107" y="1789909"/>
                  <a:pt x="2291284" y="1785517"/>
                </a:cubicBezTo>
                <a:cubicBezTo>
                  <a:pt x="2301237" y="1783480"/>
                  <a:pt x="2307979" y="1775878"/>
                  <a:pt x="2319109" y="1769456"/>
                </a:cubicBezTo>
                <a:cubicBezTo>
                  <a:pt x="2319109" y="1769456"/>
                  <a:pt x="2324673" y="1766244"/>
                  <a:pt x="2320284" y="1765070"/>
                </a:cubicBezTo>
                <a:cubicBezTo>
                  <a:pt x="2321459" y="1760679"/>
                  <a:pt x="2315894" y="1763891"/>
                  <a:pt x="2315894" y="1763891"/>
                </a:cubicBezTo>
                <a:cubicBezTo>
                  <a:pt x="2310330" y="1767104"/>
                  <a:pt x="2310330" y="1767104"/>
                  <a:pt x="2310330" y="1767104"/>
                </a:cubicBezTo>
                <a:lnTo>
                  <a:pt x="2309877" y="1767096"/>
                </a:lnTo>
                <a:lnTo>
                  <a:pt x="2321368" y="1760700"/>
                </a:lnTo>
                <a:lnTo>
                  <a:pt x="2321459" y="1760679"/>
                </a:lnTo>
                <a:lnTo>
                  <a:pt x="2321486" y="1760638"/>
                </a:lnTo>
                <a:lnTo>
                  <a:pt x="2322851" y="1759876"/>
                </a:lnTo>
                <a:cubicBezTo>
                  <a:pt x="2332295" y="1755349"/>
                  <a:pt x="2336977" y="1755429"/>
                  <a:pt x="2329060" y="1767419"/>
                </a:cubicBezTo>
                <a:cubicBezTo>
                  <a:pt x="2353671" y="1745791"/>
                  <a:pt x="2363626" y="1743754"/>
                  <a:pt x="2385884" y="1730903"/>
                </a:cubicBezTo>
                <a:cubicBezTo>
                  <a:pt x="2381494" y="1729727"/>
                  <a:pt x="2381494" y="1729727"/>
                  <a:pt x="2381494" y="1729727"/>
                </a:cubicBezTo>
                <a:cubicBezTo>
                  <a:pt x="2398190" y="1720088"/>
                  <a:pt x="2398190" y="1720088"/>
                  <a:pt x="2398190" y="1720088"/>
                </a:cubicBezTo>
                <a:cubicBezTo>
                  <a:pt x="2402579" y="1721264"/>
                  <a:pt x="2402579" y="1721264"/>
                  <a:pt x="2402579" y="1721264"/>
                </a:cubicBezTo>
                <a:cubicBezTo>
                  <a:pt x="2403755" y="1716876"/>
                  <a:pt x="2403755" y="1716876"/>
                  <a:pt x="2403755" y="1716876"/>
                </a:cubicBezTo>
                <a:cubicBezTo>
                  <a:pt x="2408140" y="1718053"/>
                  <a:pt x="2408140" y="1718053"/>
                  <a:pt x="2408140" y="1718053"/>
                </a:cubicBezTo>
                <a:cubicBezTo>
                  <a:pt x="2413707" y="1714839"/>
                  <a:pt x="2414883" y="1710450"/>
                  <a:pt x="2419271" y="1711626"/>
                </a:cubicBezTo>
                <a:cubicBezTo>
                  <a:pt x="2420449" y="1707237"/>
                  <a:pt x="2424837" y="1708414"/>
                  <a:pt x="2426012" y="1704026"/>
                </a:cubicBezTo>
                <a:cubicBezTo>
                  <a:pt x="2430400" y="1705202"/>
                  <a:pt x="2431577" y="1700812"/>
                  <a:pt x="2431577" y="1700812"/>
                </a:cubicBezTo>
                <a:cubicBezTo>
                  <a:pt x="2437140" y="1697599"/>
                  <a:pt x="2442708" y="1694388"/>
                  <a:pt x="2448272" y="1691174"/>
                </a:cubicBezTo>
                <a:cubicBezTo>
                  <a:pt x="2449446" y="1686786"/>
                  <a:pt x="2449446" y="1686786"/>
                  <a:pt x="2449446" y="1686786"/>
                </a:cubicBezTo>
                <a:cubicBezTo>
                  <a:pt x="2449446" y="1686786"/>
                  <a:pt x="2453834" y="1687963"/>
                  <a:pt x="2455012" y="1683574"/>
                </a:cubicBezTo>
                <a:cubicBezTo>
                  <a:pt x="2470530" y="1678323"/>
                  <a:pt x="2487225" y="1668686"/>
                  <a:pt x="2503917" y="1659049"/>
                </a:cubicBezTo>
                <a:cubicBezTo>
                  <a:pt x="2502743" y="1663436"/>
                  <a:pt x="2502743" y="1663436"/>
                  <a:pt x="2507131" y="1664611"/>
                </a:cubicBezTo>
                <a:cubicBezTo>
                  <a:pt x="2501567" y="1667825"/>
                  <a:pt x="2501567" y="1667825"/>
                  <a:pt x="2501567" y="1667825"/>
                </a:cubicBezTo>
                <a:cubicBezTo>
                  <a:pt x="2497177" y="1666648"/>
                  <a:pt x="2496002" y="1671037"/>
                  <a:pt x="2496002" y="1671037"/>
                </a:cubicBezTo>
                <a:cubicBezTo>
                  <a:pt x="2496002" y="1671037"/>
                  <a:pt x="2500392" y="1672213"/>
                  <a:pt x="2500392" y="1672213"/>
                </a:cubicBezTo>
                <a:cubicBezTo>
                  <a:pt x="2505955" y="1669000"/>
                  <a:pt x="2505955" y="1669000"/>
                  <a:pt x="2505955" y="1669000"/>
                </a:cubicBezTo>
                <a:cubicBezTo>
                  <a:pt x="2505955" y="1669000"/>
                  <a:pt x="2511520" y="1665788"/>
                  <a:pt x="2511520" y="1665788"/>
                </a:cubicBezTo>
                <a:cubicBezTo>
                  <a:pt x="2512696" y="1661400"/>
                  <a:pt x="2512696" y="1661400"/>
                  <a:pt x="2512696" y="1661400"/>
                </a:cubicBezTo>
                <a:cubicBezTo>
                  <a:pt x="2512696" y="1661400"/>
                  <a:pt x="2512696" y="1661400"/>
                  <a:pt x="2513872" y="1657010"/>
                </a:cubicBezTo>
                <a:cubicBezTo>
                  <a:pt x="2529389" y="1651760"/>
                  <a:pt x="2546085" y="1642123"/>
                  <a:pt x="2561602" y="1636873"/>
                </a:cubicBezTo>
                <a:cubicBezTo>
                  <a:pt x="2561602" y="1636873"/>
                  <a:pt x="2561602" y="1636873"/>
                  <a:pt x="2562779" y="1632484"/>
                </a:cubicBezTo>
                <a:cubicBezTo>
                  <a:pt x="2599378" y="1618771"/>
                  <a:pt x="2631591" y="1603882"/>
                  <a:pt x="2667018" y="1594558"/>
                </a:cubicBezTo>
                <a:cubicBezTo>
                  <a:pt x="2714745" y="1574420"/>
                  <a:pt x="2761300" y="1558673"/>
                  <a:pt x="2812243" y="1544100"/>
                </a:cubicBezTo>
                <a:cubicBezTo>
                  <a:pt x="2822197" y="1542062"/>
                  <a:pt x="2840929" y="1542379"/>
                  <a:pt x="2843282" y="1533600"/>
                </a:cubicBezTo>
                <a:cubicBezTo>
                  <a:pt x="2843282" y="1533600"/>
                  <a:pt x="2843282" y="1533600"/>
                  <a:pt x="2847669" y="1534777"/>
                </a:cubicBezTo>
                <a:cubicBezTo>
                  <a:pt x="2852058" y="1535954"/>
                  <a:pt x="2857624" y="1532741"/>
                  <a:pt x="2862010" y="1533917"/>
                </a:cubicBezTo>
                <a:cubicBezTo>
                  <a:pt x="2862010" y="1533917"/>
                  <a:pt x="2867576" y="1530703"/>
                  <a:pt x="2867576" y="1530703"/>
                </a:cubicBezTo>
                <a:cubicBezTo>
                  <a:pt x="2867576" y="1530703"/>
                  <a:pt x="2863186" y="1529528"/>
                  <a:pt x="2863186" y="1529528"/>
                </a:cubicBezTo>
                <a:cubicBezTo>
                  <a:pt x="2888661" y="1522242"/>
                  <a:pt x="2914133" y="1514956"/>
                  <a:pt x="2939600" y="1507670"/>
                </a:cubicBezTo>
                <a:cubicBezTo>
                  <a:pt x="3000498" y="1491062"/>
                  <a:pt x="3000498" y="1491062"/>
                  <a:pt x="3000498" y="1491062"/>
                </a:cubicBezTo>
                <a:lnTo>
                  <a:pt x="3003670" y="1490412"/>
                </a:lnTo>
                <a:lnTo>
                  <a:pt x="3004982" y="1489998"/>
                </a:lnTo>
                <a:lnTo>
                  <a:pt x="3115310" y="1465800"/>
                </a:lnTo>
                <a:lnTo>
                  <a:pt x="3115554" y="1465444"/>
                </a:lnTo>
                <a:lnTo>
                  <a:pt x="3129316" y="1462727"/>
                </a:lnTo>
                <a:lnTo>
                  <a:pt x="3210333" y="1444957"/>
                </a:lnTo>
                <a:lnTo>
                  <a:pt x="3214742" y="1437725"/>
                </a:lnTo>
                <a:cubicBezTo>
                  <a:pt x="3214014" y="1433707"/>
                  <a:pt x="3208533" y="1426398"/>
                  <a:pt x="3203786" y="1423109"/>
                </a:cubicBezTo>
                <a:cubicBezTo>
                  <a:pt x="3209634" y="1409594"/>
                  <a:pt x="3212201" y="1400827"/>
                  <a:pt x="3211471" y="1396809"/>
                </a:cubicBezTo>
                <a:cubicBezTo>
                  <a:pt x="3211471" y="1396809"/>
                  <a:pt x="3208176" y="1401557"/>
                  <a:pt x="3208176" y="1401557"/>
                </a:cubicBezTo>
                <a:cubicBezTo>
                  <a:pt x="3204160" y="1402287"/>
                  <a:pt x="3204160" y="1402287"/>
                  <a:pt x="3204160" y="1402287"/>
                </a:cubicBezTo>
                <a:cubicBezTo>
                  <a:pt x="3203431" y="1398267"/>
                  <a:pt x="3206718" y="1393519"/>
                  <a:pt x="3210738" y="1392791"/>
                </a:cubicBezTo>
                <a:lnTo>
                  <a:pt x="3212576" y="1390141"/>
                </a:lnTo>
                <a:lnTo>
                  <a:pt x="3181782" y="1393815"/>
                </a:lnTo>
                <a:cubicBezTo>
                  <a:pt x="3184995" y="1399380"/>
                  <a:pt x="3180608" y="1398203"/>
                  <a:pt x="3170657" y="1400241"/>
                </a:cubicBezTo>
                <a:cubicBezTo>
                  <a:pt x="3176219" y="1397028"/>
                  <a:pt x="3177396" y="1392639"/>
                  <a:pt x="3171830" y="1395852"/>
                </a:cubicBezTo>
                <a:cubicBezTo>
                  <a:pt x="3166266" y="1399065"/>
                  <a:pt x="3103334" y="1405720"/>
                  <a:pt x="3110932" y="1412461"/>
                </a:cubicBezTo>
                <a:cubicBezTo>
                  <a:pt x="3085461" y="1419747"/>
                  <a:pt x="3077859" y="1413008"/>
                  <a:pt x="3077859" y="1413008"/>
                </a:cubicBezTo>
                <a:cubicBezTo>
                  <a:pt x="3056774" y="1421470"/>
                  <a:pt x="3076682" y="1417396"/>
                  <a:pt x="3079894" y="1422961"/>
                </a:cubicBezTo>
                <a:cubicBezTo>
                  <a:pt x="3054422" y="1430249"/>
                  <a:pt x="3054422" y="1430249"/>
                  <a:pt x="3054422" y="1430249"/>
                </a:cubicBezTo>
                <a:cubicBezTo>
                  <a:pt x="3066727" y="1419433"/>
                  <a:pt x="3046823" y="1423507"/>
                  <a:pt x="3042433" y="1422330"/>
                </a:cubicBezTo>
                <a:cubicBezTo>
                  <a:pt x="3019000" y="1439571"/>
                  <a:pt x="2967194" y="1439802"/>
                  <a:pt x="2923854" y="1461116"/>
                </a:cubicBezTo>
                <a:cubicBezTo>
                  <a:pt x="2919466" y="1459940"/>
                  <a:pt x="2918292" y="1464329"/>
                  <a:pt x="2913904" y="1463154"/>
                </a:cubicBezTo>
                <a:cubicBezTo>
                  <a:pt x="2909515" y="1461977"/>
                  <a:pt x="2908337" y="1466367"/>
                  <a:pt x="2908337" y="1466367"/>
                </a:cubicBezTo>
                <a:cubicBezTo>
                  <a:pt x="2902772" y="1469579"/>
                  <a:pt x="2907162" y="1470754"/>
                  <a:pt x="2912728" y="1467543"/>
                </a:cubicBezTo>
                <a:cubicBezTo>
                  <a:pt x="2912728" y="1467543"/>
                  <a:pt x="2912728" y="1467543"/>
                  <a:pt x="2917116" y="1468719"/>
                </a:cubicBezTo>
                <a:cubicBezTo>
                  <a:pt x="2864994" y="1487680"/>
                  <a:pt x="2836307" y="1489401"/>
                  <a:pt x="2788579" y="1509539"/>
                </a:cubicBezTo>
                <a:cubicBezTo>
                  <a:pt x="2785365" y="1503973"/>
                  <a:pt x="2779799" y="1507186"/>
                  <a:pt x="2776589" y="1501621"/>
                </a:cubicBezTo>
                <a:cubicBezTo>
                  <a:pt x="2713339" y="1527007"/>
                  <a:pt x="2645702" y="1551219"/>
                  <a:pt x="2581277" y="1580992"/>
                </a:cubicBezTo>
                <a:cubicBezTo>
                  <a:pt x="2512465" y="1609593"/>
                  <a:pt x="2446864" y="1643759"/>
                  <a:pt x="2386829" y="1674711"/>
                </a:cubicBezTo>
                <a:cubicBezTo>
                  <a:pt x="2399995" y="1678240"/>
                  <a:pt x="2425782" y="1652222"/>
                  <a:pt x="2445688" y="1648148"/>
                </a:cubicBezTo>
                <a:cubicBezTo>
                  <a:pt x="2446864" y="1643759"/>
                  <a:pt x="2455641" y="1646112"/>
                  <a:pt x="2460031" y="1647288"/>
                </a:cubicBezTo>
                <a:cubicBezTo>
                  <a:pt x="2497808" y="1629185"/>
                  <a:pt x="2546715" y="1604657"/>
                  <a:pt x="2593268" y="1588907"/>
                </a:cubicBezTo>
                <a:cubicBezTo>
                  <a:pt x="2646565" y="1565559"/>
                  <a:pt x="2705424" y="1538996"/>
                  <a:pt x="2756365" y="1524424"/>
                </a:cubicBezTo>
                <a:cubicBezTo>
                  <a:pt x="2760754" y="1525601"/>
                  <a:pt x="2775098" y="1524741"/>
                  <a:pt x="2775098" y="1524741"/>
                </a:cubicBezTo>
                <a:cubicBezTo>
                  <a:pt x="2806133" y="1514241"/>
                  <a:pt x="2838346" y="1499354"/>
                  <a:pt x="2863815" y="1492067"/>
                </a:cubicBezTo>
                <a:cubicBezTo>
                  <a:pt x="2868208" y="1493244"/>
                  <a:pt x="2862641" y="1496457"/>
                  <a:pt x="2872596" y="1494420"/>
                </a:cubicBezTo>
                <a:cubicBezTo>
                  <a:pt x="2868208" y="1493244"/>
                  <a:pt x="2873770" y="1490033"/>
                  <a:pt x="2874945" y="1485642"/>
                </a:cubicBezTo>
                <a:cubicBezTo>
                  <a:pt x="2915940" y="1473108"/>
                  <a:pt x="2954573" y="1469349"/>
                  <a:pt x="2989998" y="1460024"/>
                </a:cubicBezTo>
                <a:cubicBezTo>
                  <a:pt x="2984435" y="1463238"/>
                  <a:pt x="2980045" y="1462062"/>
                  <a:pt x="2974481" y="1465274"/>
                </a:cubicBezTo>
                <a:cubicBezTo>
                  <a:pt x="2947833" y="1476950"/>
                  <a:pt x="2922363" y="1484236"/>
                  <a:pt x="2932314" y="1482198"/>
                </a:cubicBezTo>
                <a:cubicBezTo>
                  <a:pt x="2906848" y="1489486"/>
                  <a:pt x="2874632" y="1504372"/>
                  <a:pt x="2853551" y="1512836"/>
                </a:cubicBezTo>
                <a:cubicBezTo>
                  <a:pt x="2847985" y="1516046"/>
                  <a:pt x="2847985" y="1516046"/>
                  <a:pt x="2843595" y="1514871"/>
                </a:cubicBezTo>
                <a:cubicBezTo>
                  <a:pt x="2850336" y="1507270"/>
                  <a:pt x="2832465" y="1521298"/>
                  <a:pt x="2834817" y="1512520"/>
                </a:cubicBezTo>
                <a:cubicBezTo>
                  <a:pt x="2823687" y="1518945"/>
                  <a:pt x="2812558" y="1525371"/>
                  <a:pt x="2806992" y="1528583"/>
                </a:cubicBezTo>
                <a:cubicBezTo>
                  <a:pt x="2791475" y="1533832"/>
                  <a:pt x="2781522" y="1535871"/>
                  <a:pt x="2770392" y="1542293"/>
                </a:cubicBezTo>
                <a:cubicBezTo>
                  <a:pt x="2744919" y="1549579"/>
                  <a:pt x="2715059" y="1555692"/>
                  <a:pt x="2705109" y="1557728"/>
                </a:cubicBezTo>
                <a:cubicBezTo>
                  <a:pt x="2709498" y="1558903"/>
                  <a:pt x="2703933" y="1562118"/>
                  <a:pt x="2703933" y="1562118"/>
                </a:cubicBezTo>
                <a:cubicBezTo>
                  <a:pt x="2698367" y="1565329"/>
                  <a:pt x="2692803" y="1568542"/>
                  <a:pt x="2682853" y="1570578"/>
                </a:cubicBezTo>
                <a:cubicBezTo>
                  <a:pt x="2682853" y="1570578"/>
                  <a:pt x="2678459" y="1569402"/>
                  <a:pt x="2677283" y="1573790"/>
                </a:cubicBezTo>
                <a:cubicBezTo>
                  <a:pt x="2661766" y="1579041"/>
                  <a:pt x="2646249" y="1584288"/>
                  <a:pt x="2635119" y="1590714"/>
                </a:cubicBezTo>
                <a:cubicBezTo>
                  <a:pt x="2619602" y="1595963"/>
                  <a:pt x="2605258" y="1596825"/>
                  <a:pt x="2614036" y="1599178"/>
                </a:cubicBezTo>
                <a:cubicBezTo>
                  <a:pt x="2597345" y="1608817"/>
                  <a:pt x="2576265" y="1617279"/>
                  <a:pt x="2550789" y="1624566"/>
                </a:cubicBezTo>
                <a:cubicBezTo>
                  <a:pt x="2545224" y="1627779"/>
                  <a:pt x="2534091" y="1634205"/>
                  <a:pt x="2524140" y="1636243"/>
                </a:cubicBezTo>
                <a:cubicBezTo>
                  <a:pt x="2524140" y="1636243"/>
                  <a:pt x="2519752" y="1635067"/>
                  <a:pt x="2519752" y="1635067"/>
                </a:cubicBezTo>
                <a:cubicBezTo>
                  <a:pt x="2518574" y="1639455"/>
                  <a:pt x="2514186" y="1638279"/>
                  <a:pt x="2514186" y="1638279"/>
                </a:cubicBezTo>
                <a:cubicBezTo>
                  <a:pt x="2513011" y="1642667"/>
                  <a:pt x="2513011" y="1642667"/>
                  <a:pt x="2513011" y="1642667"/>
                </a:cubicBezTo>
                <a:cubicBezTo>
                  <a:pt x="2513011" y="1642667"/>
                  <a:pt x="2513011" y="1642667"/>
                  <a:pt x="2508623" y="1641491"/>
                </a:cubicBezTo>
                <a:cubicBezTo>
                  <a:pt x="2470846" y="1659593"/>
                  <a:pt x="2433070" y="1677693"/>
                  <a:pt x="2405246" y="1693756"/>
                </a:cubicBezTo>
                <a:cubicBezTo>
                  <a:pt x="2400857" y="1692581"/>
                  <a:pt x="2396468" y="1691406"/>
                  <a:pt x="2395293" y="1695795"/>
                </a:cubicBezTo>
                <a:cubicBezTo>
                  <a:pt x="2390903" y="1694618"/>
                  <a:pt x="2390903" y="1694618"/>
                  <a:pt x="2390903" y="1694618"/>
                </a:cubicBezTo>
                <a:cubicBezTo>
                  <a:pt x="2390903" y="1694618"/>
                  <a:pt x="2386515" y="1693443"/>
                  <a:pt x="2385337" y="1697830"/>
                </a:cubicBezTo>
                <a:cubicBezTo>
                  <a:pt x="2384162" y="1702219"/>
                  <a:pt x="2384162" y="1702219"/>
                  <a:pt x="2384162" y="1702219"/>
                </a:cubicBezTo>
                <a:cubicBezTo>
                  <a:pt x="2367467" y="1711857"/>
                  <a:pt x="2329691" y="1729956"/>
                  <a:pt x="2344032" y="1729096"/>
                </a:cubicBezTo>
                <a:cubicBezTo>
                  <a:pt x="2344032" y="1729096"/>
                  <a:pt x="2344032" y="1729096"/>
                  <a:pt x="2338469" y="1732309"/>
                </a:cubicBezTo>
                <a:cubicBezTo>
                  <a:pt x="2334080" y="1731135"/>
                  <a:pt x="2331728" y="1739910"/>
                  <a:pt x="2331728" y="1739910"/>
                </a:cubicBezTo>
                <a:lnTo>
                  <a:pt x="2340322" y="1742214"/>
                </a:lnTo>
                <a:lnTo>
                  <a:pt x="2328827" y="1748540"/>
                </a:lnTo>
                <a:lnTo>
                  <a:pt x="2321486" y="1760638"/>
                </a:lnTo>
                <a:lnTo>
                  <a:pt x="2321368" y="1760700"/>
                </a:lnTo>
                <a:lnTo>
                  <a:pt x="2303894" y="1764793"/>
                </a:lnTo>
                <a:cubicBezTo>
                  <a:pt x="2298180" y="1768552"/>
                  <a:pt x="2292027" y="1773958"/>
                  <a:pt x="2283680" y="1778776"/>
                </a:cubicBezTo>
                <a:cubicBezTo>
                  <a:pt x="2283680" y="1778776"/>
                  <a:pt x="2279292" y="1777601"/>
                  <a:pt x="2279292" y="1777601"/>
                </a:cubicBezTo>
                <a:cubicBezTo>
                  <a:pt x="2278116" y="1781987"/>
                  <a:pt x="2273729" y="1780813"/>
                  <a:pt x="2278116" y="1781987"/>
                </a:cubicBezTo>
                <a:cubicBezTo>
                  <a:pt x="2278116" y="1781987"/>
                  <a:pt x="2278116" y="1781987"/>
                  <a:pt x="2276941" y="1786379"/>
                </a:cubicBezTo>
                <a:cubicBezTo>
                  <a:pt x="2271375" y="1789591"/>
                  <a:pt x="2266988" y="1788416"/>
                  <a:pt x="2262596" y="1787239"/>
                </a:cubicBezTo>
                <a:cubicBezTo>
                  <a:pt x="2268165" y="1784027"/>
                  <a:pt x="2268165" y="1784027"/>
                  <a:pt x="2268165" y="1784027"/>
                </a:cubicBezTo>
                <a:cubicBezTo>
                  <a:pt x="2273729" y="1780813"/>
                  <a:pt x="2274904" y="1776425"/>
                  <a:pt x="2274904" y="1776425"/>
                </a:cubicBezTo>
                <a:cubicBezTo>
                  <a:pt x="2270515" y="1775248"/>
                  <a:pt x="2266126" y="1774073"/>
                  <a:pt x="2264951" y="1778461"/>
                </a:cubicBezTo>
                <a:cubicBezTo>
                  <a:pt x="2260563" y="1777284"/>
                  <a:pt x="2260563" y="1777284"/>
                  <a:pt x="2260563" y="1777284"/>
                </a:cubicBezTo>
                <a:cubicBezTo>
                  <a:pt x="2261738" y="1772897"/>
                  <a:pt x="2287210" y="1765612"/>
                  <a:pt x="2283996" y="1760049"/>
                </a:cubicBezTo>
                <a:cubicBezTo>
                  <a:pt x="2232738" y="1793350"/>
                  <a:pt x="2167137" y="1827515"/>
                  <a:pt x="2110312" y="1864033"/>
                </a:cubicBezTo>
                <a:cubicBezTo>
                  <a:pt x="2104749" y="1867244"/>
                  <a:pt x="2098008" y="1874845"/>
                  <a:pt x="2092424" y="1878058"/>
                </a:cubicBezTo>
                <a:cubicBezTo>
                  <a:pt x="2091249" y="1882446"/>
                  <a:pt x="2092424" y="1878058"/>
                  <a:pt x="2086862" y="1881270"/>
                </a:cubicBezTo>
                <a:cubicBezTo>
                  <a:pt x="2041165" y="1911362"/>
                  <a:pt x="1987555" y="1953443"/>
                  <a:pt x="1937160" y="2001089"/>
                </a:cubicBezTo>
                <a:lnTo>
                  <a:pt x="1930371" y="2003698"/>
                </a:lnTo>
                <a:lnTo>
                  <a:pt x="1938336" y="1996700"/>
                </a:lnTo>
                <a:cubicBezTo>
                  <a:pt x="1933946" y="1995522"/>
                  <a:pt x="1935121" y="1991136"/>
                  <a:pt x="1940688" y="1987921"/>
                </a:cubicBezTo>
                <a:cubicBezTo>
                  <a:pt x="1943898" y="1993487"/>
                  <a:pt x="1952992" y="1977109"/>
                  <a:pt x="1954168" y="1972720"/>
                </a:cubicBezTo>
                <a:cubicBezTo>
                  <a:pt x="1954168" y="1972720"/>
                  <a:pt x="1958557" y="1973897"/>
                  <a:pt x="1959734" y="1969507"/>
                </a:cubicBezTo>
                <a:cubicBezTo>
                  <a:pt x="1959734" y="1969507"/>
                  <a:pt x="1960909" y="1965118"/>
                  <a:pt x="1960909" y="1965118"/>
                </a:cubicBezTo>
                <a:cubicBezTo>
                  <a:pt x="1968825" y="1953130"/>
                  <a:pt x="1994612" y="1927110"/>
                  <a:pt x="1989045" y="1930324"/>
                </a:cubicBezTo>
                <a:cubicBezTo>
                  <a:pt x="1987870" y="1934712"/>
                  <a:pt x="1983481" y="1933535"/>
                  <a:pt x="1982306" y="1937926"/>
                </a:cubicBezTo>
                <a:cubicBezTo>
                  <a:pt x="1983481" y="1933535"/>
                  <a:pt x="1984659" y="1929146"/>
                  <a:pt x="1984659" y="1929146"/>
                </a:cubicBezTo>
                <a:cubicBezTo>
                  <a:pt x="1984659" y="1929146"/>
                  <a:pt x="1980269" y="1927970"/>
                  <a:pt x="1974705" y="1931184"/>
                </a:cubicBezTo>
                <a:cubicBezTo>
                  <a:pt x="1974705" y="1931184"/>
                  <a:pt x="1974705" y="1931184"/>
                  <a:pt x="1975880" y="1926795"/>
                </a:cubicBezTo>
                <a:cubicBezTo>
                  <a:pt x="1975880" y="1926795"/>
                  <a:pt x="1980269" y="1927970"/>
                  <a:pt x="1981445" y="1923582"/>
                </a:cubicBezTo>
                <a:cubicBezTo>
                  <a:pt x="1981445" y="1923582"/>
                  <a:pt x="1981445" y="1923582"/>
                  <a:pt x="1982620" y="1919193"/>
                </a:cubicBezTo>
                <a:cubicBezTo>
                  <a:pt x="1994927" y="1908378"/>
                  <a:pt x="2001667" y="1900777"/>
                  <a:pt x="2002843" y="1896389"/>
                </a:cubicBezTo>
                <a:cubicBezTo>
                  <a:pt x="2004019" y="1892000"/>
                  <a:pt x="2004019" y="1892000"/>
                  <a:pt x="2004019" y="1892000"/>
                </a:cubicBezTo>
                <a:cubicBezTo>
                  <a:pt x="2004019" y="1892000"/>
                  <a:pt x="2004019" y="1892000"/>
                  <a:pt x="1998454" y="1895211"/>
                </a:cubicBezTo>
                <a:cubicBezTo>
                  <a:pt x="2004019" y="1892000"/>
                  <a:pt x="1999631" y="1890823"/>
                  <a:pt x="1994066" y="1894036"/>
                </a:cubicBezTo>
                <a:cubicBezTo>
                  <a:pt x="2024241" y="1869197"/>
                  <a:pt x="2038898" y="1849604"/>
                  <a:pt x="2059121" y="1826799"/>
                </a:cubicBezTo>
                <a:cubicBezTo>
                  <a:pt x="2078168" y="1808385"/>
                  <a:pt x="2097232" y="1789968"/>
                  <a:pt x="2127407" y="1765129"/>
                </a:cubicBezTo>
                <a:cubicBezTo>
                  <a:pt x="2121841" y="1768340"/>
                  <a:pt x="2123017" y="1763952"/>
                  <a:pt x="2128582" y="1760743"/>
                </a:cubicBezTo>
                <a:cubicBezTo>
                  <a:pt x="2128582" y="1760743"/>
                  <a:pt x="2128582" y="1760743"/>
                  <a:pt x="2132973" y="1761916"/>
                </a:cubicBezTo>
                <a:cubicBezTo>
                  <a:pt x="2132973" y="1761916"/>
                  <a:pt x="2134148" y="1757527"/>
                  <a:pt x="2134148" y="1757527"/>
                </a:cubicBezTo>
                <a:cubicBezTo>
                  <a:pt x="2139715" y="1754314"/>
                  <a:pt x="2139715" y="1754314"/>
                  <a:pt x="2139715" y="1754314"/>
                </a:cubicBezTo>
                <a:cubicBezTo>
                  <a:pt x="2152020" y="1743500"/>
                  <a:pt x="2152020" y="1743500"/>
                  <a:pt x="2152020" y="1743500"/>
                </a:cubicBezTo>
                <a:cubicBezTo>
                  <a:pt x="2147630" y="1742323"/>
                  <a:pt x="2153196" y="1739112"/>
                  <a:pt x="2154371" y="1734723"/>
                </a:cubicBezTo>
                <a:cubicBezTo>
                  <a:pt x="2143242" y="1741148"/>
                  <a:pt x="2147630" y="1742323"/>
                  <a:pt x="2140889" y="1749926"/>
                </a:cubicBezTo>
                <a:cubicBezTo>
                  <a:pt x="2140889" y="1749926"/>
                  <a:pt x="2136500" y="1748750"/>
                  <a:pt x="2136500" y="1748750"/>
                </a:cubicBezTo>
                <a:cubicBezTo>
                  <a:pt x="2136500" y="1748750"/>
                  <a:pt x="2136500" y="1748750"/>
                  <a:pt x="2137675" y="1744361"/>
                </a:cubicBezTo>
                <a:cubicBezTo>
                  <a:pt x="2133287" y="1743185"/>
                  <a:pt x="2132110" y="1747575"/>
                  <a:pt x="2132110" y="1747575"/>
                </a:cubicBezTo>
                <a:cubicBezTo>
                  <a:pt x="2132110" y="1747575"/>
                  <a:pt x="2130935" y="1751963"/>
                  <a:pt x="2130935" y="1751963"/>
                </a:cubicBezTo>
                <a:cubicBezTo>
                  <a:pt x="2125369" y="1755176"/>
                  <a:pt x="2125369" y="1755176"/>
                  <a:pt x="2125369" y="1755176"/>
                </a:cubicBezTo>
                <a:cubicBezTo>
                  <a:pt x="2119805" y="1758387"/>
                  <a:pt x="2116279" y="1771554"/>
                  <a:pt x="2113065" y="1765989"/>
                </a:cubicBezTo>
                <a:cubicBezTo>
                  <a:pt x="2103110" y="1768027"/>
                  <a:pt x="2116279" y="1771554"/>
                  <a:pt x="2110712" y="1774765"/>
                </a:cubicBezTo>
                <a:cubicBezTo>
                  <a:pt x="2105148" y="1777976"/>
                  <a:pt x="2106325" y="1773591"/>
                  <a:pt x="2101933" y="1772415"/>
                </a:cubicBezTo>
                <a:cubicBezTo>
                  <a:pt x="2095177" y="1780013"/>
                  <a:pt x="2080520" y="1799606"/>
                  <a:pt x="2080520" y="1799606"/>
                </a:cubicBezTo>
                <a:cubicBezTo>
                  <a:pt x="2067038" y="1814810"/>
                  <a:pt x="2038036" y="1835261"/>
                  <a:pt x="2031295" y="1842864"/>
                </a:cubicBezTo>
                <a:cubicBezTo>
                  <a:pt x="2025732" y="1846076"/>
                  <a:pt x="2031295" y="1842864"/>
                  <a:pt x="2035684" y="1844040"/>
                </a:cubicBezTo>
                <a:cubicBezTo>
                  <a:pt x="2031295" y="1842864"/>
                  <a:pt x="2024556" y="1850465"/>
                  <a:pt x="2024556" y="1850465"/>
                </a:cubicBezTo>
                <a:cubicBezTo>
                  <a:pt x="2024556" y="1850465"/>
                  <a:pt x="2022203" y="1859243"/>
                  <a:pt x="2022203" y="1859243"/>
                </a:cubicBezTo>
                <a:cubicBezTo>
                  <a:pt x="2016639" y="1862457"/>
                  <a:pt x="2018990" y="1853679"/>
                  <a:pt x="2017815" y="1858067"/>
                </a:cubicBezTo>
                <a:cubicBezTo>
                  <a:pt x="2007862" y="1860103"/>
                  <a:pt x="2014287" y="1871234"/>
                  <a:pt x="2006687" y="1864492"/>
                </a:cubicBezTo>
                <a:cubicBezTo>
                  <a:pt x="1999866" y="1876776"/>
                  <a:pt x="1985464" y="1897611"/>
                  <a:pt x="1972143" y="1909476"/>
                </a:cubicBezTo>
                <a:lnTo>
                  <a:pt x="1963250" y="1915263"/>
                </a:lnTo>
                <a:lnTo>
                  <a:pt x="1963127" y="1915145"/>
                </a:lnTo>
                <a:cubicBezTo>
                  <a:pt x="1961481" y="1914704"/>
                  <a:pt x="1960090" y="1915507"/>
                  <a:pt x="1959503" y="1917702"/>
                </a:cubicBezTo>
                <a:lnTo>
                  <a:pt x="1963250" y="1915263"/>
                </a:lnTo>
                <a:lnTo>
                  <a:pt x="1968279" y="1920055"/>
                </a:lnTo>
                <a:cubicBezTo>
                  <a:pt x="1938105" y="1944897"/>
                  <a:pt x="1898836" y="1986114"/>
                  <a:pt x="1889743" y="2002493"/>
                </a:cubicBezTo>
                <a:cubicBezTo>
                  <a:pt x="1883001" y="2010095"/>
                  <a:pt x="1834957" y="2048962"/>
                  <a:pt x="1829077" y="2070907"/>
                </a:cubicBezTo>
                <a:cubicBezTo>
                  <a:pt x="1822336" y="2078509"/>
                  <a:pt x="1829077" y="2070907"/>
                  <a:pt x="1824688" y="2069729"/>
                </a:cubicBezTo>
                <a:cubicBezTo>
                  <a:pt x="1821159" y="2082896"/>
                  <a:pt x="1796550" y="2104523"/>
                  <a:pt x="1784245" y="2115340"/>
                </a:cubicBezTo>
                <a:cubicBezTo>
                  <a:pt x="1784245" y="2115340"/>
                  <a:pt x="1790986" y="2107734"/>
                  <a:pt x="1787773" y="2102173"/>
                </a:cubicBezTo>
                <a:cubicBezTo>
                  <a:pt x="1770763" y="2130540"/>
                  <a:pt x="1777505" y="2122938"/>
                  <a:pt x="1787458" y="2120900"/>
                </a:cubicBezTo>
                <a:cubicBezTo>
                  <a:pt x="1760496" y="2151310"/>
                  <a:pt x="1759320" y="2155697"/>
                  <a:pt x="1737061" y="2168550"/>
                </a:cubicBezTo>
                <a:cubicBezTo>
                  <a:pt x="1737061" y="2168550"/>
                  <a:pt x="1731496" y="2171762"/>
                  <a:pt x="1731496" y="2171762"/>
                </a:cubicBezTo>
                <a:cubicBezTo>
                  <a:pt x="1731496" y="2171762"/>
                  <a:pt x="1731496" y="2171762"/>
                  <a:pt x="1730321" y="2176153"/>
                </a:cubicBezTo>
                <a:cubicBezTo>
                  <a:pt x="1730321" y="2176153"/>
                  <a:pt x="1734708" y="2177325"/>
                  <a:pt x="1734708" y="2177325"/>
                </a:cubicBezTo>
                <a:cubicBezTo>
                  <a:pt x="1734708" y="2177325"/>
                  <a:pt x="1733532" y="2181716"/>
                  <a:pt x="1727968" y="2184927"/>
                </a:cubicBezTo>
                <a:cubicBezTo>
                  <a:pt x="1727968" y="2184927"/>
                  <a:pt x="1727968" y="2184927"/>
                  <a:pt x="1729143" y="2180539"/>
                </a:cubicBezTo>
                <a:cubicBezTo>
                  <a:pt x="1729143" y="2180539"/>
                  <a:pt x="1729143" y="2180539"/>
                  <a:pt x="1724755" y="2179365"/>
                </a:cubicBezTo>
                <a:cubicBezTo>
                  <a:pt x="1723580" y="2183754"/>
                  <a:pt x="1723580" y="2183754"/>
                  <a:pt x="1722403" y="2188140"/>
                </a:cubicBezTo>
                <a:cubicBezTo>
                  <a:pt x="1716838" y="2191359"/>
                  <a:pt x="1716838" y="2191359"/>
                  <a:pt x="1716838" y="2191359"/>
                </a:cubicBezTo>
                <a:cubicBezTo>
                  <a:pt x="1711274" y="2194568"/>
                  <a:pt x="1696617" y="2214158"/>
                  <a:pt x="1713311" y="2204523"/>
                </a:cubicBezTo>
                <a:cubicBezTo>
                  <a:pt x="1707747" y="2207735"/>
                  <a:pt x="1707747" y="2207735"/>
                  <a:pt x="1706571" y="2212124"/>
                </a:cubicBezTo>
                <a:cubicBezTo>
                  <a:pt x="1706571" y="2212124"/>
                  <a:pt x="1710960" y="2213296"/>
                  <a:pt x="1712135" y="2208911"/>
                </a:cubicBezTo>
                <a:cubicBezTo>
                  <a:pt x="1712135" y="2208911"/>
                  <a:pt x="1716524" y="2210089"/>
                  <a:pt x="1717700" y="2205701"/>
                </a:cubicBezTo>
                <a:cubicBezTo>
                  <a:pt x="1716524" y="2210089"/>
                  <a:pt x="1715348" y="2214474"/>
                  <a:pt x="1715348" y="2214474"/>
                </a:cubicBezTo>
                <a:cubicBezTo>
                  <a:pt x="1709783" y="2217686"/>
                  <a:pt x="1703042" y="2225284"/>
                  <a:pt x="1695127" y="2237275"/>
                </a:cubicBezTo>
                <a:cubicBezTo>
                  <a:pt x="1681645" y="2252473"/>
                  <a:pt x="1668163" y="2267673"/>
                  <a:pt x="1660247" y="2279661"/>
                </a:cubicBezTo>
                <a:cubicBezTo>
                  <a:pt x="1659071" y="2284055"/>
                  <a:pt x="1654684" y="2282877"/>
                  <a:pt x="1654684" y="2282877"/>
                </a:cubicBezTo>
                <a:cubicBezTo>
                  <a:pt x="1654684" y="2282877"/>
                  <a:pt x="1653507" y="2287266"/>
                  <a:pt x="1653507" y="2287266"/>
                </a:cubicBezTo>
                <a:cubicBezTo>
                  <a:pt x="1651155" y="2296045"/>
                  <a:pt x="1644414" y="2303645"/>
                  <a:pt x="1638849" y="2306859"/>
                </a:cubicBezTo>
                <a:cubicBezTo>
                  <a:pt x="1637673" y="2311249"/>
                  <a:pt x="1630933" y="2318852"/>
                  <a:pt x="1629757" y="2323240"/>
                </a:cubicBezTo>
                <a:cubicBezTo>
                  <a:pt x="1623016" y="2330843"/>
                  <a:pt x="1610711" y="2341656"/>
                  <a:pt x="1603970" y="2349258"/>
                </a:cubicBezTo>
                <a:cubicBezTo>
                  <a:pt x="1599581" y="2348080"/>
                  <a:pt x="1599581" y="2348080"/>
                  <a:pt x="1599581" y="2348080"/>
                </a:cubicBezTo>
                <a:cubicBezTo>
                  <a:pt x="1598406" y="2352473"/>
                  <a:pt x="1598406" y="2352473"/>
                  <a:pt x="1597229" y="2356858"/>
                </a:cubicBezTo>
                <a:cubicBezTo>
                  <a:pt x="1591666" y="2360073"/>
                  <a:pt x="1596055" y="2361251"/>
                  <a:pt x="1596055" y="2361251"/>
                </a:cubicBezTo>
                <a:cubicBezTo>
                  <a:pt x="1601618" y="2358035"/>
                  <a:pt x="1601618" y="2358035"/>
                  <a:pt x="1601618" y="2358035"/>
                </a:cubicBezTo>
                <a:cubicBezTo>
                  <a:pt x="1594878" y="2365637"/>
                  <a:pt x="1578183" y="2375277"/>
                  <a:pt x="1580221" y="2385231"/>
                </a:cubicBezTo>
                <a:cubicBezTo>
                  <a:pt x="1575832" y="2384052"/>
                  <a:pt x="1575832" y="2384052"/>
                  <a:pt x="1574655" y="2388437"/>
                </a:cubicBezTo>
                <a:cubicBezTo>
                  <a:pt x="1569091" y="2391651"/>
                  <a:pt x="1573479" y="2392829"/>
                  <a:pt x="1573479" y="2392829"/>
                </a:cubicBezTo>
                <a:cubicBezTo>
                  <a:pt x="1561173" y="2403644"/>
                  <a:pt x="1566425" y="2419160"/>
                  <a:pt x="1556470" y="2421201"/>
                </a:cubicBezTo>
                <a:cubicBezTo>
                  <a:pt x="1557647" y="2416809"/>
                  <a:pt x="1557647" y="2416809"/>
                  <a:pt x="1557647" y="2416809"/>
                </a:cubicBezTo>
                <a:cubicBezTo>
                  <a:pt x="1564387" y="2409205"/>
                  <a:pt x="1565564" y="2404818"/>
                  <a:pt x="1561173" y="2403644"/>
                </a:cubicBezTo>
                <a:cubicBezTo>
                  <a:pt x="1561173" y="2403644"/>
                  <a:pt x="1555609" y="2406854"/>
                  <a:pt x="1554435" y="2411246"/>
                </a:cubicBezTo>
                <a:cubicBezTo>
                  <a:pt x="1548870" y="2414457"/>
                  <a:pt x="1548870" y="2414457"/>
                  <a:pt x="1548870" y="2414457"/>
                </a:cubicBezTo>
                <a:cubicBezTo>
                  <a:pt x="1540092" y="2412103"/>
                  <a:pt x="1548009" y="2400109"/>
                  <a:pt x="1557962" y="2398072"/>
                </a:cubicBezTo>
                <a:cubicBezTo>
                  <a:pt x="1548009" y="2400109"/>
                  <a:pt x="1558278" y="2379347"/>
                  <a:pt x="1550361" y="2391334"/>
                </a:cubicBezTo>
                <a:cubicBezTo>
                  <a:pt x="1556786" y="2402467"/>
                  <a:pt x="1529277" y="2399799"/>
                  <a:pt x="1528963" y="2418533"/>
                </a:cubicBezTo>
                <a:cubicBezTo>
                  <a:pt x="1523398" y="2421746"/>
                  <a:pt x="1523398" y="2421746"/>
                  <a:pt x="1523398" y="2421746"/>
                </a:cubicBezTo>
                <a:cubicBezTo>
                  <a:pt x="1523398" y="2421746"/>
                  <a:pt x="1522222" y="2426134"/>
                  <a:pt x="1522222" y="2426134"/>
                </a:cubicBezTo>
                <a:cubicBezTo>
                  <a:pt x="1516657" y="2429349"/>
                  <a:pt x="1521046" y="2430521"/>
                  <a:pt x="1521046" y="2430521"/>
                </a:cubicBezTo>
                <a:cubicBezTo>
                  <a:pt x="1522222" y="2426134"/>
                  <a:pt x="1526611" y="2427311"/>
                  <a:pt x="1526611" y="2427311"/>
                </a:cubicBezTo>
                <a:cubicBezTo>
                  <a:pt x="1525436" y="2431698"/>
                  <a:pt x="1518694" y="2439299"/>
                  <a:pt x="1523083" y="2440473"/>
                </a:cubicBezTo>
                <a:cubicBezTo>
                  <a:pt x="1528648" y="2437260"/>
                  <a:pt x="1521907" y="2444864"/>
                  <a:pt x="1526296" y="2446043"/>
                </a:cubicBezTo>
                <a:cubicBezTo>
                  <a:pt x="1533036" y="2438438"/>
                  <a:pt x="1534213" y="2434048"/>
                  <a:pt x="1540953" y="2426449"/>
                </a:cubicBezTo>
                <a:cubicBezTo>
                  <a:pt x="1539777" y="2430837"/>
                  <a:pt x="1539777" y="2430837"/>
                  <a:pt x="1539777" y="2430837"/>
                </a:cubicBezTo>
                <a:cubicBezTo>
                  <a:pt x="1538602" y="2435226"/>
                  <a:pt x="1537425" y="2439614"/>
                  <a:pt x="1541815" y="2440790"/>
                </a:cubicBezTo>
                <a:lnTo>
                  <a:pt x="1547624" y="2434236"/>
                </a:lnTo>
                <a:lnTo>
                  <a:pt x="1544958" y="2442221"/>
                </a:lnTo>
                <a:cubicBezTo>
                  <a:pt x="1541147" y="2447665"/>
                  <a:pt x="1536091" y="2453368"/>
                  <a:pt x="1531545" y="2461558"/>
                </a:cubicBezTo>
                <a:cubicBezTo>
                  <a:pt x="1556157" y="2439931"/>
                  <a:pt x="1534758" y="2467122"/>
                  <a:pt x="1541183" y="2478255"/>
                </a:cubicBezTo>
                <a:cubicBezTo>
                  <a:pt x="1535619" y="2481466"/>
                  <a:pt x="1537970" y="2472689"/>
                  <a:pt x="1537970" y="2472689"/>
                </a:cubicBezTo>
                <a:cubicBezTo>
                  <a:pt x="1533583" y="2471511"/>
                  <a:pt x="1533583" y="2471511"/>
                  <a:pt x="1533583" y="2471511"/>
                </a:cubicBezTo>
                <a:cubicBezTo>
                  <a:pt x="1534758" y="2467122"/>
                  <a:pt x="1534758" y="2467122"/>
                  <a:pt x="1529194" y="2470336"/>
                </a:cubicBezTo>
                <a:cubicBezTo>
                  <a:pt x="1529194" y="2470336"/>
                  <a:pt x="1528018" y="2474727"/>
                  <a:pt x="1526840" y="2479113"/>
                </a:cubicBezTo>
                <a:cubicBezTo>
                  <a:pt x="1525665" y="2483505"/>
                  <a:pt x="1525665" y="2483505"/>
                  <a:pt x="1525665" y="2483505"/>
                </a:cubicBezTo>
                <a:cubicBezTo>
                  <a:pt x="1520101" y="2486716"/>
                  <a:pt x="1516888" y="2481153"/>
                  <a:pt x="1514537" y="2489929"/>
                </a:cubicBezTo>
                <a:cubicBezTo>
                  <a:pt x="1515712" y="2485542"/>
                  <a:pt x="1515712" y="2485542"/>
                  <a:pt x="1516888" y="2481153"/>
                </a:cubicBezTo>
                <a:cubicBezTo>
                  <a:pt x="1518064" y="2476763"/>
                  <a:pt x="1513674" y="2475586"/>
                  <a:pt x="1512498" y="2479973"/>
                </a:cubicBezTo>
                <a:cubicBezTo>
                  <a:pt x="1508111" y="2478800"/>
                  <a:pt x="1506934" y="2483188"/>
                  <a:pt x="1505759" y="2487577"/>
                </a:cubicBezTo>
                <a:cubicBezTo>
                  <a:pt x="1504583" y="2491965"/>
                  <a:pt x="1504583" y="2491965"/>
                  <a:pt x="1503406" y="2496355"/>
                </a:cubicBezTo>
                <a:cubicBezTo>
                  <a:pt x="1501055" y="2505132"/>
                  <a:pt x="1503092" y="2515085"/>
                  <a:pt x="1509832" y="2507482"/>
                </a:cubicBezTo>
                <a:cubicBezTo>
                  <a:pt x="1508657" y="2511871"/>
                  <a:pt x="1508657" y="2511871"/>
                  <a:pt x="1513046" y="2513048"/>
                </a:cubicBezTo>
                <a:cubicBezTo>
                  <a:pt x="1513046" y="2513048"/>
                  <a:pt x="1513046" y="2513048"/>
                  <a:pt x="1518610" y="2509835"/>
                </a:cubicBezTo>
                <a:cubicBezTo>
                  <a:pt x="1517433" y="2514224"/>
                  <a:pt x="1510693" y="2521827"/>
                  <a:pt x="1508343" y="2530604"/>
                </a:cubicBezTo>
                <a:cubicBezTo>
                  <a:pt x="1510693" y="2521827"/>
                  <a:pt x="1517433" y="2514224"/>
                  <a:pt x="1511870" y="2517438"/>
                </a:cubicBezTo>
                <a:cubicBezTo>
                  <a:pt x="1501916" y="2519472"/>
                  <a:pt x="1508343" y="2530604"/>
                  <a:pt x="1498388" y="2532642"/>
                </a:cubicBezTo>
                <a:cubicBezTo>
                  <a:pt x="1493998" y="2531466"/>
                  <a:pt x="1493998" y="2531466"/>
                  <a:pt x="1493998" y="2531466"/>
                </a:cubicBezTo>
                <a:cubicBezTo>
                  <a:pt x="1493998" y="2531466"/>
                  <a:pt x="1493998" y="2531466"/>
                  <a:pt x="1492823" y="2535852"/>
                </a:cubicBezTo>
                <a:cubicBezTo>
                  <a:pt x="1492823" y="2535852"/>
                  <a:pt x="1492823" y="2535852"/>
                  <a:pt x="1491647" y="2540241"/>
                </a:cubicBezTo>
                <a:cubicBezTo>
                  <a:pt x="1496037" y="2541420"/>
                  <a:pt x="1496037" y="2541420"/>
                  <a:pt x="1496037" y="2541420"/>
                </a:cubicBezTo>
                <a:cubicBezTo>
                  <a:pt x="1490472" y="2544632"/>
                  <a:pt x="1490472" y="2544632"/>
                  <a:pt x="1484908" y="2547842"/>
                </a:cubicBezTo>
                <a:lnTo>
                  <a:pt x="1480204" y="2565400"/>
                </a:lnTo>
                <a:lnTo>
                  <a:pt x="1473492" y="2579476"/>
                </a:lnTo>
                <a:cubicBezTo>
                  <a:pt x="1472208" y="2582072"/>
                  <a:pt x="1470523" y="2583971"/>
                  <a:pt x="1464370" y="2589380"/>
                </a:cubicBezTo>
                <a:cubicBezTo>
                  <a:pt x="1465546" y="2584991"/>
                  <a:pt x="1461158" y="2583815"/>
                  <a:pt x="1461158" y="2583815"/>
                </a:cubicBezTo>
                <a:cubicBezTo>
                  <a:pt x="1461158" y="2583815"/>
                  <a:pt x="1459981" y="2588205"/>
                  <a:pt x="1459981" y="2588205"/>
                </a:cubicBezTo>
                <a:cubicBezTo>
                  <a:pt x="1455593" y="2587026"/>
                  <a:pt x="1455593" y="2587026"/>
                  <a:pt x="1455593" y="2587026"/>
                </a:cubicBezTo>
                <a:cubicBezTo>
                  <a:pt x="1471426" y="2563047"/>
                  <a:pt x="1456770" y="2582638"/>
                  <a:pt x="1452380" y="2581463"/>
                </a:cubicBezTo>
                <a:cubicBezTo>
                  <a:pt x="1460297" y="2569473"/>
                  <a:pt x="1468213" y="2557480"/>
                  <a:pt x="1471740" y="2544315"/>
                </a:cubicBezTo>
                <a:cubicBezTo>
                  <a:pt x="1476130" y="2545491"/>
                  <a:pt x="1476130" y="2545491"/>
                  <a:pt x="1476130" y="2545491"/>
                </a:cubicBezTo>
                <a:cubicBezTo>
                  <a:pt x="1482870" y="2537890"/>
                  <a:pt x="1484046" y="2533501"/>
                  <a:pt x="1485222" y="2529113"/>
                </a:cubicBezTo>
                <a:cubicBezTo>
                  <a:pt x="1478482" y="2536713"/>
                  <a:pt x="1477306" y="2541104"/>
                  <a:pt x="1472916" y="2539926"/>
                </a:cubicBezTo>
                <a:cubicBezTo>
                  <a:pt x="1480833" y="2527937"/>
                  <a:pt x="1476444" y="2526761"/>
                  <a:pt x="1483185" y="2519158"/>
                </a:cubicBezTo>
                <a:cubicBezTo>
                  <a:pt x="1483185" y="2519158"/>
                  <a:pt x="1484361" y="2514768"/>
                  <a:pt x="1488750" y="2515946"/>
                </a:cubicBezTo>
                <a:cubicBezTo>
                  <a:pt x="1489926" y="2511558"/>
                  <a:pt x="1489926" y="2511558"/>
                  <a:pt x="1489926" y="2511558"/>
                </a:cubicBezTo>
                <a:cubicBezTo>
                  <a:pt x="1491102" y="2507170"/>
                  <a:pt x="1492279" y="2502780"/>
                  <a:pt x="1486712" y="2505993"/>
                </a:cubicBezTo>
                <a:cubicBezTo>
                  <a:pt x="1481148" y="2509205"/>
                  <a:pt x="1481148" y="2509205"/>
                  <a:pt x="1481148" y="2509205"/>
                </a:cubicBezTo>
                <a:cubicBezTo>
                  <a:pt x="1476761" y="2508031"/>
                  <a:pt x="1475584" y="2512417"/>
                  <a:pt x="1474408" y="2516807"/>
                </a:cubicBezTo>
                <a:cubicBezTo>
                  <a:pt x="1473233" y="2521196"/>
                  <a:pt x="1473233" y="2521196"/>
                  <a:pt x="1473233" y="2521196"/>
                </a:cubicBezTo>
                <a:cubicBezTo>
                  <a:pt x="1477620" y="2522370"/>
                  <a:pt x="1477620" y="2522370"/>
                  <a:pt x="1477620" y="2522370"/>
                </a:cubicBezTo>
                <a:cubicBezTo>
                  <a:pt x="1474092" y="2535536"/>
                  <a:pt x="1452695" y="2562733"/>
                  <a:pt x="1447990" y="2580287"/>
                </a:cubicBezTo>
                <a:cubicBezTo>
                  <a:pt x="1442427" y="2583502"/>
                  <a:pt x="1442427" y="2583502"/>
                  <a:pt x="1442427" y="2583502"/>
                </a:cubicBezTo>
                <a:cubicBezTo>
                  <a:pt x="1442427" y="2583502"/>
                  <a:pt x="1442427" y="2583502"/>
                  <a:pt x="1441252" y="2587888"/>
                </a:cubicBezTo>
                <a:cubicBezTo>
                  <a:pt x="1441252" y="2587888"/>
                  <a:pt x="1440076" y="2592277"/>
                  <a:pt x="1440076" y="2592277"/>
                </a:cubicBezTo>
                <a:cubicBezTo>
                  <a:pt x="1437724" y="2601056"/>
                  <a:pt x="1429807" y="2613046"/>
                  <a:pt x="1424241" y="2616259"/>
                </a:cubicBezTo>
                <a:cubicBezTo>
                  <a:pt x="1428631" y="2617435"/>
                  <a:pt x="1428631" y="2617435"/>
                  <a:pt x="1428631" y="2617435"/>
                </a:cubicBezTo>
                <a:cubicBezTo>
                  <a:pt x="1423065" y="2620646"/>
                  <a:pt x="1423065" y="2620646"/>
                  <a:pt x="1423065" y="2620646"/>
                </a:cubicBezTo>
                <a:cubicBezTo>
                  <a:pt x="1423065" y="2620646"/>
                  <a:pt x="1417501" y="2623860"/>
                  <a:pt x="1416325" y="2628250"/>
                </a:cubicBezTo>
                <a:cubicBezTo>
                  <a:pt x="1416325" y="2628250"/>
                  <a:pt x="1415149" y="2632636"/>
                  <a:pt x="1419537" y="2633816"/>
                </a:cubicBezTo>
                <a:cubicBezTo>
                  <a:pt x="1403390" y="2676529"/>
                  <a:pt x="1384343" y="2694941"/>
                  <a:pt x="1380501" y="2726844"/>
                </a:cubicBezTo>
                <a:cubicBezTo>
                  <a:pt x="1376112" y="2725668"/>
                  <a:pt x="1374936" y="2730055"/>
                  <a:pt x="1373761" y="2734444"/>
                </a:cubicBezTo>
                <a:cubicBezTo>
                  <a:pt x="1373761" y="2734444"/>
                  <a:pt x="1372584" y="2738834"/>
                  <a:pt x="1372584" y="2738834"/>
                </a:cubicBezTo>
                <a:cubicBezTo>
                  <a:pt x="1376973" y="2740010"/>
                  <a:pt x="1376973" y="2740010"/>
                  <a:pt x="1376973" y="2740010"/>
                </a:cubicBezTo>
                <a:cubicBezTo>
                  <a:pt x="1367020" y="2742047"/>
                  <a:pt x="1363493" y="2755213"/>
                  <a:pt x="1361141" y="2763987"/>
                </a:cubicBezTo>
                <a:cubicBezTo>
                  <a:pt x="1361141" y="2763987"/>
                  <a:pt x="1359964" y="2768378"/>
                  <a:pt x="1359964" y="2768378"/>
                </a:cubicBezTo>
                <a:cubicBezTo>
                  <a:pt x="1354400" y="2771588"/>
                  <a:pt x="1354400" y="2771588"/>
                  <a:pt x="1357613" y="2777156"/>
                </a:cubicBezTo>
                <a:cubicBezTo>
                  <a:pt x="1356436" y="2781545"/>
                  <a:pt x="1356436" y="2781545"/>
                  <a:pt x="1356436" y="2781545"/>
                </a:cubicBezTo>
                <a:cubicBezTo>
                  <a:pt x="1356436" y="2781545"/>
                  <a:pt x="1352047" y="2780373"/>
                  <a:pt x="1350871" y="2784756"/>
                </a:cubicBezTo>
                <a:cubicBezTo>
                  <a:pt x="1350871" y="2784756"/>
                  <a:pt x="1350871" y="2784756"/>
                  <a:pt x="1349697" y="2789146"/>
                </a:cubicBezTo>
                <a:cubicBezTo>
                  <a:pt x="1351733" y="2799098"/>
                  <a:pt x="1333862" y="2813125"/>
                  <a:pt x="1342640" y="2815473"/>
                </a:cubicBezTo>
                <a:cubicBezTo>
                  <a:pt x="1342640" y="2815473"/>
                  <a:pt x="1342640" y="2815473"/>
                  <a:pt x="1341464" y="2819866"/>
                </a:cubicBezTo>
                <a:cubicBezTo>
                  <a:pt x="1340288" y="2824252"/>
                  <a:pt x="1339112" y="2828643"/>
                  <a:pt x="1339112" y="2828643"/>
                </a:cubicBezTo>
                <a:cubicBezTo>
                  <a:pt x="1339112" y="2828643"/>
                  <a:pt x="1337936" y="2833031"/>
                  <a:pt x="1337936" y="2833031"/>
                </a:cubicBezTo>
                <a:cubicBezTo>
                  <a:pt x="1327983" y="2835070"/>
                  <a:pt x="1332057" y="2854980"/>
                  <a:pt x="1329704" y="2863758"/>
                </a:cubicBezTo>
                <a:cubicBezTo>
                  <a:pt x="1326177" y="2876919"/>
                  <a:pt x="1319751" y="2865791"/>
                  <a:pt x="1316225" y="2878956"/>
                </a:cubicBezTo>
                <a:cubicBezTo>
                  <a:pt x="1316225" y="2878956"/>
                  <a:pt x="1315047" y="2883346"/>
                  <a:pt x="1310660" y="2882167"/>
                </a:cubicBezTo>
                <a:cubicBezTo>
                  <a:pt x="1310660" y="2882167"/>
                  <a:pt x="1309483" y="2886559"/>
                  <a:pt x="1309483" y="2886559"/>
                </a:cubicBezTo>
                <a:cubicBezTo>
                  <a:pt x="1308307" y="2890947"/>
                  <a:pt x="1308307" y="2890947"/>
                  <a:pt x="1313871" y="2887732"/>
                </a:cubicBezTo>
                <a:cubicBezTo>
                  <a:pt x="1313871" y="2887732"/>
                  <a:pt x="1313871" y="2887732"/>
                  <a:pt x="1315047" y="2883346"/>
                </a:cubicBezTo>
                <a:cubicBezTo>
                  <a:pt x="1317085" y="2893298"/>
                  <a:pt x="1310344" y="2900899"/>
                  <a:pt x="1314733" y="2902077"/>
                </a:cubicBezTo>
                <a:cubicBezTo>
                  <a:pt x="1306817" y="2914067"/>
                  <a:pt x="1310344" y="2900899"/>
                  <a:pt x="1305956" y="2899725"/>
                </a:cubicBezTo>
                <a:lnTo>
                  <a:pt x="1302937" y="2894496"/>
                </a:lnTo>
                <a:lnTo>
                  <a:pt x="1311080" y="2870452"/>
                </a:lnTo>
                <a:cubicBezTo>
                  <a:pt x="1318368" y="2845724"/>
                  <a:pt x="1320087" y="2829424"/>
                  <a:pt x="1326262" y="2806382"/>
                </a:cubicBezTo>
                <a:cubicBezTo>
                  <a:pt x="1326262" y="2806382"/>
                  <a:pt x="1330650" y="2807560"/>
                  <a:pt x="1331827" y="2803167"/>
                </a:cubicBezTo>
                <a:cubicBezTo>
                  <a:pt x="1331827" y="2803167"/>
                  <a:pt x="1333003" y="2798780"/>
                  <a:pt x="1333003" y="2798780"/>
                </a:cubicBezTo>
                <a:cubicBezTo>
                  <a:pt x="1336530" y="2785620"/>
                  <a:pt x="1337706" y="2781228"/>
                  <a:pt x="1334493" y="2775664"/>
                </a:cubicBezTo>
                <a:cubicBezTo>
                  <a:pt x="1329789" y="2793217"/>
                  <a:pt x="1329789" y="2793217"/>
                  <a:pt x="1329789" y="2793217"/>
                </a:cubicBezTo>
                <a:cubicBezTo>
                  <a:pt x="1329789" y="2793217"/>
                  <a:pt x="1330965" y="2788830"/>
                  <a:pt x="1326577" y="2787655"/>
                </a:cubicBezTo>
                <a:cubicBezTo>
                  <a:pt x="1326577" y="2787655"/>
                  <a:pt x="1325401" y="2792044"/>
                  <a:pt x="1325401" y="2792044"/>
                </a:cubicBezTo>
                <a:cubicBezTo>
                  <a:pt x="1324224" y="2796428"/>
                  <a:pt x="1324224" y="2796428"/>
                  <a:pt x="1324224" y="2796428"/>
                </a:cubicBezTo>
                <a:cubicBezTo>
                  <a:pt x="1323048" y="2800817"/>
                  <a:pt x="1323048" y="2800817"/>
                  <a:pt x="1323048" y="2800817"/>
                </a:cubicBezTo>
                <a:cubicBezTo>
                  <a:pt x="1311921" y="2807246"/>
                  <a:pt x="1301966" y="2809280"/>
                  <a:pt x="1289346" y="2838830"/>
                </a:cubicBezTo>
                <a:cubicBezTo>
                  <a:pt x="1265911" y="2856073"/>
                  <a:pt x="1240985" y="2896427"/>
                  <a:pt x="1223976" y="2924793"/>
                </a:cubicBezTo>
                <a:cubicBezTo>
                  <a:pt x="1222801" y="2929182"/>
                  <a:pt x="1218412" y="2928006"/>
                  <a:pt x="1218412" y="2928006"/>
                </a:cubicBezTo>
                <a:cubicBezTo>
                  <a:pt x="1218412" y="2928006"/>
                  <a:pt x="1214023" y="2926831"/>
                  <a:pt x="1212847" y="2931216"/>
                </a:cubicBezTo>
                <a:cubicBezTo>
                  <a:pt x="1212847" y="2931216"/>
                  <a:pt x="1214023" y="2926831"/>
                  <a:pt x="1209634" y="2925654"/>
                </a:cubicBezTo>
                <a:cubicBezTo>
                  <a:pt x="1207282" y="2934428"/>
                  <a:pt x="1206106" y="2938819"/>
                  <a:pt x="1206106" y="2938819"/>
                </a:cubicBezTo>
                <a:cubicBezTo>
                  <a:pt x="1190273" y="2962800"/>
                  <a:pt x="1176477" y="2996731"/>
                  <a:pt x="1166209" y="3017499"/>
                </a:cubicBezTo>
                <a:cubicBezTo>
                  <a:pt x="1160645" y="3020711"/>
                  <a:pt x="1162997" y="3011933"/>
                  <a:pt x="1164172" y="3007543"/>
                </a:cubicBezTo>
                <a:cubicBezTo>
                  <a:pt x="1156255" y="3019536"/>
                  <a:pt x="1133366" y="3069854"/>
                  <a:pt x="1123728" y="3053158"/>
                </a:cubicBezTo>
                <a:cubicBezTo>
                  <a:pt x="1126080" y="3044382"/>
                  <a:pt x="1126080" y="3044382"/>
                  <a:pt x="1126080" y="3044382"/>
                </a:cubicBezTo>
                <a:cubicBezTo>
                  <a:pt x="1127255" y="3039995"/>
                  <a:pt x="1127255" y="3039995"/>
                  <a:pt x="1127255" y="3039995"/>
                </a:cubicBezTo>
                <a:cubicBezTo>
                  <a:pt x="1127255" y="3039995"/>
                  <a:pt x="1122869" y="3038817"/>
                  <a:pt x="1121693" y="3043205"/>
                </a:cubicBezTo>
                <a:cubicBezTo>
                  <a:pt x="1119340" y="3051983"/>
                  <a:pt x="1119340" y="3051983"/>
                  <a:pt x="1119340" y="3051983"/>
                </a:cubicBezTo>
                <a:cubicBezTo>
                  <a:pt x="1119656" y="3033251"/>
                  <a:pt x="1131100" y="3008091"/>
                  <a:pt x="1138155" y="2981758"/>
                </a:cubicBezTo>
                <a:cubicBezTo>
                  <a:pt x="1122091" y="2953936"/>
                  <a:pt x="1084545" y="3023841"/>
                  <a:pt x="1063693" y="3084111"/>
                </a:cubicBezTo>
                <a:cubicBezTo>
                  <a:pt x="1058127" y="3087324"/>
                  <a:pt x="1054915" y="3081761"/>
                  <a:pt x="1042611" y="3092573"/>
                </a:cubicBezTo>
                <a:cubicBezTo>
                  <a:pt x="1050527" y="3080584"/>
                  <a:pt x="1046139" y="3079408"/>
                  <a:pt x="1041750" y="3078232"/>
                </a:cubicBezTo>
                <a:cubicBezTo>
                  <a:pt x="1051157" y="3043122"/>
                  <a:pt x="1064953" y="3009184"/>
                  <a:pt x="1074361" y="2974074"/>
                </a:cubicBezTo>
                <a:lnTo>
                  <a:pt x="1074446" y="2973268"/>
                </a:lnTo>
                <a:lnTo>
                  <a:pt x="1071348" y="2972375"/>
                </a:lnTo>
                <a:cubicBezTo>
                  <a:pt x="1070033" y="2968674"/>
                  <a:pt x="1065507" y="2967843"/>
                  <a:pt x="1063059" y="2964763"/>
                </a:cubicBezTo>
                <a:cubicBezTo>
                  <a:pt x="1060611" y="2961684"/>
                  <a:pt x="1058477" y="2959169"/>
                  <a:pt x="1058735" y="2954974"/>
                </a:cubicBezTo>
                <a:cubicBezTo>
                  <a:pt x="1059560" y="2950467"/>
                  <a:pt x="1058498" y="2945889"/>
                  <a:pt x="1057310" y="2941752"/>
                </a:cubicBezTo>
                <a:cubicBezTo>
                  <a:pt x="1056247" y="2937173"/>
                  <a:pt x="1055625" y="2932724"/>
                  <a:pt x="1054437" y="2928586"/>
                </a:cubicBezTo>
                <a:cubicBezTo>
                  <a:pt x="1053815" y="2924136"/>
                  <a:pt x="1051306" y="2919618"/>
                  <a:pt x="1047539" y="2916158"/>
                </a:cubicBezTo>
                <a:cubicBezTo>
                  <a:pt x="1049055" y="2910902"/>
                  <a:pt x="1050573" y="2905647"/>
                  <a:pt x="1052090" y="2900391"/>
                </a:cubicBezTo>
                <a:lnTo>
                  <a:pt x="1057812" y="2896650"/>
                </a:lnTo>
                <a:lnTo>
                  <a:pt x="1147585" y="2683246"/>
                </a:lnTo>
                <a:cubicBezTo>
                  <a:pt x="1149937" y="2674468"/>
                  <a:pt x="1152288" y="2665689"/>
                  <a:pt x="1157853" y="2662480"/>
                </a:cubicBezTo>
                <a:lnTo>
                  <a:pt x="1165412" y="2648623"/>
                </a:lnTo>
                <a:lnTo>
                  <a:pt x="1166569" y="2643502"/>
                </a:lnTo>
                <a:cubicBezTo>
                  <a:pt x="1167594" y="2642392"/>
                  <a:pt x="1169362" y="2641144"/>
                  <a:pt x="1168762" y="2639565"/>
                </a:cubicBezTo>
                <a:cubicBezTo>
                  <a:pt x="1166637" y="2634731"/>
                  <a:pt x="1167155" y="2631718"/>
                  <a:pt x="1172915" y="2631271"/>
                </a:cubicBezTo>
                <a:cubicBezTo>
                  <a:pt x="1174309" y="2631321"/>
                  <a:pt x="1175196" y="2629468"/>
                  <a:pt x="1174177" y="2628119"/>
                </a:cubicBezTo>
                <a:cubicBezTo>
                  <a:pt x="1170983" y="2623330"/>
                  <a:pt x="1176001" y="2623020"/>
                  <a:pt x="1177400" y="2620612"/>
                </a:cubicBezTo>
                <a:lnTo>
                  <a:pt x="1182007" y="2618204"/>
                </a:lnTo>
                <a:lnTo>
                  <a:pt x="1313244" y="2377642"/>
                </a:lnTo>
                <a:cubicBezTo>
                  <a:pt x="1712780" y="1741531"/>
                  <a:pt x="2362945" y="1309343"/>
                  <a:pt x="3093635" y="1173129"/>
                </a:cubicBezTo>
                <a:lnTo>
                  <a:pt x="3190643" y="1158181"/>
                </a:lnTo>
                <a:lnTo>
                  <a:pt x="3190542" y="1157164"/>
                </a:lnTo>
                <a:cubicBezTo>
                  <a:pt x="3184887" y="1155045"/>
                  <a:pt x="3185241" y="1151869"/>
                  <a:pt x="3188774" y="1147633"/>
                </a:cubicBezTo>
                <a:cubicBezTo>
                  <a:pt x="3189834" y="1146220"/>
                  <a:pt x="3188421" y="1144456"/>
                  <a:pt x="3187714" y="1143045"/>
                </a:cubicBezTo>
                <a:cubicBezTo>
                  <a:pt x="3186300" y="1140926"/>
                  <a:pt x="3185947" y="1138809"/>
                  <a:pt x="3188068" y="1137043"/>
                </a:cubicBezTo>
                <a:cubicBezTo>
                  <a:pt x="3190188" y="1135279"/>
                  <a:pt x="3189835" y="1133161"/>
                  <a:pt x="3190542" y="1131043"/>
                </a:cubicBezTo>
                <a:cubicBezTo>
                  <a:pt x="3192308" y="1125748"/>
                  <a:pt x="3194430" y="1119041"/>
                  <a:pt x="3198317" y="1116571"/>
                </a:cubicBezTo>
                <a:cubicBezTo>
                  <a:pt x="3206797" y="1111277"/>
                  <a:pt x="3214929" y="1105628"/>
                  <a:pt x="3223409" y="1100686"/>
                </a:cubicBezTo>
                <a:cubicBezTo>
                  <a:pt x="3224115" y="1100686"/>
                  <a:pt x="3225529" y="1100685"/>
                  <a:pt x="3225883" y="1101391"/>
                </a:cubicBezTo>
                <a:cubicBezTo>
                  <a:pt x="3229415" y="1104568"/>
                  <a:pt x="3232598" y="1107393"/>
                  <a:pt x="3237191" y="1102803"/>
                </a:cubicBezTo>
                <a:cubicBezTo>
                  <a:pt x="3238606" y="1101038"/>
                  <a:pt x="3239665" y="1102803"/>
                  <a:pt x="3240018" y="1104215"/>
                </a:cubicBezTo>
                <a:cubicBezTo>
                  <a:pt x="3241081" y="1110216"/>
                  <a:pt x="3243906" y="1110216"/>
                  <a:pt x="3248148" y="1106687"/>
                </a:cubicBezTo>
                <a:cubicBezTo>
                  <a:pt x="3250974" y="1104215"/>
                  <a:pt x="3252389" y="1104922"/>
                  <a:pt x="3252389" y="1108451"/>
                </a:cubicBezTo>
                <a:cubicBezTo>
                  <a:pt x="3252390" y="1110569"/>
                  <a:pt x="3251681" y="1113041"/>
                  <a:pt x="3254862" y="1113394"/>
                </a:cubicBezTo>
                <a:cubicBezTo>
                  <a:pt x="3261932" y="1114805"/>
                  <a:pt x="3264758" y="1119747"/>
                  <a:pt x="3264406" y="1126101"/>
                </a:cubicBezTo>
                <a:cubicBezTo>
                  <a:pt x="3264052" y="1130690"/>
                  <a:pt x="3265466" y="1132808"/>
                  <a:pt x="3268646" y="1134572"/>
                </a:cubicBezTo>
                <a:cubicBezTo>
                  <a:pt x="3268646" y="1135984"/>
                  <a:pt x="3268646" y="1137396"/>
                  <a:pt x="3268646" y="1138809"/>
                </a:cubicBezTo>
                <a:lnTo>
                  <a:pt x="3265216" y="1148055"/>
                </a:lnTo>
                <a:lnTo>
                  <a:pt x="3266366" y="1148363"/>
                </a:lnTo>
                <a:cubicBezTo>
                  <a:pt x="3266366" y="1148363"/>
                  <a:pt x="3270754" y="1149540"/>
                  <a:pt x="3270754" y="1149540"/>
                </a:cubicBezTo>
                <a:cubicBezTo>
                  <a:pt x="3260801" y="1151576"/>
                  <a:pt x="3264014" y="1157139"/>
                  <a:pt x="3273969" y="1155104"/>
                </a:cubicBezTo>
                <a:cubicBezTo>
                  <a:pt x="3264014" y="1157139"/>
                  <a:pt x="3264014" y="1157139"/>
                  <a:pt x="3264014" y="1157139"/>
                </a:cubicBezTo>
                <a:lnTo>
                  <a:pt x="3261738" y="1158925"/>
                </a:lnTo>
                <a:lnTo>
                  <a:pt x="3260463" y="1162931"/>
                </a:lnTo>
                <a:lnTo>
                  <a:pt x="3261662" y="1165918"/>
                </a:lnTo>
                <a:cubicBezTo>
                  <a:pt x="3261662" y="1165918"/>
                  <a:pt x="3266053" y="1167094"/>
                  <a:pt x="3271616" y="1163880"/>
                </a:cubicBezTo>
                <a:cubicBezTo>
                  <a:pt x="3277180" y="1160668"/>
                  <a:pt x="3277180" y="1160668"/>
                  <a:pt x="3277180" y="1160668"/>
                </a:cubicBezTo>
                <a:cubicBezTo>
                  <a:pt x="3281571" y="1161845"/>
                  <a:pt x="3281571" y="1161845"/>
                  <a:pt x="3281571" y="1161845"/>
                </a:cubicBezTo>
                <a:cubicBezTo>
                  <a:pt x="3279217" y="1170622"/>
                  <a:pt x="3283608" y="1171797"/>
                  <a:pt x="3293562" y="1169761"/>
                </a:cubicBezTo>
                <a:cubicBezTo>
                  <a:pt x="3304691" y="1163335"/>
                  <a:pt x="3294737" y="1165371"/>
                  <a:pt x="3301479" y="1157772"/>
                </a:cubicBezTo>
                <a:cubicBezTo>
                  <a:pt x="3291523" y="1159807"/>
                  <a:pt x="3291523" y="1159807"/>
                  <a:pt x="3291523" y="1159807"/>
                </a:cubicBezTo>
                <a:cubicBezTo>
                  <a:pt x="3297090" y="1156595"/>
                  <a:pt x="3301479" y="1157772"/>
                  <a:pt x="3298266" y="1152207"/>
                </a:cubicBezTo>
                <a:cubicBezTo>
                  <a:pt x="3293877" y="1151031"/>
                  <a:pt x="3289486" y="1149854"/>
                  <a:pt x="3283922" y="1153068"/>
                </a:cubicBezTo>
                <a:cubicBezTo>
                  <a:pt x="3278358" y="1156280"/>
                  <a:pt x="3278358" y="1156280"/>
                  <a:pt x="3278358" y="1156280"/>
                </a:cubicBezTo>
                <a:cubicBezTo>
                  <a:pt x="3279532" y="1151892"/>
                  <a:pt x="3283922" y="1153068"/>
                  <a:pt x="3285098" y="1148678"/>
                </a:cubicBezTo>
                <a:cubicBezTo>
                  <a:pt x="3289486" y="1149854"/>
                  <a:pt x="3289486" y="1149854"/>
                  <a:pt x="3289486" y="1149854"/>
                </a:cubicBezTo>
                <a:cubicBezTo>
                  <a:pt x="3295052" y="1146639"/>
                  <a:pt x="3295052" y="1146639"/>
                  <a:pt x="3295052" y="1146639"/>
                </a:cubicBezTo>
                <a:cubicBezTo>
                  <a:pt x="3296228" y="1142253"/>
                  <a:pt x="3296228" y="1142253"/>
                  <a:pt x="3296228" y="1142253"/>
                </a:cubicBezTo>
                <a:cubicBezTo>
                  <a:pt x="3332673" y="1137907"/>
                  <a:pt x="3369920" y="1134951"/>
                  <a:pt x="3407570" y="1132691"/>
                </a:cubicBezTo>
                <a:lnTo>
                  <a:pt x="3408629" y="1132641"/>
                </a:lnTo>
                <a:lnTo>
                  <a:pt x="3422555" y="1115689"/>
                </a:lnTo>
                <a:cubicBezTo>
                  <a:pt x="3427352" y="1110669"/>
                  <a:pt x="3432653" y="1105555"/>
                  <a:pt x="3439596" y="1098067"/>
                </a:cubicBezTo>
                <a:close/>
                <a:moveTo>
                  <a:pt x="3600857" y="1069314"/>
                </a:moveTo>
                <a:lnTo>
                  <a:pt x="3486834" y="1070377"/>
                </a:lnTo>
                <a:lnTo>
                  <a:pt x="3482853" y="1076212"/>
                </a:lnTo>
                <a:cubicBezTo>
                  <a:pt x="3477325" y="1082921"/>
                  <a:pt x="3471020" y="1088215"/>
                  <a:pt x="3470292" y="1084198"/>
                </a:cubicBezTo>
                <a:cubicBezTo>
                  <a:pt x="3471020" y="1088215"/>
                  <a:pt x="3471020" y="1088215"/>
                  <a:pt x="3467732" y="1092964"/>
                </a:cubicBezTo>
                <a:cubicBezTo>
                  <a:pt x="3467732" y="1092964"/>
                  <a:pt x="3467732" y="1092964"/>
                  <a:pt x="3463714" y="1093692"/>
                </a:cubicBezTo>
                <a:cubicBezTo>
                  <a:pt x="3463714" y="1093692"/>
                  <a:pt x="3459691" y="1094422"/>
                  <a:pt x="3459691" y="1094422"/>
                </a:cubicBezTo>
                <a:cubicBezTo>
                  <a:pt x="3459691" y="1094422"/>
                  <a:pt x="3459691" y="1094422"/>
                  <a:pt x="3462981" y="1089674"/>
                </a:cubicBezTo>
                <a:cubicBezTo>
                  <a:pt x="3439223" y="1118892"/>
                  <a:pt x="3460422" y="1098440"/>
                  <a:pt x="3465169" y="1101729"/>
                </a:cubicBezTo>
                <a:cubicBezTo>
                  <a:pt x="3469916" y="1105021"/>
                  <a:pt x="3463337" y="1114518"/>
                  <a:pt x="3463337" y="1114518"/>
                </a:cubicBezTo>
                <a:cubicBezTo>
                  <a:pt x="3468084" y="1117808"/>
                  <a:pt x="3488553" y="1093336"/>
                  <a:pt x="3482703" y="1106851"/>
                </a:cubicBezTo>
                <a:lnTo>
                  <a:pt x="3470763" y="1129698"/>
                </a:lnTo>
                <a:lnTo>
                  <a:pt x="3521310" y="1127302"/>
                </a:lnTo>
                <a:cubicBezTo>
                  <a:pt x="3520135" y="1131691"/>
                  <a:pt x="3523345" y="1137257"/>
                  <a:pt x="3533298" y="1135219"/>
                </a:cubicBezTo>
                <a:cubicBezTo>
                  <a:pt x="3534473" y="1130831"/>
                  <a:pt x="3534473" y="1130831"/>
                  <a:pt x="3534473" y="1130831"/>
                </a:cubicBezTo>
                <a:cubicBezTo>
                  <a:pt x="3594835" y="1129367"/>
                  <a:pt x="3655782" y="1130117"/>
                  <a:pt x="3717086" y="1133094"/>
                </a:cubicBezTo>
                <a:lnTo>
                  <a:pt x="3868378" y="1145890"/>
                </a:lnTo>
                <a:lnTo>
                  <a:pt x="3877327" y="1137338"/>
                </a:lnTo>
                <a:lnTo>
                  <a:pt x="3925635" y="1095084"/>
                </a:lnTo>
                <a:lnTo>
                  <a:pt x="3888953" y="1089400"/>
                </a:lnTo>
                <a:cubicBezTo>
                  <a:pt x="3792161" y="1077578"/>
                  <a:pt x="3696040" y="1070933"/>
                  <a:pt x="3600857" y="1069314"/>
                </a:cubicBezTo>
                <a:close/>
                <a:moveTo>
                  <a:pt x="1529358" y="1068042"/>
                </a:moveTo>
                <a:cubicBezTo>
                  <a:pt x="1530737" y="1067167"/>
                  <a:pt x="1531933" y="1067864"/>
                  <a:pt x="1532900" y="1068456"/>
                </a:cubicBezTo>
                <a:cubicBezTo>
                  <a:pt x="1536199" y="1070281"/>
                  <a:pt x="1539332" y="1072163"/>
                  <a:pt x="1543017" y="1069322"/>
                </a:cubicBezTo>
                <a:cubicBezTo>
                  <a:pt x="1543792" y="1068855"/>
                  <a:pt x="1544532" y="1069340"/>
                  <a:pt x="1545108" y="1069886"/>
                </a:cubicBezTo>
                <a:cubicBezTo>
                  <a:pt x="1548147" y="1072557"/>
                  <a:pt x="1552112" y="1074139"/>
                  <a:pt x="1555638" y="1076068"/>
                </a:cubicBezTo>
                <a:cubicBezTo>
                  <a:pt x="1561040" y="1079014"/>
                  <a:pt x="1564955" y="1083064"/>
                  <a:pt x="1565563" y="1089439"/>
                </a:cubicBezTo>
                <a:cubicBezTo>
                  <a:pt x="1565906" y="1091954"/>
                  <a:pt x="1567782" y="1092972"/>
                  <a:pt x="1569598" y="1093822"/>
                </a:cubicBezTo>
                <a:cubicBezTo>
                  <a:pt x="1573745" y="1095904"/>
                  <a:pt x="1574180" y="1097631"/>
                  <a:pt x="1571749" y="1101337"/>
                </a:cubicBezTo>
                <a:cubicBezTo>
                  <a:pt x="1568983" y="1105164"/>
                  <a:pt x="1568983" y="1105164"/>
                  <a:pt x="1573311" y="1107747"/>
                </a:cubicBezTo>
                <a:cubicBezTo>
                  <a:pt x="1574279" y="1108339"/>
                  <a:pt x="1575020" y="1108826"/>
                  <a:pt x="1574381" y="1110186"/>
                </a:cubicBezTo>
                <a:cubicBezTo>
                  <a:pt x="1572432" y="1115226"/>
                  <a:pt x="1570816" y="1120145"/>
                  <a:pt x="1568640" y="1125078"/>
                </a:cubicBezTo>
                <a:cubicBezTo>
                  <a:pt x="1567163" y="1128816"/>
                  <a:pt x="1564657" y="1131793"/>
                  <a:pt x="1561289" y="1133953"/>
                </a:cubicBezTo>
                <a:cubicBezTo>
                  <a:pt x="1559196" y="1135464"/>
                  <a:pt x="1556863" y="1143091"/>
                  <a:pt x="1557599" y="1145653"/>
                </a:cubicBezTo>
                <a:cubicBezTo>
                  <a:pt x="1557900" y="1146486"/>
                  <a:pt x="1558141" y="1147153"/>
                  <a:pt x="1559263" y="1147125"/>
                </a:cubicBezTo>
                <a:cubicBezTo>
                  <a:pt x="1565276" y="1147589"/>
                  <a:pt x="1569404" y="1151185"/>
                  <a:pt x="1573320" y="1155235"/>
                </a:cubicBezTo>
                <a:cubicBezTo>
                  <a:pt x="1574180" y="1156054"/>
                  <a:pt x="1574815" y="1156767"/>
                  <a:pt x="1575617" y="1157419"/>
                </a:cubicBezTo>
                <a:cubicBezTo>
                  <a:pt x="1578247" y="1159483"/>
                  <a:pt x="1579925" y="1161516"/>
                  <a:pt x="1579962" y="1165271"/>
                </a:cubicBezTo>
                <a:cubicBezTo>
                  <a:pt x="1580000" y="1169025"/>
                  <a:pt x="1583041" y="1171697"/>
                  <a:pt x="1585792" y="1174094"/>
                </a:cubicBezTo>
                <a:cubicBezTo>
                  <a:pt x="1587001" y="1175353"/>
                  <a:pt x="1587696" y="1176232"/>
                  <a:pt x="1587072" y="1178155"/>
                </a:cubicBezTo>
                <a:cubicBezTo>
                  <a:pt x="1584691" y="1186176"/>
                  <a:pt x="1583720" y="1194441"/>
                  <a:pt x="1586005" y="1202850"/>
                </a:cubicBezTo>
                <a:cubicBezTo>
                  <a:pt x="1586260" y="1204076"/>
                  <a:pt x="1586107" y="1204698"/>
                  <a:pt x="1584819" y="1204785"/>
                </a:cubicBezTo>
                <a:cubicBezTo>
                  <a:pt x="1579789" y="1205472"/>
                  <a:pt x="1577691" y="1209057"/>
                  <a:pt x="1576395" y="1213296"/>
                </a:cubicBezTo>
                <a:cubicBezTo>
                  <a:pt x="1575770" y="1215218"/>
                  <a:pt x="1575070" y="1216413"/>
                  <a:pt x="1572541" y="1216197"/>
                </a:cubicBezTo>
                <a:cubicBezTo>
                  <a:pt x="1569330" y="1215661"/>
                  <a:pt x="1567311" y="1217899"/>
                  <a:pt x="1565807" y="1220516"/>
                </a:cubicBezTo>
                <a:cubicBezTo>
                  <a:pt x="1564513" y="1222678"/>
                  <a:pt x="1563342" y="1225176"/>
                  <a:pt x="1562050" y="1227337"/>
                </a:cubicBezTo>
                <a:cubicBezTo>
                  <a:pt x="1561374" y="1228336"/>
                  <a:pt x="1560635" y="1229027"/>
                  <a:pt x="1559873" y="1229137"/>
                </a:cubicBezTo>
                <a:cubicBezTo>
                  <a:pt x="1559111" y="1229248"/>
                  <a:pt x="1558328" y="1228777"/>
                  <a:pt x="1557567" y="1227452"/>
                </a:cubicBezTo>
                <a:cubicBezTo>
                  <a:pt x="1557325" y="1226784"/>
                  <a:pt x="1556917" y="1226178"/>
                  <a:pt x="1556343" y="1225631"/>
                </a:cubicBezTo>
                <a:cubicBezTo>
                  <a:pt x="1555708" y="1224918"/>
                  <a:pt x="1555226" y="1223586"/>
                  <a:pt x="1553999" y="1223842"/>
                </a:cubicBezTo>
                <a:cubicBezTo>
                  <a:pt x="1552997" y="1224203"/>
                  <a:pt x="1552632" y="1225277"/>
                  <a:pt x="1552373" y="1226123"/>
                </a:cubicBezTo>
                <a:cubicBezTo>
                  <a:pt x="1550896" y="1229861"/>
                  <a:pt x="1549835" y="1230058"/>
                  <a:pt x="1547068" y="1227100"/>
                </a:cubicBezTo>
                <a:cubicBezTo>
                  <a:pt x="1546435" y="1226387"/>
                  <a:pt x="1546027" y="1225781"/>
                  <a:pt x="1545285" y="1225295"/>
                </a:cubicBezTo>
                <a:cubicBezTo>
                  <a:pt x="1544257" y="1224536"/>
                  <a:pt x="1543289" y="1223944"/>
                  <a:pt x="1541862" y="1225213"/>
                </a:cubicBezTo>
                <a:cubicBezTo>
                  <a:pt x="1540663" y="1226590"/>
                  <a:pt x="1540904" y="1227256"/>
                  <a:pt x="1541719" y="1228469"/>
                </a:cubicBezTo>
                <a:lnTo>
                  <a:pt x="1542911" y="1230888"/>
                </a:lnTo>
                <a:lnTo>
                  <a:pt x="1525192" y="1222637"/>
                </a:lnTo>
                <a:lnTo>
                  <a:pt x="1525555" y="1221308"/>
                </a:lnTo>
                <a:cubicBezTo>
                  <a:pt x="1525347" y="1219688"/>
                  <a:pt x="1524485" y="1218869"/>
                  <a:pt x="1522910" y="1218685"/>
                </a:cubicBezTo>
                <a:cubicBezTo>
                  <a:pt x="1521729" y="1218547"/>
                  <a:pt x="1520608" y="1218575"/>
                  <a:pt x="1519426" y="1218436"/>
                </a:cubicBezTo>
                <a:cubicBezTo>
                  <a:pt x="1517458" y="1218205"/>
                  <a:pt x="1516369" y="1217280"/>
                  <a:pt x="1515979" y="1215159"/>
                </a:cubicBezTo>
                <a:cubicBezTo>
                  <a:pt x="1514811" y="1208797"/>
                  <a:pt x="1511136" y="1205414"/>
                  <a:pt x="1504836" y="1204676"/>
                </a:cubicBezTo>
                <a:cubicBezTo>
                  <a:pt x="1503822" y="1204478"/>
                  <a:pt x="1502048" y="1205306"/>
                  <a:pt x="1501839" y="1203687"/>
                </a:cubicBezTo>
                <a:cubicBezTo>
                  <a:pt x="1501463" y="1202126"/>
                  <a:pt x="1502844" y="1201251"/>
                  <a:pt x="1504285" y="1200542"/>
                </a:cubicBezTo>
                <a:cubicBezTo>
                  <a:pt x="1504451" y="1200481"/>
                  <a:pt x="1504618" y="1200421"/>
                  <a:pt x="1504785" y="1200361"/>
                </a:cubicBezTo>
                <a:cubicBezTo>
                  <a:pt x="1508546" y="1198247"/>
                  <a:pt x="1509050" y="1195991"/>
                  <a:pt x="1505906" y="1193548"/>
                </a:cubicBezTo>
                <a:cubicBezTo>
                  <a:pt x="1502986" y="1191212"/>
                  <a:pt x="1502643" y="1188697"/>
                  <a:pt x="1503407" y="1185595"/>
                </a:cubicBezTo>
                <a:cubicBezTo>
                  <a:pt x="1504370" y="1181478"/>
                  <a:pt x="1504772" y="1177376"/>
                  <a:pt x="1502266" y="1173570"/>
                </a:cubicBezTo>
                <a:cubicBezTo>
                  <a:pt x="1501102" y="1171917"/>
                  <a:pt x="1502635" y="1170421"/>
                  <a:pt x="1503682" y="1169666"/>
                </a:cubicBezTo>
                <a:cubicBezTo>
                  <a:pt x="1507475" y="1166597"/>
                  <a:pt x="1508452" y="1163041"/>
                  <a:pt x="1507386" y="1158528"/>
                </a:cubicBezTo>
                <a:cubicBezTo>
                  <a:pt x="1506756" y="1155740"/>
                  <a:pt x="1507576" y="1154879"/>
                  <a:pt x="1510846" y="1155580"/>
                </a:cubicBezTo>
                <a:cubicBezTo>
                  <a:pt x="1517782" y="1157030"/>
                  <a:pt x="1525215" y="1151517"/>
                  <a:pt x="1525608" y="1144779"/>
                </a:cubicBezTo>
                <a:cubicBezTo>
                  <a:pt x="1525686" y="1143431"/>
                  <a:pt x="1525811" y="1141690"/>
                  <a:pt x="1524283" y="1141112"/>
                </a:cubicBezTo>
                <a:cubicBezTo>
                  <a:pt x="1522754" y="1140534"/>
                  <a:pt x="1520906" y="1140636"/>
                  <a:pt x="1519767" y="1142180"/>
                </a:cubicBezTo>
                <a:cubicBezTo>
                  <a:pt x="1518946" y="1143040"/>
                  <a:pt x="1518248" y="1144235"/>
                  <a:pt x="1517488" y="1145264"/>
                </a:cubicBezTo>
                <a:cubicBezTo>
                  <a:pt x="1516788" y="1146460"/>
                  <a:pt x="1515968" y="1147321"/>
                  <a:pt x="1514773" y="1146622"/>
                </a:cubicBezTo>
                <a:cubicBezTo>
                  <a:pt x="1513351" y="1145818"/>
                  <a:pt x="1513656" y="1144577"/>
                  <a:pt x="1514189" y="1143442"/>
                </a:cubicBezTo>
                <a:cubicBezTo>
                  <a:pt x="1514555" y="1142368"/>
                  <a:pt x="1515314" y="1141339"/>
                  <a:pt x="1515740" y="1140431"/>
                </a:cubicBezTo>
                <a:cubicBezTo>
                  <a:pt x="1516699" y="1138388"/>
                  <a:pt x="1516810" y="1136086"/>
                  <a:pt x="1514706" y="1134962"/>
                </a:cubicBezTo>
                <a:cubicBezTo>
                  <a:pt x="1512891" y="1134112"/>
                  <a:pt x="1511538" y="1136107"/>
                  <a:pt x="1510565" y="1137590"/>
                </a:cubicBezTo>
                <a:cubicBezTo>
                  <a:pt x="1509699" y="1138845"/>
                  <a:pt x="1509408" y="1140647"/>
                  <a:pt x="1508088" y="1141689"/>
                </a:cubicBezTo>
                <a:cubicBezTo>
                  <a:pt x="1506221" y="1143307"/>
                  <a:pt x="1504767" y="1143455"/>
                  <a:pt x="1503970" y="1140729"/>
                </a:cubicBezTo>
                <a:cubicBezTo>
                  <a:pt x="1502811" y="1137002"/>
                  <a:pt x="1503227" y="1133458"/>
                  <a:pt x="1504203" y="1129901"/>
                </a:cubicBezTo>
                <a:cubicBezTo>
                  <a:pt x="1505380" y="1125331"/>
                  <a:pt x="1504823" y="1123270"/>
                  <a:pt x="1500890" y="1120734"/>
                </a:cubicBezTo>
                <a:cubicBezTo>
                  <a:pt x="1499575" y="1119702"/>
                  <a:pt x="1497818" y="1119018"/>
                  <a:pt x="1496230" y="1118274"/>
                </a:cubicBezTo>
                <a:cubicBezTo>
                  <a:pt x="1495549" y="1117954"/>
                  <a:pt x="1494534" y="1117756"/>
                  <a:pt x="1494566" y="1116801"/>
                </a:cubicBezTo>
                <a:cubicBezTo>
                  <a:pt x="1494538" y="1115681"/>
                  <a:pt x="1495312" y="1115213"/>
                  <a:pt x="1496040" y="1115139"/>
                </a:cubicBezTo>
                <a:cubicBezTo>
                  <a:pt x="1499282" y="1114720"/>
                  <a:pt x="1499467" y="1113145"/>
                  <a:pt x="1498336" y="1110539"/>
                </a:cubicBezTo>
                <a:cubicBezTo>
                  <a:pt x="1496964" y="1107264"/>
                  <a:pt x="1498289" y="1104148"/>
                  <a:pt x="1499961" y="1101470"/>
                </a:cubicBezTo>
                <a:cubicBezTo>
                  <a:pt x="1501253" y="1099306"/>
                  <a:pt x="1500998" y="1098078"/>
                  <a:pt x="1498682" y="1097407"/>
                </a:cubicBezTo>
                <a:cubicBezTo>
                  <a:pt x="1497440" y="1097104"/>
                  <a:pt x="1496531" y="1096678"/>
                  <a:pt x="1496383" y="1095224"/>
                </a:cubicBezTo>
                <a:cubicBezTo>
                  <a:pt x="1496054" y="1093269"/>
                  <a:pt x="1497508" y="1093121"/>
                  <a:pt x="1498556" y="1092365"/>
                </a:cubicBezTo>
                <a:cubicBezTo>
                  <a:pt x="1499162" y="1091958"/>
                  <a:pt x="1499997" y="1091657"/>
                  <a:pt x="1500770" y="1091189"/>
                </a:cubicBezTo>
                <a:cubicBezTo>
                  <a:pt x="1505091" y="1089061"/>
                  <a:pt x="1505188" y="1086199"/>
                  <a:pt x="1501135" y="1083330"/>
                </a:cubicBezTo>
                <a:cubicBezTo>
                  <a:pt x="1500620" y="1082951"/>
                  <a:pt x="1500166" y="1082740"/>
                  <a:pt x="1499819" y="1082299"/>
                </a:cubicBezTo>
                <a:cubicBezTo>
                  <a:pt x="1498957" y="1081481"/>
                  <a:pt x="1498142" y="1080267"/>
                  <a:pt x="1498901" y="1079239"/>
                </a:cubicBezTo>
                <a:cubicBezTo>
                  <a:pt x="1499494" y="1078270"/>
                  <a:pt x="1500902" y="1078516"/>
                  <a:pt x="1501810" y="1078941"/>
                </a:cubicBezTo>
                <a:cubicBezTo>
                  <a:pt x="1502718" y="1079367"/>
                  <a:pt x="1503459" y="1079853"/>
                  <a:pt x="1504260" y="1080505"/>
                </a:cubicBezTo>
                <a:cubicBezTo>
                  <a:pt x="1505683" y="1081310"/>
                  <a:pt x="1506804" y="1081282"/>
                  <a:pt x="1507777" y="1079800"/>
                </a:cubicBezTo>
                <a:cubicBezTo>
                  <a:pt x="1510162" y="1076487"/>
                  <a:pt x="1513542" y="1074889"/>
                  <a:pt x="1516984" y="1073456"/>
                </a:cubicBezTo>
                <a:cubicBezTo>
                  <a:pt x="1521034" y="1071616"/>
                  <a:pt x="1525550" y="1070549"/>
                  <a:pt x="1529358" y="1068042"/>
                </a:cubicBezTo>
                <a:close/>
                <a:moveTo>
                  <a:pt x="11427963" y="1065298"/>
                </a:moveTo>
                <a:cubicBezTo>
                  <a:pt x="11431896" y="1064808"/>
                  <a:pt x="11435739" y="1067401"/>
                  <a:pt x="11439295" y="1065664"/>
                </a:cubicBezTo>
                <a:cubicBezTo>
                  <a:pt x="11442139" y="1067195"/>
                  <a:pt x="11444577" y="1068509"/>
                  <a:pt x="11447420" y="1070040"/>
                </a:cubicBezTo>
                <a:cubicBezTo>
                  <a:pt x="11446766" y="1071253"/>
                  <a:pt x="11446954" y="1071876"/>
                  <a:pt x="11447767" y="1072314"/>
                </a:cubicBezTo>
                <a:cubicBezTo>
                  <a:pt x="11453859" y="1075596"/>
                  <a:pt x="11454930" y="1081390"/>
                  <a:pt x="11454347" y="1087336"/>
                </a:cubicBezTo>
                <a:cubicBezTo>
                  <a:pt x="11453982" y="1092879"/>
                  <a:pt x="11454241" y="1098235"/>
                  <a:pt x="11450597" y="1103054"/>
                </a:cubicBezTo>
                <a:cubicBezTo>
                  <a:pt x="11446328" y="1108061"/>
                  <a:pt x="11443467" y="1114345"/>
                  <a:pt x="11436197" y="1116167"/>
                </a:cubicBezTo>
                <a:cubicBezTo>
                  <a:pt x="11433700" y="1116910"/>
                  <a:pt x="11431422" y="1117247"/>
                  <a:pt x="11428143" y="1116524"/>
                </a:cubicBezTo>
                <a:cubicBezTo>
                  <a:pt x="11423428" y="1115549"/>
                  <a:pt x="11417465" y="1114945"/>
                  <a:pt x="11415199" y="1122071"/>
                </a:cubicBezTo>
                <a:cubicBezTo>
                  <a:pt x="11414297" y="1124716"/>
                  <a:pt x="11411424" y="1124212"/>
                  <a:pt x="11410364" y="1125206"/>
                </a:cubicBezTo>
                <a:cubicBezTo>
                  <a:pt x="11404848" y="1130582"/>
                  <a:pt x="11398450" y="1130787"/>
                  <a:pt x="11392079" y="1129964"/>
                </a:cubicBezTo>
                <a:cubicBezTo>
                  <a:pt x="11388859" y="1127186"/>
                  <a:pt x="11386047" y="1124627"/>
                  <a:pt x="11382391" y="1122657"/>
                </a:cubicBezTo>
                <a:cubicBezTo>
                  <a:pt x="11378734" y="1120688"/>
                  <a:pt x="11376385" y="1116292"/>
                  <a:pt x="11376503" y="1112183"/>
                </a:cubicBezTo>
                <a:cubicBezTo>
                  <a:pt x="11376811" y="1108695"/>
                  <a:pt x="11376463" y="1106420"/>
                  <a:pt x="11374680" y="1103895"/>
                </a:cubicBezTo>
                <a:cubicBezTo>
                  <a:pt x="11377293" y="1099043"/>
                  <a:pt x="11379907" y="1094189"/>
                  <a:pt x="11382521" y="1089337"/>
                </a:cubicBezTo>
                <a:cubicBezTo>
                  <a:pt x="11387672" y="1089504"/>
                  <a:pt x="11392665" y="1088019"/>
                  <a:pt x="11396250" y="1085255"/>
                </a:cubicBezTo>
                <a:cubicBezTo>
                  <a:pt x="11400023" y="1083114"/>
                  <a:pt x="11403609" y="1080350"/>
                  <a:pt x="11407600" y="1077805"/>
                </a:cubicBezTo>
                <a:cubicBezTo>
                  <a:pt x="11411374" y="1075665"/>
                  <a:pt x="11415366" y="1073120"/>
                  <a:pt x="11417950" y="1069294"/>
                </a:cubicBezTo>
                <a:cubicBezTo>
                  <a:pt x="11420722" y="1066093"/>
                  <a:pt x="11424030" y="1065789"/>
                  <a:pt x="11427963" y="1065298"/>
                </a:cubicBezTo>
                <a:close/>
                <a:moveTo>
                  <a:pt x="6994838" y="1041027"/>
                </a:moveTo>
                <a:lnTo>
                  <a:pt x="6995169" y="1041173"/>
                </a:lnTo>
                <a:lnTo>
                  <a:pt x="6994914" y="1041210"/>
                </a:lnTo>
                <a:close/>
                <a:moveTo>
                  <a:pt x="6997333" y="1040857"/>
                </a:moveTo>
                <a:cubicBezTo>
                  <a:pt x="6998656" y="1040955"/>
                  <a:pt x="7000203" y="1041601"/>
                  <a:pt x="7001105" y="1043795"/>
                </a:cubicBezTo>
                <a:lnTo>
                  <a:pt x="6995169" y="1041173"/>
                </a:lnTo>
                <a:close/>
                <a:moveTo>
                  <a:pt x="7080310" y="1036883"/>
                </a:moveTo>
                <a:cubicBezTo>
                  <a:pt x="7085719" y="1050053"/>
                  <a:pt x="7123640" y="1054979"/>
                  <a:pt x="7139624" y="1068921"/>
                </a:cubicBezTo>
                <a:cubicBezTo>
                  <a:pt x="7144012" y="1067118"/>
                  <a:pt x="7147617" y="1075893"/>
                  <a:pt x="7149421" y="1080280"/>
                </a:cubicBezTo>
                <a:lnTo>
                  <a:pt x="7152998" y="1082122"/>
                </a:lnTo>
                <a:lnTo>
                  <a:pt x="7156436" y="1079103"/>
                </a:lnTo>
                <a:cubicBezTo>
                  <a:pt x="7157623" y="1078240"/>
                  <a:pt x="7158756" y="1077755"/>
                  <a:pt x="7159673" y="1077943"/>
                </a:cubicBezTo>
                <a:cubicBezTo>
                  <a:pt x="7160590" y="1078131"/>
                  <a:pt x="7161292" y="1078995"/>
                  <a:pt x="7161615" y="1080829"/>
                </a:cubicBezTo>
                <a:cubicBezTo>
                  <a:pt x="7161615" y="1081692"/>
                  <a:pt x="7161831" y="1082554"/>
                  <a:pt x="7162263" y="1083417"/>
                </a:cubicBezTo>
                <a:cubicBezTo>
                  <a:pt x="7162694" y="1084496"/>
                  <a:pt x="7162694" y="1086221"/>
                  <a:pt x="7164206" y="1086436"/>
                </a:cubicBezTo>
                <a:cubicBezTo>
                  <a:pt x="7165501" y="1086435"/>
                  <a:pt x="7166363" y="1085358"/>
                  <a:pt x="7167011" y="1084496"/>
                </a:cubicBezTo>
                <a:cubicBezTo>
                  <a:pt x="7170249" y="1080829"/>
                  <a:pt x="7171543" y="1081044"/>
                  <a:pt x="7173486" y="1085574"/>
                </a:cubicBezTo>
                <a:cubicBezTo>
                  <a:pt x="7173917" y="1086653"/>
                  <a:pt x="7174134" y="1087515"/>
                  <a:pt x="7174781" y="1088377"/>
                </a:cubicBezTo>
                <a:cubicBezTo>
                  <a:pt x="7175644" y="1089672"/>
                  <a:pt x="7176508" y="1090750"/>
                  <a:pt x="7178666" y="1089889"/>
                </a:cubicBezTo>
                <a:cubicBezTo>
                  <a:pt x="7180608" y="1088810"/>
                  <a:pt x="7180608" y="1087946"/>
                  <a:pt x="7180176" y="1086221"/>
                </a:cubicBezTo>
                <a:lnTo>
                  <a:pt x="7180036" y="1084955"/>
                </a:lnTo>
                <a:lnTo>
                  <a:pt x="7179408" y="1084620"/>
                </a:lnTo>
                <a:cubicBezTo>
                  <a:pt x="7145559" y="1067765"/>
                  <a:pt x="7112161" y="1052005"/>
                  <a:pt x="7080310" y="1036883"/>
                </a:cubicBezTo>
                <a:close/>
                <a:moveTo>
                  <a:pt x="6950148" y="1029461"/>
                </a:moveTo>
                <a:lnTo>
                  <a:pt x="6953741" y="1029928"/>
                </a:lnTo>
                <a:lnTo>
                  <a:pt x="6954911" y="1031515"/>
                </a:lnTo>
                <a:lnTo>
                  <a:pt x="6950766" y="1029708"/>
                </a:lnTo>
                <a:close/>
                <a:moveTo>
                  <a:pt x="6930432" y="1021560"/>
                </a:moveTo>
                <a:lnTo>
                  <a:pt x="6950148" y="1029461"/>
                </a:lnTo>
                <a:lnTo>
                  <a:pt x="6949002" y="1029312"/>
                </a:lnTo>
                <a:cubicBezTo>
                  <a:pt x="6942811" y="1026727"/>
                  <a:pt x="6942811" y="1026727"/>
                  <a:pt x="6942811" y="1026727"/>
                </a:cubicBezTo>
                <a:cubicBezTo>
                  <a:pt x="6938424" y="1028530"/>
                  <a:pt x="6936620" y="1024144"/>
                  <a:pt x="6930432" y="1021560"/>
                </a:cubicBezTo>
                <a:close/>
                <a:moveTo>
                  <a:pt x="10397309" y="1010275"/>
                </a:moveTo>
                <a:cubicBezTo>
                  <a:pt x="10398922" y="1007279"/>
                  <a:pt x="10400445" y="1007326"/>
                  <a:pt x="10401715" y="1010716"/>
                </a:cubicBezTo>
                <a:cubicBezTo>
                  <a:pt x="10403701" y="1015652"/>
                  <a:pt x="10406102" y="1016944"/>
                  <a:pt x="10409746" y="1012336"/>
                </a:cubicBezTo>
                <a:cubicBezTo>
                  <a:pt x="10410691" y="1011299"/>
                  <a:pt x="10412398" y="1010286"/>
                  <a:pt x="10412791" y="1012431"/>
                </a:cubicBezTo>
                <a:cubicBezTo>
                  <a:pt x="10414592" y="1018427"/>
                  <a:pt x="10418583" y="1017484"/>
                  <a:pt x="10423036" y="1016404"/>
                </a:cubicBezTo>
                <a:cubicBezTo>
                  <a:pt x="10423659" y="1015965"/>
                  <a:pt x="10424859" y="1016612"/>
                  <a:pt x="10425459" y="1016935"/>
                </a:cubicBezTo>
                <a:cubicBezTo>
                  <a:pt x="10430399" y="1025009"/>
                  <a:pt x="10434716" y="1033520"/>
                  <a:pt x="10439496" y="1041892"/>
                </a:cubicBezTo>
                <a:cubicBezTo>
                  <a:pt x="10441665" y="1045767"/>
                  <a:pt x="10440399" y="1052431"/>
                  <a:pt x="10439479" y="1057734"/>
                </a:cubicBezTo>
                <a:cubicBezTo>
                  <a:pt x="10439109" y="1059855"/>
                  <a:pt x="10437842" y="1061490"/>
                  <a:pt x="10438835" y="1063958"/>
                </a:cubicBezTo>
                <a:cubicBezTo>
                  <a:pt x="10439827" y="1066426"/>
                  <a:pt x="10438559" y="1068062"/>
                  <a:pt x="10436391" y="1069214"/>
                </a:cubicBezTo>
                <a:cubicBezTo>
                  <a:pt x="10435144" y="1070089"/>
                  <a:pt x="10433138" y="1070941"/>
                  <a:pt x="10433392" y="1072623"/>
                </a:cubicBezTo>
                <a:cubicBezTo>
                  <a:pt x="10434456" y="1077835"/>
                  <a:pt x="10433303" y="1080693"/>
                  <a:pt x="10427534" y="1079905"/>
                </a:cubicBezTo>
                <a:cubicBezTo>
                  <a:pt x="10426173" y="1079558"/>
                  <a:pt x="10424904" y="1081194"/>
                  <a:pt x="10425621" y="1082738"/>
                </a:cubicBezTo>
                <a:cubicBezTo>
                  <a:pt x="10427745" y="1088136"/>
                  <a:pt x="10422737" y="1087372"/>
                  <a:pt x="10420846" y="1089445"/>
                </a:cubicBezTo>
                <a:cubicBezTo>
                  <a:pt x="10414388" y="1096403"/>
                  <a:pt x="10406381" y="1088997"/>
                  <a:pt x="10399552" y="1093050"/>
                </a:cubicBezTo>
                <a:cubicBezTo>
                  <a:pt x="10397222" y="1094499"/>
                  <a:pt x="10392329" y="1089931"/>
                  <a:pt x="10389790" y="1088178"/>
                </a:cubicBezTo>
                <a:cubicBezTo>
                  <a:pt x="10383976" y="1083886"/>
                  <a:pt x="10374376" y="1083741"/>
                  <a:pt x="10373150" y="1073802"/>
                </a:cubicBezTo>
                <a:cubicBezTo>
                  <a:pt x="10372896" y="1072119"/>
                  <a:pt x="10371903" y="1069651"/>
                  <a:pt x="10369504" y="1068359"/>
                </a:cubicBezTo>
                <a:cubicBezTo>
                  <a:pt x="10366042" y="1066881"/>
                  <a:pt x="10365210" y="1064113"/>
                  <a:pt x="10366386" y="1060494"/>
                </a:cubicBezTo>
                <a:cubicBezTo>
                  <a:pt x="10366915" y="1058074"/>
                  <a:pt x="10366061" y="1056067"/>
                  <a:pt x="10365368" y="1053761"/>
                </a:cubicBezTo>
                <a:cubicBezTo>
                  <a:pt x="10363405" y="1048063"/>
                  <a:pt x="10363866" y="1042898"/>
                  <a:pt x="10368271" y="1038314"/>
                </a:cubicBezTo>
                <a:cubicBezTo>
                  <a:pt x="10370784" y="1035802"/>
                  <a:pt x="10371660" y="1032022"/>
                  <a:pt x="10369628" y="1028608"/>
                </a:cubicBezTo>
                <a:cubicBezTo>
                  <a:pt x="10370274" y="1027409"/>
                  <a:pt x="10370919" y="1026211"/>
                  <a:pt x="10371566" y="1025013"/>
                </a:cubicBezTo>
                <a:cubicBezTo>
                  <a:pt x="10375073" y="1024969"/>
                  <a:pt x="10377240" y="1023818"/>
                  <a:pt x="10379038" y="1019761"/>
                </a:cubicBezTo>
                <a:cubicBezTo>
                  <a:pt x="10381643" y="1014207"/>
                  <a:pt x="10386303" y="1011304"/>
                  <a:pt x="10392949" y="1013338"/>
                </a:cubicBezTo>
                <a:cubicBezTo>
                  <a:pt x="10395810" y="1014494"/>
                  <a:pt x="10396341" y="1012073"/>
                  <a:pt x="10397309" y="1010275"/>
                </a:cubicBezTo>
                <a:close/>
                <a:moveTo>
                  <a:pt x="5174944" y="1004625"/>
                </a:moveTo>
                <a:cubicBezTo>
                  <a:pt x="5176755" y="1009012"/>
                  <a:pt x="5176755" y="1009012"/>
                  <a:pt x="5176755" y="1009012"/>
                </a:cubicBezTo>
                <a:cubicBezTo>
                  <a:pt x="5172355" y="1010815"/>
                  <a:pt x="5172355" y="1010815"/>
                  <a:pt x="5172355" y="1010815"/>
                </a:cubicBezTo>
                <a:cubicBezTo>
                  <a:pt x="5176755" y="1009012"/>
                  <a:pt x="5174944" y="1004625"/>
                  <a:pt x="5174944" y="1004625"/>
                </a:cubicBezTo>
                <a:close/>
                <a:moveTo>
                  <a:pt x="11177571" y="994819"/>
                </a:moveTo>
                <a:cubicBezTo>
                  <a:pt x="11179184" y="991823"/>
                  <a:pt x="11180707" y="991870"/>
                  <a:pt x="11181977" y="995260"/>
                </a:cubicBezTo>
                <a:cubicBezTo>
                  <a:pt x="11183963" y="1000195"/>
                  <a:pt x="11186364" y="1001489"/>
                  <a:pt x="11190007" y="996880"/>
                </a:cubicBezTo>
                <a:cubicBezTo>
                  <a:pt x="11190952" y="995843"/>
                  <a:pt x="11192660" y="994830"/>
                  <a:pt x="11193053" y="996974"/>
                </a:cubicBezTo>
                <a:cubicBezTo>
                  <a:pt x="11194854" y="1002970"/>
                  <a:pt x="11198845" y="1002028"/>
                  <a:pt x="11203298" y="1000947"/>
                </a:cubicBezTo>
                <a:cubicBezTo>
                  <a:pt x="11203921" y="1000510"/>
                  <a:pt x="11205121" y="1001156"/>
                  <a:pt x="11205721" y="1001480"/>
                </a:cubicBezTo>
                <a:cubicBezTo>
                  <a:pt x="11210661" y="1009552"/>
                  <a:pt x="11214979" y="1018063"/>
                  <a:pt x="11219757" y="1026436"/>
                </a:cubicBezTo>
                <a:cubicBezTo>
                  <a:pt x="11221927" y="1030311"/>
                  <a:pt x="11220662" y="1036974"/>
                  <a:pt x="11219740" y="1042275"/>
                </a:cubicBezTo>
                <a:cubicBezTo>
                  <a:pt x="11219371" y="1044397"/>
                  <a:pt x="11218103" y="1046033"/>
                  <a:pt x="11219096" y="1048500"/>
                </a:cubicBezTo>
                <a:cubicBezTo>
                  <a:pt x="11220089" y="1050970"/>
                  <a:pt x="11218821" y="1052606"/>
                  <a:pt x="11216653" y="1053757"/>
                </a:cubicBezTo>
                <a:cubicBezTo>
                  <a:pt x="11215406" y="1054632"/>
                  <a:pt x="11213399" y="1055483"/>
                  <a:pt x="11213654" y="1057168"/>
                </a:cubicBezTo>
                <a:cubicBezTo>
                  <a:pt x="11214717" y="1062379"/>
                  <a:pt x="11213565" y="1065237"/>
                  <a:pt x="11207797" y="1064448"/>
                </a:cubicBezTo>
                <a:cubicBezTo>
                  <a:pt x="11206435" y="1064102"/>
                  <a:pt x="11205166" y="1065738"/>
                  <a:pt x="11205883" y="1067284"/>
                </a:cubicBezTo>
                <a:cubicBezTo>
                  <a:pt x="11208007" y="1072680"/>
                  <a:pt x="11202999" y="1071915"/>
                  <a:pt x="11201108" y="1073989"/>
                </a:cubicBezTo>
                <a:cubicBezTo>
                  <a:pt x="11194650" y="1080947"/>
                  <a:pt x="11186642" y="1073541"/>
                  <a:pt x="11179813" y="1077594"/>
                </a:cubicBezTo>
                <a:cubicBezTo>
                  <a:pt x="11177484" y="1079045"/>
                  <a:pt x="11172591" y="1074477"/>
                  <a:pt x="11170052" y="1072722"/>
                </a:cubicBezTo>
                <a:cubicBezTo>
                  <a:pt x="11164238" y="1068430"/>
                  <a:pt x="11154638" y="1068284"/>
                  <a:pt x="11153412" y="1058346"/>
                </a:cubicBezTo>
                <a:cubicBezTo>
                  <a:pt x="11153158" y="1056663"/>
                  <a:pt x="11152165" y="1054195"/>
                  <a:pt x="11149765" y="1052903"/>
                </a:cubicBezTo>
                <a:cubicBezTo>
                  <a:pt x="11146304" y="1051424"/>
                  <a:pt x="11145472" y="1048656"/>
                  <a:pt x="11146647" y="1045036"/>
                </a:cubicBezTo>
                <a:cubicBezTo>
                  <a:pt x="11147177" y="1042616"/>
                  <a:pt x="11146323" y="1040610"/>
                  <a:pt x="11145631" y="1038304"/>
                </a:cubicBezTo>
                <a:cubicBezTo>
                  <a:pt x="11143667" y="1032606"/>
                  <a:pt x="11144128" y="1027443"/>
                  <a:pt x="11148533" y="1022858"/>
                </a:cubicBezTo>
                <a:cubicBezTo>
                  <a:pt x="11151047" y="1020347"/>
                  <a:pt x="11151922" y="1016566"/>
                  <a:pt x="11149890" y="1013152"/>
                </a:cubicBezTo>
                <a:cubicBezTo>
                  <a:pt x="11150536" y="1011954"/>
                  <a:pt x="11151181" y="1010755"/>
                  <a:pt x="11151828" y="1009556"/>
                </a:cubicBezTo>
                <a:cubicBezTo>
                  <a:pt x="11155335" y="1009513"/>
                  <a:pt x="11157503" y="1008362"/>
                  <a:pt x="11159300" y="1004305"/>
                </a:cubicBezTo>
                <a:cubicBezTo>
                  <a:pt x="11161905" y="998750"/>
                  <a:pt x="11166565" y="995849"/>
                  <a:pt x="11173211" y="997882"/>
                </a:cubicBezTo>
                <a:cubicBezTo>
                  <a:pt x="11176073" y="999037"/>
                  <a:pt x="11176602" y="996617"/>
                  <a:pt x="11177571" y="994819"/>
                </a:cubicBezTo>
                <a:close/>
                <a:moveTo>
                  <a:pt x="452680" y="989550"/>
                </a:moveTo>
                <a:cubicBezTo>
                  <a:pt x="456042" y="988334"/>
                  <a:pt x="460212" y="989350"/>
                  <a:pt x="462782" y="991786"/>
                </a:cubicBezTo>
                <a:cubicBezTo>
                  <a:pt x="464844" y="993984"/>
                  <a:pt x="466502" y="995068"/>
                  <a:pt x="469148" y="995373"/>
                </a:cubicBezTo>
                <a:cubicBezTo>
                  <a:pt x="470761" y="999836"/>
                  <a:pt x="472374" y="1004299"/>
                  <a:pt x="473988" y="1008763"/>
                </a:cubicBezTo>
                <a:cubicBezTo>
                  <a:pt x="470924" y="1011973"/>
                  <a:pt x="469010" y="1016029"/>
                  <a:pt x="468726" y="1019917"/>
                </a:cubicBezTo>
                <a:cubicBezTo>
                  <a:pt x="467934" y="1023568"/>
                  <a:pt x="467649" y="1027455"/>
                  <a:pt x="466991" y="1031478"/>
                </a:cubicBezTo>
                <a:cubicBezTo>
                  <a:pt x="466199" y="1035130"/>
                  <a:pt x="465541" y="1039152"/>
                  <a:pt x="466512" y="1043006"/>
                </a:cubicBezTo>
                <a:cubicBezTo>
                  <a:pt x="466974" y="1046625"/>
                  <a:pt x="465270" y="1048922"/>
                  <a:pt x="463327" y="1051736"/>
                </a:cubicBezTo>
                <a:cubicBezTo>
                  <a:pt x="461384" y="1054541"/>
                  <a:pt x="457513" y="1055520"/>
                  <a:pt x="456587" y="1058798"/>
                </a:cubicBezTo>
                <a:cubicBezTo>
                  <a:pt x="453971" y="1059743"/>
                  <a:pt x="451729" y="1060552"/>
                  <a:pt x="449114" y="1061499"/>
                </a:cubicBezTo>
                <a:cubicBezTo>
                  <a:pt x="448710" y="1060383"/>
                  <a:pt x="448203" y="1060146"/>
                  <a:pt x="447455" y="1060417"/>
                </a:cubicBezTo>
                <a:cubicBezTo>
                  <a:pt x="441851" y="1062442"/>
                  <a:pt x="437518" y="1059803"/>
                  <a:pt x="434036" y="1056015"/>
                </a:cubicBezTo>
                <a:cubicBezTo>
                  <a:pt x="430689" y="1052600"/>
                  <a:pt x="427103" y="1049691"/>
                  <a:pt x="426102" y="1044577"/>
                </a:cubicBezTo>
                <a:cubicBezTo>
                  <a:pt x="425340" y="1038964"/>
                  <a:pt x="422950" y="1033520"/>
                  <a:pt x="425954" y="1027808"/>
                </a:cubicBezTo>
                <a:cubicBezTo>
                  <a:pt x="426911" y="1025780"/>
                  <a:pt x="428003" y="1024124"/>
                  <a:pt x="430349" y="1022435"/>
                </a:cubicBezTo>
                <a:cubicBezTo>
                  <a:pt x="433682" y="1019968"/>
                  <a:pt x="437494" y="1016488"/>
                  <a:pt x="434221" y="1010942"/>
                </a:cubicBezTo>
                <a:cubicBezTo>
                  <a:pt x="433041" y="1008845"/>
                  <a:pt x="435013" y="1007291"/>
                  <a:pt x="434984" y="1006040"/>
                </a:cubicBezTo>
                <a:cubicBezTo>
                  <a:pt x="434700" y="999414"/>
                  <a:pt x="438244" y="995189"/>
                  <a:pt x="442428" y="991574"/>
                </a:cubicBezTo>
                <a:cubicBezTo>
                  <a:pt x="446059" y="991102"/>
                  <a:pt x="449317" y="990766"/>
                  <a:pt x="452680" y="989550"/>
                </a:cubicBezTo>
                <a:close/>
                <a:moveTo>
                  <a:pt x="851606" y="988026"/>
                </a:moveTo>
                <a:cubicBezTo>
                  <a:pt x="854442" y="987038"/>
                  <a:pt x="857394" y="986768"/>
                  <a:pt x="860689" y="989056"/>
                </a:cubicBezTo>
                <a:cubicBezTo>
                  <a:pt x="861829" y="989804"/>
                  <a:pt x="863834" y="990529"/>
                  <a:pt x="865888" y="989787"/>
                </a:cubicBezTo>
                <a:cubicBezTo>
                  <a:pt x="868620" y="988509"/>
                  <a:pt x="870718" y="989491"/>
                  <a:pt x="872251" y="992126"/>
                </a:cubicBezTo>
                <a:lnTo>
                  <a:pt x="872252" y="992127"/>
                </a:lnTo>
                <a:cubicBezTo>
                  <a:pt x="873414" y="993737"/>
                  <a:pt x="875069" y="994298"/>
                  <a:pt x="876817" y="995116"/>
                </a:cubicBezTo>
                <a:cubicBezTo>
                  <a:pt x="881268" y="996987"/>
                  <a:pt x="884106" y="1000021"/>
                  <a:pt x="884491" y="1005101"/>
                </a:cubicBezTo>
                <a:cubicBezTo>
                  <a:pt x="884647" y="1007944"/>
                  <a:pt x="886438" y="1010487"/>
                  <a:pt x="889562" y="1011097"/>
                </a:cubicBezTo>
                <a:cubicBezTo>
                  <a:pt x="889932" y="1012123"/>
                  <a:pt x="890304" y="1013150"/>
                  <a:pt x="890674" y="1014175"/>
                </a:cubicBezTo>
                <a:cubicBezTo>
                  <a:pt x="888827" y="1016293"/>
                  <a:pt x="888356" y="1018202"/>
                  <a:pt x="889818" y="1021444"/>
                </a:cubicBezTo>
                <a:cubicBezTo>
                  <a:pt x="891743" y="1025968"/>
                  <a:pt x="890986" y="1030301"/>
                  <a:pt x="886222" y="1033182"/>
                </a:cubicBezTo>
                <a:cubicBezTo>
                  <a:pt x="884004" y="1034275"/>
                  <a:pt x="885166" y="1035885"/>
                  <a:pt x="885722" y="1037423"/>
                </a:cubicBezTo>
                <a:cubicBezTo>
                  <a:pt x="886650" y="1039988"/>
                  <a:pt x="885808" y="1040872"/>
                  <a:pt x="883105" y="1039819"/>
                </a:cubicBezTo>
                <a:cubicBezTo>
                  <a:pt x="879096" y="1038369"/>
                  <a:pt x="877042" y="1039111"/>
                  <a:pt x="877847" y="1043749"/>
                </a:cubicBezTo>
                <a:cubicBezTo>
                  <a:pt x="877961" y="1044868"/>
                  <a:pt x="877655" y="1046429"/>
                  <a:pt x="876164" y="1045518"/>
                </a:cubicBezTo>
                <a:cubicBezTo>
                  <a:pt x="871621" y="1043391"/>
                  <a:pt x="870051" y="1046278"/>
                  <a:pt x="868317" y="1049522"/>
                </a:cubicBezTo>
                <a:cubicBezTo>
                  <a:pt x="868246" y="1050127"/>
                  <a:pt x="867219" y="1050500"/>
                  <a:pt x="866705" y="1050684"/>
                </a:cubicBezTo>
                <a:cubicBezTo>
                  <a:pt x="859245" y="1049314"/>
                  <a:pt x="851856" y="1047346"/>
                  <a:pt x="844301" y="1045726"/>
                </a:cubicBezTo>
                <a:lnTo>
                  <a:pt x="844301" y="1045726"/>
                </a:lnTo>
                <a:cubicBezTo>
                  <a:pt x="840826" y="1044952"/>
                  <a:pt x="837525" y="1040635"/>
                  <a:pt x="834850" y="1037253"/>
                </a:cubicBezTo>
                <a:cubicBezTo>
                  <a:pt x="833781" y="1035900"/>
                  <a:pt x="833481" y="1034268"/>
                  <a:pt x="831476" y="1033543"/>
                </a:cubicBezTo>
                <a:cubicBezTo>
                  <a:pt x="829472" y="1032817"/>
                  <a:pt x="829173" y="1031186"/>
                  <a:pt x="829643" y="1029275"/>
                </a:cubicBezTo>
                <a:cubicBezTo>
                  <a:pt x="829786" y="1028064"/>
                  <a:pt x="830350" y="1026410"/>
                  <a:pt x="829209" y="1025663"/>
                </a:cubicBezTo>
                <a:cubicBezTo>
                  <a:pt x="825529" y="1023514"/>
                  <a:pt x="824437" y="1021299"/>
                  <a:pt x="827991" y="1018274"/>
                </a:cubicBezTo>
                <a:cubicBezTo>
                  <a:pt x="828924" y="1017647"/>
                  <a:pt x="828625" y="1016016"/>
                  <a:pt x="827320" y="1015617"/>
                </a:cubicBezTo>
                <a:cubicBezTo>
                  <a:pt x="822962" y="1014003"/>
                  <a:pt x="826093" y="1011421"/>
                  <a:pt x="825865" y="1009184"/>
                </a:cubicBezTo>
                <a:cubicBezTo>
                  <a:pt x="825160" y="1001609"/>
                  <a:pt x="833861" y="1000783"/>
                  <a:pt x="835089" y="994541"/>
                </a:cubicBezTo>
                <a:cubicBezTo>
                  <a:pt x="835467" y="992374"/>
                  <a:pt x="840809" y="991892"/>
                  <a:pt x="843213" y="991314"/>
                </a:cubicBezTo>
                <a:cubicBezTo>
                  <a:pt x="846048" y="990724"/>
                  <a:pt x="848770" y="989015"/>
                  <a:pt x="851606" y="988026"/>
                </a:cubicBezTo>
                <a:close/>
                <a:moveTo>
                  <a:pt x="8188293" y="987309"/>
                </a:moveTo>
                <a:cubicBezTo>
                  <a:pt x="8194184" y="990742"/>
                  <a:pt x="8199831" y="994664"/>
                  <a:pt x="8205722" y="998341"/>
                </a:cubicBezTo>
                <a:cubicBezTo>
                  <a:pt x="8208423" y="1000057"/>
                  <a:pt x="8209895" y="1004716"/>
                  <a:pt x="8211123" y="1008393"/>
                </a:cubicBezTo>
                <a:cubicBezTo>
                  <a:pt x="8211614" y="1009865"/>
                  <a:pt x="8211369" y="1011335"/>
                  <a:pt x="8212842" y="1012561"/>
                </a:cubicBezTo>
                <a:cubicBezTo>
                  <a:pt x="8214314" y="1013787"/>
                  <a:pt x="8214068" y="1015258"/>
                  <a:pt x="8213087" y="1016729"/>
                </a:cubicBezTo>
                <a:lnTo>
                  <a:pt x="8213087" y="1016730"/>
                </a:lnTo>
                <a:cubicBezTo>
                  <a:pt x="8212596" y="1017710"/>
                  <a:pt x="8211614" y="1018936"/>
                  <a:pt x="8212351" y="1019916"/>
                </a:cubicBezTo>
                <a:cubicBezTo>
                  <a:pt x="8214805" y="1022859"/>
                  <a:pt x="8215050" y="1025065"/>
                  <a:pt x="8211124" y="1026536"/>
                </a:cubicBezTo>
                <a:cubicBezTo>
                  <a:pt x="8210142" y="1026782"/>
                  <a:pt x="8209896" y="1028252"/>
                  <a:pt x="8210878" y="1028988"/>
                </a:cubicBezTo>
                <a:cubicBezTo>
                  <a:pt x="8214068" y="1031684"/>
                  <a:pt x="8210632" y="1032910"/>
                  <a:pt x="8210141" y="1034872"/>
                </a:cubicBezTo>
                <a:cubicBezTo>
                  <a:pt x="8208422" y="1041491"/>
                  <a:pt x="8200813" y="1039530"/>
                  <a:pt x="8197867" y="1044433"/>
                </a:cubicBezTo>
                <a:cubicBezTo>
                  <a:pt x="8196885" y="1046150"/>
                  <a:pt x="8192221" y="1044924"/>
                  <a:pt x="8190012" y="1044679"/>
                </a:cubicBezTo>
                <a:cubicBezTo>
                  <a:pt x="8184857" y="1043943"/>
                  <a:pt x="8178719" y="1047130"/>
                  <a:pt x="8174546" y="1041246"/>
                </a:cubicBezTo>
                <a:cubicBezTo>
                  <a:pt x="8173809" y="1040266"/>
                  <a:pt x="8172337" y="1039039"/>
                  <a:pt x="8170373" y="1039039"/>
                </a:cubicBezTo>
                <a:cubicBezTo>
                  <a:pt x="8167673" y="1039285"/>
                  <a:pt x="8166200" y="1037814"/>
                  <a:pt x="8165709" y="1035117"/>
                </a:cubicBezTo>
                <a:cubicBezTo>
                  <a:pt x="8165218" y="1033401"/>
                  <a:pt x="8163990" y="1032420"/>
                  <a:pt x="8162763" y="1031194"/>
                </a:cubicBezTo>
                <a:cubicBezTo>
                  <a:pt x="8159572" y="1028252"/>
                  <a:pt x="8158099" y="1024820"/>
                  <a:pt x="8159327" y="1020407"/>
                </a:cubicBezTo>
                <a:cubicBezTo>
                  <a:pt x="8160063" y="1017955"/>
                  <a:pt x="8159326" y="1015259"/>
                  <a:pt x="8156872" y="1013787"/>
                </a:cubicBezTo>
                <a:lnTo>
                  <a:pt x="8156872" y="1013787"/>
                </a:lnTo>
                <a:lnTo>
                  <a:pt x="8156872" y="1010845"/>
                </a:lnTo>
                <a:cubicBezTo>
                  <a:pt x="8159081" y="1009619"/>
                  <a:pt x="8160063" y="1008148"/>
                  <a:pt x="8159817" y="1004961"/>
                </a:cubicBezTo>
                <a:cubicBezTo>
                  <a:pt x="8159572" y="1000548"/>
                  <a:pt x="8161536" y="997116"/>
                  <a:pt x="8166446" y="996134"/>
                </a:cubicBezTo>
                <a:cubicBezTo>
                  <a:pt x="8168654" y="995889"/>
                  <a:pt x="8168164" y="994173"/>
                  <a:pt x="8168164" y="992702"/>
                </a:cubicBezTo>
                <a:cubicBezTo>
                  <a:pt x="8168164" y="990251"/>
                  <a:pt x="8169145" y="989761"/>
                  <a:pt x="8171110" y="991476"/>
                </a:cubicBezTo>
                <a:cubicBezTo>
                  <a:pt x="8174055" y="993928"/>
                  <a:pt x="8176019" y="993928"/>
                  <a:pt x="8176755" y="989760"/>
                </a:cubicBezTo>
                <a:cubicBezTo>
                  <a:pt x="8177001" y="988780"/>
                  <a:pt x="8177737" y="987554"/>
                  <a:pt x="8178719" y="988780"/>
                </a:cubicBezTo>
                <a:cubicBezTo>
                  <a:pt x="8181911" y="991967"/>
                  <a:pt x="8184121" y="990005"/>
                  <a:pt x="8186575" y="987799"/>
                </a:cubicBezTo>
                <a:cubicBezTo>
                  <a:pt x="8186821" y="987309"/>
                  <a:pt x="8187802" y="987309"/>
                  <a:pt x="8188293" y="987309"/>
                </a:cubicBezTo>
                <a:close/>
                <a:moveTo>
                  <a:pt x="3557296" y="968784"/>
                </a:moveTo>
                <a:lnTo>
                  <a:pt x="3540675" y="982712"/>
                </a:lnTo>
                <a:lnTo>
                  <a:pt x="3552670" y="983190"/>
                </a:lnTo>
                <a:close/>
                <a:moveTo>
                  <a:pt x="2209806" y="956984"/>
                </a:moveTo>
                <a:lnTo>
                  <a:pt x="2210072" y="957248"/>
                </a:lnTo>
                <a:lnTo>
                  <a:pt x="2209579" y="957365"/>
                </a:lnTo>
                <a:close/>
                <a:moveTo>
                  <a:pt x="10684116" y="950821"/>
                </a:moveTo>
                <a:cubicBezTo>
                  <a:pt x="10685729" y="947824"/>
                  <a:pt x="10687252" y="947872"/>
                  <a:pt x="10688522" y="951262"/>
                </a:cubicBezTo>
                <a:cubicBezTo>
                  <a:pt x="10690508" y="956197"/>
                  <a:pt x="10692909" y="957490"/>
                  <a:pt x="10696552" y="952881"/>
                </a:cubicBezTo>
                <a:cubicBezTo>
                  <a:pt x="10697497" y="951845"/>
                  <a:pt x="10699205" y="950831"/>
                  <a:pt x="10699598" y="952975"/>
                </a:cubicBezTo>
                <a:cubicBezTo>
                  <a:pt x="10701399" y="958972"/>
                  <a:pt x="10705390" y="958030"/>
                  <a:pt x="10709843" y="956949"/>
                </a:cubicBezTo>
                <a:cubicBezTo>
                  <a:pt x="10710466" y="956511"/>
                  <a:pt x="10711666" y="957158"/>
                  <a:pt x="10712266" y="957481"/>
                </a:cubicBezTo>
                <a:cubicBezTo>
                  <a:pt x="10717206" y="965554"/>
                  <a:pt x="10721524" y="974065"/>
                  <a:pt x="10726302" y="982437"/>
                </a:cubicBezTo>
                <a:cubicBezTo>
                  <a:pt x="10728472" y="986312"/>
                  <a:pt x="10727207" y="992975"/>
                  <a:pt x="10726285" y="998277"/>
                </a:cubicBezTo>
                <a:cubicBezTo>
                  <a:pt x="10725916" y="1000398"/>
                  <a:pt x="10724648" y="1002035"/>
                  <a:pt x="10725641" y="1004501"/>
                </a:cubicBezTo>
                <a:cubicBezTo>
                  <a:pt x="10726634" y="1006970"/>
                  <a:pt x="10725365" y="1008606"/>
                  <a:pt x="10723197" y="1009757"/>
                </a:cubicBezTo>
                <a:cubicBezTo>
                  <a:pt x="10721951" y="1010632"/>
                  <a:pt x="10719944" y="1011483"/>
                  <a:pt x="10720199" y="1013168"/>
                </a:cubicBezTo>
                <a:cubicBezTo>
                  <a:pt x="10721262" y="1018379"/>
                  <a:pt x="10720109" y="1021236"/>
                  <a:pt x="10714342" y="1020449"/>
                </a:cubicBezTo>
                <a:cubicBezTo>
                  <a:pt x="10712979" y="1020102"/>
                  <a:pt x="10711712" y="1021738"/>
                  <a:pt x="10712428" y="1023283"/>
                </a:cubicBezTo>
                <a:cubicBezTo>
                  <a:pt x="10714551" y="1028679"/>
                  <a:pt x="10709544" y="1027915"/>
                  <a:pt x="10707653" y="1029989"/>
                </a:cubicBezTo>
                <a:cubicBezTo>
                  <a:pt x="10701196" y="1036947"/>
                  <a:pt x="10693187" y="1029540"/>
                  <a:pt x="10686358" y="1033593"/>
                </a:cubicBezTo>
                <a:cubicBezTo>
                  <a:pt x="10684030" y="1035045"/>
                  <a:pt x="10679136" y="1030477"/>
                  <a:pt x="10676597" y="1028722"/>
                </a:cubicBezTo>
                <a:cubicBezTo>
                  <a:pt x="10670782" y="1024429"/>
                  <a:pt x="10661184" y="1024284"/>
                  <a:pt x="10659958" y="1014346"/>
                </a:cubicBezTo>
                <a:cubicBezTo>
                  <a:pt x="10659703" y="1012663"/>
                  <a:pt x="10658710" y="1010195"/>
                  <a:pt x="10656310" y="1008903"/>
                </a:cubicBezTo>
                <a:cubicBezTo>
                  <a:pt x="10652850" y="1007424"/>
                  <a:pt x="10652017" y="1004657"/>
                  <a:pt x="10653192" y="1001038"/>
                </a:cubicBezTo>
                <a:cubicBezTo>
                  <a:pt x="10653722" y="998617"/>
                  <a:pt x="10652868" y="996611"/>
                  <a:pt x="10652176" y="994305"/>
                </a:cubicBezTo>
                <a:cubicBezTo>
                  <a:pt x="10650212" y="988608"/>
                  <a:pt x="10650673" y="983444"/>
                  <a:pt x="10655078" y="978859"/>
                </a:cubicBezTo>
                <a:cubicBezTo>
                  <a:pt x="10657592" y="976348"/>
                  <a:pt x="10658467" y="972568"/>
                  <a:pt x="10656435" y="969154"/>
                </a:cubicBezTo>
                <a:cubicBezTo>
                  <a:pt x="10657081" y="967955"/>
                  <a:pt x="10657726" y="966756"/>
                  <a:pt x="10658373" y="965558"/>
                </a:cubicBezTo>
                <a:cubicBezTo>
                  <a:pt x="10661880" y="965514"/>
                  <a:pt x="10664048" y="964364"/>
                  <a:pt x="10665845" y="960307"/>
                </a:cubicBezTo>
                <a:cubicBezTo>
                  <a:pt x="10668450" y="954752"/>
                  <a:pt x="10673110" y="951850"/>
                  <a:pt x="10679756" y="953884"/>
                </a:cubicBezTo>
                <a:cubicBezTo>
                  <a:pt x="10682618" y="955038"/>
                  <a:pt x="10683147" y="952618"/>
                  <a:pt x="10684116" y="950821"/>
                </a:cubicBezTo>
                <a:close/>
                <a:moveTo>
                  <a:pt x="2905368" y="946296"/>
                </a:moveTo>
                <a:cubicBezTo>
                  <a:pt x="2908889" y="946297"/>
                  <a:pt x="2911908" y="946296"/>
                  <a:pt x="2915427" y="946297"/>
                </a:cubicBezTo>
                <a:cubicBezTo>
                  <a:pt x="2915428" y="947798"/>
                  <a:pt x="2915931" y="948300"/>
                  <a:pt x="2916937" y="948299"/>
                </a:cubicBezTo>
                <a:cubicBezTo>
                  <a:pt x="2924479" y="948300"/>
                  <a:pt x="2928501" y="953307"/>
                  <a:pt x="2931016" y="959315"/>
                </a:cubicBezTo>
                <a:cubicBezTo>
                  <a:pt x="2933531" y="964823"/>
                  <a:pt x="2936549" y="969830"/>
                  <a:pt x="2935541" y="976340"/>
                </a:cubicBezTo>
                <a:cubicBezTo>
                  <a:pt x="2934033" y="983350"/>
                  <a:pt x="2934536" y="990860"/>
                  <a:pt x="2928501" y="996369"/>
                </a:cubicBezTo>
                <a:cubicBezTo>
                  <a:pt x="2926491" y="998371"/>
                  <a:pt x="2924480" y="999874"/>
                  <a:pt x="2920961" y="1000875"/>
                </a:cubicBezTo>
                <a:cubicBezTo>
                  <a:pt x="2915930" y="1002376"/>
                  <a:pt x="2909896" y="1004880"/>
                  <a:pt x="2911406" y="1012892"/>
                </a:cubicBezTo>
                <a:cubicBezTo>
                  <a:pt x="2911908" y="1015896"/>
                  <a:pt x="2908889" y="1016897"/>
                  <a:pt x="2908388" y="1018400"/>
                </a:cubicBezTo>
                <a:cubicBezTo>
                  <a:pt x="2905872" y="1026411"/>
                  <a:pt x="2899836" y="1029917"/>
                  <a:pt x="2893297" y="1032421"/>
                </a:cubicBezTo>
                <a:cubicBezTo>
                  <a:pt x="2888768" y="1031418"/>
                  <a:pt x="2884746" y="1030417"/>
                  <a:pt x="2880217" y="1030417"/>
                </a:cubicBezTo>
                <a:cubicBezTo>
                  <a:pt x="2875691" y="1030417"/>
                  <a:pt x="2871163" y="1027413"/>
                  <a:pt x="2869150" y="1023407"/>
                </a:cubicBezTo>
                <a:cubicBezTo>
                  <a:pt x="2867643" y="1019902"/>
                  <a:pt x="2866134" y="1017900"/>
                  <a:pt x="2863113" y="1016398"/>
                </a:cubicBezTo>
                <a:cubicBezTo>
                  <a:pt x="2863114" y="1010389"/>
                  <a:pt x="2863114" y="1004380"/>
                  <a:pt x="2863113" y="998372"/>
                </a:cubicBezTo>
                <a:cubicBezTo>
                  <a:pt x="2868145" y="995868"/>
                  <a:pt x="2872170" y="991862"/>
                  <a:pt x="2874181" y="987356"/>
                </a:cubicBezTo>
                <a:cubicBezTo>
                  <a:pt x="2876696" y="983350"/>
                  <a:pt x="2878709" y="978844"/>
                  <a:pt x="2881223" y="974337"/>
                </a:cubicBezTo>
                <a:cubicBezTo>
                  <a:pt x="2883738" y="970331"/>
                  <a:pt x="2886255" y="965824"/>
                  <a:pt x="2886756" y="960818"/>
                </a:cubicBezTo>
                <a:cubicBezTo>
                  <a:pt x="2887763" y="956311"/>
                  <a:pt x="2890781" y="954308"/>
                  <a:pt x="2894301" y="951805"/>
                </a:cubicBezTo>
                <a:cubicBezTo>
                  <a:pt x="2897823" y="949301"/>
                  <a:pt x="2902854" y="949801"/>
                  <a:pt x="2905368" y="946296"/>
                </a:cubicBezTo>
                <a:close/>
                <a:moveTo>
                  <a:pt x="2260447" y="944656"/>
                </a:moveTo>
                <a:cubicBezTo>
                  <a:pt x="2263968" y="944656"/>
                  <a:pt x="2266988" y="944656"/>
                  <a:pt x="2270507" y="944656"/>
                </a:cubicBezTo>
                <a:cubicBezTo>
                  <a:pt x="2273021" y="948161"/>
                  <a:pt x="2278053" y="947661"/>
                  <a:pt x="2281574" y="950164"/>
                </a:cubicBezTo>
                <a:cubicBezTo>
                  <a:pt x="2285095" y="952667"/>
                  <a:pt x="2288113" y="954671"/>
                  <a:pt x="2289119" y="959177"/>
                </a:cubicBezTo>
                <a:cubicBezTo>
                  <a:pt x="2289621" y="964184"/>
                  <a:pt x="2292136" y="968690"/>
                  <a:pt x="2294651" y="972696"/>
                </a:cubicBezTo>
                <a:cubicBezTo>
                  <a:pt x="2297165" y="977203"/>
                  <a:pt x="2299178" y="981709"/>
                  <a:pt x="2301692" y="985715"/>
                </a:cubicBezTo>
                <a:cubicBezTo>
                  <a:pt x="2303707" y="990222"/>
                  <a:pt x="2307729" y="994227"/>
                  <a:pt x="2312761" y="996731"/>
                </a:cubicBezTo>
                <a:cubicBezTo>
                  <a:pt x="2312760" y="1002739"/>
                  <a:pt x="2312761" y="1008748"/>
                  <a:pt x="2312760" y="1014757"/>
                </a:cubicBezTo>
                <a:cubicBezTo>
                  <a:pt x="2309742" y="1016259"/>
                  <a:pt x="2308232" y="1018262"/>
                  <a:pt x="2306725" y="1021767"/>
                </a:cubicBezTo>
                <a:cubicBezTo>
                  <a:pt x="2304711" y="1025772"/>
                  <a:pt x="2300183" y="1028777"/>
                  <a:pt x="2295658" y="1028777"/>
                </a:cubicBezTo>
                <a:cubicBezTo>
                  <a:pt x="2291129" y="1028777"/>
                  <a:pt x="2287107" y="1029778"/>
                  <a:pt x="2282579" y="1030780"/>
                </a:cubicBezTo>
                <a:cubicBezTo>
                  <a:pt x="2276042" y="1028276"/>
                  <a:pt x="2270004" y="1024771"/>
                  <a:pt x="2267489" y="1016759"/>
                </a:cubicBezTo>
                <a:cubicBezTo>
                  <a:pt x="2266989" y="1015257"/>
                  <a:pt x="2263968" y="1014256"/>
                  <a:pt x="2264473" y="1011252"/>
                </a:cubicBezTo>
                <a:cubicBezTo>
                  <a:pt x="2265979" y="1003240"/>
                  <a:pt x="2259943" y="1000736"/>
                  <a:pt x="2254917" y="999234"/>
                </a:cubicBezTo>
                <a:cubicBezTo>
                  <a:pt x="2251397" y="998232"/>
                  <a:pt x="2249383" y="996731"/>
                  <a:pt x="2247372" y="994728"/>
                </a:cubicBezTo>
                <a:cubicBezTo>
                  <a:pt x="2241335" y="989220"/>
                  <a:pt x="2241840" y="981709"/>
                  <a:pt x="2240329" y="974699"/>
                </a:cubicBezTo>
                <a:cubicBezTo>
                  <a:pt x="2239325" y="968190"/>
                  <a:pt x="2242342" y="963183"/>
                  <a:pt x="2244855" y="957675"/>
                </a:cubicBezTo>
                <a:cubicBezTo>
                  <a:pt x="2247372" y="951666"/>
                  <a:pt x="2251397" y="946659"/>
                  <a:pt x="2258937" y="946659"/>
                </a:cubicBezTo>
                <a:cubicBezTo>
                  <a:pt x="2259943" y="946659"/>
                  <a:pt x="2260447" y="946158"/>
                  <a:pt x="2260447" y="944656"/>
                </a:cubicBezTo>
                <a:close/>
                <a:moveTo>
                  <a:pt x="8445790" y="941572"/>
                </a:moveTo>
                <a:cubicBezTo>
                  <a:pt x="8446496" y="941572"/>
                  <a:pt x="8447910" y="941571"/>
                  <a:pt x="8448263" y="942277"/>
                </a:cubicBezTo>
                <a:cubicBezTo>
                  <a:pt x="8451799" y="945454"/>
                  <a:pt x="8454979" y="948278"/>
                  <a:pt x="8459574" y="943689"/>
                </a:cubicBezTo>
                <a:cubicBezTo>
                  <a:pt x="8460986" y="941924"/>
                  <a:pt x="8462047" y="943689"/>
                  <a:pt x="8462400" y="945101"/>
                </a:cubicBezTo>
                <a:cubicBezTo>
                  <a:pt x="8463460" y="951101"/>
                  <a:pt x="8466288" y="951102"/>
                  <a:pt x="8470529" y="947572"/>
                </a:cubicBezTo>
                <a:cubicBezTo>
                  <a:pt x="8473357" y="945101"/>
                  <a:pt x="8474771" y="945807"/>
                  <a:pt x="8474771" y="949336"/>
                </a:cubicBezTo>
                <a:cubicBezTo>
                  <a:pt x="8474770" y="951455"/>
                  <a:pt x="8474063" y="953925"/>
                  <a:pt x="8477244" y="954278"/>
                </a:cubicBezTo>
                <a:cubicBezTo>
                  <a:pt x="8484312" y="955691"/>
                  <a:pt x="8487139" y="960632"/>
                  <a:pt x="8486786" y="966985"/>
                </a:cubicBezTo>
                <a:cubicBezTo>
                  <a:pt x="8486433" y="971574"/>
                  <a:pt x="8487846" y="973691"/>
                  <a:pt x="8491028" y="975456"/>
                </a:cubicBezTo>
                <a:cubicBezTo>
                  <a:pt x="8491028" y="976868"/>
                  <a:pt x="8491028" y="978279"/>
                  <a:pt x="8491027" y="979691"/>
                </a:cubicBezTo>
                <a:cubicBezTo>
                  <a:pt x="8487493" y="981809"/>
                  <a:pt x="8486433" y="985692"/>
                  <a:pt x="8487493" y="989222"/>
                </a:cubicBezTo>
                <a:cubicBezTo>
                  <a:pt x="8489261" y="995575"/>
                  <a:pt x="8487139" y="1000517"/>
                  <a:pt x="8482546" y="1004753"/>
                </a:cubicBezTo>
                <a:cubicBezTo>
                  <a:pt x="8480779" y="1006517"/>
                  <a:pt x="8479011" y="1007929"/>
                  <a:pt x="8478304" y="1010400"/>
                </a:cubicBezTo>
                <a:cubicBezTo>
                  <a:pt x="8477597" y="1014282"/>
                  <a:pt x="8475478" y="1016400"/>
                  <a:pt x="8471589" y="1016047"/>
                </a:cubicBezTo>
                <a:cubicBezTo>
                  <a:pt x="8468762" y="1016047"/>
                  <a:pt x="8466641" y="1017812"/>
                  <a:pt x="8465582" y="1019223"/>
                </a:cubicBezTo>
                <a:cubicBezTo>
                  <a:pt x="8459573" y="1027695"/>
                  <a:pt x="8450737" y="1023106"/>
                  <a:pt x="8443316" y="1024165"/>
                </a:cubicBezTo>
                <a:cubicBezTo>
                  <a:pt x="8440136" y="1024519"/>
                  <a:pt x="8433420" y="1026283"/>
                  <a:pt x="8432006" y="1023812"/>
                </a:cubicBezTo>
                <a:cubicBezTo>
                  <a:pt x="8427766" y="1016753"/>
                  <a:pt x="8416809" y="1019577"/>
                  <a:pt x="8414336" y="1010047"/>
                </a:cubicBezTo>
                <a:cubicBezTo>
                  <a:pt x="8413629" y="1007223"/>
                  <a:pt x="8408682" y="1005458"/>
                  <a:pt x="8413276" y="1001575"/>
                </a:cubicBezTo>
                <a:cubicBezTo>
                  <a:pt x="8414689" y="1000517"/>
                  <a:pt x="8414335" y="998399"/>
                  <a:pt x="8412923" y="998045"/>
                </a:cubicBezTo>
                <a:cubicBezTo>
                  <a:pt x="8407267" y="995928"/>
                  <a:pt x="8407621" y="992751"/>
                  <a:pt x="8411155" y="988516"/>
                </a:cubicBezTo>
                <a:cubicBezTo>
                  <a:pt x="8412215" y="987104"/>
                  <a:pt x="8410801" y="985339"/>
                  <a:pt x="8410095" y="983928"/>
                </a:cubicBezTo>
                <a:cubicBezTo>
                  <a:pt x="8408682" y="981810"/>
                  <a:pt x="8408328" y="979692"/>
                  <a:pt x="8410449" y="977927"/>
                </a:cubicBezTo>
                <a:cubicBezTo>
                  <a:pt x="8412569" y="976162"/>
                  <a:pt x="8412216" y="974044"/>
                  <a:pt x="8412922" y="971927"/>
                </a:cubicBezTo>
                <a:cubicBezTo>
                  <a:pt x="8414689" y="966631"/>
                  <a:pt x="8416810" y="959926"/>
                  <a:pt x="8420697" y="957455"/>
                </a:cubicBezTo>
                <a:cubicBezTo>
                  <a:pt x="8429180" y="952160"/>
                  <a:pt x="8437308" y="946513"/>
                  <a:pt x="8445790" y="941572"/>
                </a:cubicBezTo>
                <a:close/>
                <a:moveTo>
                  <a:pt x="8552998" y="925507"/>
                </a:moveTo>
                <a:lnTo>
                  <a:pt x="8553196" y="925838"/>
                </a:lnTo>
                <a:lnTo>
                  <a:pt x="8552768" y="925736"/>
                </a:lnTo>
                <a:close/>
                <a:moveTo>
                  <a:pt x="2546234" y="923434"/>
                </a:moveTo>
                <a:cubicBezTo>
                  <a:pt x="2552567" y="927122"/>
                  <a:pt x="2558635" y="931338"/>
                  <a:pt x="2564962" y="935290"/>
                </a:cubicBezTo>
                <a:cubicBezTo>
                  <a:pt x="2567865" y="937133"/>
                  <a:pt x="2569445" y="942140"/>
                  <a:pt x="2570765" y="946091"/>
                </a:cubicBezTo>
                <a:cubicBezTo>
                  <a:pt x="2571294" y="947672"/>
                  <a:pt x="2571027" y="949253"/>
                  <a:pt x="2572614" y="950569"/>
                </a:cubicBezTo>
                <a:cubicBezTo>
                  <a:pt x="2574198" y="951887"/>
                  <a:pt x="2573933" y="953468"/>
                  <a:pt x="2572874" y="955049"/>
                </a:cubicBezTo>
                <a:cubicBezTo>
                  <a:pt x="2572346" y="956103"/>
                  <a:pt x="2571294" y="957420"/>
                  <a:pt x="2572085" y="958474"/>
                </a:cubicBezTo>
                <a:cubicBezTo>
                  <a:pt x="2574722" y="961636"/>
                  <a:pt x="2574993" y="964006"/>
                  <a:pt x="2570765" y="965587"/>
                </a:cubicBezTo>
                <a:cubicBezTo>
                  <a:pt x="2569710" y="965850"/>
                  <a:pt x="2569444" y="967431"/>
                  <a:pt x="2570502" y="968222"/>
                </a:cubicBezTo>
                <a:cubicBezTo>
                  <a:pt x="2573932" y="971120"/>
                  <a:pt x="2570235" y="972437"/>
                  <a:pt x="2569710" y="974544"/>
                </a:cubicBezTo>
                <a:cubicBezTo>
                  <a:pt x="2567866" y="981658"/>
                  <a:pt x="2559687" y="979551"/>
                  <a:pt x="2556523" y="984820"/>
                </a:cubicBezTo>
                <a:cubicBezTo>
                  <a:pt x="2555470" y="986664"/>
                  <a:pt x="2550456" y="985346"/>
                  <a:pt x="2548083" y="985083"/>
                </a:cubicBezTo>
                <a:cubicBezTo>
                  <a:pt x="2542543" y="984292"/>
                  <a:pt x="2535947" y="987718"/>
                  <a:pt x="2531463" y="981394"/>
                </a:cubicBezTo>
                <a:cubicBezTo>
                  <a:pt x="2530671" y="980340"/>
                  <a:pt x="2529088" y="979023"/>
                  <a:pt x="2526978" y="979024"/>
                </a:cubicBezTo>
                <a:cubicBezTo>
                  <a:pt x="2524075" y="979287"/>
                  <a:pt x="2522493" y="977706"/>
                  <a:pt x="2521965" y="974808"/>
                </a:cubicBezTo>
                <a:cubicBezTo>
                  <a:pt x="2521438" y="972964"/>
                  <a:pt x="2520119" y="971910"/>
                  <a:pt x="2518800" y="970593"/>
                </a:cubicBezTo>
                <a:cubicBezTo>
                  <a:pt x="2515370" y="967431"/>
                  <a:pt x="2513788" y="963743"/>
                  <a:pt x="2515106" y="959001"/>
                </a:cubicBezTo>
                <a:cubicBezTo>
                  <a:pt x="2515898" y="956366"/>
                  <a:pt x="2515106" y="953468"/>
                  <a:pt x="2512468" y="951887"/>
                </a:cubicBezTo>
                <a:cubicBezTo>
                  <a:pt x="2512468" y="950833"/>
                  <a:pt x="2512468" y="949780"/>
                  <a:pt x="2512468" y="948726"/>
                </a:cubicBezTo>
                <a:cubicBezTo>
                  <a:pt x="2514843" y="947409"/>
                  <a:pt x="2515898" y="945828"/>
                  <a:pt x="2515635" y="942403"/>
                </a:cubicBezTo>
                <a:cubicBezTo>
                  <a:pt x="2515370" y="937661"/>
                  <a:pt x="2517481" y="933973"/>
                  <a:pt x="2522757" y="932918"/>
                </a:cubicBezTo>
                <a:cubicBezTo>
                  <a:pt x="2525132" y="932655"/>
                  <a:pt x="2524603" y="930810"/>
                  <a:pt x="2524603" y="929230"/>
                </a:cubicBezTo>
                <a:cubicBezTo>
                  <a:pt x="2524604" y="926596"/>
                  <a:pt x="2525658" y="926068"/>
                  <a:pt x="2527770" y="927913"/>
                </a:cubicBezTo>
                <a:cubicBezTo>
                  <a:pt x="2530935" y="930547"/>
                  <a:pt x="2533046" y="930548"/>
                  <a:pt x="2533838" y="926068"/>
                </a:cubicBezTo>
                <a:cubicBezTo>
                  <a:pt x="2534099" y="925014"/>
                  <a:pt x="2534891" y="923697"/>
                  <a:pt x="2535946" y="925015"/>
                </a:cubicBezTo>
                <a:cubicBezTo>
                  <a:pt x="2539377" y="928440"/>
                  <a:pt x="2541751" y="926332"/>
                  <a:pt x="2544388" y="923961"/>
                </a:cubicBezTo>
                <a:cubicBezTo>
                  <a:pt x="2544654" y="923434"/>
                  <a:pt x="2545707" y="923434"/>
                  <a:pt x="2546234" y="923434"/>
                </a:cubicBezTo>
                <a:close/>
                <a:moveTo>
                  <a:pt x="5379329" y="915503"/>
                </a:moveTo>
                <a:cubicBezTo>
                  <a:pt x="5379329" y="915503"/>
                  <a:pt x="5379329" y="915503"/>
                  <a:pt x="5374936" y="917306"/>
                </a:cubicBezTo>
                <a:lnTo>
                  <a:pt x="5374848" y="917099"/>
                </a:lnTo>
                <a:close/>
                <a:moveTo>
                  <a:pt x="4021382" y="913322"/>
                </a:moveTo>
                <a:cubicBezTo>
                  <a:pt x="4022367" y="913792"/>
                  <a:pt x="4024036" y="914150"/>
                  <a:pt x="4025584" y="913339"/>
                </a:cubicBezTo>
                <a:cubicBezTo>
                  <a:pt x="4027613" y="912029"/>
                  <a:pt x="4029382" y="912581"/>
                  <a:pt x="4030884" y="914505"/>
                </a:cubicBezTo>
                <a:cubicBezTo>
                  <a:pt x="4031981" y="915656"/>
                  <a:pt x="4033354" y="915922"/>
                  <a:pt x="4034829" y="916382"/>
                </a:cubicBezTo>
                <a:cubicBezTo>
                  <a:pt x="4038561" y="917384"/>
                  <a:pt x="4041141" y="919483"/>
                  <a:pt x="4041997" y="923470"/>
                </a:cubicBezTo>
                <a:cubicBezTo>
                  <a:pt x="4042429" y="925708"/>
                  <a:pt x="4044124" y="927530"/>
                  <a:pt x="4046668" y="927677"/>
                </a:cubicBezTo>
                <a:cubicBezTo>
                  <a:pt x="4047074" y="928450"/>
                  <a:pt x="4047478" y="929224"/>
                  <a:pt x="4047884" y="929997"/>
                </a:cubicBezTo>
                <a:cubicBezTo>
                  <a:pt x="4046648" y="931877"/>
                  <a:pt x="4046482" y="933443"/>
                  <a:pt x="4047992" y="935855"/>
                </a:cubicBezTo>
                <a:cubicBezTo>
                  <a:pt x="4050009" y="939235"/>
                  <a:pt x="4049879" y="942753"/>
                  <a:pt x="4046411" y="945556"/>
                </a:cubicBezTo>
                <a:cubicBezTo>
                  <a:pt x="4044770" y="946662"/>
                  <a:pt x="4045867" y="947812"/>
                  <a:pt x="4046474" y="948973"/>
                </a:cubicBezTo>
                <a:cubicBezTo>
                  <a:pt x="4047488" y="950907"/>
                  <a:pt x="4046916" y="951700"/>
                  <a:pt x="4044658" y="951157"/>
                </a:cubicBezTo>
                <a:cubicBezTo>
                  <a:pt x="4041321" y="950440"/>
                  <a:pt x="4039773" y="951253"/>
                  <a:pt x="4040915" y="954844"/>
                </a:cubicBezTo>
                <a:cubicBezTo>
                  <a:pt x="4041126" y="955718"/>
                  <a:pt x="4041052" y="956990"/>
                  <a:pt x="4039770" y="956428"/>
                </a:cubicBezTo>
                <a:cubicBezTo>
                  <a:pt x="4035936" y="955234"/>
                  <a:pt x="4035003" y="957693"/>
                  <a:pt x="4033979" y="960448"/>
                </a:cubicBezTo>
                <a:cubicBezTo>
                  <a:pt x="4033989" y="960937"/>
                  <a:pt x="4033214" y="961342"/>
                  <a:pt x="4032827" y="961546"/>
                </a:cubicBezTo>
                <a:cubicBezTo>
                  <a:pt x="4026761" y="961272"/>
                  <a:pt x="4020689" y="960512"/>
                  <a:pt x="4014522" y="960045"/>
                </a:cubicBezTo>
                <a:cubicBezTo>
                  <a:pt x="4011682" y="959808"/>
                  <a:pt x="4008595" y="956742"/>
                  <a:pt x="4006109" y="954349"/>
                </a:cubicBezTo>
                <a:cubicBezTo>
                  <a:pt x="4005112" y="953392"/>
                  <a:pt x="4004699" y="952130"/>
                  <a:pt x="4003029" y="951772"/>
                </a:cubicBezTo>
                <a:cubicBezTo>
                  <a:pt x="4001362" y="951413"/>
                  <a:pt x="4000948" y="950152"/>
                  <a:pt x="4001114" y="948586"/>
                </a:cubicBezTo>
                <a:cubicBezTo>
                  <a:pt x="4001097" y="947610"/>
                  <a:pt x="4001365" y="946236"/>
                  <a:pt x="4000379" y="945767"/>
                </a:cubicBezTo>
                <a:cubicBezTo>
                  <a:pt x="3997227" y="944462"/>
                  <a:pt x="3996121" y="942823"/>
                  <a:pt x="3998611" y="940039"/>
                </a:cubicBezTo>
                <a:cubicBezTo>
                  <a:pt x="3999285" y="939441"/>
                  <a:pt x="3998870" y="938178"/>
                  <a:pt x="3997792" y="938005"/>
                </a:cubicBezTo>
                <a:cubicBezTo>
                  <a:pt x="3994161" y="937196"/>
                  <a:pt x="3996365" y="934809"/>
                  <a:pt x="3995940" y="933059"/>
                </a:cubicBezTo>
                <a:cubicBezTo>
                  <a:pt x="3994561" y="927128"/>
                  <a:pt x="4001374" y="925531"/>
                  <a:pt x="4001671" y="920446"/>
                </a:cubicBezTo>
                <a:cubicBezTo>
                  <a:pt x="4001737" y="918686"/>
                  <a:pt x="4005921" y="917726"/>
                  <a:pt x="4007765" y="917006"/>
                </a:cubicBezTo>
                <a:cubicBezTo>
                  <a:pt x="4012136" y="915456"/>
                  <a:pt x="4015659" y="910406"/>
                  <a:pt x="4021382" y="913322"/>
                </a:cubicBezTo>
                <a:close/>
                <a:moveTo>
                  <a:pt x="5373132" y="912918"/>
                </a:moveTo>
                <a:lnTo>
                  <a:pt x="5374848" y="917099"/>
                </a:lnTo>
                <a:lnTo>
                  <a:pt x="5367518" y="919716"/>
                </a:lnTo>
                <a:cubicBezTo>
                  <a:pt x="5360582" y="924486"/>
                  <a:pt x="5364934" y="930392"/>
                  <a:pt x="5350421" y="932509"/>
                </a:cubicBezTo>
                <a:cubicBezTo>
                  <a:pt x="5348616" y="928123"/>
                  <a:pt x="5348616" y="928123"/>
                  <a:pt x="5344230" y="929926"/>
                </a:cubicBezTo>
                <a:cubicBezTo>
                  <a:pt x="5339843" y="931729"/>
                  <a:pt x="5339843" y="931729"/>
                  <a:pt x="5339843" y="931729"/>
                </a:cubicBezTo>
                <a:cubicBezTo>
                  <a:pt x="5338042" y="927341"/>
                  <a:pt x="5338042" y="927341"/>
                  <a:pt x="5333651" y="929144"/>
                </a:cubicBezTo>
                <a:cubicBezTo>
                  <a:pt x="5333651" y="929144"/>
                  <a:pt x="5333651" y="929144"/>
                  <a:pt x="5329260" y="930947"/>
                </a:cubicBezTo>
                <a:cubicBezTo>
                  <a:pt x="5331067" y="935334"/>
                  <a:pt x="5335460" y="933532"/>
                  <a:pt x="5331067" y="935334"/>
                </a:cubicBezTo>
                <a:cubicBezTo>
                  <a:pt x="5317911" y="940743"/>
                  <a:pt x="5302944" y="941765"/>
                  <a:pt x="5297772" y="954144"/>
                </a:cubicBezTo>
                <a:cubicBezTo>
                  <a:pt x="5300360" y="947955"/>
                  <a:pt x="5300360" y="947955"/>
                  <a:pt x="5295974" y="949758"/>
                </a:cubicBezTo>
                <a:cubicBezTo>
                  <a:pt x="5289781" y="947174"/>
                  <a:pt x="5287202" y="953363"/>
                  <a:pt x="5287202" y="953363"/>
                </a:cubicBezTo>
                <a:cubicBezTo>
                  <a:pt x="5287202" y="953363"/>
                  <a:pt x="5287202" y="953363"/>
                  <a:pt x="5282808" y="955166"/>
                </a:cubicBezTo>
                <a:cubicBezTo>
                  <a:pt x="5266048" y="951801"/>
                  <a:pt x="5258298" y="970370"/>
                  <a:pt x="5237137" y="968808"/>
                </a:cubicBezTo>
                <a:cubicBezTo>
                  <a:pt x="5238944" y="973196"/>
                  <a:pt x="5238944" y="973196"/>
                  <a:pt x="5238944" y="973196"/>
                </a:cubicBezTo>
                <a:cubicBezTo>
                  <a:pt x="5237137" y="968808"/>
                  <a:pt x="5232751" y="970610"/>
                  <a:pt x="5232751" y="970610"/>
                </a:cubicBezTo>
                <a:cubicBezTo>
                  <a:pt x="5228358" y="972414"/>
                  <a:pt x="5228358" y="972414"/>
                  <a:pt x="5230159" y="976802"/>
                </a:cubicBezTo>
                <a:cubicBezTo>
                  <a:pt x="5216993" y="982210"/>
                  <a:pt x="5203836" y="987618"/>
                  <a:pt x="5203836" y="987618"/>
                </a:cubicBezTo>
                <a:cubicBezTo>
                  <a:pt x="5190686" y="993028"/>
                  <a:pt x="5214409" y="988400"/>
                  <a:pt x="5192483" y="997413"/>
                </a:cubicBezTo>
                <a:cubicBezTo>
                  <a:pt x="5195069" y="991224"/>
                  <a:pt x="5188889" y="988640"/>
                  <a:pt x="5186302" y="994830"/>
                </a:cubicBezTo>
                <a:cubicBezTo>
                  <a:pt x="5183724" y="1001019"/>
                  <a:pt x="5207443" y="996392"/>
                  <a:pt x="5185522" y="1005407"/>
                </a:cubicBezTo>
                <a:cubicBezTo>
                  <a:pt x="5185522" y="1005407"/>
                  <a:pt x="5185522" y="1005407"/>
                  <a:pt x="5183724" y="1001019"/>
                </a:cubicBezTo>
                <a:cubicBezTo>
                  <a:pt x="5183724" y="1001019"/>
                  <a:pt x="5183724" y="1001019"/>
                  <a:pt x="5179328" y="1002822"/>
                </a:cubicBezTo>
                <a:cubicBezTo>
                  <a:pt x="5179328" y="1002822"/>
                  <a:pt x="5174944" y="1004625"/>
                  <a:pt x="5174944" y="1004625"/>
                </a:cubicBezTo>
                <a:cubicBezTo>
                  <a:pt x="5170560" y="1006429"/>
                  <a:pt x="5170560" y="1006429"/>
                  <a:pt x="5170560" y="1006429"/>
                </a:cubicBezTo>
                <a:cubicBezTo>
                  <a:pt x="5166160" y="1008231"/>
                  <a:pt x="5166160" y="1008231"/>
                  <a:pt x="5166160" y="1008231"/>
                </a:cubicBezTo>
                <a:cubicBezTo>
                  <a:pt x="5164355" y="1003845"/>
                  <a:pt x="5159982" y="1005648"/>
                  <a:pt x="5155589" y="1007450"/>
                </a:cubicBezTo>
                <a:cubicBezTo>
                  <a:pt x="5157392" y="1011837"/>
                  <a:pt x="5152997" y="1013640"/>
                  <a:pt x="5148611" y="1015443"/>
                </a:cubicBezTo>
                <a:cubicBezTo>
                  <a:pt x="5142424" y="1012859"/>
                  <a:pt x="5129266" y="1018268"/>
                  <a:pt x="5120488" y="1021873"/>
                </a:cubicBezTo>
                <a:cubicBezTo>
                  <a:pt x="5155589" y="1007450"/>
                  <a:pt x="5168750" y="1002041"/>
                  <a:pt x="5197657" y="985034"/>
                </a:cubicBezTo>
                <a:cubicBezTo>
                  <a:pt x="5189667" y="978062"/>
                  <a:pt x="5205401" y="966465"/>
                  <a:pt x="5227340" y="957450"/>
                </a:cubicBezTo>
                <a:cubicBezTo>
                  <a:pt x="5249287" y="948437"/>
                  <a:pt x="5271216" y="939422"/>
                  <a:pt x="5269411" y="935033"/>
                </a:cubicBezTo>
                <a:cubicBezTo>
                  <a:pt x="5289547" y="921633"/>
                  <a:pt x="5323860" y="917786"/>
                  <a:pt x="5347599" y="913159"/>
                </a:cubicBezTo>
                <a:cubicBezTo>
                  <a:pt x="5343210" y="914962"/>
                  <a:pt x="5343210" y="914962"/>
                  <a:pt x="5345009" y="919350"/>
                </a:cubicBezTo>
                <a:cubicBezTo>
                  <a:pt x="5345009" y="919350"/>
                  <a:pt x="5349397" y="917545"/>
                  <a:pt x="5349397" y="917545"/>
                </a:cubicBezTo>
                <a:cubicBezTo>
                  <a:pt x="5368747" y="914721"/>
                  <a:pt x="5368747" y="914721"/>
                  <a:pt x="5368747" y="914721"/>
                </a:cubicBezTo>
                <a:cubicBezTo>
                  <a:pt x="5373132" y="912918"/>
                  <a:pt x="5373132" y="912918"/>
                  <a:pt x="5373132" y="912918"/>
                </a:cubicBezTo>
                <a:close/>
                <a:moveTo>
                  <a:pt x="5381913" y="909312"/>
                </a:moveTo>
                <a:lnTo>
                  <a:pt x="5381752" y="909689"/>
                </a:lnTo>
                <a:lnTo>
                  <a:pt x="5377518" y="911116"/>
                </a:lnTo>
                <a:cubicBezTo>
                  <a:pt x="5377518" y="911116"/>
                  <a:pt x="5377518" y="911116"/>
                  <a:pt x="5381913" y="909312"/>
                </a:cubicBezTo>
                <a:close/>
                <a:moveTo>
                  <a:pt x="6290812" y="898549"/>
                </a:moveTo>
                <a:cubicBezTo>
                  <a:pt x="6294003" y="898519"/>
                  <a:pt x="6298195" y="899360"/>
                  <a:pt x="6301289" y="900653"/>
                </a:cubicBezTo>
                <a:lnTo>
                  <a:pt x="6290539" y="898739"/>
                </a:lnTo>
                <a:close/>
                <a:moveTo>
                  <a:pt x="2129505" y="892138"/>
                </a:moveTo>
                <a:cubicBezTo>
                  <a:pt x="2130423" y="892326"/>
                  <a:pt x="2131124" y="893190"/>
                  <a:pt x="2131448" y="895024"/>
                </a:cubicBezTo>
                <a:cubicBezTo>
                  <a:pt x="2131448" y="895887"/>
                  <a:pt x="2131663" y="896750"/>
                  <a:pt x="2132095" y="897612"/>
                </a:cubicBezTo>
                <a:cubicBezTo>
                  <a:pt x="2132527" y="898691"/>
                  <a:pt x="2132527" y="900417"/>
                  <a:pt x="2134038" y="900632"/>
                </a:cubicBezTo>
                <a:cubicBezTo>
                  <a:pt x="2135334" y="900632"/>
                  <a:pt x="2136197" y="899554"/>
                  <a:pt x="2136844" y="898691"/>
                </a:cubicBezTo>
                <a:cubicBezTo>
                  <a:pt x="2140082" y="895024"/>
                  <a:pt x="2141377" y="895239"/>
                  <a:pt x="2143319" y="899769"/>
                </a:cubicBezTo>
                <a:cubicBezTo>
                  <a:pt x="2143751" y="900848"/>
                  <a:pt x="2143968" y="901710"/>
                  <a:pt x="2144615" y="902573"/>
                </a:cubicBezTo>
                <a:cubicBezTo>
                  <a:pt x="2145478" y="903868"/>
                  <a:pt x="2146342" y="904946"/>
                  <a:pt x="2148500" y="904084"/>
                </a:cubicBezTo>
                <a:cubicBezTo>
                  <a:pt x="2150442" y="903005"/>
                  <a:pt x="2150442" y="902142"/>
                  <a:pt x="2150011" y="900416"/>
                </a:cubicBezTo>
                <a:lnTo>
                  <a:pt x="2149647" y="897153"/>
                </a:lnTo>
                <a:lnTo>
                  <a:pt x="2166515" y="913930"/>
                </a:lnTo>
                <a:lnTo>
                  <a:pt x="2165550" y="915300"/>
                </a:lnTo>
                <a:cubicBezTo>
                  <a:pt x="2165119" y="917242"/>
                  <a:pt x="2165766" y="918537"/>
                  <a:pt x="2167491" y="919399"/>
                </a:cubicBezTo>
                <a:cubicBezTo>
                  <a:pt x="2168787" y="920046"/>
                  <a:pt x="2170083" y="920477"/>
                  <a:pt x="2171376" y="921125"/>
                </a:cubicBezTo>
                <a:cubicBezTo>
                  <a:pt x="2173535" y="922203"/>
                  <a:pt x="2174400" y="923714"/>
                  <a:pt x="2173967" y="926303"/>
                </a:cubicBezTo>
                <a:cubicBezTo>
                  <a:pt x="2172672" y="934068"/>
                  <a:pt x="2175478" y="939461"/>
                  <a:pt x="2182384" y="942912"/>
                </a:cubicBezTo>
                <a:cubicBezTo>
                  <a:pt x="2183463" y="943559"/>
                  <a:pt x="2185837" y="943343"/>
                  <a:pt x="2185407" y="945285"/>
                </a:cubicBezTo>
                <a:cubicBezTo>
                  <a:pt x="2185190" y="947227"/>
                  <a:pt x="2183248" y="947658"/>
                  <a:pt x="2181304" y="947874"/>
                </a:cubicBezTo>
                <a:cubicBezTo>
                  <a:pt x="2181089" y="947874"/>
                  <a:pt x="2180874" y="947874"/>
                  <a:pt x="2180658" y="947874"/>
                </a:cubicBezTo>
                <a:cubicBezTo>
                  <a:pt x="2175478" y="948737"/>
                  <a:pt x="2173967" y="951110"/>
                  <a:pt x="2176557" y="955208"/>
                </a:cubicBezTo>
                <a:cubicBezTo>
                  <a:pt x="2178931" y="959091"/>
                  <a:pt x="2178283" y="962111"/>
                  <a:pt x="2176126" y="965347"/>
                </a:cubicBezTo>
                <a:cubicBezTo>
                  <a:pt x="2173319" y="969661"/>
                  <a:pt x="2171162" y="974191"/>
                  <a:pt x="2172457" y="979584"/>
                </a:cubicBezTo>
                <a:cubicBezTo>
                  <a:pt x="2173105" y="981958"/>
                  <a:pt x="2170731" y="983036"/>
                  <a:pt x="2169218" y="983467"/>
                </a:cubicBezTo>
                <a:cubicBezTo>
                  <a:pt x="2163607" y="985408"/>
                  <a:pt x="2161018" y="989076"/>
                  <a:pt x="2160370" y="994684"/>
                </a:cubicBezTo>
                <a:cubicBezTo>
                  <a:pt x="2159940" y="998135"/>
                  <a:pt x="2158644" y="998783"/>
                  <a:pt x="2155192" y="996626"/>
                </a:cubicBezTo>
                <a:cubicBezTo>
                  <a:pt x="2147853" y="992096"/>
                  <a:pt x="2137060" y="995332"/>
                  <a:pt x="2133823" y="1002881"/>
                </a:cubicBezTo>
                <a:cubicBezTo>
                  <a:pt x="2133175" y="1004391"/>
                  <a:pt x="2132312" y="1006333"/>
                  <a:pt x="2133823" y="1007627"/>
                </a:cubicBezTo>
                <a:cubicBezTo>
                  <a:pt x="2135334" y="1008922"/>
                  <a:pt x="2137491" y="1009568"/>
                  <a:pt x="2139433" y="1008274"/>
                </a:cubicBezTo>
                <a:cubicBezTo>
                  <a:pt x="2140729" y="1007626"/>
                  <a:pt x="2142023" y="1006548"/>
                  <a:pt x="2143319" y="1005685"/>
                </a:cubicBezTo>
                <a:cubicBezTo>
                  <a:pt x="2144615" y="1004607"/>
                  <a:pt x="2145909" y="1003960"/>
                  <a:pt x="2146990" y="1005254"/>
                </a:cubicBezTo>
                <a:cubicBezTo>
                  <a:pt x="2148284" y="1006764"/>
                  <a:pt x="2147422" y="1008058"/>
                  <a:pt x="2146342" y="1009137"/>
                </a:cubicBezTo>
                <a:cubicBezTo>
                  <a:pt x="2145478" y="1010216"/>
                  <a:pt x="2144183" y="1011078"/>
                  <a:pt x="2143319" y="1011941"/>
                </a:cubicBezTo>
                <a:cubicBezTo>
                  <a:pt x="2141378" y="1013883"/>
                  <a:pt x="2140297" y="1016471"/>
                  <a:pt x="2142241" y="1018629"/>
                </a:cubicBezTo>
                <a:cubicBezTo>
                  <a:pt x="2143968" y="1020354"/>
                  <a:pt x="2146342" y="1018629"/>
                  <a:pt x="2148068" y="1017335"/>
                </a:cubicBezTo>
                <a:cubicBezTo>
                  <a:pt x="2149579" y="1016256"/>
                  <a:pt x="2150658" y="1014314"/>
                  <a:pt x="2152602" y="1013667"/>
                </a:cubicBezTo>
                <a:cubicBezTo>
                  <a:pt x="2155407" y="1012589"/>
                  <a:pt x="2157135" y="1013021"/>
                  <a:pt x="2156918" y="1016472"/>
                </a:cubicBezTo>
                <a:cubicBezTo>
                  <a:pt x="2156703" y="1021217"/>
                  <a:pt x="2154760" y="1025100"/>
                  <a:pt x="2152169" y="1028768"/>
                </a:cubicBezTo>
                <a:cubicBezTo>
                  <a:pt x="2148931" y="1033513"/>
                  <a:pt x="2148717" y="1036101"/>
                  <a:pt x="2152169" y="1040631"/>
                </a:cubicBezTo>
                <a:cubicBezTo>
                  <a:pt x="2153249" y="1042357"/>
                  <a:pt x="2154975" y="1043867"/>
                  <a:pt x="2156487" y="1045377"/>
                </a:cubicBezTo>
                <a:cubicBezTo>
                  <a:pt x="2157134" y="1046024"/>
                  <a:pt x="2158213" y="1046672"/>
                  <a:pt x="2157780" y="1047750"/>
                </a:cubicBezTo>
                <a:cubicBezTo>
                  <a:pt x="2157348" y="1049045"/>
                  <a:pt x="2156270" y="1049260"/>
                  <a:pt x="2155406" y="1049044"/>
                </a:cubicBezTo>
                <a:cubicBezTo>
                  <a:pt x="2151522" y="1048181"/>
                  <a:pt x="2150658" y="1049916"/>
                  <a:pt x="2150876" y="1053367"/>
                </a:cubicBezTo>
                <a:cubicBezTo>
                  <a:pt x="2151090" y="1057681"/>
                  <a:pt x="2148285" y="1060701"/>
                  <a:pt x="2145262" y="1063074"/>
                </a:cubicBezTo>
                <a:cubicBezTo>
                  <a:pt x="2142888" y="1065015"/>
                  <a:pt x="2142672" y="1066525"/>
                  <a:pt x="2145046" y="1068252"/>
                </a:cubicBezTo>
                <a:cubicBezTo>
                  <a:pt x="2146342" y="1069114"/>
                  <a:pt x="2147204" y="1069977"/>
                  <a:pt x="2146773" y="1071703"/>
                </a:cubicBezTo>
                <a:cubicBezTo>
                  <a:pt x="2146342" y="1074075"/>
                  <a:pt x="2144615" y="1073644"/>
                  <a:pt x="2143104" y="1074075"/>
                </a:cubicBezTo>
                <a:cubicBezTo>
                  <a:pt x="2142240" y="1074292"/>
                  <a:pt x="2141160" y="1074291"/>
                  <a:pt x="2140082" y="1074507"/>
                </a:cubicBezTo>
                <a:cubicBezTo>
                  <a:pt x="2134254" y="1075155"/>
                  <a:pt x="2132960" y="1078390"/>
                  <a:pt x="2136414" y="1083351"/>
                </a:cubicBezTo>
                <a:cubicBezTo>
                  <a:pt x="2136844" y="1083997"/>
                  <a:pt x="2137276" y="1084429"/>
                  <a:pt x="2137491" y="1085076"/>
                </a:cubicBezTo>
                <a:cubicBezTo>
                  <a:pt x="2138138" y="1086371"/>
                  <a:pt x="2138571" y="1088096"/>
                  <a:pt x="2137276" y="1088959"/>
                </a:cubicBezTo>
                <a:cubicBezTo>
                  <a:pt x="2136198" y="1089822"/>
                  <a:pt x="2134687" y="1088958"/>
                  <a:pt x="2133824" y="1088096"/>
                </a:cubicBezTo>
                <a:cubicBezTo>
                  <a:pt x="2132960" y="1087233"/>
                  <a:pt x="2132312" y="1086371"/>
                  <a:pt x="2131664" y="1085291"/>
                </a:cubicBezTo>
                <a:cubicBezTo>
                  <a:pt x="2130368" y="1083781"/>
                  <a:pt x="2129073" y="1083351"/>
                  <a:pt x="2127347" y="1084645"/>
                </a:cubicBezTo>
                <a:cubicBezTo>
                  <a:pt x="2123245" y="1087449"/>
                  <a:pt x="2118713" y="1087880"/>
                  <a:pt x="2114180" y="1088096"/>
                </a:cubicBezTo>
                <a:cubicBezTo>
                  <a:pt x="2108785" y="1088527"/>
                  <a:pt x="2103173" y="1087880"/>
                  <a:pt x="2097778" y="1089174"/>
                </a:cubicBezTo>
                <a:cubicBezTo>
                  <a:pt x="2095821" y="1089606"/>
                  <a:pt x="2094740" y="1088312"/>
                  <a:pt x="2093878" y="1087233"/>
                </a:cubicBezTo>
                <a:cubicBezTo>
                  <a:pt x="2090856" y="1083781"/>
                  <a:pt x="2088051" y="1080330"/>
                  <a:pt x="2082656" y="1082056"/>
                </a:cubicBezTo>
                <a:cubicBezTo>
                  <a:pt x="2081578" y="1082271"/>
                  <a:pt x="2080927" y="1081409"/>
                  <a:pt x="2080496" y="1080547"/>
                </a:cubicBezTo>
                <a:cubicBezTo>
                  <a:pt x="2078124" y="1076232"/>
                  <a:pt x="2074238" y="1072781"/>
                  <a:pt x="2071000" y="1069114"/>
                </a:cubicBezTo>
                <a:cubicBezTo>
                  <a:pt x="2066037" y="1063505"/>
                  <a:pt x="2063230" y="1057250"/>
                  <a:pt x="2065173" y="1049700"/>
                </a:cubicBezTo>
                <a:cubicBezTo>
                  <a:pt x="2065820" y="1046672"/>
                  <a:pt x="2064092" y="1044730"/>
                  <a:pt x="2062368" y="1043005"/>
                </a:cubicBezTo>
                <a:cubicBezTo>
                  <a:pt x="2058481" y="1038906"/>
                  <a:pt x="2058697" y="1036749"/>
                  <a:pt x="2063015" y="1033513"/>
                </a:cubicBezTo>
                <a:cubicBezTo>
                  <a:pt x="2067763" y="1030278"/>
                  <a:pt x="2067763" y="1030278"/>
                  <a:pt x="2063878" y="1025532"/>
                </a:cubicBezTo>
                <a:cubicBezTo>
                  <a:pt x="2063015" y="1024453"/>
                  <a:pt x="2062368" y="1023590"/>
                  <a:pt x="2063661" y="1022296"/>
                </a:cubicBezTo>
                <a:cubicBezTo>
                  <a:pt x="2067979" y="1017334"/>
                  <a:pt x="2071863" y="1012373"/>
                  <a:pt x="2076397" y="1007627"/>
                </a:cubicBezTo>
                <a:cubicBezTo>
                  <a:pt x="2079635" y="1003960"/>
                  <a:pt x="2083734" y="1001587"/>
                  <a:pt x="2088483" y="1000508"/>
                </a:cubicBezTo>
                <a:cubicBezTo>
                  <a:pt x="2091504" y="999645"/>
                  <a:pt x="2097348" y="991880"/>
                  <a:pt x="2097564" y="988645"/>
                </a:cubicBezTo>
                <a:cubicBezTo>
                  <a:pt x="2097564" y="987566"/>
                  <a:pt x="2097564" y="986703"/>
                  <a:pt x="2096252" y="986271"/>
                </a:cubicBezTo>
                <a:cubicBezTo>
                  <a:pt x="2089561" y="983251"/>
                  <a:pt x="2086325" y="977427"/>
                  <a:pt x="2083519" y="971171"/>
                </a:cubicBezTo>
                <a:cubicBezTo>
                  <a:pt x="2082871" y="969877"/>
                  <a:pt x="2082440" y="968798"/>
                  <a:pt x="2081793" y="967720"/>
                </a:cubicBezTo>
                <a:cubicBezTo>
                  <a:pt x="2079635" y="964268"/>
                  <a:pt x="2078555" y="961248"/>
                  <a:pt x="2080066" y="956934"/>
                </a:cubicBezTo>
                <a:cubicBezTo>
                  <a:pt x="2081577" y="952619"/>
                  <a:pt x="2079202" y="948305"/>
                  <a:pt x="2077044" y="944422"/>
                </a:cubicBezTo>
                <a:cubicBezTo>
                  <a:pt x="2076180" y="942481"/>
                  <a:pt x="2075749" y="941186"/>
                  <a:pt x="2077260" y="939245"/>
                </a:cubicBezTo>
                <a:cubicBezTo>
                  <a:pt x="2083303" y="931048"/>
                  <a:pt x="2087834" y="921988"/>
                  <a:pt x="2088699" y="911418"/>
                </a:cubicBezTo>
                <a:cubicBezTo>
                  <a:pt x="2088915" y="909908"/>
                  <a:pt x="2089345" y="909261"/>
                  <a:pt x="2090856" y="909692"/>
                </a:cubicBezTo>
                <a:cubicBezTo>
                  <a:pt x="2096898" y="910987"/>
                  <a:pt x="2100799" y="907751"/>
                  <a:pt x="2104037" y="903436"/>
                </a:cubicBezTo>
                <a:cubicBezTo>
                  <a:pt x="2105549" y="901495"/>
                  <a:pt x="2106845" y="900417"/>
                  <a:pt x="2109649" y="901711"/>
                </a:cubicBezTo>
                <a:cubicBezTo>
                  <a:pt x="2113102" y="903652"/>
                  <a:pt x="2116338" y="901926"/>
                  <a:pt x="2119145" y="899553"/>
                </a:cubicBezTo>
                <a:cubicBezTo>
                  <a:pt x="2121519" y="897612"/>
                  <a:pt x="2123893" y="895239"/>
                  <a:pt x="2126268" y="893297"/>
                </a:cubicBezTo>
                <a:cubicBezTo>
                  <a:pt x="2127455" y="892435"/>
                  <a:pt x="2128588" y="891950"/>
                  <a:pt x="2129505" y="892138"/>
                </a:cubicBezTo>
                <a:close/>
                <a:moveTo>
                  <a:pt x="9480411" y="883157"/>
                </a:moveTo>
                <a:cubicBezTo>
                  <a:pt x="9483873" y="883197"/>
                  <a:pt x="9487177" y="884062"/>
                  <a:pt x="9489852" y="887833"/>
                </a:cubicBezTo>
                <a:cubicBezTo>
                  <a:pt x="9490796" y="889090"/>
                  <a:pt x="9492685" y="890661"/>
                  <a:pt x="9495202" y="890661"/>
                </a:cubicBezTo>
                <a:cubicBezTo>
                  <a:pt x="9498665" y="890347"/>
                  <a:pt x="9500553" y="892233"/>
                  <a:pt x="9501182" y="895690"/>
                </a:cubicBezTo>
                <a:cubicBezTo>
                  <a:pt x="9501810" y="897890"/>
                  <a:pt x="9503384" y="899147"/>
                  <a:pt x="9504957" y="900718"/>
                </a:cubicBezTo>
                <a:cubicBezTo>
                  <a:pt x="9509048" y="904491"/>
                  <a:pt x="9510938" y="908890"/>
                  <a:pt x="9509363" y="914547"/>
                </a:cubicBezTo>
                <a:cubicBezTo>
                  <a:pt x="9508420" y="917690"/>
                  <a:pt x="9509363" y="921147"/>
                  <a:pt x="9512510" y="923033"/>
                </a:cubicBezTo>
                <a:cubicBezTo>
                  <a:pt x="9512510" y="924291"/>
                  <a:pt x="9512510" y="925548"/>
                  <a:pt x="9512511" y="926804"/>
                </a:cubicBezTo>
                <a:cubicBezTo>
                  <a:pt x="9509678" y="928376"/>
                  <a:pt x="9508419" y="930262"/>
                  <a:pt x="9508735" y="934348"/>
                </a:cubicBezTo>
                <a:cubicBezTo>
                  <a:pt x="9509049" y="940005"/>
                  <a:pt x="9506532" y="944405"/>
                  <a:pt x="9500237" y="945662"/>
                </a:cubicBezTo>
                <a:cubicBezTo>
                  <a:pt x="9497405" y="945976"/>
                  <a:pt x="9498034" y="948176"/>
                  <a:pt x="9498035" y="950062"/>
                </a:cubicBezTo>
                <a:cubicBezTo>
                  <a:pt x="9498035" y="953205"/>
                  <a:pt x="9496776" y="953834"/>
                  <a:pt x="9494258" y="951634"/>
                </a:cubicBezTo>
                <a:cubicBezTo>
                  <a:pt x="9490483" y="948491"/>
                  <a:pt x="9487964" y="948491"/>
                  <a:pt x="9487021" y="953834"/>
                </a:cubicBezTo>
                <a:cubicBezTo>
                  <a:pt x="9486705" y="955091"/>
                  <a:pt x="9485762" y="956663"/>
                  <a:pt x="9484503" y="955091"/>
                </a:cubicBezTo>
                <a:cubicBezTo>
                  <a:pt x="9480411" y="951005"/>
                  <a:pt x="9477580" y="953519"/>
                  <a:pt x="9474432" y="956348"/>
                </a:cubicBezTo>
                <a:cubicBezTo>
                  <a:pt x="9474119" y="956977"/>
                  <a:pt x="9472859" y="956977"/>
                  <a:pt x="9472229" y="956977"/>
                </a:cubicBezTo>
                <a:cubicBezTo>
                  <a:pt x="9464677" y="952577"/>
                  <a:pt x="9457440" y="947548"/>
                  <a:pt x="9449887" y="942833"/>
                </a:cubicBezTo>
                <a:cubicBezTo>
                  <a:pt x="9446426" y="940633"/>
                  <a:pt x="9444537" y="934662"/>
                  <a:pt x="9442963" y="929948"/>
                </a:cubicBezTo>
                <a:cubicBezTo>
                  <a:pt x="9442335" y="928062"/>
                  <a:pt x="9442649" y="926177"/>
                  <a:pt x="9440760" y="924605"/>
                </a:cubicBezTo>
                <a:cubicBezTo>
                  <a:pt x="9438872" y="923034"/>
                  <a:pt x="9439187" y="921147"/>
                  <a:pt x="9440446" y="919262"/>
                </a:cubicBezTo>
                <a:cubicBezTo>
                  <a:pt x="9441076" y="918004"/>
                  <a:pt x="9442334" y="916433"/>
                  <a:pt x="9441390" y="915176"/>
                </a:cubicBezTo>
                <a:cubicBezTo>
                  <a:pt x="9438244" y="911404"/>
                  <a:pt x="9437928" y="908576"/>
                  <a:pt x="9442964" y="906690"/>
                </a:cubicBezTo>
                <a:cubicBezTo>
                  <a:pt x="9444222" y="906376"/>
                  <a:pt x="9444537" y="904491"/>
                  <a:pt x="9443279" y="903547"/>
                </a:cubicBezTo>
                <a:cubicBezTo>
                  <a:pt x="9439187" y="900090"/>
                  <a:pt x="9443592" y="898519"/>
                  <a:pt x="9444223" y="896004"/>
                </a:cubicBezTo>
                <a:cubicBezTo>
                  <a:pt x="9446425" y="887518"/>
                  <a:pt x="9456180" y="890033"/>
                  <a:pt x="9459956" y="883747"/>
                </a:cubicBezTo>
                <a:cubicBezTo>
                  <a:pt x="9461216" y="881547"/>
                  <a:pt x="9467194" y="883119"/>
                  <a:pt x="9470028" y="883433"/>
                </a:cubicBezTo>
                <a:cubicBezTo>
                  <a:pt x="9473331" y="883904"/>
                  <a:pt x="9476950" y="883118"/>
                  <a:pt x="9480411" y="883157"/>
                </a:cubicBezTo>
                <a:close/>
                <a:moveTo>
                  <a:pt x="1571998" y="883072"/>
                </a:moveTo>
                <a:cubicBezTo>
                  <a:pt x="1574834" y="882083"/>
                  <a:pt x="1577785" y="881813"/>
                  <a:pt x="1581080" y="884102"/>
                </a:cubicBezTo>
                <a:cubicBezTo>
                  <a:pt x="1582221" y="884849"/>
                  <a:pt x="1584225" y="885574"/>
                  <a:pt x="1586280" y="884833"/>
                </a:cubicBezTo>
                <a:cubicBezTo>
                  <a:pt x="1589011" y="883555"/>
                  <a:pt x="1591109" y="884537"/>
                  <a:pt x="1592642" y="887172"/>
                </a:cubicBezTo>
                <a:cubicBezTo>
                  <a:pt x="1593805" y="888782"/>
                  <a:pt x="1595459" y="889343"/>
                  <a:pt x="1597207" y="890161"/>
                </a:cubicBezTo>
                <a:cubicBezTo>
                  <a:pt x="1601657" y="892032"/>
                  <a:pt x="1604496" y="895066"/>
                  <a:pt x="1604881" y="900146"/>
                </a:cubicBezTo>
                <a:cubicBezTo>
                  <a:pt x="1605038" y="902989"/>
                  <a:pt x="1606828" y="905532"/>
                  <a:pt x="1609952" y="906142"/>
                </a:cubicBezTo>
                <a:cubicBezTo>
                  <a:pt x="1610322" y="907169"/>
                  <a:pt x="1610693" y="908194"/>
                  <a:pt x="1611065" y="909220"/>
                </a:cubicBezTo>
                <a:cubicBezTo>
                  <a:pt x="1609217" y="911338"/>
                  <a:pt x="1608746" y="913247"/>
                  <a:pt x="1610208" y="916489"/>
                </a:cubicBezTo>
                <a:cubicBezTo>
                  <a:pt x="1612133" y="921012"/>
                  <a:pt x="1611377" y="925346"/>
                  <a:pt x="1606612" y="928228"/>
                </a:cubicBezTo>
                <a:cubicBezTo>
                  <a:pt x="1604394" y="929320"/>
                  <a:pt x="1605555" y="930929"/>
                  <a:pt x="1606112" y="932468"/>
                </a:cubicBezTo>
                <a:cubicBezTo>
                  <a:pt x="1607039" y="935033"/>
                  <a:pt x="1606197" y="935917"/>
                  <a:pt x="1603495" y="934864"/>
                </a:cubicBezTo>
                <a:cubicBezTo>
                  <a:pt x="1599486" y="933413"/>
                  <a:pt x="1597432" y="934156"/>
                  <a:pt x="1598237" y="938794"/>
                </a:cubicBezTo>
                <a:cubicBezTo>
                  <a:pt x="1598352" y="939913"/>
                  <a:pt x="1598044" y="941474"/>
                  <a:pt x="1596554" y="940563"/>
                </a:cubicBezTo>
                <a:cubicBezTo>
                  <a:pt x="1592010" y="938436"/>
                  <a:pt x="1590441" y="941323"/>
                  <a:pt x="1588707" y="944559"/>
                </a:cubicBezTo>
                <a:cubicBezTo>
                  <a:pt x="1588636" y="945165"/>
                  <a:pt x="1587609" y="945536"/>
                  <a:pt x="1587095" y="945721"/>
                </a:cubicBezTo>
                <a:cubicBezTo>
                  <a:pt x="1579634" y="944359"/>
                  <a:pt x="1572245" y="942390"/>
                  <a:pt x="1564692" y="940771"/>
                </a:cubicBezTo>
                <a:cubicBezTo>
                  <a:pt x="1561219" y="939997"/>
                  <a:pt x="1557916" y="935681"/>
                  <a:pt x="1555242" y="932299"/>
                </a:cubicBezTo>
                <a:cubicBezTo>
                  <a:pt x="1554172" y="930946"/>
                  <a:pt x="1553872" y="929314"/>
                  <a:pt x="1551868" y="928589"/>
                </a:cubicBezTo>
                <a:cubicBezTo>
                  <a:pt x="1549864" y="927863"/>
                  <a:pt x="1549564" y="926232"/>
                  <a:pt x="1550035" y="924321"/>
                </a:cubicBezTo>
                <a:cubicBezTo>
                  <a:pt x="1550177" y="923110"/>
                  <a:pt x="1550742" y="921456"/>
                  <a:pt x="1549600" y="920709"/>
                </a:cubicBezTo>
                <a:cubicBezTo>
                  <a:pt x="1545920" y="918560"/>
                  <a:pt x="1544830" y="916344"/>
                  <a:pt x="1548381" y="913320"/>
                </a:cubicBezTo>
                <a:cubicBezTo>
                  <a:pt x="1549316" y="912692"/>
                  <a:pt x="1549016" y="911062"/>
                  <a:pt x="1547711" y="910663"/>
                </a:cubicBezTo>
                <a:cubicBezTo>
                  <a:pt x="1543354" y="909049"/>
                  <a:pt x="1546485" y="906467"/>
                  <a:pt x="1546256" y="904229"/>
                </a:cubicBezTo>
                <a:cubicBezTo>
                  <a:pt x="1545551" y="896655"/>
                  <a:pt x="1554253" y="895829"/>
                  <a:pt x="1555480" y="889586"/>
                </a:cubicBezTo>
                <a:cubicBezTo>
                  <a:pt x="1555859" y="887420"/>
                  <a:pt x="1561201" y="886938"/>
                  <a:pt x="1563604" y="886359"/>
                </a:cubicBezTo>
                <a:cubicBezTo>
                  <a:pt x="1566440" y="885769"/>
                  <a:pt x="1569161" y="884061"/>
                  <a:pt x="1571998" y="883072"/>
                </a:cubicBezTo>
                <a:close/>
                <a:moveTo>
                  <a:pt x="6662223" y="880517"/>
                </a:moveTo>
                <a:cubicBezTo>
                  <a:pt x="6667632" y="893678"/>
                  <a:pt x="6653450" y="884123"/>
                  <a:pt x="6649063" y="885926"/>
                </a:cubicBezTo>
                <a:cubicBezTo>
                  <a:pt x="6665829" y="889292"/>
                  <a:pt x="6657056" y="892898"/>
                  <a:pt x="6669436" y="898065"/>
                </a:cubicBezTo>
                <a:cubicBezTo>
                  <a:pt x="6680011" y="898847"/>
                  <a:pt x="6661442" y="891096"/>
                  <a:pt x="6676406" y="890073"/>
                </a:cubicBezTo>
                <a:cubicBezTo>
                  <a:pt x="6690589" y="899628"/>
                  <a:pt x="6705552" y="898606"/>
                  <a:pt x="6713545" y="905578"/>
                </a:cubicBezTo>
                <a:cubicBezTo>
                  <a:pt x="6707356" y="902993"/>
                  <a:pt x="6701165" y="900409"/>
                  <a:pt x="6696778" y="902212"/>
                </a:cubicBezTo>
                <a:cubicBezTo>
                  <a:pt x="6725924" y="910745"/>
                  <a:pt x="6761262" y="921863"/>
                  <a:pt x="6800984" y="931176"/>
                </a:cubicBezTo>
                <a:cubicBezTo>
                  <a:pt x="6840708" y="940492"/>
                  <a:pt x="6880431" y="949806"/>
                  <a:pt x="6913965" y="956536"/>
                </a:cubicBezTo>
                <a:cubicBezTo>
                  <a:pt x="6909576" y="958340"/>
                  <a:pt x="6911380" y="962726"/>
                  <a:pt x="6917571" y="965311"/>
                </a:cubicBezTo>
                <a:cubicBezTo>
                  <a:pt x="6952906" y="976427"/>
                  <a:pt x="6982054" y="984961"/>
                  <a:pt x="7014806" y="1002269"/>
                </a:cubicBezTo>
                <a:cubicBezTo>
                  <a:pt x="7021776" y="994276"/>
                  <a:pt x="7039564" y="1012604"/>
                  <a:pt x="7051944" y="1017773"/>
                </a:cubicBezTo>
                <a:cubicBezTo>
                  <a:pt x="7058135" y="1020357"/>
                  <a:pt x="7060719" y="1014167"/>
                  <a:pt x="7068712" y="1021140"/>
                </a:cubicBezTo>
                <a:cubicBezTo>
                  <a:pt x="7073099" y="1019336"/>
                  <a:pt x="7082894" y="1030693"/>
                  <a:pt x="7095273" y="1035861"/>
                </a:cubicBezTo>
                <a:cubicBezTo>
                  <a:pt x="7113843" y="1043613"/>
                  <a:pt x="7136799" y="1049571"/>
                  <a:pt x="7155370" y="1057325"/>
                </a:cubicBezTo>
                <a:cubicBezTo>
                  <a:pt x="7180130" y="1067660"/>
                  <a:pt x="7184516" y="1065857"/>
                  <a:pt x="7211078" y="1080578"/>
                </a:cubicBezTo>
                <a:cubicBezTo>
                  <a:pt x="7271175" y="1102033"/>
                  <a:pt x="7335897" y="1147227"/>
                  <a:pt x="7365045" y="1155761"/>
                </a:cubicBezTo>
                <a:cubicBezTo>
                  <a:pt x="7370453" y="1168921"/>
                  <a:pt x="7397795" y="1173068"/>
                  <a:pt x="7410176" y="1178235"/>
                </a:cubicBezTo>
                <a:cubicBezTo>
                  <a:pt x="7399599" y="1177455"/>
                  <a:pt x="7405789" y="1180038"/>
                  <a:pt x="7407592" y="1184425"/>
                </a:cubicBezTo>
                <a:cubicBezTo>
                  <a:pt x="7450921" y="1202515"/>
                  <a:pt x="7488300" y="1243557"/>
                  <a:pt x="7547617" y="1275588"/>
                </a:cubicBezTo>
                <a:cubicBezTo>
                  <a:pt x="7572375" y="1285924"/>
                  <a:pt x="7558192" y="1276370"/>
                  <a:pt x="7582170" y="1297282"/>
                </a:cubicBezTo>
                <a:cubicBezTo>
                  <a:pt x="7598157" y="1311225"/>
                  <a:pt x="7616726" y="1318976"/>
                  <a:pt x="7632711" y="1332920"/>
                </a:cubicBezTo>
                <a:cubicBezTo>
                  <a:pt x="7693048" y="1379914"/>
                  <a:pt x="7748998" y="1428713"/>
                  <a:pt x="7796955" y="1470542"/>
                </a:cubicBezTo>
                <a:cubicBezTo>
                  <a:pt x="7819130" y="1487068"/>
                  <a:pt x="7830729" y="1502812"/>
                  <a:pt x="7849298" y="1510564"/>
                </a:cubicBezTo>
                <a:cubicBezTo>
                  <a:pt x="7851101" y="1514952"/>
                  <a:pt x="7851101" y="1514952"/>
                  <a:pt x="7852904" y="1519337"/>
                </a:cubicBezTo>
                <a:cubicBezTo>
                  <a:pt x="7854708" y="1523724"/>
                  <a:pt x="7860116" y="1536884"/>
                  <a:pt x="7882292" y="1553410"/>
                </a:cubicBezTo>
                <a:lnTo>
                  <a:pt x="7910865" y="1575666"/>
                </a:lnTo>
                <a:lnTo>
                  <a:pt x="7979585" y="1515824"/>
                </a:lnTo>
                <a:lnTo>
                  <a:pt x="8005155" y="1497189"/>
                </a:lnTo>
                <a:lnTo>
                  <a:pt x="7965942" y="1457499"/>
                </a:lnTo>
                <a:cubicBezTo>
                  <a:pt x="7970330" y="1455695"/>
                  <a:pt x="7970330" y="1455695"/>
                  <a:pt x="7970330" y="1455695"/>
                </a:cubicBezTo>
                <a:cubicBezTo>
                  <a:pt x="7970330" y="1455695"/>
                  <a:pt x="7972132" y="1460082"/>
                  <a:pt x="7972132" y="1460082"/>
                </a:cubicBezTo>
                <a:cubicBezTo>
                  <a:pt x="7978323" y="1462668"/>
                  <a:pt x="7980125" y="1467054"/>
                  <a:pt x="7982709" y="1460864"/>
                </a:cubicBezTo>
                <a:cubicBezTo>
                  <a:pt x="7982709" y="1460864"/>
                  <a:pt x="7980906" y="1456476"/>
                  <a:pt x="7974717" y="1453892"/>
                </a:cubicBezTo>
                <a:cubicBezTo>
                  <a:pt x="7972915" y="1449505"/>
                  <a:pt x="7972915" y="1449505"/>
                  <a:pt x="7966724" y="1446921"/>
                </a:cubicBezTo>
                <a:cubicBezTo>
                  <a:pt x="7971111" y="1445118"/>
                  <a:pt x="7969309" y="1440730"/>
                  <a:pt x="7965703" y="1431959"/>
                </a:cubicBezTo>
                <a:cubicBezTo>
                  <a:pt x="7963509" y="1432860"/>
                  <a:pt x="7961315" y="1433761"/>
                  <a:pt x="7960668" y="1435308"/>
                </a:cubicBezTo>
                <a:lnTo>
                  <a:pt x="7962086" y="1437716"/>
                </a:lnTo>
                <a:lnTo>
                  <a:pt x="7950738" y="1432981"/>
                </a:lnTo>
                <a:cubicBezTo>
                  <a:pt x="7952542" y="1437367"/>
                  <a:pt x="7954344" y="1441752"/>
                  <a:pt x="7956147" y="1446140"/>
                </a:cubicBezTo>
                <a:cubicBezTo>
                  <a:pt x="7937578" y="1438387"/>
                  <a:pt x="7925197" y="1433219"/>
                  <a:pt x="7907410" y="1414890"/>
                </a:cubicBezTo>
                <a:cubicBezTo>
                  <a:pt x="7913599" y="1417475"/>
                  <a:pt x="7911796" y="1413087"/>
                  <a:pt x="7909993" y="1408698"/>
                </a:cubicBezTo>
                <a:cubicBezTo>
                  <a:pt x="7892205" y="1390371"/>
                  <a:pt x="7861257" y="1377449"/>
                  <a:pt x="7851460" y="1366091"/>
                </a:cubicBezTo>
                <a:cubicBezTo>
                  <a:pt x="7851460" y="1366091"/>
                  <a:pt x="7855847" y="1364288"/>
                  <a:pt x="7857650" y="1368675"/>
                </a:cubicBezTo>
                <a:cubicBezTo>
                  <a:pt x="7831869" y="1343374"/>
                  <a:pt x="7800919" y="1330455"/>
                  <a:pt x="7799898" y="1315490"/>
                </a:cubicBezTo>
                <a:cubicBezTo>
                  <a:pt x="7801700" y="1319877"/>
                  <a:pt x="7795510" y="1317293"/>
                  <a:pt x="7793707" y="1312907"/>
                </a:cubicBezTo>
                <a:cubicBezTo>
                  <a:pt x="7776939" y="1309541"/>
                  <a:pt x="7799117" y="1326068"/>
                  <a:pt x="7800919" y="1330455"/>
                </a:cubicBezTo>
                <a:cubicBezTo>
                  <a:pt x="7776939" y="1309541"/>
                  <a:pt x="7773335" y="1300767"/>
                  <a:pt x="7756568" y="1297402"/>
                </a:cubicBezTo>
                <a:cubicBezTo>
                  <a:pt x="7759152" y="1291212"/>
                  <a:pt x="7771531" y="1296379"/>
                  <a:pt x="7757350" y="1286824"/>
                </a:cubicBezTo>
                <a:cubicBezTo>
                  <a:pt x="7746772" y="1286043"/>
                  <a:pt x="7752962" y="1288628"/>
                  <a:pt x="7740583" y="1283460"/>
                </a:cubicBezTo>
                <a:cubicBezTo>
                  <a:pt x="7736195" y="1285263"/>
                  <a:pt x="7734393" y="1280875"/>
                  <a:pt x="7734393" y="1280875"/>
                </a:cubicBezTo>
                <a:cubicBezTo>
                  <a:pt x="7728202" y="1278292"/>
                  <a:pt x="7726400" y="1273904"/>
                  <a:pt x="7722013" y="1275708"/>
                </a:cubicBezTo>
                <a:cubicBezTo>
                  <a:pt x="7717627" y="1277510"/>
                  <a:pt x="7719428" y="1281897"/>
                  <a:pt x="7725618" y="1284482"/>
                </a:cubicBezTo>
                <a:cubicBezTo>
                  <a:pt x="7725618" y="1284482"/>
                  <a:pt x="7725618" y="1284482"/>
                  <a:pt x="7727422" y="1288868"/>
                </a:cubicBezTo>
                <a:cubicBezTo>
                  <a:pt x="7689261" y="1258401"/>
                  <a:pt x="7672494" y="1255035"/>
                  <a:pt x="7621953" y="1219401"/>
                </a:cubicBezTo>
                <a:cubicBezTo>
                  <a:pt x="7623515" y="1198246"/>
                  <a:pt x="7615763" y="1216816"/>
                  <a:pt x="7598756" y="1187909"/>
                </a:cubicBezTo>
                <a:cubicBezTo>
                  <a:pt x="7603143" y="1186108"/>
                  <a:pt x="7603143" y="1186108"/>
                  <a:pt x="7603143" y="1186108"/>
                </a:cubicBezTo>
                <a:cubicBezTo>
                  <a:pt x="7609333" y="1188691"/>
                  <a:pt x="7607530" y="1184303"/>
                  <a:pt x="7601339" y="1181719"/>
                </a:cubicBezTo>
                <a:cubicBezTo>
                  <a:pt x="7599537" y="1177334"/>
                  <a:pt x="7593347" y="1174750"/>
                  <a:pt x="7588960" y="1176552"/>
                </a:cubicBezTo>
                <a:cubicBezTo>
                  <a:pt x="7582770" y="1173968"/>
                  <a:pt x="7582770" y="1173968"/>
                  <a:pt x="7582770" y="1173968"/>
                </a:cubicBezTo>
                <a:lnTo>
                  <a:pt x="7576269" y="1170943"/>
                </a:lnTo>
                <a:lnTo>
                  <a:pt x="7571739" y="1171064"/>
                </a:lnTo>
                <a:lnTo>
                  <a:pt x="7567806" y="1174990"/>
                </a:lnTo>
                <a:cubicBezTo>
                  <a:pt x="7564200" y="1166218"/>
                  <a:pt x="7553623" y="1165435"/>
                  <a:pt x="7547434" y="1162850"/>
                </a:cubicBezTo>
                <a:cubicBezTo>
                  <a:pt x="7555427" y="1169822"/>
                  <a:pt x="7563419" y="1176793"/>
                  <a:pt x="7571413" y="1183764"/>
                </a:cubicBezTo>
                <a:cubicBezTo>
                  <a:pt x="7575800" y="1181961"/>
                  <a:pt x="7580187" y="1180157"/>
                  <a:pt x="7580187" y="1180157"/>
                </a:cubicBezTo>
                <a:cubicBezTo>
                  <a:pt x="7580187" y="1180157"/>
                  <a:pt x="7581988" y="1184545"/>
                  <a:pt x="7586376" y="1182742"/>
                </a:cubicBezTo>
                <a:cubicBezTo>
                  <a:pt x="7586376" y="1182742"/>
                  <a:pt x="7588179" y="1187130"/>
                  <a:pt x="7588179" y="1187130"/>
                </a:cubicBezTo>
                <a:cubicBezTo>
                  <a:pt x="7589981" y="1191516"/>
                  <a:pt x="7594369" y="1189712"/>
                  <a:pt x="7598756" y="1187909"/>
                </a:cubicBezTo>
                <a:cubicBezTo>
                  <a:pt x="7598997" y="1213451"/>
                  <a:pt x="7614202" y="1237969"/>
                  <a:pt x="7657530" y="1256057"/>
                </a:cubicBezTo>
                <a:cubicBezTo>
                  <a:pt x="7659334" y="1260445"/>
                  <a:pt x="7665523" y="1263027"/>
                  <a:pt x="7661136" y="1264831"/>
                </a:cubicBezTo>
                <a:cubicBezTo>
                  <a:pt x="7659334" y="1260445"/>
                  <a:pt x="7654946" y="1262247"/>
                  <a:pt x="7656749" y="1266634"/>
                </a:cubicBezTo>
                <a:cubicBezTo>
                  <a:pt x="7656749" y="1266634"/>
                  <a:pt x="7656749" y="1266634"/>
                  <a:pt x="7662940" y="1269218"/>
                </a:cubicBezTo>
                <a:cubicBezTo>
                  <a:pt x="7662940" y="1269218"/>
                  <a:pt x="7664743" y="1273606"/>
                  <a:pt x="7664743" y="1273606"/>
                </a:cubicBezTo>
                <a:cubicBezTo>
                  <a:pt x="7647073" y="1268046"/>
                  <a:pt x="7632696" y="1261136"/>
                  <a:pt x="7619060" y="1251355"/>
                </a:cubicBezTo>
                <a:lnTo>
                  <a:pt x="7581590" y="1215476"/>
                </a:lnTo>
                <a:lnTo>
                  <a:pt x="7584032" y="1214473"/>
                </a:lnTo>
                <a:cubicBezTo>
                  <a:pt x="7582229" y="1210085"/>
                  <a:pt x="7582229" y="1210085"/>
                  <a:pt x="7577843" y="1211888"/>
                </a:cubicBezTo>
                <a:cubicBezTo>
                  <a:pt x="7574237" y="1203115"/>
                  <a:pt x="7569851" y="1204917"/>
                  <a:pt x="7561858" y="1197947"/>
                </a:cubicBezTo>
                <a:cubicBezTo>
                  <a:pt x="7561858" y="1197947"/>
                  <a:pt x="7566244" y="1196142"/>
                  <a:pt x="7568047" y="1200530"/>
                </a:cubicBezTo>
                <a:cubicBezTo>
                  <a:pt x="7568047" y="1200530"/>
                  <a:pt x="7566244" y="1196142"/>
                  <a:pt x="7566244" y="1196142"/>
                </a:cubicBezTo>
                <a:cubicBezTo>
                  <a:pt x="7566244" y="1196142"/>
                  <a:pt x="7560054" y="1193559"/>
                  <a:pt x="7560054" y="1193559"/>
                </a:cubicBezTo>
                <a:cubicBezTo>
                  <a:pt x="7536076" y="1172646"/>
                  <a:pt x="7527062" y="1150711"/>
                  <a:pt x="7496113" y="1137791"/>
                </a:cubicBezTo>
                <a:cubicBezTo>
                  <a:pt x="7508491" y="1142958"/>
                  <a:pt x="7500499" y="1135988"/>
                  <a:pt x="7496894" y="1127213"/>
                </a:cubicBezTo>
                <a:cubicBezTo>
                  <a:pt x="7515462" y="1134966"/>
                  <a:pt x="7520871" y="1148127"/>
                  <a:pt x="7527842" y="1140133"/>
                </a:cubicBezTo>
                <a:cubicBezTo>
                  <a:pt x="7495090" y="1122827"/>
                  <a:pt x="7474718" y="1110687"/>
                  <a:pt x="7436557" y="1080217"/>
                </a:cubicBezTo>
                <a:cubicBezTo>
                  <a:pt x="7440943" y="1078413"/>
                  <a:pt x="7434754" y="1075830"/>
                  <a:pt x="7432951" y="1071444"/>
                </a:cubicBezTo>
                <a:cubicBezTo>
                  <a:pt x="7426761" y="1068858"/>
                  <a:pt x="7420571" y="1066276"/>
                  <a:pt x="7422375" y="1070663"/>
                </a:cubicBezTo>
                <a:cubicBezTo>
                  <a:pt x="7414382" y="1063692"/>
                  <a:pt x="7403804" y="1062910"/>
                  <a:pt x="7387038" y="1059544"/>
                </a:cubicBezTo>
                <a:cubicBezTo>
                  <a:pt x="7389622" y="1053356"/>
                  <a:pt x="7402002" y="1058523"/>
                  <a:pt x="7394009" y="1051551"/>
                </a:cubicBezTo>
                <a:cubicBezTo>
                  <a:pt x="7389622" y="1053356"/>
                  <a:pt x="7381629" y="1046376"/>
                  <a:pt x="7377242" y="1048179"/>
                </a:cubicBezTo>
                <a:cubicBezTo>
                  <a:pt x="7377242" y="1048179"/>
                  <a:pt x="7375438" y="1043791"/>
                  <a:pt x="7371053" y="1045594"/>
                </a:cubicBezTo>
                <a:cubicBezTo>
                  <a:pt x="7369249" y="1041208"/>
                  <a:pt x="7369249" y="1041208"/>
                  <a:pt x="7369249" y="1041208"/>
                </a:cubicBezTo>
                <a:cubicBezTo>
                  <a:pt x="7364862" y="1043010"/>
                  <a:pt x="7364862" y="1043010"/>
                  <a:pt x="7364862" y="1043010"/>
                </a:cubicBezTo>
                <a:cubicBezTo>
                  <a:pt x="7371053" y="1045594"/>
                  <a:pt x="7371053" y="1045594"/>
                  <a:pt x="7371053" y="1045594"/>
                </a:cubicBezTo>
                <a:cubicBezTo>
                  <a:pt x="7372855" y="1049991"/>
                  <a:pt x="7372855" y="1049991"/>
                  <a:pt x="7372855" y="1049991"/>
                </a:cubicBezTo>
                <a:cubicBezTo>
                  <a:pt x="7352483" y="1037842"/>
                  <a:pt x="7352483" y="1037842"/>
                  <a:pt x="7352483" y="1037842"/>
                </a:cubicBezTo>
                <a:cubicBezTo>
                  <a:pt x="7358672" y="1040427"/>
                  <a:pt x="7363060" y="1038623"/>
                  <a:pt x="7356869" y="1036040"/>
                </a:cubicBezTo>
                <a:cubicBezTo>
                  <a:pt x="7305548" y="1010980"/>
                  <a:pt x="7244671" y="1000104"/>
                  <a:pt x="7186378" y="983036"/>
                </a:cubicBezTo>
                <a:cubicBezTo>
                  <a:pt x="7125501" y="972160"/>
                  <a:pt x="7069012" y="959481"/>
                  <a:pt x="7012522" y="946801"/>
                </a:cubicBezTo>
                <a:cubicBezTo>
                  <a:pt x="7008915" y="938026"/>
                  <a:pt x="7013302" y="936223"/>
                  <a:pt x="7022076" y="932618"/>
                </a:cubicBezTo>
                <a:cubicBezTo>
                  <a:pt x="6973579" y="926909"/>
                  <a:pt x="6940047" y="920178"/>
                  <a:pt x="6903929" y="919639"/>
                </a:cubicBezTo>
                <a:cubicBezTo>
                  <a:pt x="6866007" y="914712"/>
                  <a:pt x="6829891" y="914171"/>
                  <a:pt x="6779590" y="904074"/>
                </a:cubicBezTo>
                <a:cubicBezTo>
                  <a:pt x="6785780" y="906659"/>
                  <a:pt x="6785780" y="906659"/>
                  <a:pt x="6783976" y="902272"/>
                </a:cubicBezTo>
                <a:cubicBezTo>
                  <a:pt x="6783976" y="902272"/>
                  <a:pt x="6782173" y="897883"/>
                  <a:pt x="6775984" y="895301"/>
                </a:cubicBezTo>
                <a:cubicBezTo>
                  <a:pt x="6774181" y="890913"/>
                  <a:pt x="6774181" y="890913"/>
                  <a:pt x="6774181" y="890913"/>
                </a:cubicBezTo>
                <a:cubicBezTo>
                  <a:pt x="6763604" y="890132"/>
                  <a:pt x="6751225" y="884964"/>
                  <a:pt x="6748641" y="891154"/>
                </a:cubicBezTo>
                <a:cubicBezTo>
                  <a:pt x="6746838" y="886768"/>
                  <a:pt x="6740649" y="884183"/>
                  <a:pt x="6736261" y="885985"/>
                </a:cubicBezTo>
                <a:cubicBezTo>
                  <a:pt x="6730071" y="883401"/>
                  <a:pt x="6731873" y="887789"/>
                  <a:pt x="6731873" y="887789"/>
                </a:cubicBezTo>
                <a:cubicBezTo>
                  <a:pt x="6733678" y="892176"/>
                  <a:pt x="6733678" y="892176"/>
                  <a:pt x="6733678" y="892176"/>
                </a:cubicBezTo>
                <a:cubicBezTo>
                  <a:pt x="6704531" y="883642"/>
                  <a:pt x="6691370" y="889051"/>
                  <a:pt x="6662223" y="880517"/>
                </a:cubicBezTo>
                <a:close/>
                <a:moveTo>
                  <a:pt x="8622589" y="869310"/>
                </a:moveTo>
                <a:cubicBezTo>
                  <a:pt x="8623385" y="869147"/>
                  <a:pt x="8624366" y="869566"/>
                  <a:pt x="8625394" y="870315"/>
                </a:cubicBezTo>
                <a:cubicBezTo>
                  <a:pt x="8627453" y="871997"/>
                  <a:pt x="8629510" y="874053"/>
                  <a:pt x="8631567" y="875736"/>
                </a:cubicBezTo>
                <a:cubicBezTo>
                  <a:pt x="8633999" y="877793"/>
                  <a:pt x="8636805" y="879288"/>
                  <a:pt x="8639798" y="877605"/>
                </a:cubicBezTo>
                <a:cubicBezTo>
                  <a:pt x="8642228" y="876484"/>
                  <a:pt x="8643351" y="877419"/>
                  <a:pt x="8644661" y="879101"/>
                </a:cubicBezTo>
                <a:cubicBezTo>
                  <a:pt x="8647466" y="882840"/>
                  <a:pt x="8650832" y="885644"/>
                  <a:pt x="8656069" y="884523"/>
                </a:cubicBezTo>
                <a:cubicBezTo>
                  <a:pt x="8657378" y="884149"/>
                  <a:pt x="8657753" y="884709"/>
                  <a:pt x="8657941" y="886018"/>
                </a:cubicBezTo>
                <a:cubicBezTo>
                  <a:pt x="8658688" y="895178"/>
                  <a:pt x="8662616" y="903030"/>
                  <a:pt x="8667853" y="910134"/>
                </a:cubicBezTo>
                <a:cubicBezTo>
                  <a:pt x="8669162" y="911816"/>
                  <a:pt x="8668788" y="912939"/>
                  <a:pt x="8668041" y="914621"/>
                </a:cubicBezTo>
                <a:cubicBezTo>
                  <a:pt x="8666171" y="917986"/>
                  <a:pt x="8664113" y="921725"/>
                  <a:pt x="8665421" y="925464"/>
                </a:cubicBezTo>
                <a:cubicBezTo>
                  <a:pt x="8666731" y="929203"/>
                  <a:pt x="8665795" y="931820"/>
                  <a:pt x="8663925" y="934811"/>
                </a:cubicBezTo>
                <a:cubicBezTo>
                  <a:pt x="8663364" y="935746"/>
                  <a:pt x="8662991" y="936680"/>
                  <a:pt x="8662429" y="937802"/>
                </a:cubicBezTo>
                <a:cubicBezTo>
                  <a:pt x="8659997" y="943224"/>
                  <a:pt x="8657191" y="948271"/>
                  <a:pt x="8651394" y="950889"/>
                </a:cubicBezTo>
                <a:cubicBezTo>
                  <a:pt x="8650271" y="951262"/>
                  <a:pt x="8650271" y="952010"/>
                  <a:pt x="8650272" y="952945"/>
                </a:cubicBezTo>
                <a:cubicBezTo>
                  <a:pt x="8650459" y="955749"/>
                  <a:pt x="8655509" y="962479"/>
                  <a:pt x="8658127" y="963226"/>
                </a:cubicBezTo>
                <a:cubicBezTo>
                  <a:pt x="8662242" y="964162"/>
                  <a:pt x="8665795" y="966218"/>
                  <a:pt x="8668601" y="969396"/>
                </a:cubicBezTo>
                <a:cubicBezTo>
                  <a:pt x="8672530" y="973509"/>
                  <a:pt x="8675897" y="977809"/>
                  <a:pt x="8679637" y="982109"/>
                </a:cubicBezTo>
                <a:cubicBezTo>
                  <a:pt x="8680759" y="983231"/>
                  <a:pt x="8680198" y="983978"/>
                  <a:pt x="8679450" y="984913"/>
                </a:cubicBezTo>
                <a:cubicBezTo>
                  <a:pt x="8676083" y="989026"/>
                  <a:pt x="8676083" y="989026"/>
                  <a:pt x="8680198" y="991830"/>
                </a:cubicBezTo>
                <a:cubicBezTo>
                  <a:pt x="8683940" y="994634"/>
                  <a:pt x="8684126" y="996504"/>
                  <a:pt x="8680759" y="1000056"/>
                </a:cubicBezTo>
                <a:cubicBezTo>
                  <a:pt x="8679263" y="1001551"/>
                  <a:pt x="8677767" y="1003233"/>
                  <a:pt x="8678328" y="1005851"/>
                </a:cubicBezTo>
                <a:cubicBezTo>
                  <a:pt x="8680011" y="1012394"/>
                  <a:pt x="8677579" y="1017815"/>
                  <a:pt x="8673278" y="1022676"/>
                </a:cubicBezTo>
                <a:cubicBezTo>
                  <a:pt x="8670472" y="1025854"/>
                  <a:pt x="8667105" y="1028845"/>
                  <a:pt x="8665047" y="1032584"/>
                </a:cubicBezTo>
                <a:cubicBezTo>
                  <a:pt x="8664673" y="1033332"/>
                  <a:pt x="8664113" y="1034079"/>
                  <a:pt x="8663177" y="1033893"/>
                </a:cubicBezTo>
                <a:cubicBezTo>
                  <a:pt x="8658502" y="1032397"/>
                  <a:pt x="8656069" y="1035388"/>
                  <a:pt x="8653452" y="1038380"/>
                </a:cubicBezTo>
                <a:cubicBezTo>
                  <a:pt x="8652702" y="1039314"/>
                  <a:pt x="8651767" y="1040436"/>
                  <a:pt x="8650084" y="1040062"/>
                </a:cubicBezTo>
                <a:cubicBezTo>
                  <a:pt x="8645409" y="1038940"/>
                  <a:pt x="8640546" y="1039501"/>
                  <a:pt x="8635870" y="1039127"/>
                </a:cubicBezTo>
                <a:cubicBezTo>
                  <a:pt x="8631941" y="1038941"/>
                  <a:pt x="8628013" y="1038566"/>
                  <a:pt x="8624460" y="1036136"/>
                </a:cubicBezTo>
                <a:cubicBezTo>
                  <a:pt x="8622963" y="1035015"/>
                  <a:pt x="8621840" y="1035388"/>
                  <a:pt x="8620719" y="1036697"/>
                </a:cubicBezTo>
                <a:cubicBezTo>
                  <a:pt x="8620158" y="1037631"/>
                  <a:pt x="8619596" y="1038379"/>
                  <a:pt x="8618848" y="1039127"/>
                </a:cubicBezTo>
                <a:cubicBezTo>
                  <a:pt x="8618101" y="1039875"/>
                  <a:pt x="8616791" y="1040623"/>
                  <a:pt x="8615855" y="1039875"/>
                </a:cubicBezTo>
                <a:cubicBezTo>
                  <a:pt x="8614734" y="1039127"/>
                  <a:pt x="8615107" y="1037632"/>
                  <a:pt x="8615669" y="1036510"/>
                </a:cubicBezTo>
                <a:cubicBezTo>
                  <a:pt x="8615855" y="1035950"/>
                  <a:pt x="8616229" y="1035574"/>
                  <a:pt x="8616603" y="1035014"/>
                </a:cubicBezTo>
                <a:cubicBezTo>
                  <a:pt x="8619596" y="1030714"/>
                  <a:pt x="8618475" y="1027910"/>
                  <a:pt x="8613424" y="1027349"/>
                </a:cubicBezTo>
                <a:cubicBezTo>
                  <a:pt x="8612488" y="1027162"/>
                  <a:pt x="8611553" y="1027163"/>
                  <a:pt x="8610805" y="1026976"/>
                </a:cubicBezTo>
                <a:cubicBezTo>
                  <a:pt x="8609496" y="1026602"/>
                  <a:pt x="8607999" y="1026975"/>
                  <a:pt x="8607625" y="1024919"/>
                </a:cubicBezTo>
                <a:cubicBezTo>
                  <a:pt x="8607252" y="1023424"/>
                  <a:pt x="8607999" y="1022676"/>
                  <a:pt x="8609122" y="1021928"/>
                </a:cubicBezTo>
                <a:cubicBezTo>
                  <a:pt x="8611180" y="1020432"/>
                  <a:pt x="8610993" y="1019124"/>
                  <a:pt x="8608935" y="1017442"/>
                </a:cubicBezTo>
                <a:cubicBezTo>
                  <a:pt x="8606316" y="1015386"/>
                  <a:pt x="8603884" y="1012768"/>
                  <a:pt x="8604072" y="1009029"/>
                </a:cubicBezTo>
                <a:cubicBezTo>
                  <a:pt x="8604259" y="1006038"/>
                  <a:pt x="8603510" y="1004542"/>
                  <a:pt x="8600145" y="1005290"/>
                </a:cubicBezTo>
                <a:cubicBezTo>
                  <a:pt x="8599395" y="1005477"/>
                  <a:pt x="8598461" y="1005290"/>
                  <a:pt x="8598086" y="1004168"/>
                </a:cubicBezTo>
                <a:cubicBezTo>
                  <a:pt x="8597712" y="1003233"/>
                  <a:pt x="8598647" y="1002673"/>
                  <a:pt x="8599208" y="1002112"/>
                </a:cubicBezTo>
                <a:cubicBezTo>
                  <a:pt x="8600518" y="1000803"/>
                  <a:pt x="8602014" y="999494"/>
                  <a:pt x="8602949" y="997999"/>
                </a:cubicBezTo>
                <a:cubicBezTo>
                  <a:pt x="8605942" y="994074"/>
                  <a:pt x="8605755" y="991830"/>
                  <a:pt x="8602949" y="987717"/>
                </a:cubicBezTo>
                <a:cubicBezTo>
                  <a:pt x="8600705" y="984539"/>
                  <a:pt x="8599021" y="981174"/>
                  <a:pt x="8598834" y="977060"/>
                </a:cubicBezTo>
                <a:cubicBezTo>
                  <a:pt x="8598648" y="974070"/>
                  <a:pt x="8600144" y="973696"/>
                  <a:pt x="8602576" y="974631"/>
                </a:cubicBezTo>
                <a:cubicBezTo>
                  <a:pt x="8604259" y="975192"/>
                  <a:pt x="8605194" y="976874"/>
                  <a:pt x="8606504" y="977809"/>
                </a:cubicBezTo>
                <a:cubicBezTo>
                  <a:pt x="8607999" y="978931"/>
                  <a:pt x="8610057" y="980426"/>
                  <a:pt x="8611553" y="978931"/>
                </a:cubicBezTo>
                <a:cubicBezTo>
                  <a:pt x="8613238" y="977061"/>
                  <a:pt x="8612301" y="974818"/>
                  <a:pt x="8610618" y="973135"/>
                </a:cubicBezTo>
                <a:cubicBezTo>
                  <a:pt x="8609870" y="972387"/>
                  <a:pt x="8608748" y="971640"/>
                  <a:pt x="8607999" y="970705"/>
                </a:cubicBezTo>
                <a:cubicBezTo>
                  <a:pt x="8607064" y="969770"/>
                  <a:pt x="8606316" y="968649"/>
                  <a:pt x="8607439" y="967340"/>
                </a:cubicBezTo>
                <a:cubicBezTo>
                  <a:pt x="8608374" y="966218"/>
                  <a:pt x="8609497" y="966779"/>
                  <a:pt x="8610618" y="967713"/>
                </a:cubicBezTo>
                <a:cubicBezTo>
                  <a:pt x="8611741" y="968462"/>
                  <a:pt x="8612863" y="969396"/>
                  <a:pt x="8613986" y="969957"/>
                </a:cubicBezTo>
                <a:cubicBezTo>
                  <a:pt x="8615669" y="971079"/>
                  <a:pt x="8617539" y="970518"/>
                  <a:pt x="8618849" y="969396"/>
                </a:cubicBezTo>
                <a:cubicBezTo>
                  <a:pt x="8620157" y="968274"/>
                  <a:pt x="8619409" y="966592"/>
                  <a:pt x="8618849" y="965283"/>
                </a:cubicBezTo>
                <a:cubicBezTo>
                  <a:pt x="8616042" y="958741"/>
                  <a:pt x="8606691" y="955937"/>
                  <a:pt x="8600331" y="959861"/>
                </a:cubicBezTo>
                <a:cubicBezTo>
                  <a:pt x="8597338" y="961732"/>
                  <a:pt x="8596216" y="961171"/>
                  <a:pt x="8595842" y="958179"/>
                </a:cubicBezTo>
                <a:cubicBezTo>
                  <a:pt x="8595281" y="953319"/>
                  <a:pt x="8593037" y="950140"/>
                  <a:pt x="8588173" y="948458"/>
                </a:cubicBezTo>
                <a:cubicBezTo>
                  <a:pt x="8586864" y="948085"/>
                  <a:pt x="8584806" y="947149"/>
                  <a:pt x="8585367" y="945093"/>
                </a:cubicBezTo>
                <a:cubicBezTo>
                  <a:pt x="8586489" y="940419"/>
                  <a:pt x="8584620" y="936493"/>
                  <a:pt x="8582187" y="932755"/>
                </a:cubicBezTo>
                <a:cubicBezTo>
                  <a:pt x="8580317" y="929951"/>
                  <a:pt x="8579756" y="927333"/>
                  <a:pt x="8581814" y="923969"/>
                </a:cubicBezTo>
                <a:cubicBezTo>
                  <a:pt x="8584059" y="920416"/>
                  <a:pt x="8582749" y="918359"/>
                  <a:pt x="8578261" y="917612"/>
                </a:cubicBezTo>
                <a:cubicBezTo>
                  <a:pt x="8578073" y="917612"/>
                  <a:pt x="8577886" y="917612"/>
                  <a:pt x="8577699" y="917612"/>
                </a:cubicBezTo>
                <a:cubicBezTo>
                  <a:pt x="8576016" y="917425"/>
                  <a:pt x="8574332" y="917052"/>
                  <a:pt x="8574145" y="915369"/>
                </a:cubicBezTo>
                <a:cubicBezTo>
                  <a:pt x="8573771" y="913686"/>
                  <a:pt x="8575828" y="913874"/>
                  <a:pt x="8576763" y="913312"/>
                </a:cubicBezTo>
                <a:cubicBezTo>
                  <a:pt x="8582749" y="910321"/>
                  <a:pt x="8585181" y="905647"/>
                  <a:pt x="8584059" y="898918"/>
                </a:cubicBezTo>
                <a:cubicBezTo>
                  <a:pt x="8583684" y="896673"/>
                  <a:pt x="8584432" y="895365"/>
                  <a:pt x="8586302" y="894431"/>
                </a:cubicBezTo>
                <a:cubicBezTo>
                  <a:pt x="8587426" y="893870"/>
                  <a:pt x="8588547" y="893496"/>
                  <a:pt x="8589670" y="892935"/>
                </a:cubicBezTo>
                <a:cubicBezTo>
                  <a:pt x="8591166" y="892188"/>
                  <a:pt x="8591727" y="891066"/>
                  <a:pt x="8591353" y="889383"/>
                </a:cubicBezTo>
                <a:lnTo>
                  <a:pt x="8590516" y="888195"/>
                </a:lnTo>
                <a:lnTo>
                  <a:pt x="8605136" y="873656"/>
                </a:lnTo>
                <a:lnTo>
                  <a:pt x="8604820" y="876484"/>
                </a:lnTo>
                <a:cubicBezTo>
                  <a:pt x="8604446" y="877980"/>
                  <a:pt x="8604445" y="878727"/>
                  <a:pt x="8606130" y="879662"/>
                </a:cubicBezTo>
                <a:cubicBezTo>
                  <a:pt x="8608000" y="880410"/>
                  <a:pt x="8608749" y="879475"/>
                  <a:pt x="8609496" y="878353"/>
                </a:cubicBezTo>
                <a:cubicBezTo>
                  <a:pt x="8610058" y="877606"/>
                  <a:pt x="8610245" y="876858"/>
                  <a:pt x="8610618" y="875923"/>
                </a:cubicBezTo>
                <a:cubicBezTo>
                  <a:pt x="8612301" y="871998"/>
                  <a:pt x="8613424" y="871810"/>
                  <a:pt x="8616229" y="874989"/>
                </a:cubicBezTo>
                <a:cubicBezTo>
                  <a:pt x="8616790" y="875736"/>
                  <a:pt x="8617539" y="876671"/>
                  <a:pt x="8618661" y="876671"/>
                </a:cubicBezTo>
                <a:cubicBezTo>
                  <a:pt x="8619970" y="876484"/>
                  <a:pt x="8619970" y="874989"/>
                  <a:pt x="8620345" y="874054"/>
                </a:cubicBezTo>
                <a:cubicBezTo>
                  <a:pt x="8620719" y="873305"/>
                  <a:pt x="8620906" y="872558"/>
                  <a:pt x="8620905" y="871811"/>
                </a:cubicBezTo>
                <a:cubicBezTo>
                  <a:pt x="8621186" y="870221"/>
                  <a:pt x="8621794" y="869474"/>
                  <a:pt x="8622589" y="869310"/>
                </a:cubicBezTo>
                <a:close/>
                <a:moveTo>
                  <a:pt x="6180318" y="868322"/>
                </a:moveTo>
                <a:cubicBezTo>
                  <a:pt x="6180318" y="868322"/>
                  <a:pt x="6180318" y="868322"/>
                  <a:pt x="6186508" y="870906"/>
                </a:cubicBezTo>
                <a:cubicBezTo>
                  <a:pt x="6182122" y="872708"/>
                  <a:pt x="6175932" y="870124"/>
                  <a:pt x="6177734" y="874512"/>
                </a:cubicBezTo>
                <a:lnTo>
                  <a:pt x="6172085" y="869839"/>
                </a:lnTo>
                <a:lnTo>
                  <a:pt x="6175932" y="870124"/>
                </a:lnTo>
                <a:cubicBezTo>
                  <a:pt x="6180318" y="868322"/>
                  <a:pt x="6180318" y="868322"/>
                  <a:pt x="6180318" y="868322"/>
                </a:cubicBezTo>
                <a:close/>
                <a:moveTo>
                  <a:pt x="11609853" y="868216"/>
                </a:moveTo>
                <a:cubicBezTo>
                  <a:pt x="11611356" y="865428"/>
                  <a:pt x="11612772" y="865472"/>
                  <a:pt x="11613954" y="868627"/>
                </a:cubicBezTo>
                <a:cubicBezTo>
                  <a:pt x="11615804" y="873220"/>
                  <a:pt x="11618037" y="874423"/>
                  <a:pt x="11621427" y="870134"/>
                </a:cubicBezTo>
                <a:cubicBezTo>
                  <a:pt x="11622307" y="869169"/>
                  <a:pt x="11623896" y="868227"/>
                  <a:pt x="11624261" y="870222"/>
                </a:cubicBezTo>
                <a:cubicBezTo>
                  <a:pt x="11625938" y="875802"/>
                  <a:pt x="11629652" y="874925"/>
                  <a:pt x="11633795" y="873920"/>
                </a:cubicBezTo>
                <a:cubicBezTo>
                  <a:pt x="11634375" y="873512"/>
                  <a:pt x="11635492" y="874113"/>
                  <a:pt x="11636051" y="874414"/>
                </a:cubicBezTo>
                <a:cubicBezTo>
                  <a:pt x="11640647" y="881927"/>
                  <a:pt x="11644665" y="889847"/>
                  <a:pt x="11649113" y="897639"/>
                </a:cubicBezTo>
                <a:cubicBezTo>
                  <a:pt x="11651131" y="901245"/>
                  <a:pt x="11649953" y="907445"/>
                  <a:pt x="11649097" y="912379"/>
                </a:cubicBezTo>
                <a:cubicBezTo>
                  <a:pt x="11648753" y="914353"/>
                  <a:pt x="11647572" y="915875"/>
                  <a:pt x="11648496" y="918172"/>
                </a:cubicBezTo>
                <a:cubicBezTo>
                  <a:pt x="11649420" y="920468"/>
                  <a:pt x="11648241" y="921991"/>
                  <a:pt x="11646222" y="923061"/>
                </a:cubicBezTo>
                <a:cubicBezTo>
                  <a:pt x="11645063" y="923876"/>
                  <a:pt x="11643195" y="924669"/>
                  <a:pt x="11643432" y="926235"/>
                </a:cubicBezTo>
                <a:cubicBezTo>
                  <a:pt x="11644422" y="931085"/>
                  <a:pt x="11643349" y="933745"/>
                  <a:pt x="11637981" y="933011"/>
                </a:cubicBezTo>
                <a:cubicBezTo>
                  <a:pt x="11636715" y="932688"/>
                  <a:pt x="11635534" y="934211"/>
                  <a:pt x="11636200" y="935648"/>
                </a:cubicBezTo>
                <a:cubicBezTo>
                  <a:pt x="11638177" y="940670"/>
                  <a:pt x="11633517" y="939959"/>
                  <a:pt x="11631759" y="941889"/>
                </a:cubicBezTo>
                <a:cubicBezTo>
                  <a:pt x="11625748" y="948365"/>
                  <a:pt x="11618295" y="941472"/>
                  <a:pt x="11611942" y="945244"/>
                </a:cubicBezTo>
                <a:cubicBezTo>
                  <a:pt x="11609773" y="946593"/>
                  <a:pt x="11605221" y="942342"/>
                  <a:pt x="11602858" y="940710"/>
                </a:cubicBezTo>
                <a:cubicBezTo>
                  <a:pt x="11597446" y="936715"/>
                  <a:pt x="11588514" y="936580"/>
                  <a:pt x="11587374" y="927332"/>
                </a:cubicBezTo>
                <a:cubicBezTo>
                  <a:pt x="11587136" y="925766"/>
                  <a:pt x="11586213" y="923469"/>
                  <a:pt x="11583980" y="922265"/>
                </a:cubicBezTo>
                <a:cubicBezTo>
                  <a:pt x="11580757" y="920890"/>
                  <a:pt x="11579984" y="918315"/>
                  <a:pt x="11581078" y="914947"/>
                </a:cubicBezTo>
                <a:cubicBezTo>
                  <a:pt x="11581572" y="912694"/>
                  <a:pt x="11580775" y="910827"/>
                  <a:pt x="11580131" y="908682"/>
                </a:cubicBezTo>
                <a:cubicBezTo>
                  <a:pt x="11578304" y="903381"/>
                  <a:pt x="11578733" y="898576"/>
                  <a:pt x="11582831" y="894308"/>
                </a:cubicBezTo>
                <a:cubicBezTo>
                  <a:pt x="11585171" y="891971"/>
                  <a:pt x="11585986" y="888454"/>
                  <a:pt x="11584095" y="885277"/>
                </a:cubicBezTo>
                <a:cubicBezTo>
                  <a:pt x="11584695" y="884162"/>
                  <a:pt x="11585297" y="883046"/>
                  <a:pt x="11585897" y="881931"/>
                </a:cubicBezTo>
                <a:cubicBezTo>
                  <a:pt x="11589160" y="881890"/>
                  <a:pt x="11591179" y="880818"/>
                  <a:pt x="11592852" y="877044"/>
                </a:cubicBezTo>
                <a:cubicBezTo>
                  <a:pt x="11595276" y="871875"/>
                  <a:pt x="11599612" y="869175"/>
                  <a:pt x="11605797" y="871067"/>
                </a:cubicBezTo>
                <a:cubicBezTo>
                  <a:pt x="11608459" y="872141"/>
                  <a:pt x="11608952" y="869890"/>
                  <a:pt x="11609853" y="868216"/>
                </a:cubicBezTo>
                <a:close/>
                <a:moveTo>
                  <a:pt x="6161671" y="867805"/>
                </a:moveTo>
                <a:lnTo>
                  <a:pt x="6170937" y="868892"/>
                </a:lnTo>
                <a:lnTo>
                  <a:pt x="6172085" y="869839"/>
                </a:lnTo>
                <a:lnTo>
                  <a:pt x="6165354" y="869343"/>
                </a:lnTo>
                <a:close/>
                <a:moveTo>
                  <a:pt x="6143887" y="867020"/>
                </a:moveTo>
                <a:lnTo>
                  <a:pt x="6144201" y="867781"/>
                </a:lnTo>
                <a:lnTo>
                  <a:pt x="6135789" y="867103"/>
                </a:lnTo>
                <a:close/>
                <a:moveTo>
                  <a:pt x="10072362" y="865574"/>
                </a:moveTo>
                <a:cubicBezTo>
                  <a:pt x="10076163" y="864684"/>
                  <a:pt x="10080219" y="865032"/>
                  <a:pt x="10084509" y="867343"/>
                </a:cubicBezTo>
                <a:cubicBezTo>
                  <a:pt x="10085653" y="867959"/>
                  <a:pt x="10086532" y="867698"/>
                  <a:pt x="10087452" y="865990"/>
                </a:cubicBezTo>
                <a:cubicBezTo>
                  <a:pt x="10091456" y="868146"/>
                  <a:pt x="10094888" y="869996"/>
                  <a:pt x="10098892" y="872153"/>
                </a:cubicBezTo>
                <a:cubicBezTo>
                  <a:pt x="10099605" y="877679"/>
                  <a:pt x="10105632" y="880191"/>
                  <a:pt x="10108102" y="885195"/>
                </a:cubicBezTo>
                <a:cubicBezTo>
                  <a:pt x="10110572" y="890200"/>
                  <a:pt x="10112777" y="894327"/>
                  <a:pt x="10111160" y="900067"/>
                </a:cubicBezTo>
                <a:cubicBezTo>
                  <a:pt x="10108665" y="906070"/>
                  <a:pt x="10108764" y="912735"/>
                  <a:pt x="10109171" y="918832"/>
                </a:cubicBezTo>
                <a:cubicBezTo>
                  <a:pt x="10109269" y="925497"/>
                  <a:pt x="10108796" y="931855"/>
                  <a:pt x="10109202" y="937951"/>
                </a:cubicBezTo>
                <a:cubicBezTo>
                  <a:pt x="10108730" y="944308"/>
                  <a:pt x="10110852" y="951329"/>
                  <a:pt x="10115038" y="957258"/>
                </a:cubicBezTo>
                <a:cubicBezTo>
                  <a:pt x="10111358" y="964091"/>
                  <a:pt x="10107676" y="970924"/>
                  <a:pt x="10103996" y="977757"/>
                </a:cubicBezTo>
                <a:cubicBezTo>
                  <a:pt x="10099642" y="977617"/>
                  <a:pt x="10096700" y="978970"/>
                  <a:pt x="10092836" y="982032"/>
                </a:cubicBezTo>
                <a:cubicBezTo>
                  <a:pt x="10088094" y="985355"/>
                  <a:pt x="10081105" y="985999"/>
                  <a:pt x="10075957" y="983225"/>
                </a:cubicBezTo>
                <a:cubicBezTo>
                  <a:pt x="10070809" y="980452"/>
                  <a:pt x="10065621" y="979125"/>
                  <a:pt x="10059858" y="977492"/>
                </a:cubicBezTo>
                <a:cubicBezTo>
                  <a:pt x="10053957" y="970638"/>
                  <a:pt x="10049239" y="962955"/>
                  <a:pt x="10051287" y="952302"/>
                </a:cubicBezTo>
                <a:cubicBezTo>
                  <a:pt x="10051635" y="950286"/>
                  <a:pt x="10048817" y="947298"/>
                  <a:pt x="10051229" y="944190"/>
                </a:cubicBezTo>
                <a:cubicBezTo>
                  <a:pt x="10057853" y="936004"/>
                  <a:pt x="10052523" y="929459"/>
                  <a:pt x="10047723" y="924668"/>
                </a:cubicBezTo>
                <a:cubicBezTo>
                  <a:pt x="10044334" y="921373"/>
                  <a:pt x="10042965" y="918432"/>
                  <a:pt x="10041904" y="914922"/>
                </a:cubicBezTo>
                <a:cubicBezTo>
                  <a:pt x="10038414" y="904961"/>
                  <a:pt x="10043589" y="896727"/>
                  <a:pt x="10046166" y="887830"/>
                </a:cubicBezTo>
                <a:cubicBezTo>
                  <a:pt x="10049011" y="879811"/>
                  <a:pt x="10055510" y="875966"/>
                  <a:pt x="10061744" y="871243"/>
                </a:cubicBezTo>
                <a:cubicBezTo>
                  <a:pt x="10065016" y="868596"/>
                  <a:pt x="10068561" y="866466"/>
                  <a:pt x="10072362" y="865574"/>
                </a:cubicBezTo>
                <a:close/>
                <a:moveTo>
                  <a:pt x="6142398" y="863394"/>
                </a:moveTo>
                <a:cubicBezTo>
                  <a:pt x="6148588" y="865977"/>
                  <a:pt x="6154777" y="868562"/>
                  <a:pt x="6159165" y="866759"/>
                </a:cubicBezTo>
                <a:lnTo>
                  <a:pt x="6161671" y="867805"/>
                </a:lnTo>
                <a:lnTo>
                  <a:pt x="6154099" y="866918"/>
                </a:lnTo>
                <a:lnTo>
                  <a:pt x="6143887" y="867020"/>
                </a:lnTo>
                <a:close/>
                <a:moveTo>
                  <a:pt x="10022309" y="848986"/>
                </a:moveTo>
                <a:lnTo>
                  <a:pt x="10022449" y="849450"/>
                </a:lnTo>
                <a:lnTo>
                  <a:pt x="10021816" y="849280"/>
                </a:lnTo>
                <a:close/>
                <a:moveTo>
                  <a:pt x="1317955" y="842634"/>
                </a:moveTo>
                <a:cubicBezTo>
                  <a:pt x="1321004" y="841571"/>
                  <a:pt x="1324175" y="841282"/>
                  <a:pt x="1327716" y="843741"/>
                </a:cubicBezTo>
                <a:cubicBezTo>
                  <a:pt x="1328943" y="844545"/>
                  <a:pt x="1331096" y="845323"/>
                  <a:pt x="1333304" y="844526"/>
                </a:cubicBezTo>
                <a:cubicBezTo>
                  <a:pt x="1336239" y="843153"/>
                  <a:pt x="1338492" y="844208"/>
                  <a:pt x="1340140" y="847040"/>
                </a:cubicBezTo>
                <a:cubicBezTo>
                  <a:pt x="1341390" y="848769"/>
                  <a:pt x="1343168" y="849373"/>
                  <a:pt x="1345046" y="850253"/>
                </a:cubicBezTo>
                <a:cubicBezTo>
                  <a:pt x="1349828" y="852263"/>
                  <a:pt x="1352879" y="855522"/>
                  <a:pt x="1353292" y="860982"/>
                </a:cubicBezTo>
                <a:cubicBezTo>
                  <a:pt x="1353461" y="864038"/>
                  <a:pt x="1355384" y="866770"/>
                  <a:pt x="1358741" y="867426"/>
                </a:cubicBezTo>
                <a:cubicBezTo>
                  <a:pt x="1359140" y="868528"/>
                  <a:pt x="1359539" y="869631"/>
                  <a:pt x="1359937" y="870733"/>
                </a:cubicBezTo>
                <a:cubicBezTo>
                  <a:pt x="1357951" y="873009"/>
                  <a:pt x="1357446" y="875062"/>
                  <a:pt x="1359016" y="878544"/>
                </a:cubicBezTo>
                <a:cubicBezTo>
                  <a:pt x="1361086" y="883405"/>
                  <a:pt x="1360272" y="888062"/>
                  <a:pt x="1355152" y="891159"/>
                </a:cubicBezTo>
                <a:cubicBezTo>
                  <a:pt x="1352768" y="892332"/>
                  <a:pt x="1354018" y="894061"/>
                  <a:pt x="1354615" y="895715"/>
                </a:cubicBezTo>
                <a:cubicBezTo>
                  <a:pt x="1355611" y="898471"/>
                  <a:pt x="1354707" y="899422"/>
                  <a:pt x="1351802" y="898290"/>
                </a:cubicBezTo>
                <a:cubicBezTo>
                  <a:pt x="1347495" y="896731"/>
                  <a:pt x="1345287" y="897529"/>
                  <a:pt x="1346153" y="902513"/>
                </a:cubicBezTo>
                <a:cubicBezTo>
                  <a:pt x="1346275" y="903716"/>
                  <a:pt x="1345946" y="905393"/>
                  <a:pt x="1344344" y="904414"/>
                </a:cubicBezTo>
                <a:cubicBezTo>
                  <a:pt x="1339461" y="902128"/>
                  <a:pt x="1337775" y="905231"/>
                  <a:pt x="1335912" y="908708"/>
                </a:cubicBezTo>
                <a:cubicBezTo>
                  <a:pt x="1335835" y="909359"/>
                  <a:pt x="1334731" y="909758"/>
                  <a:pt x="1334179" y="909958"/>
                </a:cubicBezTo>
                <a:cubicBezTo>
                  <a:pt x="1326162" y="908493"/>
                  <a:pt x="1318222" y="906379"/>
                  <a:pt x="1310104" y="904638"/>
                </a:cubicBezTo>
                <a:cubicBezTo>
                  <a:pt x="1306372" y="903806"/>
                  <a:pt x="1302823" y="899168"/>
                  <a:pt x="1299949" y="895533"/>
                </a:cubicBezTo>
                <a:cubicBezTo>
                  <a:pt x="1298800" y="894079"/>
                  <a:pt x="1298478" y="892326"/>
                  <a:pt x="1296324" y="891547"/>
                </a:cubicBezTo>
                <a:cubicBezTo>
                  <a:pt x="1294170" y="890767"/>
                  <a:pt x="1293849" y="889014"/>
                  <a:pt x="1294355" y="886961"/>
                </a:cubicBezTo>
                <a:cubicBezTo>
                  <a:pt x="1294508" y="885659"/>
                  <a:pt x="1295114" y="883882"/>
                  <a:pt x="1293887" y="883079"/>
                </a:cubicBezTo>
                <a:cubicBezTo>
                  <a:pt x="1289932" y="880769"/>
                  <a:pt x="1288760" y="878389"/>
                  <a:pt x="1292577" y="875139"/>
                </a:cubicBezTo>
                <a:cubicBezTo>
                  <a:pt x="1293582" y="874465"/>
                  <a:pt x="1293260" y="872712"/>
                  <a:pt x="1291857" y="872284"/>
                </a:cubicBezTo>
                <a:cubicBezTo>
                  <a:pt x="1287174" y="870549"/>
                  <a:pt x="1290539" y="867774"/>
                  <a:pt x="1290294" y="865370"/>
                </a:cubicBezTo>
                <a:cubicBezTo>
                  <a:pt x="1289535" y="857231"/>
                  <a:pt x="1298887" y="856343"/>
                  <a:pt x="1300206" y="849635"/>
                </a:cubicBezTo>
                <a:cubicBezTo>
                  <a:pt x="1300612" y="847307"/>
                  <a:pt x="1306353" y="846789"/>
                  <a:pt x="1308937" y="846167"/>
                </a:cubicBezTo>
                <a:cubicBezTo>
                  <a:pt x="1311984" y="845533"/>
                  <a:pt x="1314908" y="843697"/>
                  <a:pt x="1317955" y="842634"/>
                </a:cubicBezTo>
                <a:close/>
                <a:moveTo>
                  <a:pt x="9068586" y="829016"/>
                </a:moveTo>
                <a:cubicBezTo>
                  <a:pt x="9070990" y="829043"/>
                  <a:pt x="9073285" y="829643"/>
                  <a:pt x="9075142" y="832263"/>
                </a:cubicBezTo>
                <a:cubicBezTo>
                  <a:pt x="9075798" y="833136"/>
                  <a:pt x="9077110" y="834227"/>
                  <a:pt x="9078859" y="834227"/>
                </a:cubicBezTo>
                <a:cubicBezTo>
                  <a:pt x="9081262" y="834009"/>
                  <a:pt x="9082574" y="835319"/>
                  <a:pt x="9083011" y="837720"/>
                </a:cubicBezTo>
                <a:cubicBezTo>
                  <a:pt x="9083449" y="839249"/>
                  <a:pt x="9084542" y="840121"/>
                  <a:pt x="9085634" y="841213"/>
                </a:cubicBezTo>
                <a:cubicBezTo>
                  <a:pt x="9088476" y="843832"/>
                  <a:pt x="9089787" y="846889"/>
                  <a:pt x="9088694" y="850818"/>
                </a:cubicBezTo>
                <a:cubicBezTo>
                  <a:pt x="9088039" y="853001"/>
                  <a:pt x="9088694" y="855403"/>
                  <a:pt x="9090880" y="856713"/>
                </a:cubicBezTo>
                <a:cubicBezTo>
                  <a:pt x="9090880" y="857586"/>
                  <a:pt x="9090880" y="858459"/>
                  <a:pt x="9090880" y="859332"/>
                </a:cubicBezTo>
                <a:cubicBezTo>
                  <a:pt x="9088914" y="860423"/>
                  <a:pt x="9088038" y="861734"/>
                  <a:pt x="9088258" y="864572"/>
                </a:cubicBezTo>
                <a:cubicBezTo>
                  <a:pt x="9088477" y="868501"/>
                  <a:pt x="9086727" y="871557"/>
                  <a:pt x="9082355" y="872431"/>
                </a:cubicBezTo>
                <a:cubicBezTo>
                  <a:pt x="9080388" y="872649"/>
                  <a:pt x="9080825" y="874177"/>
                  <a:pt x="9080826" y="875486"/>
                </a:cubicBezTo>
                <a:cubicBezTo>
                  <a:pt x="9080825" y="877670"/>
                  <a:pt x="9079951" y="878107"/>
                  <a:pt x="9078202" y="876578"/>
                </a:cubicBezTo>
                <a:cubicBezTo>
                  <a:pt x="9075579" y="874395"/>
                  <a:pt x="9073831" y="874395"/>
                  <a:pt x="9073176" y="878106"/>
                </a:cubicBezTo>
                <a:cubicBezTo>
                  <a:pt x="9072957" y="878980"/>
                  <a:pt x="9072301" y="880072"/>
                  <a:pt x="9071426" y="878980"/>
                </a:cubicBezTo>
                <a:cubicBezTo>
                  <a:pt x="9068586" y="876142"/>
                  <a:pt x="9066618" y="877888"/>
                  <a:pt x="9064432" y="879853"/>
                </a:cubicBezTo>
                <a:cubicBezTo>
                  <a:pt x="9064214" y="880290"/>
                  <a:pt x="9063339" y="880290"/>
                  <a:pt x="9062901" y="880289"/>
                </a:cubicBezTo>
                <a:cubicBezTo>
                  <a:pt x="9057655" y="877232"/>
                  <a:pt x="9052629" y="873740"/>
                  <a:pt x="9047382" y="870465"/>
                </a:cubicBezTo>
                <a:cubicBezTo>
                  <a:pt x="9044979" y="868937"/>
                  <a:pt x="9043666" y="864790"/>
                  <a:pt x="9042573" y="861515"/>
                </a:cubicBezTo>
                <a:cubicBezTo>
                  <a:pt x="9042136" y="860206"/>
                  <a:pt x="9042355" y="858896"/>
                  <a:pt x="9041043" y="857804"/>
                </a:cubicBezTo>
                <a:cubicBezTo>
                  <a:pt x="9039733" y="856712"/>
                  <a:pt x="9039950" y="855403"/>
                  <a:pt x="9040826" y="854093"/>
                </a:cubicBezTo>
                <a:cubicBezTo>
                  <a:pt x="9041262" y="853219"/>
                  <a:pt x="9042137" y="852128"/>
                  <a:pt x="9041480" y="851255"/>
                </a:cubicBezTo>
                <a:cubicBezTo>
                  <a:pt x="9039295" y="848636"/>
                  <a:pt x="9039077" y="846670"/>
                  <a:pt x="9042573" y="845360"/>
                </a:cubicBezTo>
                <a:cubicBezTo>
                  <a:pt x="9043449" y="845143"/>
                  <a:pt x="9043666" y="843832"/>
                  <a:pt x="9042793" y="843178"/>
                </a:cubicBezTo>
                <a:cubicBezTo>
                  <a:pt x="9039951" y="840777"/>
                  <a:pt x="9043011" y="839685"/>
                  <a:pt x="9043448" y="837938"/>
                </a:cubicBezTo>
                <a:cubicBezTo>
                  <a:pt x="9044979" y="832044"/>
                  <a:pt x="9051754" y="833791"/>
                  <a:pt x="9054378" y="829425"/>
                </a:cubicBezTo>
                <a:cubicBezTo>
                  <a:pt x="9055252" y="827896"/>
                  <a:pt x="9059405" y="828988"/>
                  <a:pt x="9061371" y="829206"/>
                </a:cubicBezTo>
                <a:cubicBezTo>
                  <a:pt x="9063666" y="829534"/>
                  <a:pt x="9066180" y="828989"/>
                  <a:pt x="9068586" y="829016"/>
                </a:cubicBezTo>
                <a:close/>
                <a:moveTo>
                  <a:pt x="5928837" y="817844"/>
                </a:moveTo>
                <a:cubicBezTo>
                  <a:pt x="5928837" y="817844"/>
                  <a:pt x="5928837" y="817844"/>
                  <a:pt x="5924450" y="819646"/>
                </a:cubicBezTo>
                <a:cubicBezTo>
                  <a:pt x="5920063" y="821450"/>
                  <a:pt x="5920063" y="821450"/>
                  <a:pt x="5920063" y="821450"/>
                </a:cubicBezTo>
                <a:lnTo>
                  <a:pt x="5918605" y="821341"/>
                </a:lnTo>
                <a:close/>
                <a:moveTo>
                  <a:pt x="9250954" y="817680"/>
                </a:moveTo>
                <a:cubicBezTo>
                  <a:pt x="9255089" y="819263"/>
                  <a:pt x="9258905" y="821480"/>
                  <a:pt x="9260496" y="826545"/>
                </a:cubicBezTo>
                <a:cubicBezTo>
                  <a:pt x="9260813" y="827495"/>
                  <a:pt x="9262721" y="828128"/>
                  <a:pt x="9262403" y="830028"/>
                </a:cubicBezTo>
                <a:cubicBezTo>
                  <a:pt x="9261449" y="835093"/>
                  <a:pt x="9265266" y="836677"/>
                  <a:pt x="9268447" y="837626"/>
                </a:cubicBezTo>
                <a:cubicBezTo>
                  <a:pt x="9270673" y="838260"/>
                  <a:pt x="9271945" y="839209"/>
                  <a:pt x="9273216" y="840476"/>
                </a:cubicBezTo>
                <a:cubicBezTo>
                  <a:pt x="9277033" y="843959"/>
                  <a:pt x="9276715" y="848708"/>
                  <a:pt x="9277669" y="853140"/>
                </a:cubicBezTo>
                <a:cubicBezTo>
                  <a:pt x="9278305" y="857257"/>
                  <a:pt x="9276397" y="860422"/>
                  <a:pt x="9274807" y="863905"/>
                </a:cubicBezTo>
                <a:cubicBezTo>
                  <a:pt x="9273217" y="867705"/>
                  <a:pt x="9270672" y="870870"/>
                  <a:pt x="9265902" y="870870"/>
                </a:cubicBezTo>
                <a:cubicBezTo>
                  <a:pt x="9265266" y="870871"/>
                  <a:pt x="9264948" y="871187"/>
                  <a:pt x="9264948" y="872136"/>
                </a:cubicBezTo>
                <a:cubicBezTo>
                  <a:pt x="9262721" y="872136"/>
                  <a:pt x="9260813" y="872137"/>
                  <a:pt x="9258588" y="872136"/>
                </a:cubicBezTo>
                <a:cubicBezTo>
                  <a:pt x="9256997" y="869921"/>
                  <a:pt x="9253817" y="870237"/>
                  <a:pt x="9251590" y="868654"/>
                </a:cubicBezTo>
                <a:cubicBezTo>
                  <a:pt x="9249364" y="867071"/>
                  <a:pt x="9247456" y="865804"/>
                  <a:pt x="9246820" y="862955"/>
                </a:cubicBezTo>
                <a:cubicBezTo>
                  <a:pt x="9246502" y="859789"/>
                  <a:pt x="9244911" y="856939"/>
                  <a:pt x="9243321" y="854406"/>
                </a:cubicBezTo>
                <a:cubicBezTo>
                  <a:pt x="9241731" y="851557"/>
                  <a:pt x="9240460" y="848708"/>
                  <a:pt x="9238869" y="846175"/>
                </a:cubicBezTo>
                <a:cubicBezTo>
                  <a:pt x="9237597" y="843325"/>
                  <a:pt x="9235052" y="840792"/>
                  <a:pt x="9231872" y="839209"/>
                </a:cubicBezTo>
                <a:cubicBezTo>
                  <a:pt x="9231872" y="835410"/>
                  <a:pt x="9231873" y="831611"/>
                  <a:pt x="9231873" y="827812"/>
                </a:cubicBezTo>
                <a:cubicBezTo>
                  <a:pt x="9233781" y="826862"/>
                  <a:pt x="9234734" y="825595"/>
                  <a:pt x="9235689" y="823379"/>
                </a:cubicBezTo>
                <a:cubicBezTo>
                  <a:pt x="9236961" y="820846"/>
                  <a:pt x="9239823" y="818947"/>
                  <a:pt x="9242685" y="818946"/>
                </a:cubicBezTo>
                <a:cubicBezTo>
                  <a:pt x="9245547" y="818946"/>
                  <a:pt x="9248092" y="818313"/>
                  <a:pt x="9250954" y="817680"/>
                </a:cubicBezTo>
                <a:close/>
                <a:moveTo>
                  <a:pt x="8102504" y="812227"/>
                </a:moveTo>
                <a:cubicBezTo>
                  <a:pt x="8108835" y="815916"/>
                  <a:pt x="8114903" y="820131"/>
                  <a:pt x="8121234" y="824083"/>
                </a:cubicBezTo>
                <a:cubicBezTo>
                  <a:pt x="8124135" y="825928"/>
                  <a:pt x="8125718" y="830933"/>
                  <a:pt x="8127037" y="834885"/>
                </a:cubicBezTo>
                <a:cubicBezTo>
                  <a:pt x="8127565" y="836466"/>
                  <a:pt x="8127301" y="838046"/>
                  <a:pt x="8128883" y="839364"/>
                </a:cubicBezTo>
                <a:cubicBezTo>
                  <a:pt x="8130466" y="840681"/>
                  <a:pt x="8130203" y="842262"/>
                  <a:pt x="8129147" y="843842"/>
                </a:cubicBezTo>
                <a:cubicBezTo>
                  <a:pt x="8128620" y="844896"/>
                  <a:pt x="8127565" y="846214"/>
                  <a:pt x="8128356" y="847268"/>
                </a:cubicBezTo>
                <a:cubicBezTo>
                  <a:pt x="8130993" y="850429"/>
                  <a:pt x="8131258" y="852800"/>
                  <a:pt x="8127037" y="854380"/>
                </a:cubicBezTo>
                <a:cubicBezTo>
                  <a:pt x="8125982" y="854644"/>
                  <a:pt x="8125718" y="856224"/>
                  <a:pt x="8126773" y="857015"/>
                </a:cubicBezTo>
                <a:cubicBezTo>
                  <a:pt x="8130203" y="859914"/>
                  <a:pt x="8126509" y="861231"/>
                  <a:pt x="8125982" y="863338"/>
                </a:cubicBezTo>
                <a:cubicBezTo>
                  <a:pt x="8124135" y="870452"/>
                  <a:pt x="8115958" y="868344"/>
                  <a:pt x="8112792" y="873613"/>
                </a:cubicBezTo>
                <a:cubicBezTo>
                  <a:pt x="8111737" y="875457"/>
                  <a:pt x="8106725" y="874140"/>
                  <a:pt x="8104350" y="873877"/>
                </a:cubicBezTo>
                <a:cubicBezTo>
                  <a:pt x="8098811" y="873086"/>
                  <a:pt x="8092216" y="876511"/>
                  <a:pt x="8087732" y="870188"/>
                </a:cubicBezTo>
                <a:cubicBezTo>
                  <a:pt x="8086940" y="869134"/>
                  <a:pt x="8085358" y="867817"/>
                  <a:pt x="8083247" y="867817"/>
                </a:cubicBezTo>
                <a:cubicBezTo>
                  <a:pt x="8080345" y="868081"/>
                  <a:pt x="8078763" y="866500"/>
                  <a:pt x="8078235" y="863602"/>
                </a:cubicBezTo>
                <a:cubicBezTo>
                  <a:pt x="8077708" y="861758"/>
                  <a:pt x="8076388" y="860704"/>
                  <a:pt x="8075070" y="859386"/>
                </a:cubicBezTo>
                <a:cubicBezTo>
                  <a:pt x="8071640" y="856225"/>
                  <a:pt x="8070057" y="852537"/>
                  <a:pt x="8071377" y="847795"/>
                </a:cubicBezTo>
                <a:cubicBezTo>
                  <a:pt x="8072168" y="845159"/>
                  <a:pt x="8071376" y="842262"/>
                  <a:pt x="8068738" y="840681"/>
                </a:cubicBezTo>
                <a:cubicBezTo>
                  <a:pt x="8068738" y="839627"/>
                  <a:pt x="8068739" y="838574"/>
                  <a:pt x="8068739" y="837520"/>
                </a:cubicBezTo>
                <a:cubicBezTo>
                  <a:pt x="8071112" y="836202"/>
                  <a:pt x="8072168" y="834622"/>
                  <a:pt x="8071904" y="831196"/>
                </a:cubicBezTo>
                <a:cubicBezTo>
                  <a:pt x="8071640" y="826455"/>
                  <a:pt x="8073750" y="822766"/>
                  <a:pt x="8079027" y="821712"/>
                </a:cubicBezTo>
                <a:cubicBezTo>
                  <a:pt x="8081400" y="821449"/>
                  <a:pt x="8080873" y="819604"/>
                  <a:pt x="8080873" y="818024"/>
                </a:cubicBezTo>
                <a:cubicBezTo>
                  <a:pt x="8080873" y="815389"/>
                  <a:pt x="8081928" y="814862"/>
                  <a:pt x="8084038" y="816707"/>
                </a:cubicBezTo>
                <a:cubicBezTo>
                  <a:pt x="8087204" y="819341"/>
                  <a:pt x="8089314" y="819341"/>
                  <a:pt x="8090106" y="814862"/>
                </a:cubicBezTo>
                <a:cubicBezTo>
                  <a:pt x="8090370" y="813808"/>
                  <a:pt x="8091161" y="812491"/>
                  <a:pt x="8092216" y="813809"/>
                </a:cubicBezTo>
                <a:cubicBezTo>
                  <a:pt x="8095646" y="817233"/>
                  <a:pt x="8098020" y="815126"/>
                  <a:pt x="8100657" y="812755"/>
                </a:cubicBezTo>
                <a:cubicBezTo>
                  <a:pt x="8100921" y="812227"/>
                  <a:pt x="8101977" y="812227"/>
                  <a:pt x="8102504" y="812227"/>
                </a:cubicBezTo>
                <a:close/>
                <a:moveTo>
                  <a:pt x="1836633" y="811775"/>
                </a:moveTo>
                <a:cubicBezTo>
                  <a:pt x="1843739" y="817556"/>
                  <a:pt x="1854131" y="810460"/>
                  <a:pt x="1860322" y="819494"/>
                </a:cubicBezTo>
                <a:cubicBezTo>
                  <a:pt x="1862130" y="822180"/>
                  <a:pt x="1867973" y="822155"/>
                  <a:pt x="1864636" y="827954"/>
                </a:cubicBezTo>
                <a:cubicBezTo>
                  <a:pt x="1863556" y="829596"/>
                  <a:pt x="1864727" y="831678"/>
                  <a:pt x="1866340" y="831512"/>
                </a:cubicBezTo>
                <a:cubicBezTo>
                  <a:pt x="1873055" y="831589"/>
                  <a:pt x="1873888" y="835046"/>
                  <a:pt x="1871792" y="840814"/>
                </a:cubicBezTo>
                <a:cubicBezTo>
                  <a:pt x="1871217" y="842691"/>
                  <a:pt x="1873363" y="844003"/>
                  <a:pt x="1874635" y="845212"/>
                </a:cubicBezTo>
                <a:cubicBezTo>
                  <a:pt x="1876915" y="846894"/>
                  <a:pt x="1878085" y="848975"/>
                  <a:pt x="1876536" y="851624"/>
                </a:cubicBezTo>
                <a:cubicBezTo>
                  <a:pt x="1874985" y="854271"/>
                  <a:pt x="1876154" y="856353"/>
                  <a:pt x="1876216" y="858835"/>
                </a:cubicBezTo>
                <a:cubicBezTo>
                  <a:pt x="1876370" y="865042"/>
                  <a:pt x="1876688" y="872860"/>
                  <a:pt x="1873555" y="876914"/>
                </a:cubicBezTo>
                <a:cubicBezTo>
                  <a:pt x="1866684" y="885660"/>
                  <a:pt x="1860316" y="894641"/>
                  <a:pt x="1853312" y="903017"/>
                </a:cubicBezTo>
                <a:cubicBezTo>
                  <a:pt x="1852573" y="903284"/>
                  <a:pt x="1851095" y="903818"/>
                  <a:pt x="1850458" y="903214"/>
                </a:cubicBezTo>
                <a:cubicBezTo>
                  <a:pt x="1845560" y="901227"/>
                  <a:pt x="1841165" y="899477"/>
                  <a:pt x="1838094" y="906014"/>
                </a:cubicBezTo>
                <a:cubicBezTo>
                  <a:pt x="1837282" y="908394"/>
                  <a:pt x="1835506" y="906949"/>
                  <a:pt x="1834602" y="905605"/>
                </a:cubicBezTo>
                <a:cubicBezTo>
                  <a:pt x="1831224" y="899730"/>
                  <a:pt x="1828266" y="900799"/>
                  <a:pt x="1825165" y="906095"/>
                </a:cubicBezTo>
                <a:cubicBezTo>
                  <a:pt x="1823141" y="909748"/>
                  <a:pt x="1821396" y="909544"/>
                  <a:pt x="1820062" y="905852"/>
                </a:cubicBezTo>
                <a:cubicBezTo>
                  <a:pt x="1819261" y="903637"/>
                  <a:pt x="1819065" y="900785"/>
                  <a:pt x="1815605" y="901618"/>
                </a:cubicBezTo>
                <a:cubicBezTo>
                  <a:pt x="1807677" y="902814"/>
                  <a:pt x="1802851" y="898714"/>
                  <a:pt x="1800818" y="891934"/>
                </a:cubicBezTo>
                <a:cubicBezTo>
                  <a:pt x="1799453" y="887001"/>
                  <a:pt x="1797173" y="885320"/>
                  <a:pt x="1793179" y="884677"/>
                </a:cubicBezTo>
                <a:cubicBezTo>
                  <a:pt x="1792644" y="883200"/>
                  <a:pt x="1792111" y="881723"/>
                  <a:pt x="1791578" y="880247"/>
                </a:cubicBezTo>
                <a:cubicBezTo>
                  <a:pt x="1794473" y="876694"/>
                  <a:pt x="1794114" y="872232"/>
                  <a:pt x="1791671" y="868941"/>
                </a:cubicBezTo>
                <a:cubicBezTo>
                  <a:pt x="1787420" y="862963"/>
                  <a:pt x="1787769" y="856992"/>
                  <a:pt x="1790974" y="850824"/>
                </a:cubicBezTo>
                <a:cubicBezTo>
                  <a:pt x="1792155" y="848310"/>
                  <a:pt x="1793469" y="846164"/>
                  <a:pt x="1793274" y="843312"/>
                </a:cubicBezTo>
                <a:cubicBezTo>
                  <a:pt x="1792545" y="838984"/>
                  <a:pt x="1793963" y="835967"/>
                  <a:pt x="1798163" y="834866"/>
                </a:cubicBezTo>
                <a:cubicBezTo>
                  <a:pt x="1801121" y="833797"/>
                  <a:pt x="1802672" y="831150"/>
                  <a:pt x="1803247" y="829271"/>
                </a:cubicBezTo>
                <a:cubicBezTo>
                  <a:pt x="1806328" y="818138"/>
                  <a:pt x="1817306" y="819597"/>
                  <a:pt x="1824669" y="815683"/>
                </a:cubicBezTo>
                <a:cubicBezTo>
                  <a:pt x="1827863" y="814111"/>
                  <a:pt x="1834220" y="809725"/>
                  <a:pt x="1836633" y="811775"/>
                </a:cubicBezTo>
                <a:close/>
                <a:moveTo>
                  <a:pt x="6219183" y="810045"/>
                </a:moveTo>
                <a:cubicBezTo>
                  <a:pt x="6220731" y="810690"/>
                  <a:pt x="6221633" y="812883"/>
                  <a:pt x="6220340" y="815978"/>
                </a:cubicBezTo>
                <a:cubicBezTo>
                  <a:pt x="6218538" y="811592"/>
                  <a:pt x="6218538" y="811592"/>
                  <a:pt x="6214150" y="813394"/>
                </a:cubicBezTo>
                <a:cubicBezTo>
                  <a:pt x="6215442" y="810299"/>
                  <a:pt x="6217635" y="809398"/>
                  <a:pt x="6219183" y="810045"/>
                </a:cubicBezTo>
                <a:close/>
                <a:moveTo>
                  <a:pt x="3158128" y="801511"/>
                </a:moveTo>
                <a:lnTo>
                  <a:pt x="3158128" y="801512"/>
                </a:lnTo>
                <a:cubicBezTo>
                  <a:pt x="3164022" y="804944"/>
                  <a:pt x="3169669" y="808867"/>
                  <a:pt x="3175559" y="812545"/>
                </a:cubicBezTo>
                <a:cubicBezTo>
                  <a:pt x="3178259" y="814261"/>
                  <a:pt x="3179731" y="818919"/>
                  <a:pt x="3180960" y="822597"/>
                </a:cubicBezTo>
                <a:cubicBezTo>
                  <a:pt x="3181449" y="824068"/>
                  <a:pt x="3181204" y="825538"/>
                  <a:pt x="3182677" y="826764"/>
                </a:cubicBezTo>
                <a:cubicBezTo>
                  <a:pt x="3184149" y="827990"/>
                  <a:pt x="3183904" y="829461"/>
                  <a:pt x="3182922" y="830932"/>
                </a:cubicBezTo>
                <a:cubicBezTo>
                  <a:pt x="3182433" y="831913"/>
                  <a:pt x="3181450" y="833139"/>
                  <a:pt x="3182187" y="834119"/>
                </a:cubicBezTo>
                <a:cubicBezTo>
                  <a:pt x="3184640" y="837061"/>
                  <a:pt x="3184885" y="839267"/>
                  <a:pt x="3180959" y="840738"/>
                </a:cubicBezTo>
                <a:cubicBezTo>
                  <a:pt x="3179976" y="840984"/>
                  <a:pt x="3179731" y="842454"/>
                  <a:pt x="3180713" y="843190"/>
                </a:cubicBezTo>
                <a:cubicBezTo>
                  <a:pt x="3183904" y="845888"/>
                  <a:pt x="3180468" y="847113"/>
                  <a:pt x="3179976" y="849074"/>
                </a:cubicBezTo>
                <a:cubicBezTo>
                  <a:pt x="3178260" y="855694"/>
                  <a:pt x="3170649" y="853732"/>
                  <a:pt x="3167705" y="858635"/>
                </a:cubicBezTo>
                <a:cubicBezTo>
                  <a:pt x="3166722" y="860352"/>
                  <a:pt x="3162057" y="859127"/>
                  <a:pt x="3159847" y="858881"/>
                </a:cubicBezTo>
                <a:cubicBezTo>
                  <a:pt x="3157271" y="858513"/>
                  <a:pt x="3154446" y="859126"/>
                  <a:pt x="3151747" y="859095"/>
                </a:cubicBezTo>
                <a:lnTo>
                  <a:pt x="3151746" y="859094"/>
                </a:lnTo>
                <a:cubicBezTo>
                  <a:pt x="3149046" y="859064"/>
                  <a:pt x="3146467" y="858390"/>
                  <a:pt x="3144383" y="855448"/>
                </a:cubicBezTo>
                <a:cubicBezTo>
                  <a:pt x="3143645" y="854467"/>
                  <a:pt x="3142173" y="853241"/>
                  <a:pt x="3140208" y="853241"/>
                </a:cubicBezTo>
                <a:cubicBezTo>
                  <a:pt x="3137507" y="853486"/>
                  <a:pt x="3136035" y="852015"/>
                  <a:pt x="3135545" y="849319"/>
                </a:cubicBezTo>
                <a:cubicBezTo>
                  <a:pt x="3135053" y="847602"/>
                  <a:pt x="3133825" y="846622"/>
                  <a:pt x="3132598" y="845396"/>
                </a:cubicBezTo>
                <a:cubicBezTo>
                  <a:pt x="3129407" y="842454"/>
                  <a:pt x="3127934" y="839021"/>
                  <a:pt x="3129161" y="834609"/>
                </a:cubicBezTo>
                <a:cubicBezTo>
                  <a:pt x="3129897" y="832157"/>
                  <a:pt x="3129161" y="829460"/>
                  <a:pt x="3126708" y="827989"/>
                </a:cubicBezTo>
                <a:cubicBezTo>
                  <a:pt x="3126708" y="827008"/>
                  <a:pt x="3126708" y="826028"/>
                  <a:pt x="3126708" y="825047"/>
                </a:cubicBezTo>
                <a:cubicBezTo>
                  <a:pt x="3128917" y="823821"/>
                  <a:pt x="3129896" y="822351"/>
                  <a:pt x="3129652" y="819163"/>
                </a:cubicBezTo>
                <a:cubicBezTo>
                  <a:pt x="3129407" y="814750"/>
                  <a:pt x="3131371" y="811317"/>
                  <a:pt x="3136279" y="810337"/>
                </a:cubicBezTo>
                <a:cubicBezTo>
                  <a:pt x="3138490" y="810092"/>
                  <a:pt x="3137999" y="808375"/>
                  <a:pt x="3137999" y="806904"/>
                </a:cubicBezTo>
                <a:cubicBezTo>
                  <a:pt x="3137999" y="804453"/>
                  <a:pt x="3138981" y="803963"/>
                  <a:pt x="3140943" y="805679"/>
                </a:cubicBezTo>
                <a:cubicBezTo>
                  <a:pt x="3143891" y="808130"/>
                  <a:pt x="3145853" y="808131"/>
                  <a:pt x="3146590" y="803963"/>
                </a:cubicBezTo>
                <a:cubicBezTo>
                  <a:pt x="3146836" y="802982"/>
                  <a:pt x="3147575" y="801756"/>
                  <a:pt x="3148556" y="802983"/>
                </a:cubicBezTo>
                <a:cubicBezTo>
                  <a:pt x="3151746" y="806170"/>
                  <a:pt x="3153954" y="804208"/>
                  <a:pt x="3156407" y="802001"/>
                </a:cubicBezTo>
                <a:cubicBezTo>
                  <a:pt x="3156654" y="801511"/>
                  <a:pt x="3157635" y="801511"/>
                  <a:pt x="3158128" y="801511"/>
                </a:cubicBezTo>
                <a:close/>
                <a:moveTo>
                  <a:pt x="10975865" y="789481"/>
                </a:moveTo>
                <a:cubicBezTo>
                  <a:pt x="10977480" y="786484"/>
                  <a:pt x="10979002" y="786532"/>
                  <a:pt x="10980273" y="789922"/>
                </a:cubicBezTo>
                <a:cubicBezTo>
                  <a:pt x="10982258" y="794857"/>
                  <a:pt x="10984658" y="796151"/>
                  <a:pt x="10988303" y="791541"/>
                </a:cubicBezTo>
                <a:cubicBezTo>
                  <a:pt x="10989248" y="790505"/>
                  <a:pt x="10990954" y="789492"/>
                  <a:pt x="10991347" y="791636"/>
                </a:cubicBezTo>
                <a:cubicBezTo>
                  <a:pt x="10993149" y="797632"/>
                  <a:pt x="10997140" y="796689"/>
                  <a:pt x="11001593" y="795609"/>
                </a:cubicBezTo>
                <a:cubicBezTo>
                  <a:pt x="11002217" y="795171"/>
                  <a:pt x="11003417" y="795817"/>
                  <a:pt x="11004016" y="796141"/>
                </a:cubicBezTo>
                <a:cubicBezTo>
                  <a:pt x="11008956" y="804214"/>
                  <a:pt x="11013273" y="812725"/>
                  <a:pt x="11018053" y="821097"/>
                </a:cubicBezTo>
                <a:cubicBezTo>
                  <a:pt x="11020222" y="824972"/>
                  <a:pt x="11018956" y="831635"/>
                  <a:pt x="11018036" y="836937"/>
                </a:cubicBezTo>
                <a:cubicBezTo>
                  <a:pt x="11017666" y="839058"/>
                  <a:pt x="11016399" y="840695"/>
                  <a:pt x="11017392" y="843162"/>
                </a:cubicBezTo>
                <a:cubicBezTo>
                  <a:pt x="11018385" y="845630"/>
                  <a:pt x="11017115" y="847266"/>
                  <a:pt x="11014948" y="848417"/>
                </a:cubicBezTo>
                <a:cubicBezTo>
                  <a:pt x="11013701" y="849292"/>
                  <a:pt x="11011695" y="850144"/>
                  <a:pt x="11011950" y="851827"/>
                </a:cubicBezTo>
                <a:cubicBezTo>
                  <a:pt x="11013013" y="857039"/>
                  <a:pt x="11011859" y="859897"/>
                  <a:pt x="11006091" y="859109"/>
                </a:cubicBezTo>
                <a:cubicBezTo>
                  <a:pt x="11004729" y="858762"/>
                  <a:pt x="11003461" y="860398"/>
                  <a:pt x="11004177" y="861943"/>
                </a:cubicBezTo>
                <a:cubicBezTo>
                  <a:pt x="11006301" y="867340"/>
                  <a:pt x="11001295" y="866576"/>
                  <a:pt x="10999404" y="868649"/>
                </a:cubicBezTo>
                <a:cubicBezTo>
                  <a:pt x="10992945" y="875607"/>
                  <a:pt x="10984938" y="868201"/>
                  <a:pt x="10978109" y="872253"/>
                </a:cubicBezTo>
                <a:cubicBezTo>
                  <a:pt x="10975779" y="873705"/>
                  <a:pt x="10970886" y="869136"/>
                  <a:pt x="10968347" y="867382"/>
                </a:cubicBezTo>
                <a:cubicBezTo>
                  <a:pt x="10962533" y="863090"/>
                  <a:pt x="10952933" y="862944"/>
                  <a:pt x="10951707" y="853006"/>
                </a:cubicBezTo>
                <a:cubicBezTo>
                  <a:pt x="10951453" y="851322"/>
                  <a:pt x="10950460" y="848855"/>
                  <a:pt x="10948061" y="847563"/>
                </a:cubicBezTo>
                <a:cubicBezTo>
                  <a:pt x="10944599" y="846084"/>
                  <a:pt x="10943768" y="843317"/>
                  <a:pt x="10944943" y="839698"/>
                </a:cubicBezTo>
                <a:cubicBezTo>
                  <a:pt x="10945472" y="837277"/>
                  <a:pt x="10944619" y="835271"/>
                  <a:pt x="10943925" y="832965"/>
                </a:cubicBezTo>
                <a:cubicBezTo>
                  <a:pt x="10941963" y="827268"/>
                  <a:pt x="10942422" y="822104"/>
                  <a:pt x="10946827" y="817519"/>
                </a:cubicBezTo>
                <a:cubicBezTo>
                  <a:pt x="10949341" y="815008"/>
                  <a:pt x="10950216" y="811228"/>
                  <a:pt x="10948185" y="807814"/>
                </a:cubicBezTo>
                <a:cubicBezTo>
                  <a:pt x="10948830" y="806615"/>
                  <a:pt x="10949476" y="805416"/>
                  <a:pt x="10950122" y="804218"/>
                </a:cubicBezTo>
                <a:cubicBezTo>
                  <a:pt x="10953629" y="804174"/>
                  <a:pt x="10955797" y="803024"/>
                  <a:pt x="10957596" y="798967"/>
                </a:cubicBezTo>
                <a:cubicBezTo>
                  <a:pt x="10960201" y="793412"/>
                  <a:pt x="10964861" y="790510"/>
                  <a:pt x="10971507" y="792544"/>
                </a:cubicBezTo>
                <a:cubicBezTo>
                  <a:pt x="10974367" y="793699"/>
                  <a:pt x="10974898" y="791278"/>
                  <a:pt x="10975865" y="789481"/>
                </a:cubicBezTo>
                <a:close/>
                <a:moveTo>
                  <a:pt x="9626745" y="786684"/>
                </a:moveTo>
                <a:lnTo>
                  <a:pt x="9626595" y="786936"/>
                </a:lnTo>
                <a:lnTo>
                  <a:pt x="9626421" y="786762"/>
                </a:lnTo>
                <a:close/>
                <a:moveTo>
                  <a:pt x="2719876" y="777613"/>
                </a:moveTo>
                <a:cubicBezTo>
                  <a:pt x="2726205" y="781301"/>
                  <a:pt x="2732271" y="785516"/>
                  <a:pt x="2738602" y="789469"/>
                </a:cubicBezTo>
                <a:cubicBezTo>
                  <a:pt x="2741504" y="791313"/>
                  <a:pt x="2743086" y="796319"/>
                  <a:pt x="2744405" y="800270"/>
                </a:cubicBezTo>
                <a:cubicBezTo>
                  <a:pt x="2744935" y="801851"/>
                  <a:pt x="2744670" y="803432"/>
                  <a:pt x="2746252" y="804749"/>
                </a:cubicBezTo>
                <a:cubicBezTo>
                  <a:pt x="2747837" y="806066"/>
                  <a:pt x="2747570" y="807648"/>
                  <a:pt x="2746517" y="809228"/>
                </a:cubicBezTo>
                <a:cubicBezTo>
                  <a:pt x="2745988" y="810282"/>
                  <a:pt x="2744935" y="811599"/>
                  <a:pt x="2745725" y="812653"/>
                </a:cubicBezTo>
                <a:cubicBezTo>
                  <a:pt x="2748365" y="815815"/>
                  <a:pt x="2748628" y="818186"/>
                  <a:pt x="2744406" y="819766"/>
                </a:cubicBezTo>
                <a:cubicBezTo>
                  <a:pt x="2743352" y="820030"/>
                  <a:pt x="2743087" y="821611"/>
                  <a:pt x="2744142" y="822401"/>
                </a:cubicBezTo>
                <a:cubicBezTo>
                  <a:pt x="2747571" y="825299"/>
                  <a:pt x="2743879" y="826616"/>
                  <a:pt x="2743352" y="828724"/>
                </a:cubicBezTo>
                <a:cubicBezTo>
                  <a:pt x="2741505" y="835837"/>
                  <a:pt x="2733327" y="833730"/>
                  <a:pt x="2730161" y="838998"/>
                </a:cubicBezTo>
                <a:cubicBezTo>
                  <a:pt x="2729106" y="840843"/>
                  <a:pt x="2724094" y="839526"/>
                  <a:pt x="2721719" y="839262"/>
                </a:cubicBezTo>
                <a:cubicBezTo>
                  <a:pt x="2716183" y="838472"/>
                  <a:pt x="2709586" y="841897"/>
                  <a:pt x="2705102" y="835573"/>
                </a:cubicBezTo>
                <a:cubicBezTo>
                  <a:pt x="2704310" y="834520"/>
                  <a:pt x="2702729" y="833202"/>
                  <a:pt x="2700617" y="833203"/>
                </a:cubicBezTo>
                <a:cubicBezTo>
                  <a:pt x="2697715" y="833466"/>
                  <a:pt x="2696132" y="831885"/>
                  <a:pt x="2695605" y="828987"/>
                </a:cubicBezTo>
                <a:cubicBezTo>
                  <a:pt x="2695077" y="827143"/>
                  <a:pt x="2693757" y="826089"/>
                  <a:pt x="2692440" y="824772"/>
                </a:cubicBezTo>
                <a:cubicBezTo>
                  <a:pt x="2689010" y="821610"/>
                  <a:pt x="2687428" y="817922"/>
                  <a:pt x="2688745" y="813180"/>
                </a:cubicBezTo>
                <a:cubicBezTo>
                  <a:pt x="2689537" y="810546"/>
                  <a:pt x="2688745" y="807647"/>
                  <a:pt x="2686108" y="806066"/>
                </a:cubicBezTo>
                <a:cubicBezTo>
                  <a:pt x="2686108" y="805012"/>
                  <a:pt x="2686109" y="803959"/>
                  <a:pt x="2686109" y="802905"/>
                </a:cubicBezTo>
                <a:cubicBezTo>
                  <a:pt x="2688482" y="801588"/>
                  <a:pt x="2689537" y="800007"/>
                  <a:pt x="2689275" y="796583"/>
                </a:cubicBezTo>
                <a:cubicBezTo>
                  <a:pt x="2689010" y="791840"/>
                  <a:pt x="2691120" y="788152"/>
                  <a:pt x="2696397" y="787097"/>
                </a:cubicBezTo>
                <a:cubicBezTo>
                  <a:pt x="2698770" y="786834"/>
                  <a:pt x="2698243" y="784990"/>
                  <a:pt x="2698243" y="783410"/>
                </a:cubicBezTo>
                <a:cubicBezTo>
                  <a:pt x="2698243" y="780775"/>
                  <a:pt x="2699298" y="780247"/>
                  <a:pt x="2701407" y="782092"/>
                </a:cubicBezTo>
                <a:cubicBezTo>
                  <a:pt x="2704573" y="784726"/>
                  <a:pt x="2706683" y="784726"/>
                  <a:pt x="2707476" y="780248"/>
                </a:cubicBezTo>
                <a:cubicBezTo>
                  <a:pt x="2707738" y="779194"/>
                  <a:pt x="2708531" y="777877"/>
                  <a:pt x="2709587" y="779194"/>
                </a:cubicBezTo>
                <a:cubicBezTo>
                  <a:pt x="2713015" y="782619"/>
                  <a:pt x="2715390" y="780511"/>
                  <a:pt x="2718030" y="778140"/>
                </a:cubicBezTo>
                <a:cubicBezTo>
                  <a:pt x="2718292" y="777613"/>
                  <a:pt x="2719347" y="777613"/>
                  <a:pt x="2719876" y="777613"/>
                </a:cubicBezTo>
                <a:close/>
                <a:moveTo>
                  <a:pt x="8879049" y="770345"/>
                </a:moveTo>
                <a:cubicBezTo>
                  <a:pt x="8881453" y="770372"/>
                  <a:pt x="8883748" y="770972"/>
                  <a:pt x="8885606" y="773591"/>
                </a:cubicBezTo>
                <a:cubicBezTo>
                  <a:pt x="8886263" y="774464"/>
                  <a:pt x="8887573" y="775556"/>
                  <a:pt x="8889322" y="775556"/>
                </a:cubicBezTo>
                <a:cubicBezTo>
                  <a:pt x="8891727" y="775338"/>
                  <a:pt x="8893039" y="776648"/>
                  <a:pt x="8893475" y="779050"/>
                </a:cubicBezTo>
                <a:cubicBezTo>
                  <a:pt x="8893912" y="780578"/>
                  <a:pt x="8895005" y="781450"/>
                  <a:pt x="8896098" y="782542"/>
                </a:cubicBezTo>
                <a:cubicBezTo>
                  <a:pt x="8898940" y="785161"/>
                  <a:pt x="8900251" y="788218"/>
                  <a:pt x="8899159" y="792147"/>
                </a:cubicBezTo>
                <a:cubicBezTo>
                  <a:pt x="8898502" y="794331"/>
                  <a:pt x="8899158" y="796732"/>
                  <a:pt x="8901344" y="798041"/>
                </a:cubicBezTo>
                <a:cubicBezTo>
                  <a:pt x="8901344" y="798915"/>
                  <a:pt x="8901344" y="799788"/>
                  <a:pt x="8901344" y="800661"/>
                </a:cubicBezTo>
                <a:cubicBezTo>
                  <a:pt x="8899377" y="801753"/>
                  <a:pt x="8898502" y="803062"/>
                  <a:pt x="8898721" y="805901"/>
                </a:cubicBezTo>
                <a:cubicBezTo>
                  <a:pt x="8898940" y="809830"/>
                  <a:pt x="8897191" y="812886"/>
                  <a:pt x="8892820" y="813759"/>
                </a:cubicBezTo>
                <a:cubicBezTo>
                  <a:pt x="8890853" y="813978"/>
                  <a:pt x="8891289" y="815506"/>
                  <a:pt x="8891290" y="816815"/>
                </a:cubicBezTo>
                <a:cubicBezTo>
                  <a:pt x="8891289" y="818999"/>
                  <a:pt x="8890416" y="819435"/>
                  <a:pt x="8888666" y="817908"/>
                </a:cubicBezTo>
                <a:cubicBezTo>
                  <a:pt x="8886044" y="815724"/>
                  <a:pt x="8884296" y="815724"/>
                  <a:pt x="8883639" y="819435"/>
                </a:cubicBezTo>
                <a:cubicBezTo>
                  <a:pt x="8883420" y="820308"/>
                  <a:pt x="8882765" y="821400"/>
                  <a:pt x="8881891" y="820308"/>
                </a:cubicBezTo>
                <a:cubicBezTo>
                  <a:pt x="8879049" y="817471"/>
                  <a:pt x="8877081" y="819217"/>
                  <a:pt x="8874896" y="821181"/>
                </a:cubicBezTo>
                <a:cubicBezTo>
                  <a:pt x="8874677" y="821618"/>
                  <a:pt x="8873804" y="821618"/>
                  <a:pt x="8873365" y="821618"/>
                </a:cubicBezTo>
                <a:cubicBezTo>
                  <a:pt x="8868120" y="818562"/>
                  <a:pt x="8863092" y="815068"/>
                  <a:pt x="8857847" y="811794"/>
                </a:cubicBezTo>
                <a:cubicBezTo>
                  <a:pt x="8855442" y="810267"/>
                  <a:pt x="8854130" y="806118"/>
                  <a:pt x="8853037" y="802845"/>
                </a:cubicBezTo>
                <a:cubicBezTo>
                  <a:pt x="8852600" y="801534"/>
                  <a:pt x="8852820" y="800224"/>
                  <a:pt x="8851507" y="799133"/>
                </a:cubicBezTo>
                <a:cubicBezTo>
                  <a:pt x="8850196" y="798041"/>
                  <a:pt x="8850414" y="796732"/>
                  <a:pt x="8851289" y="795421"/>
                </a:cubicBezTo>
                <a:cubicBezTo>
                  <a:pt x="8851727" y="794549"/>
                  <a:pt x="8852600" y="793457"/>
                  <a:pt x="8851945" y="792584"/>
                </a:cubicBezTo>
                <a:cubicBezTo>
                  <a:pt x="8849759" y="789964"/>
                  <a:pt x="8849541" y="787999"/>
                  <a:pt x="8853038" y="786690"/>
                </a:cubicBezTo>
                <a:cubicBezTo>
                  <a:pt x="8853912" y="786471"/>
                  <a:pt x="8854130" y="785162"/>
                  <a:pt x="8853256" y="784507"/>
                </a:cubicBezTo>
                <a:cubicBezTo>
                  <a:pt x="8850414" y="782106"/>
                  <a:pt x="8853474" y="781014"/>
                  <a:pt x="8853913" y="779267"/>
                </a:cubicBezTo>
                <a:cubicBezTo>
                  <a:pt x="8855442" y="773374"/>
                  <a:pt x="8862219" y="775119"/>
                  <a:pt x="8864841" y="770753"/>
                </a:cubicBezTo>
                <a:cubicBezTo>
                  <a:pt x="8865716" y="769225"/>
                  <a:pt x="8869868" y="770317"/>
                  <a:pt x="8871836" y="770535"/>
                </a:cubicBezTo>
                <a:cubicBezTo>
                  <a:pt x="8874131" y="770863"/>
                  <a:pt x="8876645" y="770317"/>
                  <a:pt x="8879049" y="770345"/>
                </a:cubicBezTo>
                <a:close/>
                <a:moveTo>
                  <a:pt x="8292402" y="770215"/>
                </a:moveTo>
                <a:cubicBezTo>
                  <a:pt x="8292403" y="771282"/>
                  <a:pt x="8292760" y="771637"/>
                  <a:pt x="8293474" y="771638"/>
                </a:cubicBezTo>
                <a:cubicBezTo>
                  <a:pt x="8298832" y="771638"/>
                  <a:pt x="8301689" y="775194"/>
                  <a:pt x="8303475" y="779460"/>
                </a:cubicBezTo>
                <a:cubicBezTo>
                  <a:pt x="8305261" y="783372"/>
                  <a:pt x="8307404" y="786927"/>
                  <a:pt x="8306689" y="791550"/>
                </a:cubicBezTo>
                <a:cubicBezTo>
                  <a:pt x="8305618" y="796528"/>
                  <a:pt x="8305975" y="801860"/>
                  <a:pt x="8301689" y="805772"/>
                </a:cubicBezTo>
                <a:cubicBezTo>
                  <a:pt x="8300260" y="807194"/>
                  <a:pt x="8298831" y="808261"/>
                  <a:pt x="8296331" y="808973"/>
                </a:cubicBezTo>
                <a:cubicBezTo>
                  <a:pt x="8292759" y="810039"/>
                  <a:pt x="8288474" y="811817"/>
                  <a:pt x="8289545" y="817506"/>
                </a:cubicBezTo>
                <a:cubicBezTo>
                  <a:pt x="8289902" y="819639"/>
                  <a:pt x="8287759" y="820351"/>
                  <a:pt x="8287402" y="821417"/>
                </a:cubicBezTo>
                <a:cubicBezTo>
                  <a:pt x="8285616" y="827106"/>
                  <a:pt x="8281330" y="829595"/>
                  <a:pt x="8276687" y="831373"/>
                </a:cubicBezTo>
                <a:cubicBezTo>
                  <a:pt x="8273472" y="830662"/>
                  <a:pt x="8270615" y="829951"/>
                  <a:pt x="8267401" y="829951"/>
                </a:cubicBezTo>
                <a:cubicBezTo>
                  <a:pt x="8264186" y="829950"/>
                  <a:pt x="8260971" y="827817"/>
                  <a:pt x="8259543" y="824973"/>
                </a:cubicBezTo>
                <a:cubicBezTo>
                  <a:pt x="8258471" y="822484"/>
                  <a:pt x="8257400" y="821062"/>
                  <a:pt x="8255256" y="819995"/>
                </a:cubicBezTo>
                <a:cubicBezTo>
                  <a:pt x="8255256" y="815728"/>
                  <a:pt x="8255257" y="811461"/>
                  <a:pt x="8255257" y="807195"/>
                </a:cubicBezTo>
                <a:cubicBezTo>
                  <a:pt x="8258828" y="805416"/>
                  <a:pt x="8261685" y="802572"/>
                  <a:pt x="8263115" y="799372"/>
                </a:cubicBezTo>
                <a:cubicBezTo>
                  <a:pt x="8264900" y="796527"/>
                  <a:pt x="8266329" y="793327"/>
                  <a:pt x="8268115" y="790127"/>
                </a:cubicBezTo>
                <a:cubicBezTo>
                  <a:pt x="8269901" y="787283"/>
                  <a:pt x="8271687" y="784083"/>
                  <a:pt x="8272043" y="780526"/>
                </a:cubicBezTo>
                <a:cubicBezTo>
                  <a:pt x="8272759" y="777327"/>
                  <a:pt x="8274901" y="775904"/>
                  <a:pt x="8277401" y="774127"/>
                </a:cubicBezTo>
                <a:cubicBezTo>
                  <a:pt x="8279902" y="772349"/>
                  <a:pt x="8283473" y="772704"/>
                  <a:pt x="8285259" y="770216"/>
                </a:cubicBezTo>
                <a:cubicBezTo>
                  <a:pt x="8287759" y="770216"/>
                  <a:pt x="8289902" y="770215"/>
                  <a:pt x="8292402" y="770215"/>
                </a:cubicBezTo>
                <a:close/>
                <a:moveTo>
                  <a:pt x="3415630" y="755773"/>
                </a:moveTo>
                <a:cubicBezTo>
                  <a:pt x="3416338" y="755774"/>
                  <a:pt x="3417751" y="755774"/>
                  <a:pt x="3418105" y="756480"/>
                </a:cubicBezTo>
                <a:cubicBezTo>
                  <a:pt x="3421639" y="759657"/>
                  <a:pt x="3424819" y="762481"/>
                  <a:pt x="3429412" y="757892"/>
                </a:cubicBezTo>
                <a:cubicBezTo>
                  <a:pt x="3430827" y="756127"/>
                  <a:pt x="3431884" y="757891"/>
                  <a:pt x="3432240" y="759303"/>
                </a:cubicBezTo>
                <a:cubicBezTo>
                  <a:pt x="3433300" y="765304"/>
                  <a:pt x="3436126" y="765304"/>
                  <a:pt x="3440367" y="761775"/>
                </a:cubicBezTo>
                <a:cubicBezTo>
                  <a:pt x="3443195" y="759303"/>
                  <a:pt x="3444609" y="760009"/>
                  <a:pt x="3444609" y="763539"/>
                </a:cubicBezTo>
                <a:cubicBezTo>
                  <a:pt x="3444609" y="765657"/>
                  <a:pt x="3443903" y="768128"/>
                  <a:pt x="3447082" y="768481"/>
                </a:cubicBezTo>
                <a:cubicBezTo>
                  <a:pt x="3454148" y="769893"/>
                  <a:pt x="3456978" y="774834"/>
                  <a:pt x="3456623" y="781187"/>
                </a:cubicBezTo>
                <a:cubicBezTo>
                  <a:pt x="3456270" y="785776"/>
                  <a:pt x="3457686" y="787894"/>
                  <a:pt x="3460868" y="789659"/>
                </a:cubicBezTo>
                <a:cubicBezTo>
                  <a:pt x="3460868" y="791071"/>
                  <a:pt x="3460868" y="792482"/>
                  <a:pt x="3460867" y="793894"/>
                </a:cubicBezTo>
                <a:cubicBezTo>
                  <a:pt x="3457331" y="796011"/>
                  <a:pt x="3456270" y="799894"/>
                  <a:pt x="3457331" y="803424"/>
                </a:cubicBezTo>
                <a:cubicBezTo>
                  <a:pt x="3459096" y="809777"/>
                  <a:pt x="3456978" y="814719"/>
                  <a:pt x="3452382" y="818955"/>
                </a:cubicBezTo>
                <a:cubicBezTo>
                  <a:pt x="3450617" y="820719"/>
                  <a:pt x="3448848" y="822131"/>
                  <a:pt x="3448142" y="824602"/>
                </a:cubicBezTo>
                <a:cubicBezTo>
                  <a:pt x="3447436" y="828485"/>
                  <a:pt x="3445315" y="830603"/>
                  <a:pt x="3441429" y="830249"/>
                </a:cubicBezTo>
                <a:cubicBezTo>
                  <a:pt x="3438601" y="830249"/>
                  <a:pt x="3436482" y="832014"/>
                  <a:pt x="3435420" y="833426"/>
                </a:cubicBezTo>
                <a:cubicBezTo>
                  <a:pt x="3429413" y="841897"/>
                  <a:pt x="3420577" y="837309"/>
                  <a:pt x="3413157" y="838368"/>
                </a:cubicBezTo>
                <a:cubicBezTo>
                  <a:pt x="3409977" y="838720"/>
                  <a:pt x="3403261" y="840486"/>
                  <a:pt x="3401849" y="838015"/>
                </a:cubicBezTo>
                <a:cubicBezTo>
                  <a:pt x="3397609" y="830956"/>
                  <a:pt x="3386651" y="833779"/>
                  <a:pt x="3384176" y="824249"/>
                </a:cubicBezTo>
                <a:cubicBezTo>
                  <a:pt x="3383469" y="821425"/>
                  <a:pt x="3378521" y="819660"/>
                  <a:pt x="3383116" y="815778"/>
                </a:cubicBezTo>
                <a:cubicBezTo>
                  <a:pt x="3384529" y="814719"/>
                  <a:pt x="3384176" y="812602"/>
                  <a:pt x="3382762" y="812248"/>
                </a:cubicBezTo>
                <a:cubicBezTo>
                  <a:pt x="3377107" y="810131"/>
                  <a:pt x="3377461" y="806953"/>
                  <a:pt x="3380993" y="802718"/>
                </a:cubicBezTo>
                <a:cubicBezTo>
                  <a:pt x="3382056" y="801307"/>
                  <a:pt x="3380642" y="799541"/>
                  <a:pt x="3379934" y="798129"/>
                </a:cubicBezTo>
                <a:cubicBezTo>
                  <a:pt x="3378521" y="796012"/>
                  <a:pt x="3378167" y="793894"/>
                  <a:pt x="3380289" y="792129"/>
                </a:cubicBezTo>
                <a:cubicBezTo>
                  <a:pt x="3382409" y="790364"/>
                  <a:pt x="3382057" y="788246"/>
                  <a:pt x="3382762" y="786129"/>
                </a:cubicBezTo>
                <a:cubicBezTo>
                  <a:pt x="3384529" y="780834"/>
                  <a:pt x="3386652" y="774128"/>
                  <a:pt x="3390539" y="771657"/>
                </a:cubicBezTo>
                <a:cubicBezTo>
                  <a:pt x="3399023" y="766362"/>
                  <a:pt x="3407150" y="760715"/>
                  <a:pt x="3415630" y="755773"/>
                </a:cubicBezTo>
                <a:close/>
                <a:moveTo>
                  <a:pt x="7889644" y="746337"/>
                </a:moveTo>
                <a:cubicBezTo>
                  <a:pt x="7895975" y="750025"/>
                  <a:pt x="7902042" y="754241"/>
                  <a:pt x="7908373" y="758192"/>
                </a:cubicBezTo>
                <a:cubicBezTo>
                  <a:pt x="7911275" y="760036"/>
                  <a:pt x="7912858" y="765043"/>
                  <a:pt x="7914177" y="768995"/>
                </a:cubicBezTo>
                <a:cubicBezTo>
                  <a:pt x="7914705" y="770575"/>
                  <a:pt x="7914440" y="772156"/>
                  <a:pt x="7916024" y="773474"/>
                </a:cubicBezTo>
                <a:cubicBezTo>
                  <a:pt x="7917606" y="774791"/>
                  <a:pt x="7917343" y="776371"/>
                  <a:pt x="7916287" y="777952"/>
                </a:cubicBezTo>
                <a:cubicBezTo>
                  <a:pt x="7915760" y="779006"/>
                  <a:pt x="7914704" y="780323"/>
                  <a:pt x="7915496" y="781376"/>
                </a:cubicBezTo>
                <a:cubicBezTo>
                  <a:pt x="7918134" y="784539"/>
                  <a:pt x="7918397" y="786909"/>
                  <a:pt x="7914177" y="788490"/>
                </a:cubicBezTo>
                <a:cubicBezTo>
                  <a:pt x="7913121" y="788753"/>
                  <a:pt x="7912858" y="790335"/>
                  <a:pt x="7913913" y="791125"/>
                </a:cubicBezTo>
                <a:cubicBezTo>
                  <a:pt x="7917342" y="794023"/>
                  <a:pt x="7913649" y="795340"/>
                  <a:pt x="7913121" y="797448"/>
                </a:cubicBezTo>
                <a:cubicBezTo>
                  <a:pt x="7911275" y="804561"/>
                  <a:pt x="7903097" y="802454"/>
                  <a:pt x="7899933" y="807723"/>
                </a:cubicBezTo>
                <a:cubicBezTo>
                  <a:pt x="7898877" y="809567"/>
                  <a:pt x="7893864" y="808249"/>
                  <a:pt x="7891491" y="807987"/>
                </a:cubicBezTo>
                <a:cubicBezTo>
                  <a:pt x="7885951" y="807195"/>
                  <a:pt x="7879356" y="810621"/>
                  <a:pt x="7874871" y="804297"/>
                </a:cubicBezTo>
                <a:cubicBezTo>
                  <a:pt x="7874080" y="803244"/>
                  <a:pt x="7872497" y="801927"/>
                  <a:pt x="7870387" y="801926"/>
                </a:cubicBezTo>
                <a:cubicBezTo>
                  <a:pt x="7867486" y="802190"/>
                  <a:pt x="7865902" y="800609"/>
                  <a:pt x="7865375" y="797711"/>
                </a:cubicBezTo>
                <a:cubicBezTo>
                  <a:pt x="7864847" y="795866"/>
                  <a:pt x="7863529" y="794814"/>
                  <a:pt x="7862209" y="793496"/>
                </a:cubicBezTo>
                <a:cubicBezTo>
                  <a:pt x="7858780" y="790335"/>
                  <a:pt x="7857198" y="786646"/>
                  <a:pt x="7858517" y="781904"/>
                </a:cubicBezTo>
                <a:cubicBezTo>
                  <a:pt x="7859308" y="779269"/>
                  <a:pt x="7858517" y="776372"/>
                  <a:pt x="7855879" y="774790"/>
                </a:cubicBezTo>
                <a:cubicBezTo>
                  <a:pt x="7855879" y="773737"/>
                  <a:pt x="7855879" y="772683"/>
                  <a:pt x="7855878" y="771629"/>
                </a:cubicBezTo>
                <a:cubicBezTo>
                  <a:pt x="7858253" y="770311"/>
                  <a:pt x="7859308" y="768731"/>
                  <a:pt x="7859044" y="765306"/>
                </a:cubicBezTo>
                <a:cubicBezTo>
                  <a:pt x="7858780" y="760564"/>
                  <a:pt x="7860891" y="756876"/>
                  <a:pt x="7866166" y="755821"/>
                </a:cubicBezTo>
                <a:cubicBezTo>
                  <a:pt x="7868541" y="755558"/>
                  <a:pt x="7868013" y="753714"/>
                  <a:pt x="7868013" y="752133"/>
                </a:cubicBezTo>
                <a:cubicBezTo>
                  <a:pt x="7868013" y="749499"/>
                  <a:pt x="7869068" y="748971"/>
                  <a:pt x="7871179" y="750816"/>
                </a:cubicBezTo>
                <a:cubicBezTo>
                  <a:pt x="7874344" y="753450"/>
                  <a:pt x="7876455" y="753451"/>
                  <a:pt x="7877246" y="748971"/>
                </a:cubicBezTo>
                <a:cubicBezTo>
                  <a:pt x="7877509" y="747918"/>
                  <a:pt x="7878301" y="746600"/>
                  <a:pt x="7879356" y="747918"/>
                </a:cubicBezTo>
                <a:cubicBezTo>
                  <a:pt x="7882785" y="751343"/>
                  <a:pt x="7885160" y="749235"/>
                  <a:pt x="7887798" y="746864"/>
                </a:cubicBezTo>
                <a:cubicBezTo>
                  <a:pt x="7888061" y="746338"/>
                  <a:pt x="7889116" y="746337"/>
                  <a:pt x="7889644" y="746337"/>
                </a:cubicBezTo>
                <a:close/>
                <a:moveTo>
                  <a:pt x="11361673" y="745523"/>
                </a:moveTo>
                <a:cubicBezTo>
                  <a:pt x="11364373" y="744890"/>
                  <a:pt x="11367252" y="745138"/>
                  <a:pt x="11370298" y="746778"/>
                </a:cubicBezTo>
                <a:cubicBezTo>
                  <a:pt x="11371112" y="747217"/>
                  <a:pt x="11371735" y="747030"/>
                  <a:pt x="11372388" y="745818"/>
                </a:cubicBezTo>
                <a:cubicBezTo>
                  <a:pt x="11375232" y="747349"/>
                  <a:pt x="11377670" y="748662"/>
                  <a:pt x="11380512" y="750194"/>
                </a:cubicBezTo>
                <a:cubicBezTo>
                  <a:pt x="11381018" y="754119"/>
                  <a:pt x="11385299" y="755902"/>
                  <a:pt x="11387053" y="759456"/>
                </a:cubicBezTo>
                <a:cubicBezTo>
                  <a:pt x="11388807" y="763009"/>
                  <a:pt x="11390372" y="765939"/>
                  <a:pt x="11389224" y="770017"/>
                </a:cubicBezTo>
                <a:cubicBezTo>
                  <a:pt x="11387452" y="774279"/>
                  <a:pt x="11387522" y="779013"/>
                  <a:pt x="11387810" y="783341"/>
                </a:cubicBezTo>
                <a:cubicBezTo>
                  <a:pt x="11387882" y="788075"/>
                  <a:pt x="11387545" y="792589"/>
                  <a:pt x="11387833" y="796919"/>
                </a:cubicBezTo>
                <a:cubicBezTo>
                  <a:pt x="11387498" y="801433"/>
                  <a:pt x="11389005" y="806418"/>
                  <a:pt x="11391978" y="810628"/>
                </a:cubicBezTo>
                <a:cubicBezTo>
                  <a:pt x="11389364" y="815481"/>
                  <a:pt x="11386750" y="820333"/>
                  <a:pt x="11384136" y="825185"/>
                </a:cubicBezTo>
                <a:cubicBezTo>
                  <a:pt x="11381045" y="825086"/>
                  <a:pt x="11378955" y="826047"/>
                  <a:pt x="11376212" y="828221"/>
                </a:cubicBezTo>
                <a:cubicBezTo>
                  <a:pt x="11372845" y="830581"/>
                  <a:pt x="11367881" y="831037"/>
                  <a:pt x="11364226" y="829068"/>
                </a:cubicBezTo>
                <a:cubicBezTo>
                  <a:pt x="11360570" y="827099"/>
                  <a:pt x="11356886" y="826157"/>
                  <a:pt x="11352793" y="824996"/>
                </a:cubicBezTo>
                <a:cubicBezTo>
                  <a:pt x="11348603" y="820130"/>
                  <a:pt x="11345254" y="814673"/>
                  <a:pt x="11346707" y="807109"/>
                </a:cubicBezTo>
                <a:cubicBezTo>
                  <a:pt x="11346954" y="805678"/>
                  <a:pt x="11344953" y="803556"/>
                  <a:pt x="11346666" y="801349"/>
                </a:cubicBezTo>
                <a:cubicBezTo>
                  <a:pt x="11351371" y="795536"/>
                  <a:pt x="11347585" y="790888"/>
                  <a:pt x="11344177" y="787487"/>
                </a:cubicBezTo>
                <a:cubicBezTo>
                  <a:pt x="11341769" y="785146"/>
                  <a:pt x="11340798" y="783058"/>
                  <a:pt x="11340044" y="780565"/>
                </a:cubicBezTo>
                <a:cubicBezTo>
                  <a:pt x="11337566" y="773491"/>
                  <a:pt x="11341240" y="767645"/>
                  <a:pt x="11343071" y="761327"/>
                </a:cubicBezTo>
                <a:cubicBezTo>
                  <a:pt x="11345090" y="755633"/>
                  <a:pt x="11349706" y="752901"/>
                  <a:pt x="11354133" y="749548"/>
                </a:cubicBezTo>
                <a:cubicBezTo>
                  <a:pt x="11356455" y="747668"/>
                  <a:pt x="11358975" y="746156"/>
                  <a:pt x="11361673" y="745523"/>
                </a:cubicBezTo>
                <a:close/>
                <a:moveTo>
                  <a:pt x="3522833" y="739710"/>
                </a:moveTo>
                <a:lnTo>
                  <a:pt x="3523031" y="740040"/>
                </a:lnTo>
                <a:lnTo>
                  <a:pt x="3522603" y="739939"/>
                </a:lnTo>
                <a:close/>
                <a:moveTo>
                  <a:pt x="3919363" y="727256"/>
                </a:moveTo>
                <a:lnTo>
                  <a:pt x="3919276" y="727532"/>
                </a:lnTo>
                <a:lnTo>
                  <a:pt x="3918982" y="727353"/>
                </a:lnTo>
                <a:close/>
                <a:moveTo>
                  <a:pt x="9916027" y="722342"/>
                </a:moveTo>
                <a:cubicBezTo>
                  <a:pt x="9922108" y="727515"/>
                  <a:pt x="9928508" y="726216"/>
                  <a:pt x="9934832" y="723293"/>
                </a:cubicBezTo>
                <a:cubicBezTo>
                  <a:pt x="9937740" y="722011"/>
                  <a:pt x="9939874" y="721578"/>
                  <a:pt x="9942270" y="724768"/>
                </a:cubicBezTo>
                <a:cubicBezTo>
                  <a:pt x="9945008" y="729092"/>
                  <a:pt x="9949747" y="729112"/>
                  <a:pt x="9954392" y="728133"/>
                </a:cubicBezTo>
                <a:cubicBezTo>
                  <a:pt x="9958282" y="727380"/>
                  <a:pt x="9962435" y="726135"/>
                  <a:pt x="9966324" y="725382"/>
                </a:cubicBezTo>
                <a:cubicBezTo>
                  <a:pt x="9968202" y="725128"/>
                  <a:pt x="9969789" y="725270"/>
                  <a:pt x="9970717" y="726046"/>
                </a:cubicBezTo>
                <a:cubicBezTo>
                  <a:pt x="9971644" y="726824"/>
                  <a:pt x="9971913" y="728234"/>
                  <a:pt x="9971157" y="730518"/>
                </a:cubicBezTo>
                <a:cubicBezTo>
                  <a:pt x="9970629" y="731499"/>
                  <a:pt x="9970346" y="732612"/>
                  <a:pt x="9970308" y="733858"/>
                </a:cubicBezTo>
                <a:cubicBezTo>
                  <a:pt x="9970139" y="735350"/>
                  <a:pt x="9969082" y="737312"/>
                  <a:pt x="9970667" y="738483"/>
                </a:cubicBezTo>
                <a:cubicBezTo>
                  <a:pt x="9972139" y="739276"/>
                  <a:pt x="9973782" y="738579"/>
                  <a:pt x="9975048" y="737993"/>
                </a:cubicBezTo>
                <a:cubicBezTo>
                  <a:pt x="9980975" y="735807"/>
                  <a:pt x="9982316" y="736845"/>
                  <a:pt x="9981750" y="743187"/>
                </a:cubicBezTo>
                <a:cubicBezTo>
                  <a:pt x="9981580" y="744678"/>
                  <a:pt x="9981296" y="745791"/>
                  <a:pt x="9981505" y="747170"/>
                </a:cubicBezTo>
                <a:cubicBezTo>
                  <a:pt x="9981693" y="749170"/>
                  <a:pt x="9982014" y="750926"/>
                  <a:pt x="9984997" y="751267"/>
                </a:cubicBezTo>
                <a:cubicBezTo>
                  <a:pt x="9987867" y="751230"/>
                  <a:pt x="9988396" y="750249"/>
                  <a:pt x="9988963" y="748022"/>
                </a:cubicBezTo>
                <a:lnTo>
                  <a:pt x="9990547" y="744089"/>
                </a:lnTo>
                <a:lnTo>
                  <a:pt x="9999453" y="773502"/>
                </a:lnTo>
                <a:lnTo>
                  <a:pt x="9997515" y="774469"/>
                </a:lnTo>
                <a:cubicBezTo>
                  <a:pt x="9995835" y="776413"/>
                  <a:pt x="9995780" y="778281"/>
                  <a:pt x="9997213" y="780320"/>
                </a:cubicBezTo>
                <a:cubicBezTo>
                  <a:pt x="9998290" y="781849"/>
                  <a:pt x="9999499" y="783134"/>
                  <a:pt x="10000574" y="784663"/>
                </a:cubicBezTo>
                <a:cubicBezTo>
                  <a:pt x="10002369" y="787211"/>
                  <a:pt x="10002425" y="789458"/>
                  <a:pt x="10000349" y="792137"/>
                </a:cubicBezTo>
                <a:cubicBezTo>
                  <a:pt x="9994118" y="800175"/>
                  <a:pt x="9994005" y="808028"/>
                  <a:pt x="9999744" y="816183"/>
                </a:cubicBezTo>
                <a:cubicBezTo>
                  <a:pt x="10000575" y="817580"/>
                  <a:pt x="10003407" y="818790"/>
                  <a:pt x="10001727" y="820733"/>
                </a:cubicBezTo>
                <a:cubicBezTo>
                  <a:pt x="10000293" y="822809"/>
                  <a:pt x="9997820" y="822110"/>
                  <a:pt x="9995478" y="821165"/>
                </a:cubicBezTo>
                <a:cubicBezTo>
                  <a:pt x="9995233" y="821033"/>
                  <a:pt x="9994987" y="820901"/>
                  <a:pt x="9994741" y="820768"/>
                </a:cubicBezTo>
                <a:cubicBezTo>
                  <a:pt x="9988322" y="818576"/>
                  <a:pt x="9985151" y="820349"/>
                  <a:pt x="9985585" y="826596"/>
                </a:cubicBezTo>
                <a:cubicBezTo>
                  <a:pt x="9985907" y="832467"/>
                  <a:pt x="9983319" y="835505"/>
                  <a:pt x="9978883" y="837862"/>
                </a:cubicBezTo>
                <a:cubicBezTo>
                  <a:pt x="9973049" y="841050"/>
                  <a:pt x="9967819" y="844879"/>
                  <a:pt x="9965987" y="851806"/>
                </a:cubicBezTo>
                <a:cubicBezTo>
                  <a:pt x="9965271" y="854901"/>
                  <a:pt x="9961909" y="854673"/>
                  <a:pt x="9959927" y="854238"/>
                </a:cubicBezTo>
                <a:cubicBezTo>
                  <a:pt x="9952357" y="853008"/>
                  <a:pt x="9947165" y="855592"/>
                  <a:pt x="9942993" y="861574"/>
                </a:cubicBezTo>
                <a:cubicBezTo>
                  <a:pt x="9940386" y="865234"/>
                  <a:pt x="9938518" y="865177"/>
                  <a:pt x="9935912" y="860609"/>
                </a:cubicBezTo>
                <a:cubicBezTo>
                  <a:pt x="9930342" y="850961"/>
                  <a:pt x="9916087" y="848029"/>
                  <a:pt x="9907781" y="854633"/>
                </a:cubicBezTo>
                <a:cubicBezTo>
                  <a:pt x="9906118" y="855953"/>
                  <a:pt x="9903947" y="857633"/>
                  <a:pt x="9904872" y="860029"/>
                </a:cubicBezTo>
                <a:cubicBezTo>
                  <a:pt x="9905799" y="862427"/>
                  <a:pt x="9907856" y="864485"/>
                  <a:pt x="9910857" y="864204"/>
                </a:cubicBezTo>
                <a:cubicBezTo>
                  <a:pt x="9912728" y="864261"/>
                  <a:pt x="9914860" y="863828"/>
                  <a:pt x="9916861" y="863640"/>
                </a:cubicBezTo>
                <a:cubicBezTo>
                  <a:pt x="9918995" y="863207"/>
                  <a:pt x="9920865" y="863263"/>
                  <a:pt x="9921299" y="865397"/>
                </a:cubicBezTo>
                <a:cubicBezTo>
                  <a:pt x="9921847" y="867908"/>
                  <a:pt x="9920072" y="868850"/>
                  <a:pt x="9918184" y="869416"/>
                </a:cubicBezTo>
                <a:cubicBezTo>
                  <a:pt x="9916542" y="870114"/>
                  <a:pt x="9914540" y="870302"/>
                  <a:pt x="9913030" y="870754"/>
                </a:cubicBezTo>
                <a:cubicBezTo>
                  <a:pt x="9909631" y="871771"/>
                  <a:pt x="9906818" y="874054"/>
                  <a:pt x="9907705" y="877698"/>
                </a:cubicBezTo>
                <a:cubicBezTo>
                  <a:pt x="9908612" y="880719"/>
                  <a:pt x="9912368" y="880210"/>
                  <a:pt x="9915126" y="879796"/>
                </a:cubicBezTo>
                <a:cubicBezTo>
                  <a:pt x="9917504" y="879495"/>
                  <a:pt x="9919920" y="877948"/>
                  <a:pt x="9922526" y="878402"/>
                </a:cubicBezTo>
                <a:cubicBezTo>
                  <a:pt x="9926378" y="878894"/>
                  <a:pt x="9928077" y="880443"/>
                  <a:pt x="9925717" y="884236"/>
                </a:cubicBezTo>
                <a:cubicBezTo>
                  <a:pt x="9922564" y="889500"/>
                  <a:pt x="9917976" y="892726"/>
                  <a:pt x="9912785" y="895311"/>
                </a:cubicBezTo>
                <a:cubicBezTo>
                  <a:pt x="9906195" y="898724"/>
                  <a:pt x="9904365" y="901535"/>
                  <a:pt x="9905517" y="908803"/>
                </a:cubicBezTo>
                <a:cubicBezTo>
                  <a:pt x="9905686" y="911426"/>
                  <a:pt x="9906724" y="914201"/>
                  <a:pt x="9907517" y="916845"/>
                </a:cubicBezTo>
                <a:cubicBezTo>
                  <a:pt x="9907858" y="917977"/>
                  <a:pt x="9908689" y="919374"/>
                  <a:pt x="9907536" y="920336"/>
                </a:cubicBezTo>
                <a:cubicBezTo>
                  <a:pt x="9906253" y="921543"/>
                  <a:pt x="9904894" y="921128"/>
                  <a:pt x="9904043" y="920353"/>
                </a:cubicBezTo>
                <a:cubicBezTo>
                  <a:pt x="9900154" y="916992"/>
                  <a:pt x="9898115" y="918426"/>
                  <a:pt x="9896246" y="922484"/>
                </a:cubicBezTo>
                <a:cubicBezTo>
                  <a:pt x="9893848" y="927522"/>
                  <a:pt x="9888807" y="929238"/>
                  <a:pt x="9883917" y="930085"/>
                </a:cubicBezTo>
                <a:cubicBezTo>
                  <a:pt x="9880028" y="930838"/>
                  <a:pt x="9878858" y="932424"/>
                  <a:pt x="9880501" y="935840"/>
                </a:cubicBezTo>
                <a:cubicBezTo>
                  <a:pt x="9881444" y="937616"/>
                  <a:pt x="9881898" y="939126"/>
                  <a:pt x="9880349" y="940823"/>
                </a:cubicBezTo>
                <a:cubicBezTo>
                  <a:pt x="9878405" y="943258"/>
                  <a:pt x="9876705" y="941710"/>
                  <a:pt x="9874724" y="941274"/>
                </a:cubicBezTo>
                <a:cubicBezTo>
                  <a:pt x="9873610" y="940991"/>
                  <a:pt x="9872383" y="940329"/>
                  <a:pt x="9871023" y="939914"/>
                </a:cubicBezTo>
                <a:cubicBezTo>
                  <a:pt x="9863999" y="937079"/>
                  <a:pt x="9860545" y="939967"/>
                  <a:pt x="9861432" y="947724"/>
                </a:cubicBezTo>
                <a:cubicBezTo>
                  <a:pt x="9861526" y="948724"/>
                  <a:pt x="9861752" y="949479"/>
                  <a:pt x="9861601" y="950347"/>
                </a:cubicBezTo>
                <a:cubicBezTo>
                  <a:pt x="9861545" y="952216"/>
                  <a:pt x="9860978" y="954444"/>
                  <a:pt x="9858977" y="954631"/>
                </a:cubicBezTo>
                <a:cubicBezTo>
                  <a:pt x="9857221" y="954951"/>
                  <a:pt x="9856033" y="953045"/>
                  <a:pt x="9855578" y="951535"/>
                </a:cubicBezTo>
                <a:cubicBezTo>
                  <a:pt x="9855125" y="950025"/>
                  <a:pt x="9854919" y="948647"/>
                  <a:pt x="9854842" y="947023"/>
                </a:cubicBezTo>
                <a:cubicBezTo>
                  <a:pt x="9854294" y="944513"/>
                  <a:pt x="9853087" y="943228"/>
                  <a:pt x="9850330" y="943643"/>
                </a:cubicBezTo>
                <a:cubicBezTo>
                  <a:pt x="9843948" y="944320"/>
                  <a:pt x="9838529" y="942033"/>
                  <a:pt x="9833244" y="939502"/>
                </a:cubicBezTo>
                <a:cubicBezTo>
                  <a:pt x="9826843" y="936687"/>
                  <a:pt x="9820858" y="932514"/>
                  <a:pt x="9813928" y="930680"/>
                </a:cubicBezTo>
                <a:cubicBezTo>
                  <a:pt x="9811456" y="929981"/>
                  <a:pt x="9811022" y="927848"/>
                  <a:pt x="9810700" y="926092"/>
                </a:cubicBezTo>
                <a:cubicBezTo>
                  <a:pt x="9809378" y="920316"/>
                  <a:pt x="9808301" y="914672"/>
                  <a:pt x="9801108" y="913329"/>
                </a:cubicBezTo>
                <a:cubicBezTo>
                  <a:pt x="9799749" y="912913"/>
                  <a:pt x="9799541" y="911535"/>
                  <a:pt x="9799579" y="910289"/>
                </a:cubicBezTo>
                <a:cubicBezTo>
                  <a:pt x="9799522" y="903928"/>
                  <a:pt x="9797218" y="897623"/>
                  <a:pt x="9795783" y="891470"/>
                </a:cubicBezTo>
                <a:cubicBezTo>
                  <a:pt x="9793574" y="882050"/>
                  <a:pt x="9794216" y="873217"/>
                  <a:pt x="9801050" y="865820"/>
                </a:cubicBezTo>
                <a:cubicBezTo>
                  <a:pt x="9803637" y="862782"/>
                  <a:pt x="9802863" y="859517"/>
                  <a:pt x="9801956" y="856497"/>
                </a:cubicBezTo>
                <a:cubicBezTo>
                  <a:pt x="9800049" y="849455"/>
                  <a:pt x="9801616" y="847134"/>
                  <a:pt x="9808508" y="846099"/>
                </a:cubicBezTo>
                <a:cubicBezTo>
                  <a:pt x="9815889" y="845329"/>
                  <a:pt x="9815889" y="845329"/>
                  <a:pt x="9814379" y="837551"/>
                </a:cubicBezTo>
                <a:cubicBezTo>
                  <a:pt x="9814058" y="835796"/>
                  <a:pt x="9813850" y="834418"/>
                  <a:pt x="9816116" y="833739"/>
                </a:cubicBezTo>
                <a:cubicBezTo>
                  <a:pt x="9824065" y="830741"/>
                  <a:pt x="9831523" y="827479"/>
                  <a:pt x="9839583" y="824859"/>
                </a:cubicBezTo>
                <a:cubicBezTo>
                  <a:pt x="9845512" y="822671"/>
                  <a:pt x="9851629" y="822485"/>
                  <a:pt x="9857690" y="824167"/>
                </a:cubicBezTo>
                <a:cubicBezTo>
                  <a:pt x="9861656" y="825037"/>
                  <a:pt x="9873040" y="819776"/>
                  <a:pt x="9875267" y="816229"/>
                </a:cubicBezTo>
                <a:cubicBezTo>
                  <a:pt x="9875928" y="815001"/>
                  <a:pt x="9876456" y="814020"/>
                  <a:pt x="9875248" y="812737"/>
                </a:cubicBezTo>
                <a:cubicBezTo>
                  <a:pt x="9869489" y="805202"/>
                  <a:pt x="9869377" y="796596"/>
                  <a:pt x="9870019" y="787763"/>
                </a:cubicBezTo>
                <a:cubicBezTo>
                  <a:pt x="9870074" y="785894"/>
                  <a:pt x="9870245" y="784403"/>
                  <a:pt x="9870168" y="782780"/>
                </a:cubicBezTo>
                <a:cubicBezTo>
                  <a:pt x="9869829" y="777533"/>
                  <a:pt x="9870452" y="773437"/>
                  <a:pt x="9874814" y="769456"/>
                </a:cubicBezTo>
                <a:cubicBezTo>
                  <a:pt x="9879174" y="765475"/>
                  <a:pt x="9879117" y="759114"/>
                  <a:pt x="9879042" y="753376"/>
                </a:cubicBezTo>
                <a:cubicBezTo>
                  <a:pt x="9879249" y="750640"/>
                  <a:pt x="9879552" y="748903"/>
                  <a:pt x="9882458" y="747621"/>
                </a:cubicBezTo>
                <a:cubicBezTo>
                  <a:pt x="9894354" y="742001"/>
                  <a:pt x="9905059" y="734474"/>
                  <a:pt x="9912515" y="722982"/>
                </a:cubicBezTo>
                <a:cubicBezTo>
                  <a:pt x="9913686" y="721397"/>
                  <a:pt x="9914573" y="720925"/>
                  <a:pt x="9916027" y="722342"/>
                </a:cubicBezTo>
                <a:close/>
                <a:moveTo>
                  <a:pt x="1070860" y="706138"/>
                </a:moveTo>
                <a:cubicBezTo>
                  <a:pt x="1075595" y="704426"/>
                  <a:pt x="1081467" y="705858"/>
                  <a:pt x="1085086" y="709287"/>
                </a:cubicBezTo>
                <a:cubicBezTo>
                  <a:pt x="1087990" y="712383"/>
                  <a:pt x="1090325" y="713908"/>
                  <a:pt x="1094051" y="714338"/>
                </a:cubicBezTo>
                <a:cubicBezTo>
                  <a:pt x="1096322" y="720624"/>
                  <a:pt x="1098595" y="726909"/>
                  <a:pt x="1100866" y="733194"/>
                </a:cubicBezTo>
                <a:cubicBezTo>
                  <a:pt x="1096552" y="737715"/>
                  <a:pt x="1093858" y="743427"/>
                  <a:pt x="1093457" y="748901"/>
                </a:cubicBezTo>
                <a:cubicBezTo>
                  <a:pt x="1092342" y="754043"/>
                  <a:pt x="1091940" y="759518"/>
                  <a:pt x="1091013" y="765183"/>
                </a:cubicBezTo>
                <a:cubicBezTo>
                  <a:pt x="1089897" y="770325"/>
                  <a:pt x="1088970" y="775989"/>
                  <a:pt x="1090338" y="781417"/>
                </a:cubicBezTo>
                <a:cubicBezTo>
                  <a:pt x="1090990" y="786512"/>
                  <a:pt x="1088590" y="789748"/>
                  <a:pt x="1085854" y="793698"/>
                </a:cubicBezTo>
                <a:cubicBezTo>
                  <a:pt x="1083117" y="797648"/>
                  <a:pt x="1077666" y="799026"/>
                  <a:pt x="1076362" y="803644"/>
                </a:cubicBezTo>
                <a:cubicBezTo>
                  <a:pt x="1072678" y="804976"/>
                  <a:pt x="1069522" y="806117"/>
                  <a:pt x="1065838" y="807448"/>
                </a:cubicBezTo>
                <a:cubicBezTo>
                  <a:pt x="1065270" y="805876"/>
                  <a:pt x="1064554" y="805543"/>
                  <a:pt x="1063503" y="805924"/>
                </a:cubicBezTo>
                <a:cubicBezTo>
                  <a:pt x="1055611" y="808776"/>
                  <a:pt x="1049508" y="805060"/>
                  <a:pt x="1044605" y="799725"/>
                </a:cubicBezTo>
                <a:cubicBezTo>
                  <a:pt x="1039892" y="794915"/>
                  <a:pt x="1034841" y="790818"/>
                  <a:pt x="1033431" y="783628"/>
                </a:cubicBezTo>
                <a:cubicBezTo>
                  <a:pt x="1032360" y="775725"/>
                  <a:pt x="1028993" y="768058"/>
                  <a:pt x="1033224" y="760014"/>
                </a:cubicBezTo>
                <a:cubicBezTo>
                  <a:pt x="1034571" y="757159"/>
                  <a:pt x="1036109" y="754826"/>
                  <a:pt x="1039413" y="752447"/>
                </a:cubicBezTo>
                <a:cubicBezTo>
                  <a:pt x="1044105" y="748975"/>
                  <a:pt x="1049474" y="744073"/>
                  <a:pt x="1044865" y="736263"/>
                </a:cubicBezTo>
                <a:cubicBezTo>
                  <a:pt x="1043203" y="733310"/>
                  <a:pt x="1045981" y="731122"/>
                  <a:pt x="1045939" y="729360"/>
                </a:cubicBezTo>
                <a:cubicBezTo>
                  <a:pt x="1045542" y="720028"/>
                  <a:pt x="1050530" y="714080"/>
                  <a:pt x="1056422" y="708989"/>
                </a:cubicBezTo>
                <a:cubicBezTo>
                  <a:pt x="1061537" y="708324"/>
                  <a:pt x="1066125" y="707850"/>
                  <a:pt x="1070860" y="706138"/>
                </a:cubicBezTo>
                <a:close/>
                <a:moveTo>
                  <a:pt x="10521196" y="704686"/>
                </a:moveTo>
                <a:cubicBezTo>
                  <a:pt x="10522697" y="701898"/>
                  <a:pt x="10524114" y="701941"/>
                  <a:pt x="10525297" y="705096"/>
                </a:cubicBezTo>
                <a:cubicBezTo>
                  <a:pt x="10527145" y="709689"/>
                  <a:pt x="10529378" y="710893"/>
                  <a:pt x="10532770" y="706604"/>
                </a:cubicBezTo>
                <a:cubicBezTo>
                  <a:pt x="10533650" y="705639"/>
                  <a:pt x="10535237" y="704696"/>
                  <a:pt x="10535603" y="706692"/>
                </a:cubicBezTo>
                <a:cubicBezTo>
                  <a:pt x="10537281" y="712271"/>
                  <a:pt x="10540995" y="711395"/>
                  <a:pt x="10545137" y="710388"/>
                </a:cubicBezTo>
                <a:cubicBezTo>
                  <a:pt x="10545718" y="709982"/>
                  <a:pt x="10546833" y="710583"/>
                  <a:pt x="10547392" y="710884"/>
                </a:cubicBezTo>
                <a:cubicBezTo>
                  <a:pt x="10551990" y="718397"/>
                  <a:pt x="10556007" y="726317"/>
                  <a:pt x="10560454" y="734109"/>
                </a:cubicBezTo>
                <a:cubicBezTo>
                  <a:pt x="10562474" y="737714"/>
                  <a:pt x="10561295" y="743915"/>
                  <a:pt x="10560438" y="748848"/>
                </a:cubicBezTo>
                <a:cubicBezTo>
                  <a:pt x="10560095" y="750822"/>
                  <a:pt x="10558914" y="752345"/>
                  <a:pt x="10559839" y="754641"/>
                </a:cubicBezTo>
                <a:cubicBezTo>
                  <a:pt x="10560763" y="756938"/>
                  <a:pt x="10559582" y="758459"/>
                  <a:pt x="10557565" y="759531"/>
                </a:cubicBezTo>
                <a:cubicBezTo>
                  <a:pt x="10556405" y="760346"/>
                  <a:pt x="10554537" y="761139"/>
                  <a:pt x="10554774" y="762705"/>
                </a:cubicBezTo>
                <a:cubicBezTo>
                  <a:pt x="10555763" y="767554"/>
                  <a:pt x="10554691" y="770214"/>
                  <a:pt x="10549323" y="769481"/>
                </a:cubicBezTo>
                <a:cubicBezTo>
                  <a:pt x="10548056" y="769158"/>
                  <a:pt x="10546877" y="770680"/>
                  <a:pt x="10547543" y="772118"/>
                </a:cubicBezTo>
                <a:cubicBezTo>
                  <a:pt x="10549519" y="777140"/>
                  <a:pt x="10544860" y="776429"/>
                  <a:pt x="10543100" y="778358"/>
                </a:cubicBezTo>
                <a:cubicBezTo>
                  <a:pt x="10537090" y="784834"/>
                  <a:pt x="10529638" y="777942"/>
                  <a:pt x="10523283" y="781713"/>
                </a:cubicBezTo>
                <a:cubicBezTo>
                  <a:pt x="10521116" y="783063"/>
                  <a:pt x="10516562" y="778811"/>
                  <a:pt x="10514200" y="777179"/>
                </a:cubicBezTo>
                <a:cubicBezTo>
                  <a:pt x="10508789" y="773185"/>
                  <a:pt x="10499857" y="773050"/>
                  <a:pt x="10498715" y="763802"/>
                </a:cubicBezTo>
                <a:cubicBezTo>
                  <a:pt x="10498478" y="762235"/>
                  <a:pt x="10497554" y="759938"/>
                  <a:pt x="10495321" y="758735"/>
                </a:cubicBezTo>
                <a:cubicBezTo>
                  <a:pt x="10492100" y="757360"/>
                  <a:pt x="10491326" y="754785"/>
                  <a:pt x="10492419" y="751417"/>
                </a:cubicBezTo>
                <a:cubicBezTo>
                  <a:pt x="10492913" y="749164"/>
                  <a:pt x="10492117" y="747297"/>
                  <a:pt x="10491474" y="745152"/>
                </a:cubicBezTo>
                <a:cubicBezTo>
                  <a:pt x="10489647" y="739850"/>
                  <a:pt x="10490074" y="735045"/>
                  <a:pt x="10494173" y="730778"/>
                </a:cubicBezTo>
                <a:cubicBezTo>
                  <a:pt x="10496512" y="728442"/>
                  <a:pt x="10497327" y="724923"/>
                  <a:pt x="10495437" y="721746"/>
                </a:cubicBezTo>
                <a:cubicBezTo>
                  <a:pt x="10496038" y="720631"/>
                  <a:pt x="10496638" y="719516"/>
                  <a:pt x="10497240" y="718400"/>
                </a:cubicBezTo>
                <a:cubicBezTo>
                  <a:pt x="10500502" y="718360"/>
                  <a:pt x="10502520" y="717288"/>
                  <a:pt x="10504195" y="713514"/>
                </a:cubicBezTo>
                <a:cubicBezTo>
                  <a:pt x="10506618" y="708344"/>
                  <a:pt x="10510955" y="705644"/>
                  <a:pt x="10517138" y="707537"/>
                </a:cubicBezTo>
                <a:cubicBezTo>
                  <a:pt x="10519801" y="708611"/>
                  <a:pt x="10520294" y="706359"/>
                  <a:pt x="10521196" y="704686"/>
                </a:cubicBezTo>
                <a:close/>
                <a:moveTo>
                  <a:pt x="9700273" y="700001"/>
                </a:moveTo>
                <a:cubicBezTo>
                  <a:pt x="9701550" y="699717"/>
                  <a:pt x="9702260" y="700568"/>
                  <a:pt x="9702828" y="701277"/>
                </a:cubicBezTo>
                <a:cubicBezTo>
                  <a:pt x="9704815" y="703547"/>
                  <a:pt x="9706661" y="705818"/>
                  <a:pt x="9710209" y="704682"/>
                </a:cubicBezTo>
                <a:cubicBezTo>
                  <a:pt x="9710918" y="704540"/>
                  <a:pt x="9711344" y="705108"/>
                  <a:pt x="9711629" y="705676"/>
                </a:cubicBezTo>
                <a:cubicBezTo>
                  <a:pt x="9713190" y="708513"/>
                  <a:pt x="9715745" y="710783"/>
                  <a:pt x="9717875" y="713194"/>
                </a:cubicBezTo>
                <a:cubicBezTo>
                  <a:pt x="9721140" y="716883"/>
                  <a:pt x="9722984" y="720998"/>
                  <a:pt x="9721706" y="725963"/>
                </a:cubicBezTo>
                <a:cubicBezTo>
                  <a:pt x="9721281" y="727950"/>
                  <a:pt x="9722417" y="729226"/>
                  <a:pt x="9723553" y="730361"/>
                </a:cubicBezTo>
                <a:cubicBezTo>
                  <a:pt x="9726107" y="733057"/>
                  <a:pt x="9725965" y="734476"/>
                  <a:pt x="9723126" y="736604"/>
                </a:cubicBezTo>
                <a:cubicBezTo>
                  <a:pt x="9720003" y="738732"/>
                  <a:pt x="9720003" y="738732"/>
                  <a:pt x="9722558" y="741853"/>
                </a:cubicBezTo>
                <a:cubicBezTo>
                  <a:pt x="9723127" y="742563"/>
                  <a:pt x="9723553" y="743130"/>
                  <a:pt x="9722701" y="743981"/>
                </a:cubicBezTo>
                <a:cubicBezTo>
                  <a:pt x="9719862" y="747244"/>
                  <a:pt x="9717307" y="750507"/>
                  <a:pt x="9714325" y="753628"/>
                </a:cubicBezTo>
                <a:cubicBezTo>
                  <a:pt x="9712196" y="756041"/>
                  <a:pt x="9709499" y="757600"/>
                  <a:pt x="9706377" y="758311"/>
                </a:cubicBezTo>
                <a:cubicBezTo>
                  <a:pt x="9704389" y="758878"/>
                  <a:pt x="9700557" y="763985"/>
                  <a:pt x="9700414" y="766113"/>
                </a:cubicBezTo>
                <a:cubicBezTo>
                  <a:pt x="9700414" y="766823"/>
                  <a:pt x="9700414" y="767390"/>
                  <a:pt x="9701267" y="767674"/>
                </a:cubicBezTo>
                <a:cubicBezTo>
                  <a:pt x="9705666" y="769660"/>
                  <a:pt x="9707796" y="773491"/>
                  <a:pt x="9709641" y="777604"/>
                </a:cubicBezTo>
                <a:cubicBezTo>
                  <a:pt x="9710068" y="778456"/>
                  <a:pt x="9710351" y="779165"/>
                  <a:pt x="9710777" y="779874"/>
                </a:cubicBezTo>
                <a:cubicBezTo>
                  <a:pt x="9712197" y="782145"/>
                  <a:pt x="9712906" y="784131"/>
                  <a:pt x="9711912" y="786968"/>
                </a:cubicBezTo>
                <a:cubicBezTo>
                  <a:pt x="9710918" y="789806"/>
                  <a:pt x="9712480" y="792644"/>
                  <a:pt x="9713900" y="795197"/>
                </a:cubicBezTo>
                <a:cubicBezTo>
                  <a:pt x="9714467" y="796474"/>
                  <a:pt x="9714752" y="797325"/>
                  <a:pt x="9713757" y="798602"/>
                </a:cubicBezTo>
                <a:cubicBezTo>
                  <a:pt x="9709784" y="803993"/>
                  <a:pt x="9706803" y="809952"/>
                  <a:pt x="9706234" y="816903"/>
                </a:cubicBezTo>
                <a:cubicBezTo>
                  <a:pt x="9706093" y="817897"/>
                  <a:pt x="9705808" y="818322"/>
                  <a:pt x="9704815" y="818038"/>
                </a:cubicBezTo>
                <a:cubicBezTo>
                  <a:pt x="9700841" y="817187"/>
                  <a:pt x="9698286" y="819316"/>
                  <a:pt x="9696156" y="822153"/>
                </a:cubicBezTo>
                <a:cubicBezTo>
                  <a:pt x="9695163" y="823430"/>
                  <a:pt x="9694311" y="824139"/>
                  <a:pt x="9692466" y="823288"/>
                </a:cubicBezTo>
                <a:cubicBezTo>
                  <a:pt x="9690194" y="822011"/>
                  <a:pt x="9688065" y="823146"/>
                  <a:pt x="9686220" y="824706"/>
                </a:cubicBezTo>
                <a:cubicBezTo>
                  <a:pt x="9684659" y="825983"/>
                  <a:pt x="9683097" y="827544"/>
                  <a:pt x="9681536" y="828821"/>
                </a:cubicBezTo>
                <a:cubicBezTo>
                  <a:pt x="9680756" y="829389"/>
                  <a:pt x="9680010" y="829708"/>
                  <a:pt x="9679408" y="829584"/>
                </a:cubicBezTo>
                <a:cubicBezTo>
                  <a:pt x="9678803" y="829460"/>
                  <a:pt x="9678343" y="828892"/>
                  <a:pt x="9678129" y="827686"/>
                </a:cubicBezTo>
                <a:cubicBezTo>
                  <a:pt x="9678129" y="827118"/>
                  <a:pt x="9677987" y="826551"/>
                  <a:pt x="9677704" y="825984"/>
                </a:cubicBezTo>
                <a:cubicBezTo>
                  <a:pt x="9677419" y="825274"/>
                  <a:pt x="9677419" y="824139"/>
                  <a:pt x="9676427" y="823997"/>
                </a:cubicBezTo>
                <a:cubicBezTo>
                  <a:pt x="9675574" y="823998"/>
                  <a:pt x="9675006" y="824706"/>
                  <a:pt x="9674580" y="825274"/>
                </a:cubicBezTo>
                <a:cubicBezTo>
                  <a:pt x="9672451" y="827686"/>
                  <a:pt x="9671600" y="827543"/>
                  <a:pt x="9670323" y="824564"/>
                </a:cubicBezTo>
                <a:cubicBezTo>
                  <a:pt x="9670038" y="823855"/>
                  <a:pt x="9669896" y="823288"/>
                  <a:pt x="9669470" y="822720"/>
                </a:cubicBezTo>
                <a:cubicBezTo>
                  <a:pt x="9668903" y="821869"/>
                  <a:pt x="9668335" y="821160"/>
                  <a:pt x="9666915" y="821727"/>
                </a:cubicBezTo>
                <a:cubicBezTo>
                  <a:pt x="9665638" y="822437"/>
                  <a:pt x="9665639" y="823004"/>
                  <a:pt x="9665923" y="824139"/>
                </a:cubicBezTo>
                <a:lnTo>
                  <a:pt x="9666161" y="826285"/>
                </a:lnTo>
                <a:lnTo>
                  <a:pt x="9655067" y="815251"/>
                </a:lnTo>
                <a:lnTo>
                  <a:pt x="9655703" y="814350"/>
                </a:lnTo>
                <a:cubicBezTo>
                  <a:pt x="9655986" y="813073"/>
                  <a:pt x="9655560" y="812222"/>
                  <a:pt x="9654425" y="811654"/>
                </a:cubicBezTo>
                <a:cubicBezTo>
                  <a:pt x="9653572" y="811228"/>
                  <a:pt x="9652721" y="810945"/>
                  <a:pt x="9651870" y="810520"/>
                </a:cubicBezTo>
                <a:cubicBezTo>
                  <a:pt x="9650450" y="809810"/>
                  <a:pt x="9649882" y="808817"/>
                  <a:pt x="9650167" y="807114"/>
                </a:cubicBezTo>
                <a:cubicBezTo>
                  <a:pt x="9651018" y="802007"/>
                  <a:pt x="9649172" y="798460"/>
                  <a:pt x="9644630" y="796190"/>
                </a:cubicBezTo>
                <a:cubicBezTo>
                  <a:pt x="9643920" y="795765"/>
                  <a:pt x="9642360" y="795907"/>
                  <a:pt x="9642644" y="794630"/>
                </a:cubicBezTo>
                <a:cubicBezTo>
                  <a:pt x="9642785" y="793352"/>
                  <a:pt x="9644062" y="793069"/>
                  <a:pt x="9645340" y="792927"/>
                </a:cubicBezTo>
                <a:cubicBezTo>
                  <a:pt x="9645482" y="792927"/>
                  <a:pt x="9645623" y="792927"/>
                  <a:pt x="9645765" y="792927"/>
                </a:cubicBezTo>
                <a:cubicBezTo>
                  <a:pt x="9649172" y="792359"/>
                  <a:pt x="9650166" y="790799"/>
                  <a:pt x="9648463" y="788104"/>
                </a:cubicBezTo>
                <a:cubicBezTo>
                  <a:pt x="9646901" y="785549"/>
                  <a:pt x="9647328" y="783563"/>
                  <a:pt x="9648747" y="781435"/>
                </a:cubicBezTo>
                <a:cubicBezTo>
                  <a:pt x="9650592" y="778598"/>
                  <a:pt x="9652012" y="775619"/>
                  <a:pt x="9651159" y="772071"/>
                </a:cubicBezTo>
                <a:cubicBezTo>
                  <a:pt x="9650734" y="770511"/>
                  <a:pt x="9652295" y="769801"/>
                  <a:pt x="9653289" y="769518"/>
                </a:cubicBezTo>
                <a:cubicBezTo>
                  <a:pt x="9656979" y="768241"/>
                  <a:pt x="9658683" y="765830"/>
                  <a:pt x="9659109" y="762141"/>
                </a:cubicBezTo>
                <a:cubicBezTo>
                  <a:pt x="9659393" y="759871"/>
                  <a:pt x="9660244" y="759445"/>
                  <a:pt x="9662515" y="760864"/>
                </a:cubicBezTo>
                <a:cubicBezTo>
                  <a:pt x="9667341" y="763843"/>
                  <a:pt x="9674438" y="761715"/>
                  <a:pt x="9676568" y="756750"/>
                </a:cubicBezTo>
                <a:cubicBezTo>
                  <a:pt x="9676993" y="755756"/>
                  <a:pt x="9677561" y="754480"/>
                  <a:pt x="9676568" y="753628"/>
                </a:cubicBezTo>
                <a:cubicBezTo>
                  <a:pt x="9675575" y="752777"/>
                  <a:pt x="9674155" y="752352"/>
                  <a:pt x="9672878" y="753203"/>
                </a:cubicBezTo>
                <a:cubicBezTo>
                  <a:pt x="9672025" y="753628"/>
                  <a:pt x="9671175" y="754337"/>
                  <a:pt x="9670322" y="754905"/>
                </a:cubicBezTo>
                <a:cubicBezTo>
                  <a:pt x="9669470" y="755614"/>
                  <a:pt x="9668619" y="756041"/>
                  <a:pt x="9667909" y="755189"/>
                </a:cubicBezTo>
                <a:cubicBezTo>
                  <a:pt x="9667057" y="754196"/>
                  <a:pt x="9667625" y="753345"/>
                  <a:pt x="9668335" y="752635"/>
                </a:cubicBezTo>
                <a:cubicBezTo>
                  <a:pt x="9668903" y="751926"/>
                  <a:pt x="9669754" y="751358"/>
                  <a:pt x="9670322" y="750791"/>
                </a:cubicBezTo>
                <a:cubicBezTo>
                  <a:pt x="9671601" y="749514"/>
                  <a:pt x="9672310" y="747811"/>
                  <a:pt x="9671033" y="746393"/>
                </a:cubicBezTo>
                <a:cubicBezTo>
                  <a:pt x="9669897" y="745258"/>
                  <a:pt x="9668335" y="746393"/>
                  <a:pt x="9667199" y="747244"/>
                </a:cubicBezTo>
                <a:cubicBezTo>
                  <a:pt x="9666206" y="747953"/>
                  <a:pt x="9665496" y="749231"/>
                  <a:pt x="9664218" y="749656"/>
                </a:cubicBezTo>
                <a:cubicBezTo>
                  <a:pt x="9662373" y="750365"/>
                  <a:pt x="9661237" y="750081"/>
                  <a:pt x="9661379" y="747811"/>
                </a:cubicBezTo>
                <a:cubicBezTo>
                  <a:pt x="9661521" y="744690"/>
                  <a:pt x="9662799" y="742137"/>
                  <a:pt x="9664503" y="739725"/>
                </a:cubicBezTo>
                <a:cubicBezTo>
                  <a:pt x="9666631" y="736603"/>
                  <a:pt x="9666773" y="734901"/>
                  <a:pt x="9664502" y="731922"/>
                </a:cubicBezTo>
                <a:cubicBezTo>
                  <a:pt x="9663793" y="730787"/>
                  <a:pt x="9662658" y="729794"/>
                  <a:pt x="9661663" y="728800"/>
                </a:cubicBezTo>
                <a:cubicBezTo>
                  <a:pt x="9661238" y="728375"/>
                  <a:pt x="9660529" y="727949"/>
                  <a:pt x="9660812" y="727240"/>
                </a:cubicBezTo>
                <a:cubicBezTo>
                  <a:pt x="9661096" y="726388"/>
                  <a:pt x="9661806" y="726247"/>
                  <a:pt x="9662374" y="726388"/>
                </a:cubicBezTo>
                <a:cubicBezTo>
                  <a:pt x="9664928" y="726956"/>
                  <a:pt x="9665496" y="725821"/>
                  <a:pt x="9665354" y="723552"/>
                </a:cubicBezTo>
                <a:cubicBezTo>
                  <a:pt x="9665212" y="720714"/>
                  <a:pt x="9667057" y="718728"/>
                  <a:pt x="9669045" y="717167"/>
                </a:cubicBezTo>
                <a:cubicBezTo>
                  <a:pt x="9670607" y="715890"/>
                  <a:pt x="9670748" y="714898"/>
                  <a:pt x="9669187" y="713762"/>
                </a:cubicBezTo>
                <a:cubicBezTo>
                  <a:pt x="9668335" y="713195"/>
                  <a:pt x="9667768" y="712627"/>
                  <a:pt x="9668052" y="711492"/>
                </a:cubicBezTo>
                <a:cubicBezTo>
                  <a:pt x="9668335" y="709931"/>
                  <a:pt x="9669470" y="710215"/>
                  <a:pt x="9670465" y="709931"/>
                </a:cubicBezTo>
                <a:cubicBezTo>
                  <a:pt x="9671032" y="709789"/>
                  <a:pt x="9671741" y="709790"/>
                  <a:pt x="9672451" y="709647"/>
                </a:cubicBezTo>
                <a:cubicBezTo>
                  <a:pt x="9676284" y="709223"/>
                  <a:pt x="9677135" y="707094"/>
                  <a:pt x="9674864" y="703831"/>
                </a:cubicBezTo>
                <a:cubicBezTo>
                  <a:pt x="9674580" y="703406"/>
                  <a:pt x="9674298" y="703122"/>
                  <a:pt x="9674156" y="702696"/>
                </a:cubicBezTo>
                <a:cubicBezTo>
                  <a:pt x="9673729" y="701845"/>
                  <a:pt x="9673445" y="700709"/>
                  <a:pt x="9674298" y="700143"/>
                </a:cubicBezTo>
                <a:cubicBezTo>
                  <a:pt x="9675007" y="699575"/>
                  <a:pt x="9676001" y="700142"/>
                  <a:pt x="9676568" y="700710"/>
                </a:cubicBezTo>
                <a:cubicBezTo>
                  <a:pt x="9677136" y="701277"/>
                  <a:pt x="9677562" y="701845"/>
                  <a:pt x="9677987" y="702554"/>
                </a:cubicBezTo>
                <a:cubicBezTo>
                  <a:pt x="9678839" y="703547"/>
                  <a:pt x="9679690" y="703831"/>
                  <a:pt x="9680826" y="702980"/>
                </a:cubicBezTo>
                <a:cubicBezTo>
                  <a:pt x="9683523" y="701136"/>
                  <a:pt x="9686504" y="700852"/>
                  <a:pt x="9689486" y="700710"/>
                </a:cubicBezTo>
                <a:cubicBezTo>
                  <a:pt x="9693034" y="700426"/>
                  <a:pt x="9696724" y="700852"/>
                  <a:pt x="9700273" y="700001"/>
                </a:cubicBezTo>
                <a:close/>
                <a:moveTo>
                  <a:pt x="4184019" y="684882"/>
                </a:moveTo>
                <a:cubicBezTo>
                  <a:pt x="4186554" y="683554"/>
                  <a:pt x="4189971" y="683909"/>
                  <a:pt x="4192273" y="685562"/>
                </a:cubicBezTo>
                <a:cubicBezTo>
                  <a:pt x="4194146" y="687082"/>
                  <a:pt x="4195576" y="687761"/>
                  <a:pt x="4197707" y="687717"/>
                </a:cubicBezTo>
                <a:cubicBezTo>
                  <a:pt x="4199468" y="691082"/>
                  <a:pt x="4201234" y="694448"/>
                  <a:pt x="4202996" y="697813"/>
                </a:cubicBezTo>
                <a:cubicBezTo>
                  <a:pt x="4200914" y="700692"/>
                  <a:pt x="4199835" y="704116"/>
                  <a:pt x="4200031" y="707230"/>
                </a:cubicBezTo>
                <a:cubicBezTo>
                  <a:pt x="4199794" y="710212"/>
                  <a:pt x="4199991" y="713326"/>
                  <a:pt x="4199905" y="716588"/>
                </a:cubicBezTo>
                <a:cubicBezTo>
                  <a:pt x="4199674" y="719569"/>
                  <a:pt x="4199588" y="722832"/>
                  <a:pt x="4200775" y="725784"/>
                </a:cubicBezTo>
                <a:cubicBezTo>
                  <a:pt x="4201533" y="728604"/>
                  <a:pt x="4200429" y="730610"/>
                  <a:pt x="4199194" y="733046"/>
                </a:cubicBezTo>
                <a:cubicBezTo>
                  <a:pt x="4197958" y="735482"/>
                  <a:pt x="4194991" y="736677"/>
                  <a:pt x="4194613" y="739378"/>
                </a:cubicBezTo>
                <a:cubicBezTo>
                  <a:pt x="4192645" y="740411"/>
                  <a:pt x="4190954" y="741296"/>
                  <a:pt x="4188983" y="742330"/>
                </a:cubicBezTo>
                <a:cubicBezTo>
                  <a:pt x="4188542" y="741488"/>
                  <a:pt x="4188114" y="741356"/>
                  <a:pt x="4187551" y="741651"/>
                </a:cubicBezTo>
                <a:cubicBezTo>
                  <a:pt x="4183324" y="743864"/>
                  <a:pt x="4179602" y="742241"/>
                  <a:pt x="4176428" y="739613"/>
                </a:cubicBezTo>
                <a:cubicBezTo>
                  <a:pt x="4173405" y="737266"/>
                  <a:pt x="4170245" y="735347"/>
                  <a:pt x="4168897" y="731407"/>
                </a:cubicBezTo>
                <a:cubicBezTo>
                  <a:pt x="4167686" y="727037"/>
                  <a:pt x="4165200" y="722978"/>
                  <a:pt x="4166964" y="718122"/>
                </a:cubicBezTo>
                <a:cubicBezTo>
                  <a:pt x="4167503" y="716410"/>
                  <a:pt x="4168189" y="714978"/>
                  <a:pt x="4169867" y="713385"/>
                </a:cubicBezTo>
                <a:cubicBezTo>
                  <a:pt x="4172244" y="711067"/>
                  <a:pt x="4174891" y="707894"/>
                  <a:pt x="4171693" y="703849"/>
                </a:cubicBezTo>
                <a:cubicBezTo>
                  <a:pt x="4170531" y="702313"/>
                  <a:pt x="4171927" y="700867"/>
                  <a:pt x="4171768" y="699878"/>
                </a:cubicBezTo>
                <a:cubicBezTo>
                  <a:pt x="4170825" y="694653"/>
                  <a:pt x="4173178" y="690919"/>
                  <a:pt x="4176107" y="687598"/>
                </a:cubicBezTo>
                <a:cubicBezTo>
                  <a:pt x="4178935" y="686831"/>
                  <a:pt x="4181483" y="686211"/>
                  <a:pt x="4184019" y="684882"/>
                </a:cubicBezTo>
                <a:close/>
                <a:moveTo>
                  <a:pt x="3592418" y="683513"/>
                </a:moveTo>
                <a:cubicBezTo>
                  <a:pt x="3593214" y="683349"/>
                  <a:pt x="3594194" y="683769"/>
                  <a:pt x="3595223" y="684517"/>
                </a:cubicBezTo>
                <a:cubicBezTo>
                  <a:pt x="3597279" y="686200"/>
                  <a:pt x="3599338" y="688256"/>
                  <a:pt x="3601395" y="689939"/>
                </a:cubicBezTo>
                <a:cubicBezTo>
                  <a:pt x="3603826" y="691995"/>
                  <a:pt x="3606632" y="693490"/>
                  <a:pt x="3609626" y="691808"/>
                </a:cubicBezTo>
                <a:cubicBezTo>
                  <a:pt x="3612056" y="690686"/>
                  <a:pt x="3613179" y="691621"/>
                  <a:pt x="3614487" y="693303"/>
                </a:cubicBezTo>
                <a:cubicBezTo>
                  <a:pt x="3617293" y="697043"/>
                  <a:pt x="3620658" y="699847"/>
                  <a:pt x="3625897" y="698725"/>
                </a:cubicBezTo>
                <a:cubicBezTo>
                  <a:pt x="3627205" y="698351"/>
                  <a:pt x="3627579" y="698912"/>
                  <a:pt x="3627768" y="700221"/>
                </a:cubicBezTo>
                <a:cubicBezTo>
                  <a:pt x="3628516" y="709381"/>
                  <a:pt x="3632443" y="717233"/>
                  <a:pt x="3637679" y="724336"/>
                </a:cubicBezTo>
                <a:cubicBezTo>
                  <a:pt x="3638989" y="726019"/>
                  <a:pt x="3638616" y="727141"/>
                  <a:pt x="3637866" y="728824"/>
                </a:cubicBezTo>
                <a:cubicBezTo>
                  <a:pt x="3635996" y="732188"/>
                  <a:pt x="3633940" y="735927"/>
                  <a:pt x="3635248" y="739666"/>
                </a:cubicBezTo>
                <a:cubicBezTo>
                  <a:pt x="3636557" y="743404"/>
                  <a:pt x="3635623" y="746023"/>
                  <a:pt x="3633750" y="749013"/>
                </a:cubicBezTo>
                <a:cubicBezTo>
                  <a:pt x="3633192" y="749948"/>
                  <a:pt x="3632816" y="750883"/>
                  <a:pt x="3632256" y="752005"/>
                </a:cubicBezTo>
                <a:cubicBezTo>
                  <a:pt x="3629826" y="757426"/>
                  <a:pt x="3627019" y="762473"/>
                  <a:pt x="3621221" y="765091"/>
                </a:cubicBezTo>
                <a:cubicBezTo>
                  <a:pt x="3620098" y="765465"/>
                  <a:pt x="3620099" y="766213"/>
                  <a:pt x="3620098" y="767147"/>
                </a:cubicBezTo>
                <a:cubicBezTo>
                  <a:pt x="3620287" y="769952"/>
                  <a:pt x="3625335" y="776681"/>
                  <a:pt x="3627955" y="777429"/>
                </a:cubicBezTo>
                <a:cubicBezTo>
                  <a:pt x="3632068" y="778364"/>
                  <a:pt x="3635623" y="780421"/>
                  <a:pt x="3638428" y="783599"/>
                </a:cubicBezTo>
                <a:cubicBezTo>
                  <a:pt x="3642357" y="787711"/>
                  <a:pt x="3645723" y="792010"/>
                  <a:pt x="3649463" y="796310"/>
                </a:cubicBezTo>
                <a:cubicBezTo>
                  <a:pt x="3650586" y="797432"/>
                  <a:pt x="3650022" y="798181"/>
                  <a:pt x="3649275" y="799115"/>
                </a:cubicBezTo>
                <a:cubicBezTo>
                  <a:pt x="3645909" y="803227"/>
                  <a:pt x="3645909" y="803227"/>
                  <a:pt x="3650022" y="806032"/>
                </a:cubicBezTo>
                <a:cubicBezTo>
                  <a:pt x="3653763" y="808836"/>
                  <a:pt x="3653952" y="810705"/>
                  <a:pt x="3650586" y="814258"/>
                </a:cubicBezTo>
                <a:cubicBezTo>
                  <a:pt x="3649089" y="815753"/>
                  <a:pt x="3647594" y="817436"/>
                  <a:pt x="3648153" y="820053"/>
                </a:cubicBezTo>
                <a:cubicBezTo>
                  <a:pt x="3649836" y="826597"/>
                  <a:pt x="3647404" y="832017"/>
                  <a:pt x="3643105" y="836879"/>
                </a:cubicBezTo>
                <a:cubicBezTo>
                  <a:pt x="3640298" y="840056"/>
                  <a:pt x="3636931" y="843048"/>
                  <a:pt x="3634874" y="846786"/>
                </a:cubicBezTo>
                <a:cubicBezTo>
                  <a:pt x="3634499" y="847534"/>
                  <a:pt x="3633940" y="848282"/>
                  <a:pt x="3633005" y="848095"/>
                </a:cubicBezTo>
                <a:cubicBezTo>
                  <a:pt x="3628329" y="846600"/>
                  <a:pt x="3625897" y="849591"/>
                  <a:pt x="3623278" y="852581"/>
                </a:cubicBezTo>
                <a:cubicBezTo>
                  <a:pt x="3622530" y="853516"/>
                  <a:pt x="3621595" y="854638"/>
                  <a:pt x="3619910" y="854264"/>
                </a:cubicBezTo>
                <a:cubicBezTo>
                  <a:pt x="3615237" y="853143"/>
                  <a:pt x="3610373" y="853704"/>
                  <a:pt x="3605697" y="853329"/>
                </a:cubicBezTo>
                <a:cubicBezTo>
                  <a:pt x="3601769" y="853142"/>
                  <a:pt x="3597842" y="852768"/>
                  <a:pt x="3594288" y="850339"/>
                </a:cubicBezTo>
                <a:cubicBezTo>
                  <a:pt x="3592791" y="849216"/>
                  <a:pt x="3591669" y="849591"/>
                  <a:pt x="3590547" y="850900"/>
                </a:cubicBezTo>
                <a:cubicBezTo>
                  <a:pt x="3589987" y="851834"/>
                  <a:pt x="3589424" y="852582"/>
                  <a:pt x="3588678" y="853329"/>
                </a:cubicBezTo>
                <a:cubicBezTo>
                  <a:pt x="3587931" y="854077"/>
                  <a:pt x="3586620" y="854825"/>
                  <a:pt x="3585684" y="854077"/>
                </a:cubicBezTo>
                <a:cubicBezTo>
                  <a:pt x="3584560" y="853329"/>
                  <a:pt x="3584938" y="851834"/>
                  <a:pt x="3585498" y="850713"/>
                </a:cubicBezTo>
                <a:cubicBezTo>
                  <a:pt x="3585684" y="850151"/>
                  <a:pt x="3586059" y="849777"/>
                  <a:pt x="3586433" y="849217"/>
                </a:cubicBezTo>
                <a:cubicBezTo>
                  <a:pt x="3589424" y="844917"/>
                  <a:pt x="3588304" y="842112"/>
                  <a:pt x="3583254" y="841552"/>
                </a:cubicBezTo>
                <a:cubicBezTo>
                  <a:pt x="3582317" y="841365"/>
                  <a:pt x="3581384" y="841365"/>
                  <a:pt x="3580635" y="841178"/>
                </a:cubicBezTo>
                <a:cubicBezTo>
                  <a:pt x="3579326" y="840805"/>
                  <a:pt x="3577831" y="841178"/>
                  <a:pt x="3577457" y="839121"/>
                </a:cubicBezTo>
                <a:cubicBezTo>
                  <a:pt x="3577080" y="837627"/>
                  <a:pt x="3577832" y="836879"/>
                  <a:pt x="3578952" y="836130"/>
                </a:cubicBezTo>
                <a:cubicBezTo>
                  <a:pt x="3581007" y="834635"/>
                  <a:pt x="3580823" y="833326"/>
                  <a:pt x="3578764" y="831644"/>
                </a:cubicBezTo>
                <a:cubicBezTo>
                  <a:pt x="3576145" y="829587"/>
                  <a:pt x="3573712" y="826970"/>
                  <a:pt x="3573902" y="823231"/>
                </a:cubicBezTo>
                <a:cubicBezTo>
                  <a:pt x="3574089" y="820240"/>
                  <a:pt x="3573340" y="818745"/>
                  <a:pt x="3569974" y="819493"/>
                </a:cubicBezTo>
                <a:cubicBezTo>
                  <a:pt x="3569225" y="819679"/>
                  <a:pt x="3568291" y="819492"/>
                  <a:pt x="3567918" y="818371"/>
                </a:cubicBezTo>
                <a:cubicBezTo>
                  <a:pt x="3567541" y="817436"/>
                  <a:pt x="3568476" y="816875"/>
                  <a:pt x="3569038" y="816314"/>
                </a:cubicBezTo>
                <a:cubicBezTo>
                  <a:pt x="3570348" y="815005"/>
                  <a:pt x="3571844" y="813697"/>
                  <a:pt x="3572777" y="812201"/>
                </a:cubicBezTo>
                <a:cubicBezTo>
                  <a:pt x="3575771" y="808275"/>
                  <a:pt x="3575585" y="806032"/>
                  <a:pt x="3572777" y="801920"/>
                </a:cubicBezTo>
                <a:cubicBezTo>
                  <a:pt x="3570534" y="798741"/>
                  <a:pt x="3568851" y="795376"/>
                  <a:pt x="3568663" y="791263"/>
                </a:cubicBezTo>
                <a:cubicBezTo>
                  <a:pt x="3568477" y="788272"/>
                  <a:pt x="3569973" y="787898"/>
                  <a:pt x="3572404" y="788833"/>
                </a:cubicBezTo>
                <a:cubicBezTo>
                  <a:pt x="3574090" y="789394"/>
                  <a:pt x="3575025" y="791077"/>
                  <a:pt x="3576332" y="792011"/>
                </a:cubicBezTo>
                <a:cubicBezTo>
                  <a:pt x="3577832" y="793133"/>
                  <a:pt x="3579885" y="794629"/>
                  <a:pt x="3581384" y="793133"/>
                </a:cubicBezTo>
                <a:cubicBezTo>
                  <a:pt x="3583067" y="791263"/>
                  <a:pt x="3582131" y="789020"/>
                  <a:pt x="3580448" y="787337"/>
                </a:cubicBezTo>
                <a:cubicBezTo>
                  <a:pt x="3579698" y="786590"/>
                  <a:pt x="3578577" y="785841"/>
                  <a:pt x="3577831" y="784907"/>
                </a:cubicBezTo>
                <a:cubicBezTo>
                  <a:pt x="3576895" y="783972"/>
                  <a:pt x="3576145" y="782851"/>
                  <a:pt x="3577267" y="781542"/>
                </a:cubicBezTo>
                <a:cubicBezTo>
                  <a:pt x="3578204" y="780420"/>
                  <a:pt x="3579326" y="780981"/>
                  <a:pt x="3580447" y="781916"/>
                </a:cubicBezTo>
                <a:cubicBezTo>
                  <a:pt x="3581570" y="782664"/>
                  <a:pt x="3582692" y="783599"/>
                  <a:pt x="3583814" y="784160"/>
                </a:cubicBezTo>
                <a:cubicBezTo>
                  <a:pt x="3585498" y="785281"/>
                  <a:pt x="3587368" y="784720"/>
                  <a:pt x="3588678" y="783598"/>
                </a:cubicBezTo>
                <a:cubicBezTo>
                  <a:pt x="3589987" y="782477"/>
                  <a:pt x="3589237" y="780794"/>
                  <a:pt x="3588678" y="779486"/>
                </a:cubicBezTo>
                <a:cubicBezTo>
                  <a:pt x="3585872" y="772942"/>
                  <a:pt x="3576521" y="770138"/>
                  <a:pt x="3570159" y="774064"/>
                </a:cubicBezTo>
                <a:cubicBezTo>
                  <a:pt x="3567168" y="775933"/>
                  <a:pt x="3566046" y="775373"/>
                  <a:pt x="3565672" y="772382"/>
                </a:cubicBezTo>
                <a:cubicBezTo>
                  <a:pt x="3565111" y="767522"/>
                  <a:pt x="3562867" y="764343"/>
                  <a:pt x="3558005" y="762660"/>
                </a:cubicBezTo>
                <a:cubicBezTo>
                  <a:pt x="3556695" y="762287"/>
                  <a:pt x="3554637" y="761352"/>
                  <a:pt x="3555199" y="759296"/>
                </a:cubicBezTo>
                <a:cubicBezTo>
                  <a:pt x="3556322" y="754622"/>
                  <a:pt x="3554454" y="750695"/>
                  <a:pt x="3552019" y="746957"/>
                </a:cubicBezTo>
                <a:cubicBezTo>
                  <a:pt x="3550150" y="744152"/>
                  <a:pt x="3549588" y="741535"/>
                  <a:pt x="3551646" y="738171"/>
                </a:cubicBezTo>
                <a:cubicBezTo>
                  <a:pt x="3553890" y="734619"/>
                  <a:pt x="3552581" y="732562"/>
                  <a:pt x="3548093" y="731814"/>
                </a:cubicBezTo>
                <a:cubicBezTo>
                  <a:pt x="3547904" y="731814"/>
                  <a:pt x="3547718" y="731814"/>
                  <a:pt x="3547529" y="731814"/>
                </a:cubicBezTo>
                <a:cubicBezTo>
                  <a:pt x="3545845" y="731628"/>
                  <a:pt x="3544164" y="731254"/>
                  <a:pt x="3543976" y="729571"/>
                </a:cubicBezTo>
                <a:cubicBezTo>
                  <a:pt x="3543603" y="727889"/>
                  <a:pt x="3545661" y="728076"/>
                  <a:pt x="3546596" y="727515"/>
                </a:cubicBezTo>
                <a:cubicBezTo>
                  <a:pt x="3552581" y="724523"/>
                  <a:pt x="3555013" y="719850"/>
                  <a:pt x="3553891" y="713120"/>
                </a:cubicBezTo>
                <a:cubicBezTo>
                  <a:pt x="3553516" y="710876"/>
                  <a:pt x="3554264" y="709567"/>
                  <a:pt x="3556133" y="708634"/>
                </a:cubicBezTo>
                <a:cubicBezTo>
                  <a:pt x="3557258" y="708073"/>
                  <a:pt x="3558378" y="707698"/>
                  <a:pt x="3559502" y="707137"/>
                </a:cubicBezTo>
                <a:cubicBezTo>
                  <a:pt x="3560997" y="706389"/>
                  <a:pt x="3561557" y="705268"/>
                  <a:pt x="3561183" y="703585"/>
                </a:cubicBezTo>
                <a:lnTo>
                  <a:pt x="3560347" y="702398"/>
                </a:lnTo>
                <a:lnTo>
                  <a:pt x="3574963" y="687859"/>
                </a:lnTo>
                <a:lnTo>
                  <a:pt x="3574649" y="690686"/>
                </a:lnTo>
                <a:cubicBezTo>
                  <a:pt x="3574275" y="692181"/>
                  <a:pt x="3574275" y="692930"/>
                  <a:pt x="3575959" y="693864"/>
                </a:cubicBezTo>
                <a:cubicBezTo>
                  <a:pt x="3577832" y="694612"/>
                  <a:pt x="3578577" y="693677"/>
                  <a:pt x="3579326" y="692555"/>
                </a:cubicBezTo>
                <a:cubicBezTo>
                  <a:pt x="3579885" y="691807"/>
                  <a:pt x="3580073" y="691060"/>
                  <a:pt x="3580447" y="690125"/>
                </a:cubicBezTo>
                <a:cubicBezTo>
                  <a:pt x="3582131" y="686200"/>
                  <a:pt x="3583254" y="686013"/>
                  <a:pt x="3586059" y="689191"/>
                </a:cubicBezTo>
                <a:cubicBezTo>
                  <a:pt x="3586619" y="689938"/>
                  <a:pt x="3587369" y="690873"/>
                  <a:pt x="3588490" y="690873"/>
                </a:cubicBezTo>
                <a:cubicBezTo>
                  <a:pt x="3589801" y="690686"/>
                  <a:pt x="3589801" y="689191"/>
                  <a:pt x="3590174" y="688256"/>
                </a:cubicBezTo>
                <a:cubicBezTo>
                  <a:pt x="3590546" y="687508"/>
                  <a:pt x="3590736" y="686760"/>
                  <a:pt x="3590735" y="686013"/>
                </a:cubicBezTo>
                <a:cubicBezTo>
                  <a:pt x="3591013" y="684423"/>
                  <a:pt x="3591624" y="683676"/>
                  <a:pt x="3592418" y="683513"/>
                </a:cubicBezTo>
                <a:close/>
                <a:moveTo>
                  <a:pt x="7716079" y="672480"/>
                </a:moveTo>
                <a:lnTo>
                  <a:pt x="7716275" y="672675"/>
                </a:lnTo>
                <a:lnTo>
                  <a:pt x="7715910" y="672762"/>
                </a:lnTo>
                <a:close/>
                <a:moveTo>
                  <a:pt x="668614" y="671171"/>
                </a:moveTo>
                <a:cubicBezTo>
                  <a:pt x="675720" y="676953"/>
                  <a:pt x="686113" y="669856"/>
                  <a:pt x="692305" y="678890"/>
                </a:cubicBezTo>
                <a:cubicBezTo>
                  <a:pt x="694111" y="681576"/>
                  <a:pt x="699955" y="681551"/>
                  <a:pt x="696617" y="687350"/>
                </a:cubicBezTo>
                <a:cubicBezTo>
                  <a:pt x="695538" y="688993"/>
                  <a:pt x="696709" y="691074"/>
                  <a:pt x="698322" y="690908"/>
                </a:cubicBezTo>
                <a:cubicBezTo>
                  <a:pt x="705037" y="690986"/>
                  <a:pt x="705868" y="694443"/>
                  <a:pt x="703774" y="700210"/>
                </a:cubicBezTo>
                <a:cubicBezTo>
                  <a:pt x="703199" y="702087"/>
                  <a:pt x="705344" y="703399"/>
                  <a:pt x="706618" y="704609"/>
                </a:cubicBezTo>
                <a:cubicBezTo>
                  <a:pt x="708897" y="706290"/>
                  <a:pt x="710068" y="708371"/>
                  <a:pt x="708517" y="711019"/>
                </a:cubicBezTo>
                <a:cubicBezTo>
                  <a:pt x="706966" y="713667"/>
                  <a:pt x="708136" y="715748"/>
                  <a:pt x="708198" y="718231"/>
                </a:cubicBezTo>
                <a:cubicBezTo>
                  <a:pt x="708351" y="724438"/>
                  <a:pt x="708669" y="732256"/>
                  <a:pt x="705537" y="736310"/>
                </a:cubicBezTo>
                <a:cubicBezTo>
                  <a:pt x="698667" y="745056"/>
                  <a:pt x="692298" y="754037"/>
                  <a:pt x="685294" y="762413"/>
                </a:cubicBezTo>
                <a:cubicBezTo>
                  <a:pt x="684555" y="762680"/>
                  <a:pt x="683076" y="763215"/>
                  <a:pt x="682439" y="762610"/>
                </a:cubicBezTo>
                <a:cubicBezTo>
                  <a:pt x="677541" y="760623"/>
                  <a:pt x="673147" y="758873"/>
                  <a:pt x="670076" y="765410"/>
                </a:cubicBezTo>
                <a:cubicBezTo>
                  <a:pt x="669264" y="767790"/>
                  <a:pt x="667488" y="766345"/>
                  <a:pt x="666584" y="765002"/>
                </a:cubicBezTo>
                <a:cubicBezTo>
                  <a:pt x="663206" y="759126"/>
                  <a:pt x="660249" y="760195"/>
                  <a:pt x="657147" y="765491"/>
                </a:cubicBezTo>
                <a:cubicBezTo>
                  <a:pt x="655124" y="769145"/>
                  <a:pt x="653378" y="768940"/>
                  <a:pt x="652043" y="765249"/>
                </a:cubicBezTo>
                <a:cubicBezTo>
                  <a:pt x="651243" y="763033"/>
                  <a:pt x="651048" y="760182"/>
                  <a:pt x="647587" y="761014"/>
                </a:cubicBezTo>
                <a:cubicBezTo>
                  <a:pt x="639659" y="762210"/>
                  <a:pt x="634833" y="758110"/>
                  <a:pt x="632800" y="751330"/>
                </a:cubicBezTo>
                <a:cubicBezTo>
                  <a:pt x="631435" y="746397"/>
                  <a:pt x="629154" y="744716"/>
                  <a:pt x="625160" y="744073"/>
                </a:cubicBezTo>
                <a:cubicBezTo>
                  <a:pt x="624627" y="742596"/>
                  <a:pt x="624093" y="741119"/>
                  <a:pt x="623559" y="739643"/>
                </a:cubicBezTo>
                <a:cubicBezTo>
                  <a:pt x="626454" y="736090"/>
                  <a:pt x="626095" y="731628"/>
                  <a:pt x="623652" y="728337"/>
                </a:cubicBezTo>
                <a:cubicBezTo>
                  <a:pt x="619401" y="722359"/>
                  <a:pt x="619751" y="716388"/>
                  <a:pt x="622955" y="710220"/>
                </a:cubicBezTo>
                <a:cubicBezTo>
                  <a:pt x="624137" y="707706"/>
                  <a:pt x="625452" y="705560"/>
                  <a:pt x="625256" y="702709"/>
                </a:cubicBezTo>
                <a:cubicBezTo>
                  <a:pt x="624527" y="698380"/>
                  <a:pt x="625944" y="695363"/>
                  <a:pt x="630145" y="694262"/>
                </a:cubicBezTo>
                <a:cubicBezTo>
                  <a:pt x="633103" y="693193"/>
                  <a:pt x="634654" y="690544"/>
                  <a:pt x="635229" y="688667"/>
                </a:cubicBezTo>
                <a:cubicBezTo>
                  <a:pt x="638310" y="677534"/>
                  <a:pt x="649287" y="678993"/>
                  <a:pt x="656651" y="675079"/>
                </a:cubicBezTo>
                <a:cubicBezTo>
                  <a:pt x="659845" y="673507"/>
                  <a:pt x="666201" y="669121"/>
                  <a:pt x="668614" y="671171"/>
                </a:cubicBezTo>
                <a:close/>
                <a:moveTo>
                  <a:pt x="2516971" y="670081"/>
                </a:moveTo>
                <a:cubicBezTo>
                  <a:pt x="2522864" y="673513"/>
                  <a:pt x="2528508" y="677436"/>
                  <a:pt x="2534400" y="681114"/>
                </a:cubicBezTo>
                <a:cubicBezTo>
                  <a:pt x="2537099" y="682829"/>
                  <a:pt x="2538575" y="687488"/>
                  <a:pt x="2539798" y="691165"/>
                </a:cubicBezTo>
                <a:cubicBezTo>
                  <a:pt x="2540290" y="692637"/>
                  <a:pt x="2540049" y="694107"/>
                  <a:pt x="2541519" y="695333"/>
                </a:cubicBezTo>
                <a:cubicBezTo>
                  <a:pt x="2542990" y="696559"/>
                  <a:pt x="2542748" y="698030"/>
                  <a:pt x="2541765" y="699501"/>
                </a:cubicBezTo>
                <a:cubicBezTo>
                  <a:pt x="2541274" y="700482"/>
                  <a:pt x="2540290" y="701708"/>
                  <a:pt x="2541030" y="702688"/>
                </a:cubicBezTo>
                <a:cubicBezTo>
                  <a:pt x="2543481" y="705630"/>
                  <a:pt x="2543731" y="707837"/>
                  <a:pt x="2539799" y="709308"/>
                </a:cubicBezTo>
                <a:cubicBezTo>
                  <a:pt x="2538817" y="709553"/>
                  <a:pt x="2538574" y="711024"/>
                  <a:pt x="2539557" y="711759"/>
                </a:cubicBezTo>
                <a:cubicBezTo>
                  <a:pt x="2542749" y="714456"/>
                  <a:pt x="2539307" y="715682"/>
                  <a:pt x="2538817" y="717643"/>
                </a:cubicBezTo>
                <a:cubicBezTo>
                  <a:pt x="2537099" y="724263"/>
                  <a:pt x="2529491" y="722301"/>
                  <a:pt x="2526545" y="727205"/>
                </a:cubicBezTo>
                <a:cubicBezTo>
                  <a:pt x="2525564" y="728921"/>
                  <a:pt x="2520899" y="727695"/>
                  <a:pt x="2518689" y="727450"/>
                </a:cubicBezTo>
                <a:cubicBezTo>
                  <a:pt x="2513534" y="726714"/>
                  <a:pt x="2507398" y="729901"/>
                  <a:pt x="2503225" y="724017"/>
                </a:cubicBezTo>
                <a:cubicBezTo>
                  <a:pt x="2502488" y="723037"/>
                  <a:pt x="2501014" y="721811"/>
                  <a:pt x="2499049" y="721811"/>
                </a:cubicBezTo>
                <a:cubicBezTo>
                  <a:pt x="2496349" y="722056"/>
                  <a:pt x="2494878" y="720585"/>
                  <a:pt x="2494388" y="717889"/>
                </a:cubicBezTo>
                <a:cubicBezTo>
                  <a:pt x="2493896" y="716172"/>
                  <a:pt x="2492668" y="715191"/>
                  <a:pt x="2491439" y="713966"/>
                </a:cubicBezTo>
                <a:cubicBezTo>
                  <a:pt x="2488248" y="711024"/>
                  <a:pt x="2486777" y="707591"/>
                  <a:pt x="2488004" y="703178"/>
                </a:cubicBezTo>
                <a:cubicBezTo>
                  <a:pt x="2488741" y="700726"/>
                  <a:pt x="2488005" y="698030"/>
                  <a:pt x="2485550" y="696559"/>
                </a:cubicBezTo>
                <a:cubicBezTo>
                  <a:pt x="2485550" y="695578"/>
                  <a:pt x="2485550" y="694598"/>
                  <a:pt x="2485550" y="693616"/>
                </a:cubicBezTo>
                <a:cubicBezTo>
                  <a:pt x="2487758" y="692391"/>
                  <a:pt x="2488741" y="690920"/>
                  <a:pt x="2488496" y="687733"/>
                </a:cubicBezTo>
                <a:cubicBezTo>
                  <a:pt x="2488249" y="683320"/>
                  <a:pt x="2490215" y="679888"/>
                  <a:pt x="2495123" y="678907"/>
                </a:cubicBezTo>
                <a:cubicBezTo>
                  <a:pt x="2497332" y="678662"/>
                  <a:pt x="2496840" y="676945"/>
                  <a:pt x="2496840" y="675475"/>
                </a:cubicBezTo>
                <a:cubicBezTo>
                  <a:pt x="2496840" y="673023"/>
                  <a:pt x="2497823" y="672532"/>
                  <a:pt x="2499786" y="674249"/>
                </a:cubicBezTo>
                <a:cubicBezTo>
                  <a:pt x="2502733" y="676701"/>
                  <a:pt x="2504696" y="676701"/>
                  <a:pt x="2505432" y="672533"/>
                </a:cubicBezTo>
                <a:cubicBezTo>
                  <a:pt x="2505680" y="671552"/>
                  <a:pt x="2506414" y="670326"/>
                  <a:pt x="2507397" y="671552"/>
                </a:cubicBezTo>
                <a:cubicBezTo>
                  <a:pt x="2510587" y="674739"/>
                  <a:pt x="2512799" y="672778"/>
                  <a:pt x="2515253" y="670571"/>
                </a:cubicBezTo>
                <a:cubicBezTo>
                  <a:pt x="2515499" y="670081"/>
                  <a:pt x="2516480" y="670081"/>
                  <a:pt x="2516971" y="670081"/>
                </a:cubicBezTo>
                <a:close/>
                <a:moveTo>
                  <a:pt x="9478155" y="666068"/>
                </a:moveTo>
                <a:cubicBezTo>
                  <a:pt x="9480738" y="666097"/>
                  <a:pt x="9483205" y="666743"/>
                  <a:pt x="9485201" y="669558"/>
                </a:cubicBezTo>
                <a:cubicBezTo>
                  <a:pt x="9485906" y="670496"/>
                  <a:pt x="9487315" y="671669"/>
                  <a:pt x="9489195" y="671669"/>
                </a:cubicBezTo>
                <a:cubicBezTo>
                  <a:pt x="9491778" y="671434"/>
                  <a:pt x="9493188" y="672842"/>
                  <a:pt x="9493657" y="675422"/>
                </a:cubicBezTo>
                <a:cubicBezTo>
                  <a:pt x="9494128" y="677065"/>
                  <a:pt x="9495301" y="678003"/>
                  <a:pt x="9496476" y="679175"/>
                </a:cubicBezTo>
                <a:cubicBezTo>
                  <a:pt x="9499530" y="681991"/>
                  <a:pt x="9500939" y="685275"/>
                  <a:pt x="9499765" y="689498"/>
                </a:cubicBezTo>
                <a:cubicBezTo>
                  <a:pt x="9499059" y="691844"/>
                  <a:pt x="9499765" y="694424"/>
                  <a:pt x="9502113" y="695831"/>
                </a:cubicBezTo>
                <a:cubicBezTo>
                  <a:pt x="9502114" y="696770"/>
                  <a:pt x="9502113" y="697709"/>
                  <a:pt x="9502113" y="698647"/>
                </a:cubicBezTo>
                <a:cubicBezTo>
                  <a:pt x="9499999" y="699819"/>
                  <a:pt x="9499059" y="701227"/>
                  <a:pt x="9499295" y="704277"/>
                </a:cubicBezTo>
                <a:cubicBezTo>
                  <a:pt x="9499529" y="708499"/>
                  <a:pt x="9497650" y="711784"/>
                  <a:pt x="9492952" y="712722"/>
                </a:cubicBezTo>
                <a:cubicBezTo>
                  <a:pt x="9490838" y="712957"/>
                  <a:pt x="9491308" y="714599"/>
                  <a:pt x="9491309" y="716006"/>
                </a:cubicBezTo>
                <a:cubicBezTo>
                  <a:pt x="9491308" y="718353"/>
                  <a:pt x="9490368" y="718821"/>
                  <a:pt x="9488490" y="717180"/>
                </a:cubicBezTo>
                <a:cubicBezTo>
                  <a:pt x="9485671" y="714834"/>
                  <a:pt x="9483792" y="714833"/>
                  <a:pt x="9483087" y="718821"/>
                </a:cubicBezTo>
                <a:cubicBezTo>
                  <a:pt x="9482852" y="719760"/>
                  <a:pt x="9482147" y="720933"/>
                  <a:pt x="9481208" y="719760"/>
                </a:cubicBezTo>
                <a:cubicBezTo>
                  <a:pt x="9478155" y="716710"/>
                  <a:pt x="9476040" y="718587"/>
                  <a:pt x="9473691" y="720698"/>
                </a:cubicBezTo>
                <a:cubicBezTo>
                  <a:pt x="9473456" y="721167"/>
                  <a:pt x="9472517" y="721168"/>
                  <a:pt x="9472047" y="721167"/>
                </a:cubicBezTo>
                <a:cubicBezTo>
                  <a:pt x="9466410" y="717883"/>
                  <a:pt x="9461007" y="714130"/>
                  <a:pt x="9455370" y="710611"/>
                </a:cubicBezTo>
                <a:cubicBezTo>
                  <a:pt x="9452786" y="708968"/>
                  <a:pt x="9451377" y="704512"/>
                  <a:pt x="9450202" y="700992"/>
                </a:cubicBezTo>
                <a:cubicBezTo>
                  <a:pt x="9449732" y="699585"/>
                  <a:pt x="9449967" y="698178"/>
                  <a:pt x="9448558" y="697005"/>
                </a:cubicBezTo>
                <a:cubicBezTo>
                  <a:pt x="9447149" y="695832"/>
                  <a:pt x="9447384" y="694425"/>
                  <a:pt x="9448323" y="693016"/>
                </a:cubicBezTo>
                <a:cubicBezTo>
                  <a:pt x="9448793" y="692078"/>
                  <a:pt x="9449732" y="690906"/>
                  <a:pt x="9449028" y="689967"/>
                </a:cubicBezTo>
                <a:cubicBezTo>
                  <a:pt x="9446680" y="687152"/>
                  <a:pt x="9446444" y="685041"/>
                  <a:pt x="9450202" y="683633"/>
                </a:cubicBezTo>
                <a:cubicBezTo>
                  <a:pt x="9451142" y="683398"/>
                  <a:pt x="9451377" y="681991"/>
                  <a:pt x="9450437" y="681287"/>
                </a:cubicBezTo>
                <a:cubicBezTo>
                  <a:pt x="9447385" y="678706"/>
                  <a:pt x="9450672" y="677533"/>
                  <a:pt x="9451142" y="675657"/>
                </a:cubicBezTo>
                <a:cubicBezTo>
                  <a:pt x="9452786" y="669323"/>
                  <a:pt x="9460068" y="671200"/>
                  <a:pt x="9462886" y="666508"/>
                </a:cubicBezTo>
                <a:cubicBezTo>
                  <a:pt x="9463826" y="664866"/>
                  <a:pt x="9468289" y="666039"/>
                  <a:pt x="9470403" y="666273"/>
                </a:cubicBezTo>
                <a:cubicBezTo>
                  <a:pt x="9472869" y="666625"/>
                  <a:pt x="9475571" y="666039"/>
                  <a:pt x="9478155" y="666068"/>
                </a:cubicBezTo>
                <a:close/>
                <a:moveTo>
                  <a:pt x="9127415" y="645450"/>
                </a:moveTo>
                <a:cubicBezTo>
                  <a:pt x="9130277" y="646083"/>
                  <a:pt x="9132822" y="646717"/>
                  <a:pt x="9135684" y="646716"/>
                </a:cubicBezTo>
                <a:cubicBezTo>
                  <a:pt x="9138546" y="646717"/>
                  <a:pt x="9141408" y="648616"/>
                  <a:pt x="9142681" y="651149"/>
                </a:cubicBezTo>
                <a:cubicBezTo>
                  <a:pt x="9143636" y="653366"/>
                  <a:pt x="9144589" y="654632"/>
                  <a:pt x="9146497" y="655582"/>
                </a:cubicBezTo>
                <a:cubicBezTo>
                  <a:pt x="9146498" y="659381"/>
                  <a:pt x="9146497" y="663181"/>
                  <a:pt x="9146497" y="666980"/>
                </a:cubicBezTo>
                <a:cubicBezTo>
                  <a:pt x="9143318" y="668562"/>
                  <a:pt x="9140773" y="671095"/>
                  <a:pt x="9139500" y="673945"/>
                </a:cubicBezTo>
                <a:cubicBezTo>
                  <a:pt x="9137911" y="676478"/>
                  <a:pt x="9136639" y="679328"/>
                  <a:pt x="9135049" y="682177"/>
                </a:cubicBezTo>
                <a:cubicBezTo>
                  <a:pt x="9133458" y="684709"/>
                  <a:pt x="9131867" y="687559"/>
                  <a:pt x="9131549" y="690726"/>
                </a:cubicBezTo>
                <a:cubicBezTo>
                  <a:pt x="9130913" y="693574"/>
                  <a:pt x="9129005" y="694841"/>
                  <a:pt x="9126779" y="696425"/>
                </a:cubicBezTo>
                <a:cubicBezTo>
                  <a:pt x="9124553" y="698007"/>
                  <a:pt x="9121372" y="697691"/>
                  <a:pt x="9119782" y="699907"/>
                </a:cubicBezTo>
                <a:cubicBezTo>
                  <a:pt x="9117557" y="699907"/>
                  <a:pt x="9115649" y="699907"/>
                  <a:pt x="9113421" y="699907"/>
                </a:cubicBezTo>
                <a:cubicBezTo>
                  <a:pt x="9113421" y="698957"/>
                  <a:pt x="9113104" y="698641"/>
                  <a:pt x="9112468" y="698640"/>
                </a:cubicBezTo>
                <a:cubicBezTo>
                  <a:pt x="9107697" y="698640"/>
                  <a:pt x="9105154" y="695474"/>
                  <a:pt x="9103562" y="691675"/>
                </a:cubicBezTo>
                <a:cubicBezTo>
                  <a:pt x="9101973" y="688193"/>
                  <a:pt x="9100064" y="685026"/>
                  <a:pt x="9100700" y="680910"/>
                </a:cubicBezTo>
                <a:cubicBezTo>
                  <a:pt x="9101654" y="676478"/>
                  <a:pt x="9101337" y="671729"/>
                  <a:pt x="9105153" y="668246"/>
                </a:cubicBezTo>
                <a:cubicBezTo>
                  <a:pt x="9106426" y="666979"/>
                  <a:pt x="9107698" y="666030"/>
                  <a:pt x="9109923" y="665396"/>
                </a:cubicBezTo>
                <a:cubicBezTo>
                  <a:pt x="9113103" y="664447"/>
                  <a:pt x="9116921" y="662864"/>
                  <a:pt x="9115966" y="657798"/>
                </a:cubicBezTo>
                <a:cubicBezTo>
                  <a:pt x="9115648" y="655898"/>
                  <a:pt x="9117557" y="655265"/>
                  <a:pt x="9117874" y="654315"/>
                </a:cubicBezTo>
                <a:cubicBezTo>
                  <a:pt x="9119464" y="649250"/>
                  <a:pt x="9123281" y="647033"/>
                  <a:pt x="9127415" y="645450"/>
                </a:cubicBezTo>
                <a:close/>
                <a:moveTo>
                  <a:pt x="8561999" y="633526"/>
                </a:moveTo>
                <a:cubicBezTo>
                  <a:pt x="8567891" y="636958"/>
                  <a:pt x="8573536" y="640880"/>
                  <a:pt x="8579428" y="644558"/>
                </a:cubicBezTo>
                <a:cubicBezTo>
                  <a:pt x="8582128" y="646274"/>
                  <a:pt x="8583602" y="650933"/>
                  <a:pt x="8584828" y="654610"/>
                </a:cubicBezTo>
                <a:cubicBezTo>
                  <a:pt x="8585319" y="656081"/>
                  <a:pt x="8585074" y="657552"/>
                  <a:pt x="8586547" y="658778"/>
                </a:cubicBezTo>
                <a:cubicBezTo>
                  <a:pt x="8588020" y="660004"/>
                  <a:pt x="8587775" y="661474"/>
                  <a:pt x="8586792" y="662945"/>
                </a:cubicBezTo>
                <a:cubicBezTo>
                  <a:pt x="8586301" y="663927"/>
                  <a:pt x="8585319" y="665152"/>
                  <a:pt x="8586056" y="666133"/>
                </a:cubicBezTo>
                <a:cubicBezTo>
                  <a:pt x="8588511" y="669075"/>
                  <a:pt x="8588757" y="671282"/>
                  <a:pt x="8584828" y="672753"/>
                </a:cubicBezTo>
                <a:cubicBezTo>
                  <a:pt x="8583846" y="672997"/>
                  <a:pt x="8583601" y="674469"/>
                  <a:pt x="8584583" y="675204"/>
                </a:cubicBezTo>
                <a:cubicBezTo>
                  <a:pt x="8587775" y="677901"/>
                  <a:pt x="8584337" y="679127"/>
                  <a:pt x="8583846" y="681088"/>
                </a:cubicBezTo>
                <a:cubicBezTo>
                  <a:pt x="8582129" y="687707"/>
                  <a:pt x="8574518" y="685747"/>
                  <a:pt x="8571573" y="690650"/>
                </a:cubicBezTo>
                <a:cubicBezTo>
                  <a:pt x="8570591" y="692365"/>
                  <a:pt x="8565927" y="691140"/>
                  <a:pt x="8563718" y="690894"/>
                </a:cubicBezTo>
                <a:cubicBezTo>
                  <a:pt x="8558562" y="690160"/>
                  <a:pt x="8552426" y="693346"/>
                  <a:pt x="8548252" y="687463"/>
                </a:cubicBezTo>
                <a:cubicBezTo>
                  <a:pt x="8547516" y="686482"/>
                  <a:pt x="8546042" y="685256"/>
                  <a:pt x="8544078" y="685256"/>
                </a:cubicBezTo>
                <a:cubicBezTo>
                  <a:pt x="8541378" y="685501"/>
                  <a:pt x="8539905" y="684029"/>
                  <a:pt x="8539414" y="681333"/>
                </a:cubicBezTo>
                <a:cubicBezTo>
                  <a:pt x="8538923" y="679617"/>
                  <a:pt x="8537697" y="678636"/>
                  <a:pt x="8536469" y="677411"/>
                </a:cubicBezTo>
                <a:cubicBezTo>
                  <a:pt x="8533278" y="674469"/>
                  <a:pt x="8531805" y="671036"/>
                  <a:pt x="8533032" y="666624"/>
                </a:cubicBezTo>
                <a:cubicBezTo>
                  <a:pt x="8533769" y="664172"/>
                  <a:pt x="8533033" y="661475"/>
                  <a:pt x="8530577" y="660003"/>
                </a:cubicBezTo>
                <a:cubicBezTo>
                  <a:pt x="8530577" y="659024"/>
                  <a:pt x="8530577" y="658042"/>
                  <a:pt x="8530577" y="657062"/>
                </a:cubicBezTo>
                <a:cubicBezTo>
                  <a:pt x="8532787" y="655836"/>
                  <a:pt x="8533768" y="654365"/>
                  <a:pt x="8533524" y="651178"/>
                </a:cubicBezTo>
                <a:cubicBezTo>
                  <a:pt x="8533277" y="646765"/>
                  <a:pt x="8535241" y="643333"/>
                  <a:pt x="8540151" y="642352"/>
                </a:cubicBezTo>
                <a:cubicBezTo>
                  <a:pt x="8542360" y="642107"/>
                  <a:pt x="8541869" y="640391"/>
                  <a:pt x="8541869" y="638920"/>
                </a:cubicBezTo>
                <a:cubicBezTo>
                  <a:pt x="8541869" y="636468"/>
                  <a:pt x="8542851" y="635978"/>
                  <a:pt x="8544815" y="637694"/>
                </a:cubicBezTo>
                <a:cubicBezTo>
                  <a:pt x="8547762" y="640145"/>
                  <a:pt x="8549725" y="640145"/>
                  <a:pt x="8550462" y="635977"/>
                </a:cubicBezTo>
                <a:cubicBezTo>
                  <a:pt x="8550706" y="634997"/>
                  <a:pt x="8551444" y="633772"/>
                  <a:pt x="8552425" y="634997"/>
                </a:cubicBezTo>
                <a:cubicBezTo>
                  <a:pt x="8555616" y="638184"/>
                  <a:pt x="8557825" y="636223"/>
                  <a:pt x="8560280" y="634016"/>
                </a:cubicBezTo>
                <a:cubicBezTo>
                  <a:pt x="8560526" y="633525"/>
                  <a:pt x="8561508" y="633526"/>
                  <a:pt x="8561999" y="633526"/>
                </a:cubicBezTo>
                <a:close/>
                <a:moveTo>
                  <a:pt x="3072335" y="626429"/>
                </a:moveTo>
                <a:cubicBezTo>
                  <a:pt x="3078666" y="630118"/>
                  <a:pt x="3084734" y="634333"/>
                  <a:pt x="3091065" y="638286"/>
                </a:cubicBezTo>
                <a:cubicBezTo>
                  <a:pt x="3093967" y="640130"/>
                  <a:pt x="3095549" y="645136"/>
                  <a:pt x="3096869" y="649087"/>
                </a:cubicBezTo>
                <a:cubicBezTo>
                  <a:pt x="3097397" y="650668"/>
                  <a:pt x="3097133" y="652249"/>
                  <a:pt x="3098716" y="653566"/>
                </a:cubicBezTo>
                <a:cubicBezTo>
                  <a:pt x="3100299" y="654883"/>
                  <a:pt x="3100034" y="656464"/>
                  <a:pt x="3098979" y="658045"/>
                </a:cubicBezTo>
                <a:cubicBezTo>
                  <a:pt x="3098450" y="659098"/>
                  <a:pt x="3097397" y="660416"/>
                  <a:pt x="3098188" y="661470"/>
                </a:cubicBezTo>
                <a:cubicBezTo>
                  <a:pt x="3100827" y="664631"/>
                  <a:pt x="3101089" y="667002"/>
                  <a:pt x="3096869" y="668583"/>
                </a:cubicBezTo>
                <a:cubicBezTo>
                  <a:pt x="3095814" y="668847"/>
                  <a:pt x="3095549" y="670427"/>
                  <a:pt x="3096605" y="671217"/>
                </a:cubicBezTo>
                <a:cubicBezTo>
                  <a:pt x="3100035" y="674116"/>
                  <a:pt x="3096342" y="675433"/>
                  <a:pt x="3095813" y="677540"/>
                </a:cubicBezTo>
                <a:cubicBezTo>
                  <a:pt x="3093967" y="684654"/>
                  <a:pt x="3085789" y="682546"/>
                  <a:pt x="3082623" y="687815"/>
                </a:cubicBezTo>
                <a:cubicBezTo>
                  <a:pt x="3081568" y="689659"/>
                  <a:pt x="3076556" y="688342"/>
                  <a:pt x="3074182" y="688079"/>
                </a:cubicBezTo>
                <a:cubicBezTo>
                  <a:pt x="3068642" y="687289"/>
                  <a:pt x="3062046" y="690713"/>
                  <a:pt x="3057563" y="684391"/>
                </a:cubicBezTo>
                <a:cubicBezTo>
                  <a:pt x="3056772" y="683336"/>
                  <a:pt x="3055188" y="682019"/>
                  <a:pt x="3053079" y="682020"/>
                </a:cubicBezTo>
                <a:cubicBezTo>
                  <a:pt x="3050177" y="682283"/>
                  <a:pt x="3048595" y="680702"/>
                  <a:pt x="3048066" y="677804"/>
                </a:cubicBezTo>
                <a:cubicBezTo>
                  <a:pt x="3047538" y="675960"/>
                  <a:pt x="3046219" y="674906"/>
                  <a:pt x="3044901" y="673589"/>
                </a:cubicBezTo>
                <a:cubicBezTo>
                  <a:pt x="3041471" y="670427"/>
                  <a:pt x="3039888" y="666739"/>
                  <a:pt x="3041209" y="661997"/>
                </a:cubicBezTo>
                <a:cubicBezTo>
                  <a:pt x="3041997" y="659362"/>
                  <a:pt x="3041209" y="656464"/>
                  <a:pt x="3038570" y="654883"/>
                </a:cubicBezTo>
                <a:cubicBezTo>
                  <a:pt x="3038570" y="653829"/>
                  <a:pt x="3038570" y="652776"/>
                  <a:pt x="3038570" y="651722"/>
                </a:cubicBezTo>
                <a:cubicBezTo>
                  <a:pt x="3040944" y="650405"/>
                  <a:pt x="3041998" y="648823"/>
                  <a:pt x="3041736" y="645399"/>
                </a:cubicBezTo>
                <a:cubicBezTo>
                  <a:pt x="3041471" y="640657"/>
                  <a:pt x="3043581" y="636968"/>
                  <a:pt x="3048856" y="635914"/>
                </a:cubicBezTo>
                <a:cubicBezTo>
                  <a:pt x="3051232" y="635651"/>
                  <a:pt x="3050703" y="633807"/>
                  <a:pt x="3050704" y="632225"/>
                </a:cubicBezTo>
                <a:cubicBezTo>
                  <a:pt x="3050703" y="629591"/>
                  <a:pt x="3051760" y="629065"/>
                  <a:pt x="3053870" y="630909"/>
                </a:cubicBezTo>
                <a:cubicBezTo>
                  <a:pt x="3057035" y="633544"/>
                  <a:pt x="3059146" y="633543"/>
                  <a:pt x="3059937" y="629065"/>
                </a:cubicBezTo>
                <a:cubicBezTo>
                  <a:pt x="3060200" y="628011"/>
                  <a:pt x="3060992" y="626694"/>
                  <a:pt x="3062047" y="628010"/>
                </a:cubicBezTo>
                <a:cubicBezTo>
                  <a:pt x="3065478" y="631435"/>
                  <a:pt x="3067850" y="629327"/>
                  <a:pt x="3070488" y="626957"/>
                </a:cubicBezTo>
                <a:cubicBezTo>
                  <a:pt x="3070752" y="626430"/>
                  <a:pt x="3071807" y="626429"/>
                  <a:pt x="3072335" y="626429"/>
                </a:cubicBezTo>
                <a:close/>
                <a:moveTo>
                  <a:pt x="2278833" y="624824"/>
                </a:moveTo>
                <a:cubicBezTo>
                  <a:pt x="2279538" y="624824"/>
                  <a:pt x="2280953" y="624824"/>
                  <a:pt x="2281306" y="625530"/>
                </a:cubicBezTo>
                <a:cubicBezTo>
                  <a:pt x="2284842" y="628707"/>
                  <a:pt x="2288023" y="631530"/>
                  <a:pt x="2292616" y="626942"/>
                </a:cubicBezTo>
                <a:cubicBezTo>
                  <a:pt x="2294032" y="625176"/>
                  <a:pt x="2295092" y="626941"/>
                  <a:pt x="2295446" y="628354"/>
                </a:cubicBezTo>
                <a:cubicBezTo>
                  <a:pt x="2296505" y="634354"/>
                  <a:pt x="2299331" y="634354"/>
                  <a:pt x="2303573" y="630824"/>
                </a:cubicBezTo>
                <a:cubicBezTo>
                  <a:pt x="2306399" y="628354"/>
                  <a:pt x="2307814" y="629060"/>
                  <a:pt x="2307815" y="632589"/>
                </a:cubicBezTo>
                <a:cubicBezTo>
                  <a:pt x="2307815" y="634707"/>
                  <a:pt x="2307108" y="637178"/>
                  <a:pt x="2310288" y="637530"/>
                </a:cubicBezTo>
                <a:cubicBezTo>
                  <a:pt x="2317356" y="638942"/>
                  <a:pt x="2320184" y="643884"/>
                  <a:pt x="2319831" y="650237"/>
                </a:cubicBezTo>
                <a:cubicBezTo>
                  <a:pt x="2319477" y="654825"/>
                  <a:pt x="2320892" y="656943"/>
                  <a:pt x="2324073" y="658709"/>
                </a:cubicBezTo>
                <a:cubicBezTo>
                  <a:pt x="2324073" y="660120"/>
                  <a:pt x="2324073" y="661532"/>
                  <a:pt x="2324073" y="662944"/>
                </a:cubicBezTo>
                <a:cubicBezTo>
                  <a:pt x="2320536" y="665062"/>
                  <a:pt x="2319477" y="668944"/>
                  <a:pt x="2320536" y="672474"/>
                </a:cubicBezTo>
                <a:cubicBezTo>
                  <a:pt x="2322305" y="678827"/>
                  <a:pt x="2320183" y="683769"/>
                  <a:pt x="2315589" y="688004"/>
                </a:cubicBezTo>
                <a:cubicBezTo>
                  <a:pt x="2313822" y="689770"/>
                  <a:pt x="2312056" y="691181"/>
                  <a:pt x="2311348" y="693653"/>
                </a:cubicBezTo>
                <a:cubicBezTo>
                  <a:pt x="2310642" y="697535"/>
                  <a:pt x="2308520" y="699652"/>
                  <a:pt x="2304632" y="699300"/>
                </a:cubicBezTo>
                <a:cubicBezTo>
                  <a:pt x="2301806" y="699299"/>
                  <a:pt x="2299686" y="701064"/>
                  <a:pt x="2298625" y="702476"/>
                </a:cubicBezTo>
                <a:cubicBezTo>
                  <a:pt x="2292615" y="710947"/>
                  <a:pt x="2283780" y="706359"/>
                  <a:pt x="2276360" y="707417"/>
                </a:cubicBezTo>
                <a:cubicBezTo>
                  <a:pt x="2273179" y="707770"/>
                  <a:pt x="2266461" y="709536"/>
                  <a:pt x="2265051" y="707065"/>
                </a:cubicBezTo>
                <a:cubicBezTo>
                  <a:pt x="2260810" y="700006"/>
                  <a:pt x="2249853" y="702829"/>
                  <a:pt x="2247380" y="693299"/>
                </a:cubicBezTo>
                <a:cubicBezTo>
                  <a:pt x="2246674" y="690476"/>
                  <a:pt x="2241723" y="688710"/>
                  <a:pt x="2246320" y="684828"/>
                </a:cubicBezTo>
                <a:cubicBezTo>
                  <a:pt x="2247732" y="683769"/>
                  <a:pt x="2247380" y="681651"/>
                  <a:pt x="2245966" y="681298"/>
                </a:cubicBezTo>
                <a:cubicBezTo>
                  <a:pt x="2240310" y="679180"/>
                  <a:pt x="2240666" y="676004"/>
                  <a:pt x="2244198" y="671768"/>
                </a:cubicBezTo>
                <a:cubicBezTo>
                  <a:pt x="2245259" y="670356"/>
                  <a:pt x="2243846" y="668592"/>
                  <a:pt x="2243137" y="667179"/>
                </a:cubicBezTo>
                <a:cubicBezTo>
                  <a:pt x="2241723" y="665062"/>
                  <a:pt x="2241370" y="662944"/>
                  <a:pt x="2243491" y="661179"/>
                </a:cubicBezTo>
                <a:cubicBezTo>
                  <a:pt x="2245611" y="659414"/>
                  <a:pt x="2245258" y="657296"/>
                  <a:pt x="2245966" y="655179"/>
                </a:cubicBezTo>
                <a:cubicBezTo>
                  <a:pt x="2247732" y="649884"/>
                  <a:pt x="2249852" y="643178"/>
                  <a:pt x="2253742" y="640708"/>
                </a:cubicBezTo>
                <a:cubicBezTo>
                  <a:pt x="2262222" y="635412"/>
                  <a:pt x="2270352" y="629766"/>
                  <a:pt x="2278833" y="624824"/>
                </a:cubicBezTo>
                <a:close/>
                <a:moveTo>
                  <a:pt x="7656768" y="624585"/>
                </a:moveTo>
                <a:cubicBezTo>
                  <a:pt x="7657445" y="624724"/>
                  <a:pt x="7657963" y="625361"/>
                  <a:pt x="7658203" y="626716"/>
                </a:cubicBezTo>
                <a:cubicBezTo>
                  <a:pt x="7658202" y="627353"/>
                  <a:pt x="7658362" y="627990"/>
                  <a:pt x="7658680" y="628628"/>
                </a:cubicBezTo>
                <a:cubicBezTo>
                  <a:pt x="7659000" y="629424"/>
                  <a:pt x="7658999" y="630699"/>
                  <a:pt x="7660116" y="630859"/>
                </a:cubicBezTo>
                <a:cubicBezTo>
                  <a:pt x="7661072" y="630859"/>
                  <a:pt x="7661709" y="630062"/>
                  <a:pt x="7662187" y="629425"/>
                </a:cubicBezTo>
                <a:cubicBezTo>
                  <a:pt x="7664579" y="626715"/>
                  <a:pt x="7665536" y="626875"/>
                  <a:pt x="7666970" y="630221"/>
                </a:cubicBezTo>
                <a:cubicBezTo>
                  <a:pt x="7667289" y="631017"/>
                  <a:pt x="7667449" y="631655"/>
                  <a:pt x="7667926" y="632292"/>
                </a:cubicBezTo>
                <a:cubicBezTo>
                  <a:pt x="7668564" y="633249"/>
                  <a:pt x="7669202" y="634045"/>
                  <a:pt x="7670796" y="633408"/>
                </a:cubicBezTo>
                <a:cubicBezTo>
                  <a:pt x="7672231" y="632611"/>
                  <a:pt x="7672231" y="631974"/>
                  <a:pt x="7671912" y="630699"/>
                </a:cubicBezTo>
                <a:lnTo>
                  <a:pt x="7671643" y="628289"/>
                </a:lnTo>
                <a:lnTo>
                  <a:pt x="7684103" y="640680"/>
                </a:lnTo>
                <a:lnTo>
                  <a:pt x="7683389" y="641692"/>
                </a:lnTo>
                <a:cubicBezTo>
                  <a:pt x="7683071" y="643127"/>
                  <a:pt x="7683549" y="644083"/>
                  <a:pt x="7684825" y="644720"/>
                </a:cubicBezTo>
                <a:cubicBezTo>
                  <a:pt x="7685781" y="645198"/>
                  <a:pt x="7686737" y="645517"/>
                  <a:pt x="7687694" y="645994"/>
                </a:cubicBezTo>
                <a:cubicBezTo>
                  <a:pt x="7689288" y="646792"/>
                  <a:pt x="7689925" y="647907"/>
                  <a:pt x="7689606" y="649819"/>
                </a:cubicBezTo>
                <a:cubicBezTo>
                  <a:pt x="7688650" y="655555"/>
                  <a:pt x="7690722" y="659537"/>
                  <a:pt x="7695824" y="662087"/>
                </a:cubicBezTo>
                <a:cubicBezTo>
                  <a:pt x="7696621" y="662565"/>
                  <a:pt x="7698374" y="662405"/>
                  <a:pt x="7698055" y="663840"/>
                </a:cubicBezTo>
                <a:cubicBezTo>
                  <a:pt x="7697896" y="665273"/>
                  <a:pt x="7696462" y="665592"/>
                  <a:pt x="7695027" y="665752"/>
                </a:cubicBezTo>
                <a:cubicBezTo>
                  <a:pt x="7694868" y="665752"/>
                  <a:pt x="7694709" y="665751"/>
                  <a:pt x="7694549" y="665752"/>
                </a:cubicBezTo>
                <a:cubicBezTo>
                  <a:pt x="7690722" y="666389"/>
                  <a:pt x="7689607" y="668141"/>
                  <a:pt x="7691519" y="671169"/>
                </a:cubicBezTo>
                <a:cubicBezTo>
                  <a:pt x="7693273" y="674036"/>
                  <a:pt x="7692795" y="676267"/>
                  <a:pt x="7691201" y="678657"/>
                </a:cubicBezTo>
                <a:cubicBezTo>
                  <a:pt x="7689129" y="681844"/>
                  <a:pt x="7687534" y="685189"/>
                  <a:pt x="7688491" y="689173"/>
                </a:cubicBezTo>
                <a:cubicBezTo>
                  <a:pt x="7688969" y="690925"/>
                  <a:pt x="7687216" y="691723"/>
                  <a:pt x="7686099" y="692041"/>
                </a:cubicBezTo>
                <a:cubicBezTo>
                  <a:pt x="7681955" y="693475"/>
                  <a:pt x="7680042" y="696184"/>
                  <a:pt x="7679563" y="700326"/>
                </a:cubicBezTo>
                <a:cubicBezTo>
                  <a:pt x="7679245" y="702875"/>
                  <a:pt x="7678289" y="703354"/>
                  <a:pt x="7675738" y="701760"/>
                </a:cubicBezTo>
                <a:cubicBezTo>
                  <a:pt x="7670318" y="698415"/>
                  <a:pt x="7662347" y="700804"/>
                  <a:pt x="7659956" y="706381"/>
                </a:cubicBezTo>
                <a:cubicBezTo>
                  <a:pt x="7659477" y="707496"/>
                  <a:pt x="7658840" y="708929"/>
                  <a:pt x="7659956" y="709886"/>
                </a:cubicBezTo>
                <a:cubicBezTo>
                  <a:pt x="7661072" y="710842"/>
                  <a:pt x="7662666" y="711320"/>
                  <a:pt x="7664101" y="710365"/>
                </a:cubicBezTo>
                <a:cubicBezTo>
                  <a:pt x="7665057" y="709886"/>
                  <a:pt x="7666014" y="709089"/>
                  <a:pt x="7666970" y="708452"/>
                </a:cubicBezTo>
                <a:cubicBezTo>
                  <a:pt x="7667927" y="707655"/>
                  <a:pt x="7668883" y="707177"/>
                  <a:pt x="7669680" y="708133"/>
                </a:cubicBezTo>
                <a:cubicBezTo>
                  <a:pt x="7670637" y="709248"/>
                  <a:pt x="7669999" y="710205"/>
                  <a:pt x="7669202" y="711001"/>
                </a:cubicBezTo>
                <a:cubicBezTo>
                  <a:pt x="7668564" y="711798"/>
                  <a:pt x="7667608" y="712435"/>
                  <a:pt x="7666970" y="713073"/>
                </a:cubicBezTo>
                <a:cubicBezTo>
                  <a:pt x="7665535" y="714507"/>
                  <a:pt x="7664738" y="716419"/>
                  <a:pt x="7666173" y="718012"/>
                </a:cubicBezTo>
                <a:cubicBezTo>
                  <a:pt x="7667449" y="719287"/>
                  <a:pt x="7669202" y="718012"/>
                  <a:pt x="7670477" y="717056"/>
                </a:cubicBezTo>
                <a:cubicBezTo>
                  <a:pt x="7671593" y="716259"/>
                  <a:pt x="7672391" y="714826"/>
                  <a:pt x="7673826" y="714347"/>
                </a:cubicBezTo>
                <a:cubicBezTo>
                  <a:pt x="7675897" y="713550"/>
                  <a:pt x="7677172" y="713869"/>
                  <a:pt x="7677013" y="716419"/>
                </a:cubicBezTo>
                <a:cubicBezTo>
                  <a:pt x="7676854" y="719924"/>
                  <a:pt x="7675419" y="722792"/>
                  <a:pt x="7673507" y="725500"/>
                </a:cubicBezTo>
                <a:cubicBezTo>
                  <a:pt x="7671115" y="729006"/>
                  <a:pt x="7670955" y="730918"/>
                  <a:pt x="7673507" y="734264"/>
                </a:cubicBezTo>
                <a:cubicBezTo>
                  <a:pt x="7674303" y="735538"/>
                  <a:pt x="7675579" y="736654"/>
                  <a:pt x="7676695" y="737769"/>
                </a:cubicBezTo>
                <a:cubicBezTo>
                  <a:pt x="7677172" y="738247"/>
                  <a:pt x="7677970" y="738725"/>
                  <a:pt x="7677651" y="739521"/>
                </a:cubicBezTo>
                <a:cubicBezTo>
                  <a:pt x="7677332" y="740478"/>
                  <a:pt x="7676535" y="740637"/>
                  <a:pt x="7675897" y="740478"/>
                </a:cubicBezTo>
                <a:cubicBezTo>
                  <a:pt x="7673028" y="739841"/>
                  <a:pt x="7672391" y="741115"/>
                  <a:pt x="7672550" y="743664"/>
                </a:cubicBezTo>
                <a:cubicBezTo>
                  <a:pt x="7672709" y="746850"/>
                  <a:pt x="7670637" y="749081"/>
                  <a:pt x="7668405" y="750834"/>
                </a:cubicBezTo>
                <a:cubicBezTo>
                  <a:pt x="7666652" y="752268"/>
                  <a:pt x="7666492" y="753383"/>
                  <a:pt x="7668245" y="754658"/>
                </a:cubicBezTo>
                <a:cubicBezTo>
                  <a:pt x="7669202" y="755295"/>
                  <a:pt x="7669839" y="755932"/>
                  <a:pt x="7669520" y="757207"/>
                </a:cubicBezTo>
                <a:cubicBezTo>
                  <a:pt x="7669202" y="758961"/>
                  <a:pt x="7667927" y="758642"/>
                  <a:pt x="7666810" y="758960"/>
                </a:cubicBezTo>
                <a:cubicBezTo>
                  <a:pt x="7666173" y="759119"/>
                  <a:pt x="7665376" y="759119"/>
                  <a:pt x="7664579" y="759279"/>
                </a:cubicBezTo>
                <a:cubicBezTo>
                  <a:pt x="7660275" y="759757"/>
                  <a:pt x="7659319" y="762147"/>
                  <a:pt x="7661869" y="765811"/>
                </a:cubicBezTo>
                <a:cubicBezTo>
                  <a:pt x="7662187" y="766288"/>
                  <a:pt x="7662507" y="766607"/>
                  <a:pt x="7662666" y="767086"/>
                </a:cubicBezTo>
                <a:cubicBezTo>
                  <a:pt x="7663144" y="768042"/>
                  <a:pt x="7663463" y="769316"/>
                  <a:pt x="7662507" y="769954"/>
                </a:cubicBezTo>
                <a:cubicBezTo>
                  <a:pt x="7661710" y="770592"/>
                  <a:pt x="7660594" y="769954"/>
                  <a:pt x="7659956" y="769316"/>
                </a:cubicBezTo>
                <a:cubicBezTo>
                  <a:pt x="7659318" y="768679"/>
                  <a:pt x="7658840" y="768042"/>
                  <a:pt x="7658362" y="767245"/>
                </a:cubicBezTo>
                <a:cubicBezTo>
                  <a:pt x="7657406" y="766130"/>
                  <a:pt x="7656449" y="765811"/>
                  <a:pt x="7655174" y="766767"/>
                </a:cubicBezTo>
                <a:cubicBezTo>
                  <a:pt x="7652145" y="768838"/>
                  <a:pt x="7648797" y="769156"/>
                  <a:pt x="7645449" y="769316"/>
                </a:cubicBezTo>
                <a:cubicBezTo>
                  <a:pt x="7641464" y="769635"/>
                  <a:pt x="7637319" y="769157"/>
                  <a:pt x="7633334" y="770113"/>
                </a:cubicBezTo>
                <a:cubicBezTo>
                  <a:pt x="7631899" y="770432"/>
                  <a:pt x="7631103" y="769476"/>
                  <a:pt x="7630465" y="768680"/>
                </a:cubicBezTo>
                <a:cubicBezTo>
                  <a:pt x="7628233" y="766130"/>
                  <a:pt x="7626160" y="763581"/>
                  <a:pt x="7622175" y="764856"/>
                </a:cubicBezTo>
                <a:cubicBezTo>
                  <a:pt x="7621378" y="765014"/>
                  <a:pt x="7620900" y="764377"/>
                  <a:pt x="7620582" y="763741"/>
                </a:cubicBezTo>
                <a:cubicBezTo>
                  <a:pt x="7618828" y="760554"/>
                  <a:pt x="7615958" y="758004"/>
                  <a:pt x="7613567" y="755295"/>
                </a:cubicBezTo>
                <a:cubicBezTo>
                  <a:pt x="7609901" y="751153"/>
                  <a:pt x="7607828" y="746532"/>
                  <a:pt x="7609263" y="740956"/>
                </a:cubicBezTo>
                <a:cubicBezTo>
                  <a:pt x="7609741" y="738725"/>
                  <a:pt x="7608465" y="737291"/>
                  <a:pt x="7607191" y="736016"/>
                </a:cubicBezTo>
                <a:cubicBezTo>
                  <a:pt x="7604321" y="732988"/>
                  <a:pt x="7604481" y="731395"/>
                  <a:pt x="7607669" y="729006"/>
                </a:cubicBezTo>
                <a:cubicBezTo>
                  <a:pt x="7611176" y="726616"/>
                  <a:pt x="7611176" y="726616"/>
                  <a:pt x="7608306" y="723110"/>
                </a:cubicBezTo>
                <a:cubicBezTo>
                  <a:pt x="7607668" y="722314"/>
                  <a:pt x="7607191" y="721677"/>
                  <a:pt x="7608147" y="720721"/>
                </a:cubicBezTo>
                <a:cubicBezTo>
                  <a:pt x="7611335" y="717055"/>
                  <a:pt x="7614205" y="713392"/>
                  <a:pt x="7617552" y="709886"/>
                </a:cubicBezTo>
                <a:cubicBezTo>
                  <a:pt x="7619943" y="707178"/>
                  <a:pt x="7622972" y="705425"/>
                  <a:pt x="7626480" y="704629"/>
                </a:cubicBezTo>
                <a:cubicBezTo>
                  <a:pt x="7628711" y="703991"/>
                  <a:pt x="7633016" y="698255"/>
                  <a:pt x="7633175" y="695865"/>
                </a:cubicBezTo>
                <a:cubicBezTo>
                  <a:pt x="7633175" y="695068"/>
                  <a:pt x="7633175" y="694431"/>
                  <a:pt x="7632218" y="694113"/>
                </a:cubicBezTo>
                <a:cubicBezTo>
                  <a:pt x="7627277" y="691882"/>
                  <a:pt x="7624885" y="687580"/>
                  <a:pt x="7622813" y="682959"/>
                </a:cubicBezTo>
                <a:cubicBezTo>
                  <a:pt x="7622334" y="682004"/>
                  <a:pt x="7622016" y="681206"/>
                  <a:pt x="7621538" y="680410"/>
                </a:cubicBezTo>
                <a:cubicBezTo>
                  <a:pt x="7619944" y="677861"/>
                  <a:pt x="7619146" y="675630"/>
                  <a:pt x="7620262" y="672444"/>
                </a:cubicBezTo>
                <a:cubicBezTo>
                  <a:pt x="7621378" y="669257"/>
                  <a:pt x="7619625" y="666070"/>
                  <a:pt x="7618031" y="663203"/>
                </a:cubicBezTo>
                <a:cubicBezTo>
                  <a:pt x="7617393" y="661768"/>
                  <a:pt x="7617075" y="660812"/>
                  <a:pt x="7618190" y="659379"/>
                </a:cubicBezTo>
                <a:cubicBezTo>
                  <a:pt x="7622654" y="653324"/>
                  <a:pt x="7626001" y="646632"/>
                  <a:pt x="7626638" y="638824"/>
                </a:cubicBezTo>
                <a:cubicBezTo>
                  <a:pt x="7626798" y="637710"/>
                  <a:pt x="7627117" y="637232"/>
                  <a:pt x="7628233" y="637550"/>
                </a:cubicBezTo>
                <a:cubicBezTo>
                  <a:pt x="7632696" y="638506"/>
                  <a:pt x="7635566" y="636117"/>
                  <a:pt x="7637957" y="632929"/>
                </a:cubicBezTo>
                <a:cubicBezTo>
                  <a:pt x="7639073" y="631496"/>
                  <a:pt x="7640030" y="630699"/>
                  <a:pt x="7642101" y="631655"/>
                </a:cubicBezTo>
                <a:cubicBezTo>
                  <a:pt x="7644652" y="633089"/>
                  <a:pt x="7647043" y="631814"/>
                  <a:pt x="7649116" y="630062"/>
                </a:cubicBezTo>
                <a:cubicBezTo>
                  <a:pt x="7650869" y="628627"/>
                  <a:pt x="7652623" y="626875"/>
                  <a:pt x="7654377" y="625441"/>
                </a:cubicBezTo>
                <a:cubicBezTo>
                  <a:pt x="7655253" y="624804"/>
                  <a:pt x="7656090" y="624445"/>
                  <a:pt x="7656768" y="624585"/>
                </a:cubicBezTo>
                <a:close/>
                <a:moveTo>
                  <a:pt x="1444458" y="624438"/>
                </a:moveTo>
                <a:cubicBezTo>
                  <a:pt x="1447506" y="623375"/>
                  <a:pt x="1450677" y="623086"/>
                  <a:pt x="1454218" y="625545"/>
                </a:cubicBezTo>
                <a:cubicBezTo>
                  <a:pt x="1455445" y="626348"/>
                  <a:pt x="1457598" y="627127"/>
                  <a:pt x="1459806" y="626330"/>
                </a:cubicBezTo>
                <a:cubicBezTo>
                  <a:pt x="1462742" y="624957"/>
                  <a:pt x="1464995" y="626012"/>
                  <a:pt x="1466643" y="628844"/>
                </a:cubicBezTo>
                <a:cubicBezTo>
                  <a:pt x="1467892" y="630573"/>
                  <a:pt x="1469670" y="631177"/>
                  <a:pt x="1471548" y="632056"/>
                </a:cubicBezTo>
                <a:cubicBezTo>
                  <a:pt x="1476330" y="634067"/>
                  <a:pt x="1479381" y="637327"/>
                  <a:pt x="1479794" y="642786"/>
                </a:cubicBezTo>
                <a:cubicBezTo>
                  <a:pt x="1479963" y="645841"/>
                  <a:pt x="1481887" y="648574"/>
                  <a:pt x="1485244" y="649230"/>
                </a:cubicBezTo>
                <a:cubicBezTo>
                  <a:pt x="1485643" y="650332"/>
                  <a:pt x="1486041" y="651434"/>
                  <a:pt x="1486440" y="652537"/>
                </a:cubicBezTo>
                <a:cubicBezTo>
                  <a:pt x="1484454" y="654812"/>
                  <a:pt x="1483948" y="656865"/>
                  <a:pt x="1485518" y="660348"/>
                </a:cubicBezTo>
                <a:cubicBezTo>
                  <a:pt x="1487588" y="665209"/>
                  <a:pt x="1486775" y="669865"/>
                  <a:pt x="1481655" y="672963"/>
                </a:cubicBezTo>
                <a:cubicBezTo>
                  <a:pt x="1479271" y="674136"/>
                  <a:pt x="1480520" y="675866"/>
                  <a:pt x="1481118" y="677519"/>
                </a:cubicBezTo>
                <a:cubicBezTo>
                  <a:pt x="1482114" y="680275"/>
                  <a:pt x="1481209" y="681225"/>
                  <a:pt x="1478304" y="680095"/>
                </a:cubicBezTo>
                <a:cubicBezTo>
                  <a:pt x="1473997" y="678535"/>
                  <a:pt x="1471789" y="679333"/>
                  <a:pt x="1472655" y="684318"/>
                </a:cubicBezTo>
                <a:cubicBezTo>
                  <a:pt x="1472778" y="685519"/>
                  <a:pt x="1472448" y="687197"/>
                  <a:pt x="1470846" y="686218"/>
                </a:cubicBezTo>
                <a:cubicBezTo>
                  <a:pt x="1465964" y="683932"/>
                  <a:pt x="1464277" y="687035"/>
                  <a:pt x="1462414" y="690512"/>
                </a:cubicBezTo>
                <a:cubicBezTo>
                  <a:pt x="1462338" y="691163"/>
                  <a:pt x="1461234" y="691562"/>
                  <a:pt x="1460682" y="691761"/>
                </a:cubicBezTo>
                <a:cubicBezTo>
                  <a:pt x="1452664" y="690298"/>
                  <a:pt x="1444724" y="688182"/>
                  <a:pt x="1436607" y="686442"/>
                </a:cubicBezTo>
                <a:cubicBezTo>
                  <a:pt x="1432874" y="685610"/>
                  <a:pt x="1429325" y="680972"/>
                  <a:pt x="1426451" y="677337"/>
                </a:cubicBezTo>
                <a:cubicBezTo>
                  <a:pt x="1425302" y="675883"/>
                  <a:pt x="1424981" y="674129"/>
                  <a:pt x="1422826" y="673350"/>
                </a:cubicBezTo>
                <a:cubicBezTo>
                  <a:pt x="1420673" y="672571"/>
                  <a:pt x="1420350" y="670817"/>
                  <a:pt x="1420857" y="668765"/>
                </a:cubicBezTo>
                <a:cubicBezTo>
                  <a:pt x="1421010" y="667463"/>
                  <a:pt x="1421616" y="665686"/>
                  <a:pt x="1420390" y="664883"/>
                </a:cubicBezTo>
                <a:cubicBezTo>
                  <a:pt x="1416435" y="662573"/>
                  <a:pt x="1415262" y="660193"/>
                  <a:pt x="1419079" y="656943"/>
                </a:cubicBezTo>
                <a:cubicBezTo>
                  <a:pt x="1420083" y="656268"/>
                  <a:pt x="1419762" y="654515"/>
                  <a:pt x="1418360" y="654087"/>
                </a:cubicBezTo>
                <a:cubicBezTo>
                  <a:pt x="1413675" y="652353"/>
                  <a:pt x="1417041" y="649578"/>
                  <a:pt x="1416796" y="647174"/>
                </a:cubicBezTo>
                <a:cubicBezTo>
                  <a:pt x="1416039" y="639034"/>
                  <a:pt x="1425389" y="638147"/>
                  <a:pt x="1426708" y="631438"/>
                </a:cubicBezTo>
                <a:cubicBezTo>
                  <a:pt x="1427115" y="629110"/>
                  <a:pt x="1432856" y="628593"/>
                  <a:pt x="1435439" y="627970"/>
                </a:cubicBezTo>
                <a:cubicBezTo>
                  <a:pt x="1438486" y="627337"/>
                  <a:pt x="1441410" y="625501"/>
                  <a:pt x="1444458" y="624438"/>
                </a:cubicBezTo>
                <a:close/>
                <a:moveTo>
                  <a:pt x="9288619" y="607397"/>
                </a:moveTo>
                <a:cubicBezTo>
                  <a:pt x="9291203" y="607426"/>
                  <a:pt x="9293668" y="608071"/>
                  <a:pt x="9295666" y="610886"/>
                </a:cubicBezTo>
                <a:cubicBezTo>
                  <a:pt x="9296371" y="611825"/>
                  <a:pt x="9297780" y="612998"/>
                  <a:pt x="9299658" y="612998"/>
                </a:cubicBezTo>
                <a:cubicBezTo>
                  <a:pt x="9302243" y="612763"/>
                  <a:pt x="9303651" y="614171"/>
                  <a:pt x="9304122" y="616751"/>
                </a:cubicBezTo>
                <a:cubicBezTo>
                  <a:pt x="9304591" y="618393"/>
                  <a:pt x="9305766" y="619332"/>
                  <a:pt x="9306941" y="620505"/>
                </a:cubicBezTo>
                <a:cubicBezTo>
                  <a:pt x="9309993" y="623319"/>
                  <a:pt x="9311403" y="626604"/>
                  <a:pt x="9310228" y="630826"/>
                </a:cubicBezTo>
                <a:cubicBezTo>
                  <a:pt x="9309523" y="633173"/>
                  <a:pt x="9310229" y="635754"/>
                  <a:pt x="9312577" y="637161"/>
                </a:cubicBezTo>
                <a:cubicBezTo>
                  <a:pt x="9312578" y="638099"/>
                  <a:pt x="9312577" y="639038"/>
                  <a:pt x="9312578" y="639976"/>
                </a:cubicBezTo>
                <a:cubicBezTo>
                  <a:pt x="9310463" y="641148"/>
                  <a:pt x="9309523" y="642556"/>
                  <a:pt x="9309758" y="645606"/>
                </a:cubicBezTo>
                <a:cubicBezTo>
                  <a:pt x="9309994" y="649828"/>
                  <a:pt x="9308114" y="653113"/>
                  <a:pt x="9303416" y="654051"/>
                </a:cubicBezTo>
                <a:cubicBezTo>
                  <a:pt x="9301302" y="654286"/>
                  <a:pt x="9301773" y="655928"/>
                  <a:pt x="9301772" y="657335"/>
                </a:cubicBezTo>
                <a:cubicBezTo>
                  <a:pt x="9301773" y="659681"/>
                  <a:pt x="9300832" y="660150"/>
                  <a:pt x="9298953" y="658508"/>
                </a:cubicBezTo>
                <a:cubicBezTo>
                  <a:pt x="9296135" y="656162"/>
                  <a:pt x="9294257" y="656162"/>
                  <a:pt x="9293552" y="660150"/>
                </a:cubicBezTo>
                <a:cubicBezTo>
                  <a:pt x="9293316" y="661089"/>
                  <a:pt x="9292612" y="662262"/>
                  <a:pt x="9291673" y="661088"/>
                </a:cubicBezTo>
                <a:cubicBezTo>
                  <a:pt x="9288618" y="658039"/>
                  <a:pt x="9286505" y="659916"/>
                  <a:pt x="9284156" y="662027"/>
                </a:cubicBezTo>
                <a:cubicBezTo>
                  <a:pt x="9283921" y="662497"/>
                  <a:pt x="9282981" y="662496"/>
                  <a:pt x="9282512" y="662496"/>
                </a:cubicBezTo>
                <a:cubicBezTo>
                  <a:pt x="9276875" y="659212"/>
                  <a:pt x="9271472" y="655459"/>
                  <a:pt x="9265834" y="651940"/>
                </a:cubicBezTo>
                <a:cubicBezTo>
                  <a:pt x="9263251" y="650297"/>
                  <a:pt x="9261841" y="645841"/>
                  <a:pt x="9260667" y="642322"/>
                </a:cubicBezTo>
                <a:cubicBezTo>
                  <a:pt x="9260197" y="640914"/>
                  <a:pt x="9260431" y="639507"/>
                  <a:pt x="9259023" y="638334"/>
                </a:cubicBezTo>
                <a:cubicBezTo>
                  <a:pt x="9257614" y="637161"/>
                  <a:pt x="9257848" y="635753"/>
                  <a:pt x="9258787" y="634346"/>
                </a:cubicBezTo>
                <a:cubicBezTo>
                  <a:pt x="9259257" y="633407"/>
                  <a:pt x="9260197" y="632235"/>
                  <a:pt x="9259493" y="631296"/>
                </a:cubicBezTo>
                <a:cubicBezTo>
                  <a:pt x="9257143" y="628481"/>
                  <a:pt x="9256909" y="626370"/>
                  <a:pt x="9260667" y="624962"/>
                </a:cubicBezTo>
                <a:cubicBezTo>
                  <a:pt x="9261607" y="624727"/>
                  <a:pt x="9261841" y="623320"/>
                  <a:pt x="9260902" y="622616"/>
                </a:cubicBezTo>
                <a:cubicBezTo>
                  <a:pt x="9257848" y="620035"/>
                  <a:pt x="9261137" y="618862"/>
                  <a:pt x="9261606" y="616986"/>
                </a:cubicBezTo>
                <a:cubicBezTo>
                  <a:pt x="9263251" y="610652"/>
                  <a:pt x="9270532" y="612529"/>
                  <a:pt x="9273351" y="607837"/>
                </a:cubicBezTo>
                <a:cubicBezTo>
                  <a:pt x="9274290" y="606195"/>
                  <a:pt x="9278754" y="607367"/>
                  <a:pt x="9280868" y="607602"/>
                </a:cubicBezTo>
                <a:cubicBezTo>
                  <a:pt x="9283334" y="607955"/>
                  <a:pt x="9286035" y="607367"/>
                  <a:pt x="9288619" y="607397"/>
                </a:cubicBezTo>
                <a:close/>
                <a:moveTo>
                  <a:pt x="10851878" y="605816"/>
                </a:moveTo>
                <a:lnTo>
                  <a:pt x="10851981" y="606158"/>
                </a:lnTo>
                <a:lnTo>
                  <a:pt x="10851514" y="606032"/>
                </a:lnTo>
                <a:close/>
                <a:moveTo>
                  <a:pt x="9980887" y="590110"/>
                </a:moveTo>
                <a:cubicBezTo>
                  <a:pt x="9984348" y="590070"/>
                  <a:pt x="9987967" y="590856"/>
                  <a:pt x="9991271" y="590384"/>
                </a:cubicBezTo>
                <a:cubicBezTo>
                  <a:pt x="9994104" y="590070"/>
                  <a:pt x="10000083" y="588499"/>
                  <a:pt x="10001342" y="590699"/>
                </a:cubicBezTo>
                <a:cubicBezTo>
                  <a:pt x="10005119" y="596984"/>
                  <a:pt x="10014873" y="594471"/>
                  <a:pt x="10017076" y="602957"/>
                </a:cubicBezTo>
                <a:cubicBezTo>
                  <a:pt x="10017706" y="605470"/>
                  <a:pt x="10022111" y="607042"/>
                  <a:pt x="10018021" y="610499"/>
                </a:cubicBezTo>
                <a:cubicBezTo>
                  <a:pt x="10016761" y="611442"/>
                  <a:pt x="10017077" y="613328"/>
                  <a:pt x="10018336" y="613642"/>
                </a:cubicBezTo>
                <a:cubicBezTo>
                  <a:pt x="10023371" y="615528"/>
                  <a:pt x="10023055" y="618357"/>
                  <a:pt x="10019908" y="622128"/>
                </a:cubicBezTo>
                <a:cubicBezTo>
                  <a:pt x="10018964" y="623385"/>
                  <a:pt x="10020223" y="624957"/>
                  <a:pt x="10020852" y="626214"/>
                </a:cubicBezTo>
                <a:cubicBezTo>
                  <a:pt x="10022112" y="628099"/>
                  <a:pt x="10022426" y="629985"/>
                  <a:pt x="10020538" y="631556"/>
                </a:cubicBezTo>
                <a:cubicBezTo>
                  <a:pt x="10018650" y="633128"/>
                  <a:pt x="10018964" y="635014"/>
                  <a:pt x="10018335" y="636900"/>
                </a:cubicBezTo>
                <a:cubicBezTo>
                  <a:pt x="10016762" y="641614"/>
                  <a:pt x="10014873" y="647586"/>
                  <a:pt x="10011412" y="649785"/>
                </a:cubicBezTo>
                <a:cubicBezTo>
                  <a:pt x="10003859" y="654500"/>
                  <a:pt x="9996622" y="659528"/>
                  <a:pt x="9989069" y="663929"/>
                </a:cubicBezTo>
                <a:cubicBezTo>
                  <a:pt x="9988440" y="663929"/>
                  <a:pt x="9987180" y="663929"/>
                  <a:pt x="9986867" y="663300"/>
                </a:cubicBezTo>
                <a:cubicBezTo>
                  <a:pt x="9983719" y="660471"/>
                  <a:pt x="9980888" y="657957"/>
                  <a:pt x="9976797" y="662042"/>
                </a:cubicBezTo>
                <a:cubicBezTo>
                  <a:pt x="9975538" y="663615"/>
                  <a:pt x="9974593" y="662043"/>
                  <a:pt x="9974278" y="660785"/>
                </a:cubicBezTo>
                <a:cubicBezTo>
                  <a:pt x="9973335" y="655443"/>
                  <a:pt x="9970817" y="655442"/>
                  <a:pt x="9967041" y="658585"/>
                </a:cubicBezTo>
                <a:cubicBezTo>
                  <a:pt x="9964523" y="660785"/>
                  <a:pt x="9963264" y="660157"/>
                  <a:pt x="9963264" y="657014"/>
                </a:cubicBezTo>
                <a:cubicBezTo>
                  <a:pt x="9963265" y="655128"/>
                  <a:pt x="9963893" y="652928"/>
                  <a:pt x="9961061" y="652614"/>
                </a:cubicBezTo>
                <a:cubicBezTo>
                  <a:pt x="9954767" y="651357"/>
                  <a:pt x="9952251" y="646956"/>
                  <a:pt x="9952565" y="641300"/>
                </a:cubicBezTo>
                <a:cubicBezTo>
                  <a:pt x="9952880" y="637214"/>
                  <a:pt x="9951620" y="635328"/>
                  <a:pt x="9948789" y="633757"/>
                </a:cubicBezTo>
                <a:cubicBezTo>
                  <a:pt x="9948789" y="632499"/>
                  <a:pt x="9948789" y="631242"/>
                  <a:pt x="9948788" y="629985"/>
                </a:cubicBezTo>
                <a:cubicBezTo>
                  <a:pt x="9951936" y="628099"/>
                  <a:pt x="9952879" y="624642"/>
                  <a:pt x="9951936" y="621499"/>
                </a:cubicBezTo>
                <a:cubicBezTo>
                  <a:pt x="9950361" y="615842"/>
                  <a:pt x="9952250" y="611442"/>
                  <a:pt x="9956341" y="607671"/>
                </a:cubicBezTo>
                <a:cubicBezTo>
                  <a:pt x="9957914" y="606099"/>
                  <a:pt x="9959489" y="604842"/>
                  <a:pt x="9960118" y="602642"/>
                </a:cubicBezTo>
                <a:cubicBezTo>
                  <a:pt x="9960746" y="599185"/>
                  <a:pt x="9962635" y="597299"/>
                  <a:pt x="9966096" y="597613"/>
                </a:cubicBezTo>
                <a:cubicBezTo>
                  <a:pt x="9968614" y="597613"/>
                  <a:pt x="9970502" y="596042"/>
                  <a:pt x="9971447" y="594784"/>
                </a:cubicBezTo>
                <a:cubicBezTo>
                  <a:pt x="9974122" y="591013"/>
                  <a:pt x="9977425" y="590149"/>
                  <a:pt x="9980887" y="590110"/>
                </a:cubicBezTo>
                <a:close/>
                <a:moveTo>
                  <a:pt x="3255092" y="584418"/>
                </a:moveTo>
                <a:cubicBezTo>
                  <a:pt x="3257592" y="584418"/>
                  <a:pt x="3259736" y="584418"/>
                  <a:pt x="3262236" y="584418"/>
                </a:cubicBezTo>
                <a:cubicBezTo>
                  <a:pt x="3262236" y="585484"/>
                  <a:pt x="3262593" y="585840"/>
                  <a:pt x="3263307" y="585840"/>
                </a:cubicBezTo>
                <a:cubicBezTo>
                  <a:pt x="3268665" y="585840"/>
                  <a:pt x="3271523" y="589396"/>
                  <a:pt x="3273308" y="593663"/>
                </a:cubicBezTo>
                <a:cubicBezTo>
                  <a:pt x="3275094" y="597574"/>
                  <a:pt x="3277238" y="601130"/>
                  <a:pt x="3276523" y="605752"/>
                </a:cubicBezTo>
                <a:cubicBezTo>
                  <a:pt x="3275452" y="610730"/>
                  <a:pt x="3275809" y="616063"/>
                  <a:pt x="3271522" y="619975"/>
                </a:cubicBezTo>
                <a:cubicBezTo>
                  <a:pt x="3270095" y="621396"/>
                  <a:pt x="3268666" y="622464"/>
                  <a:pt x="3266166" y="623175"/>
                </a:cubicBezTo>
                <a:cubicBezTo>
                  <a:pt x="3262593" y="624241"/>
                  <a:pt x="3258306" y="626018"/>
                  <a:pt x="3259378" y="631708"/>
                </a:cubicBezTo>
                <a:cubicBezTo>
                  <a:pt x="3259736" y="633841"/>
                  <a:pt x="3257592" y="634553"/>
                  <a:pt x="3257235" y="635619"/>
                </a:cubicBezTo>
                <a:cubicBezTo>
                  <a:pt x="3255450" y="641308"/>
                  <a:pt x="3251163" y="643797"/>
                  <a:pt x="3246520" y="645575"/>
                </a:cubicBezTo>
                <a:cubicBezTo>
                  <a:pt x="3243306" y="644864"/>
                  <a:pt x="3240448" y="644153"/>
                  <a:pt x="3237233" y="644153"/>
                </a:cubicBezTo>
                <a:cubicBezTo>
                  <a:pt x="3234018" y="644152"/>
                  <a:pt x="3230806" y="642019"/>
                  <a:pt x="3229377" y="639175"/>
                </a:cubicBezTo>
                <a:cubicBezTo>
                  <a:pt x="3228305" y="636686"/>
                  <a:pt x="3227233" y="635264"/>
                  <a:pt x="3225091" y="634197"/>
                </a:cubicBezTo>
                <a:cubicBezTo>
                  <a:pt x="3225091" y="629930"/>
                  <a:pt x="3225091" y="625664"/>
                  <a:pt x="3225091" y="621397"/>
                </a:cubicBezTo>
                <a:cubicBezTo>
                  <a:pt x="3228661" y="619618"/>
                  <a:pt x="3231520" y="616774"/>
                  <a:pt x="3232947" y="613574"/>
                </a:cubicBezTo>
                <a:cubicBezTo>
                  <a:pt x="3234733" y="610730"/>
                  <a:pt x="3236163" y="607530"/>
                  <a:pt x="3237948" y="604330"/>
                </a:cubicBezTo>
                <a:cubicBezTo>
                  <a:pt x="3239733" y="601485"/>
                  <a:pt x="3241519" y="598285"/>
                  <a:pt x="3241877" y="594729"/>
                </a:cubicBezTo>
                <a:cubicBezTo>
                  <a:pt x="3242591" y="591529"/>
                  <a:pt x="3244734" y="590106"/>
                  <a:pt x="3247234" y="588328"/>
                </a:cubicBezTo>
                <a:cubicBezTo>
                  <a:pt x="3249734" y="586551"/>
                  <a:pt x="3253306" y="586907"/>
                  <a:pt x="3255092" y="584418"/>
                </a:cubicBezTo>
                <a:close/>
                <a:moveTo>
                  <a:pt x="4683962" y="580975"/>
                </a:moveTo>
                <a:lnTo>
                  <a:pt x="4683946" y="581267"/>
                </a:lnTo>
                <a:lnTo>
                  <a:pt x="4683707" y="581194"/>
                </a:lnTo>
                <a:close/>
                <a:moveTo>
                  <a:pt x="4309100" y="578900"/>
                </a:moveTo>
                <a:cubicBezTo>
                  <a:pt x="4310157" y="579405"/>
                  <a:pt x="4311949" y="579790"/>
                  <a:pt x="4313615" y="578917"/>
                </a:cubicBezTo>
                <a:cubicBezTo>
                  <a:pt x="4315793" y="577510"/>
                  <a:pt x="4317694" y="578103"/>
                  <a:pt x="4319308" y="580172"/>
                </a:cubicBezTo>
                <a:cubicBezTo>
                  <a:pt x="4320490" y="581408"/>
                  <a:pt x="4321960" y="581694"/>
                  <a:pt x="4323547" y="582187"/>
                </a:cubicBezTo>
                <a:cubicBezTo>
                  <a:pt x="4327557" y="583265"/>
                  <a:pt x="4330333" y="585520"/>
                  <a:pt x="4331250" y="589805"/>
                </a:cubicBezTo>
                <a:cubicBezTo>
                  <a:pt x="4331714" y="592210"/>
                  <a:pt x="4333536" y="594169"/>
                  <a:pt x="4336271" y="594325"/>
                </a:cubicBezTo>
                <a:cubicBezTo>
                  <a:pt x="4336708" y="595157"/>
                  <a:pt x="4337138" y="595988"/>
                  <a:pt x="4337578" y="596819"/>
                </a:cubicBezTo>
                <a:cubicBezTo>
                  <a:pt x="4336246" y="598839"/>
                  <a:pt x="4336071" y="600522"/>
                  <a:pt x="4337693" y="603114"/>
                </a:cubicBezTo>
                <a:cubicBezTo>
                  <a:pt x="4339859" y="606746"/>
                  <a:pt x="4339721" y="610526"/>
                  <a:pt x="4335993" y="613538"/>
                </a:cubicBezTo>
                <a:cubicBezTo>
                  <a:pt x="4334229" y="614727"/>
                  <a:pt x="4335414" y="615963"/>
                  <a:pt x="4336065" y="617210"/>
                </a:cubicBezTo>
                <a:cubicBezTo>
                  <a:pt x="4337154" y="619289"/>
                  <a:pt x="4336534" y="620140"/>
                  <a:pt x="4334110" y="619558"/>
                </a:cubicBezTo>
                <a:cubicBezTo>
                  <a:pt x="4330521" y="618788"/>
                  <a:pt x="4328862" y="619660"/>
                  <a:pt x="4330086" y="623519"/>
                </a:cubicBezTo>
                <a:cubicBezTo>
                  <a:pt x="4330316" y="624460"/>
                  <a:pt x="4330236" y="625826"/>
                  <a:pt x="4328859" y="625223"/>
                </a:cubicBezTo>
                <a:cubicBezTo>
                  <a:pt x="4324734" y="623938"/>
                  <a:pt x="4323734" y="626582"/>
                  <a:pt x="4322634" y="629542"/>
                </a:cubicBezTo>
                <a:cubicBezTo>
                  <a:pt x="4322643" y="630067"/>
                  <a:pt x="4321812" y="630503"/>
                  <a:pt x="4321399" y="630721"/>
                </a:cubicBezTo>
                <a:cubicBezTo>
                  <a:pt x="4314883" y="630428"/>
                  <a:pt x="4308353" y="629610"/>
                  <a:pt x="4301723" y="629109"/>
                </a:cubicBezTo>
                <a:cubicBezTo>
                  <a:pt x="4298676" y="628854"/>
                  <a:pt x="4295358" y="625559"/>
                  <a:pt x="4292684" y="622988"/>
                </a:cubicBezTo>
                <a:cubicBezTo>
                  <a:pt x="4291617" y="621959"/>
                  <a:pt x="4291170" y="620603"/>
                  <a:pt x="4289378" y="620219"/>
                </a:cubicBezTo>
                <a:cubicBezTo>
                  <a:pt x="4287585" y="619833"/>
                  <a:pt x="4287139" y="618477"/>
                  <a:pt x="4287319" y="616794"/>
                </a:cubicBezTo>
                <a:cubicBezTo>
                  <a:pt x="4287298" y="615745"/>
                  <a:pt x="4287586" y="614271"/>
                  <a:pt x="4286526" y="613766"/>
                </a:cubicBezTo>
                <a:cubicBezTo>
                  <a:pt x="4283138" y="612362"/>
                  <a:pt x="4281951" y="610602"/>
                  <a:pt x="4284627" y="607611"/>
                </a:cubicBezTo>
                <a:cubicBezTo>
                  <a:pt x="4285350" y="606966"/>
                  <a:pt x="4284910" y="605611"/>
                  <a:pt x="4283746" y="605424"/>
                </a:cubicBezTo>
                <a:cubicBezTo>
                  <a:pt x="4279845" y="604554"/>
                  <a:pt x="4282212" y="601989"/>
                  <a:pt x="4281756" y="600110"/>
                </a:cubicBezTo>
                <a:cubicBezTo>
                  <a:pt x="4280278" y="593736"/>
                  <a:pt x="4287598" y="592019"/>
                  <a:pt x="4287917" y="586555"/>
                </a:cubicBezTo>
                <a:cubicBezTo>
                  <a:pt x="4287985" y="584664"/>
                  <a:pt x="4292487" y="583632"/>
                  <a:pt x="4294465" y="582859"/>
                </a:cubicBezTo>
                <a:cubicBezTo>
                  <a:pt x="4299161" y="581193"/>
                  <a:pt x="4302947" y="575767"/>
                  <a:pt x="4309100" y="578900"/>
                </a:cubicBezTo>
                <a:close/>
                <a:moveTo>
                  <a:pt x="11814451" y="578358"/>
                </a:moveTo>
                <a:cubicBezTo>
                  <a:pt x="11815256" y="578792"/>
                  <a:pt x="11816863" y="579657"/>
                  <a:pt x="11816833" y="580676"/>
                </a:cubicBezTo>
                <a:cubicBezTo>
                  <a:pt x="11818906" y="586454"/>
                  <a:pt x="11820794" y="591614"/>
                  <a:pt x="11828829" y="589211"/>
                </a:cubicBezTo>
                <a:cubicBezTo>
                  <a:pt x="11831519" y="588070"/>
                  <a:pt x="11831642" y="590726"/>
                  <a:pt x="11831179" y="592548"/>
                </a:cubicBezTo>
                <a:cubicBezTo>
                  <a:pt x="11828709" y="600022"/>
                  <a:pt x="11831924" y="601755"/>
                  <a:pt x="11838910" y="600338"/>
                </a:cubicBezTo>
                <a:cubicBezTo>
                  <a:pt x="11843639" y="599261"/>
                  <a:pt x="11844815" y="600929"/>
                  <a:pt x="11842652" y="604943"/>
                </a:cubicBezTo>
                <a:cubicBezTo>
                  <a:pt x="11841354" y="607352"/>
                  <a:pt x="11839037" y="609728"/>
                  <a:pt x="11842439" y="612079"/>
                </a:cubicBezTo>
                <a:cubicBezTo>
                  <a:pt x="11849611" y="618014"/>
                  <a:pt x="11849799" y="625366"/>
                  <a:pt x="11845506" y="632375"/>
                </a:cubicBezTo>
                <a:cubicBezTo>
                  <a:pt x="11842292" y="637377"/>
                  <a:pt x="11842602" y="640651"/>
                  <a:pt x="11845138" y="644607"/>
                </a:cubicBezTo>
                <a:cubicBezTo>
                  <a:pt x="11844273" y="646212"/>
                  <a:pt x="11843409" y="647819"/>
                  <a:pt x="11842543" y="649424"/>
                </a:cubicBezTo>
                <a:cubicBezTo>
                  <a:pt x="11837227" y="649667"/>
                  <a:pt x="11833642" y="653433"/>
                  <a:pt x="11832686" y="658097"/>
                </a:cubicBezTo>
                <a:cubicBezTo>
                  <a:pt x="11830803" y="666404"/>
                  <a:pt x="11825364" y="670726"/>
                  <a:pt x="11817545" y="672727"/>
                </a:cubicBezTo>
                <a:cubicBezTo>
                  <a:pt x="11814453" y="673652"/>
                  <a:pt x="11811580" y="674175"/>
                  <a:pt x="11809262" y="676552"/>
                </a:cubicBezTo>
                <a:cubicBezTo>
                  <a:pt x="11806079" y="680534"/>
                  <a:pt x="11802371" y="681643"/>
                  <a:pt x="11798166" y="678861"/>
                </a:cubicBezTo>
                <a:cubicBezTo>
                  <a:pt x="11794950" y="677128"/>
                  <a:pt x="11791458" y="677836"/>
                  <a:pt x="11789387" y="678792"/>
                </a:cubicBezTo>
                <a:cubicBezTo>
                  <a:pt x="11777365" y="684746"/>
                  <a:pt x="11770127" y="674114"/>
                  <a:pt x="11761038" y="670772"/>
                </a:cubicBezTo>
                <a:cubicBezTo>
                  <a:pt x="11757205" y="669224"/>
                  <a:pt x="11748488" y="667118"/>
                  <a:pt x="11748393" y="663442"/>
                </a:cubicBezTo>
                <a:cubicBezTo>
                  <a:pt x="11747895" y="652816"/>
                  <a:pt x="11733705" y="649315"/>
                  <a:pt x="11736730" y="636961"/>
                </a:cubicBezTo>
                <a:cubicBezTo>
                  <a:pt x="11737656" y="633317"/>
                  <a:pt x="11733112" y="628278"/>
                  <a:pt x="11740714" y="626678"/>
                </a:cubicBezTo>
                <a:cubicBezTo>
                  <a:pt x="11742971" y="626340"/>
                  <a:pt x="11743866" y="623715"/>
                  <a:pt x="11742475" y="622447"/>
                </a:cubicBezTo>
                <a:cubicBezTo>
                  <a:pt x="11737341" y="616575"/>
                  <a:pt x="11739691" y="613179"/>
                  <a:pt x="11746305" y="610527"/>
                </a:cubicBezTo>
                <a:cubicBezTo>
                  <a:pt x="11748374" y="609570"/>
                  <a:pt x="11747848" y="606697"/>
                  <a:pt x="11747909" y="604659"/>
                </a:cubicBezTo>
                <a:cubicBezTo>
                  <a:pt x="11747599" y="601385"/>
                  <a:pt x="11748495" y="598760"/>
                  <a:pt x="11751987" y="598051"/>
                </a:cubicBezTo>
                <a:cubicBezTo>
                  <a:pt x="11755481" y="597344"/>
                  <a:pt x="11756375" y="594719"/>
                  <a:pt x="11758477" y="592743"/>
                </a:cubicBezTo>
                <a:cubicBezTo>
                  <a:pt x="11763730" y="587805"/>
                  <a:pt x="11770250" y="581477"/>
                  <a:pt x="11776184" y="581049"/>
                </a:cubicBezTo>
                <a:cubicBezTo>
                  <a:pt x="11789074" y="580224"/>
                  <a:pt x="11801778" y="578781"/>
                  <a:pt x="11814451" y="578358"/>
                </a:cubicBezTo>
                <a:close/>
                <a:moveTo>
                  <a:pt x="8129373" y="576794"/>
                </a:moveTo>
                <a:cubicBezTo>
                  <a:pt x="8131158" y="579283"/>
                  <a:pt x="8134730" y="578928"/>
                  <a:pt x="8137230" y="580705"/>
                </a:cubicBezTo>
                <a:cubicBezTo>
                  <a:pt x="8139730" y="582483"/>
                  <a:pt x="8141874" y="583905"/>
                  <a:pt x="8142587" y="587105"/>
                </a:cubicBezTo>
                <a:cubicBezTo>
                  <a:pt x="8142944" y="590661"/>
                  <a:pt x="8144731" y="593861"/>
                  <a:pt x="8146516" y="596706"/>
                </a:cubicBezTo>
                <a:cubicBezTo>
                  <a:pt x="8148302" y="599906"/>
                  <a:pt x="8149731" y="603106"/>
                  <a:pt x="8151516" y="605950"/>
                </a:cubicBezTo>
                <a:cubicBezTo>
                  <a:pt x="8152946" y="609150"/>
                  <a:pt x="8155803" y="611995"/>
                  <a:pt x="8159375" y="613773"/>
                </a:cubicBezTo>
                <a:cubicBezTo>
                  <a:pt x="8159375" y="618040"/>
                  <a:pt x="8159375" y="622306"/>
                  <a:pt x="8159375" y="626573"/>
                </a:cubicBezTo>
                <a:cubicBezTo>
                  <a:pt x="8157231" y="627640"/>
                  <a:pt x="8156160" y="629062"/>
                  <a:pt x="8155089" y="631551"/>
                </a:cubicBezTo>
                <a:cubicBezTo>
                  <a:pt x="8153661" y="634396"/>
                  <a:pt x="8150445" y="636529"/>
                  <a:pt x="8147231" y="636529"/>
                </a:cubicBezTo>
                <a:cubicBezTo>
                  <a:pt x="8144016" y="636529"/>
                  <a:pt x="8141159" y="637241"/>
                  <a:pt x="8137944" y="637951"/>
                </a:cubicBezTo>
                <a:cubicBezTo>
                  <a:pt x="8133302" y="636174"/>
                  <a:pt x="8129015" y="633684"/>
                  <a:pt x="8127229" y="627995"/>
                </a:cubicBezTo>
                <a:cubicBezTo>
                  <a:pt x="8126872" y="626928"/>
                  <a:pt x="8124729" y="626218"/>
                  <a:pt x="8125086" y="624084"/>
                </a:cubicBezTo>
                <a:cubicBezTo>
                  <a:pt x="8126158" y="618396"/>
                  <a:pt x="8121871" y="616617"/>
                  <a:pt x="8118300" y="615551"/>
                </a:cubicBezTo>
                <a:cubicBezTo>
                  <a:pt x="8115800" y="614840"/>
                  <a:pt x="8114371" y="613773"/>
                  <a:pt x="8112942" y="612350"/>
                </a:cubicBezTo>
                <a:cubicBezTo>
                  <a:pt x="8108656" y="608439"/>
                  <a:pt x="8109013" y="603106"/>
                  <a:pt x="8107942" y="598128"/>
                </a:cubicBezTo>
                <a:cubicBezTo>
                  <a:pt x="8107227" y="593505"/>
                  <a:pt x="8109371" y="589950"/>
                  <a:pt x="8111156" y="586039"/>
                </a:cubicBezTo>
                <a:cubicBezTo>
                  <a:pt x="8112943" y="581772"/>
                  <a:pt x="8115800" y="578216"/>
                  <a:pt x="8121157" y="578216"/>
                </a:cubicBezTo>
                <a:cubicBezTo>
                  <a:pt x="8121871" y="578215"/>
                  <a:pt x="8122228" y="577860"/>
                  <a:pt x="8122228" y="576794"/>
                </a:cubicBezTo>
                <a:cubicBezTo>
                  <a:pt x="8124729" y="576794"/>
                  <a:pt x="8126872" y="576794"/>
                  <a:pt x="8129373" y="576794"/>
                </a:cubicBezTo>
                <a:close/>
                <a:moveTo>
                  <a:pt x="9782710" y="572357"/>
                </a:moveTo>
                <a:cubicBezTo>
                  <a:pt x="9785114" y="572384"/>
                  <a:pt x="9787409" y="572985"/>
                  <a:pt x="9789268" y="575605"/>
                </a:cubicBezTo>
                <a:cubicBezTo>
                  <a:pt x="9789923" y="576478"/>
                  <a:pt x="9791234" y="577569"/>
                  <a:pt x="9792983" y="577569"/>
                </a:cubicBezTo>
                <a:cubicBezTo>
                  <a:pt x="9795387" y="577351"/>
                  <a:pt x="9796699" y="578661"/>
                  <a:pt x="9797137" y="581062"/>
                </a:cubicBezTo>
                <a:cubicBezTo>
                  <a:pt x="9797573" y="582590"/>
                  <a:pt x="9798666" y="583464"/>
                  <a:pt x="9799760" y="584555"/>
                </a:cubicBezTo>
                <a:cubicBezTo>
                  <a:pt x="9802602" y="587175"/>
                  <a:pt x="9803913" y="590231"/>
                  <a:pt x="9802819" y="594160"/>
                </a:cubicBezTo>
                <a:cubicBezTo>
                  <a:pt x="9802163" y="596343"/>
                  <a:pt x="9802820" y="598744"/>
                  <a:pt x="9805006" y="600055"/>
                </a:cubicBezTo>
                <a:cubicBezTo>
                  <a:pt x="9805006" y="600928"/>
                  <a:pt x="9805006" y="601801"/>
                  <a:pt x="9805006" y="602674"/>
                </a:cubicBezTo>
                <a:cubicBezTo>
                  <a:pt x="9803038" y="603765"/>
                  <a:pt x="9802164" y="605076"/>
                  <a:pt x="9802382" y="607913"/>
                </a:cubicBezTo>
                <a:cubicBezTo>
                  <a:pt x="9802601" y="611843"/>
                  <a:pt x="9800852" y="614899"/>
                  <a:pt x="9796480" y="615772"/>
                </a:cubicBezTo>
                <a:cubicBezTo>
                  <a:pt x="9794513" y="615990"/>
                  <a:pt x="9794951" y="617519"/>
                  <a:pt x="9794950" y="618829"/>
                </a:cubicBezTo>
                <a:cubicBezTo>
                  <a:pt x="9794950" y="621011"/>
                  <a:pt x="9794076" y="621448"/>
                  <a:pt x="9792328" y="619920"/>
                </a:cubicBezTo>
                <a:cubicBezTo>
                  <a:pt x="9789704" y="617737"/>
                  <a:pt x="9787956" y="617737"/>
                  <a:pt x="9787300" y="621448"/>
                </a:cubicBezTo>
                <a:cubicBezTo>
                  <a:pt x="9787081" y="622322"/>
                  <a:pt x="9786427" y="623413"/>
                  <a:pt x="9785551" y="622322"/>
                </a:cubicBezTo>
                <a:cubicBezTo>
                  <a:pt x="9782710" y="619483"/>
                  <a:pt x="9780742" y="621230"/>
                  <a:pt x="9778557" y="623195"/>
                </a:cubicBezTo>
                <a:cubicBezTo>
                  <a:pt x="9778338" y="623631"/>
                  <a:pt x="9777464" y="623631"/>
                  <a:pt x="9777027" y="623631"/>
                </a:cubicBezTo>
                <a:cubicBezTo>
                  <a:pt x="9771781" y="620575"/>
                  <a:pt x="9766753" y="617082"/>
                  <a:pt x="9761507" y="613808"/>
                </a:cubicBezTo>
                <a:cubicBezTo>
                  <a:pt x="9759103" y="612279"/>
                  <a:pt x="9757792" y="608132"/>
                  <a:pt x="9756699" y="604857"/>
                </a:cubicBezTo>
                <a:cubicBezTo>
                  <a:pt x="9756262" y="603547"/>
                  <a:pt x="9756480" y="602238"/>
                  <a:pt x="9755169" y="601146"/>
                </a:cubicBezTo>
                <a:cubicBezTo>
                  <a:pt x="9753857" y="600055"/>
                  <a:pt x="9754076" y="598744"/>
                  <a:pt x="9754950" y="597435"/>
                </a:cubicBezTo>
                <a:cubicBezTo>
                  <a:pt x="9755387" y="596561"/>
                  <a:pt x="9756261" y="595470"/>
                  <a:pt x="9755605" y="594597"/>
                </a:cubicBezTo>
                <a:cubicBezTo>
                  <a:pt x="9753421" y="591977"/>
                  <a:pt x="9753201" y="590013"/>
                  <a:pt x="9756698" y="588702"/>
                </a:cubicBezTo>
                <a:cubicBezTo>
                  <a:pt x="9757573" y="588484"/>
                  <a:pt x="9757792" y="587175"/>
                  <a:pt x="9756917" y="586519"/>
                </a:cubicBezTo>
                <a:cubicBezTo>
                  <a:pt x="9754075" y="584118"/>
                  <a:pt x="9757135" y="583027"/>
                  <a:pt x="9757574" y="581281"/>
                </a:cubicBezTo>
                <a:cubicBezTo>
                  <a:pt x="9759103" y="575386"/>
                  <a:pt x="9765880" y="577133"/>
                  <a:pt x="9768502" y="572767"/>
                </a:cubicBezTo>
                <a:cubicBezTo>
                  <a:pt x="9769376" y="571239"/>
                  <a:pt x="9773529" y="572330"/>
                  <a:pt x="9775496" y="572548"/>
                </a:cubicBezTo>
                <a:cubicBezTo>
                  <a:pt x="9777792" y="572875"/>
                  <a:pt x="9780305" y="572330"/>
                  <a:pt x="9782710" y="572357"/>
                </a:cubicBezTo>
                <a:close/>
                <a:moveTo>
                  <a:pt x="8349139" y="567635"/>
                </a:moveTo>
                <a:cubicBezTo>
                  <a:pt x="8355030" y="571068"/>
                  <a:pt x="8360677" y="574991"/>
                  <a:pt x="8366568" y="578668"/>
                </a:cubicBezTo>
                <a:cubicBezTo>
                  <a:pt x="8369269" y="580384"/>
                  <a:pt x="8370741" y="585042"/>
                  <a:pt x="8371969" y="588720"/>
                </a:cubicBezTo>
                <a:cubicBezTo>
                  <a:pt x="8372460" y="590191"/>
                  <a:pt x="8372215" y="591661"/>
                  <a:pt x="8373688" y="592888"/>
                </a:cubicBezTo>
                <a:cubicBezTo>
                  <a:pt x="8375160" y="594113"/>
                  <a:pt x="8374914" y="595584"/>
                  <a:pt x="8373933" y="597055"/>
                </a:cubicBezTo>
                <a:cubicBezTo>
                  <a:pt x="8373442" y="598036"/>
                  <a:pt x="8372460" y="599262"/>
                  <a:pt x="8373196" y="600243"/>
                </a:cubicBezTo>
                <a:cubicBezTo>
                  <a:pt x="8375651" y="603184"/>
                  <a:pt x="8375896" y="605391"/>
                  <a:pt x="8371969" y="606862"/>
                </a:cubicBezTo>
                <a:cubicBezTo>
                  <a:pt x="8370987" y="607107"/>
                  <a:pt x="8370742" y="608578"/>
                  <a:pt x="8371724" y="609313"/>
                </a:cubicBezTo>
                <a:cubicBezTo>
                  <a:pt x="8374914" y="612010"/>
                  <a:pt x="8371478" y="613236"/>
                  <a:pt x="8370987" y="615197"/>
                </a:cubicBezTo>
                <a:cubicBezTo>
                  <a:pt x="8369268" y="621818"/>
                  <a:pt x="8361659" y="619856"/>
                  <a:pt x="8358713" y="624759"/>
                </a:cubicBezTo>
                <a:cubicBezTo>
                  <a:pt x="8357731" y="626475"/>
                  <a:pt x="8353067" y="625249"/>
                  <a:pt x="8350857" y="625005"/>
                </a:cubicBezTo>
                <a:cubicBezTo>
                  <a:pt x="8345703" y="624269"/>
                  <a:pt x="8339566" y="627456"/>
                  <a:pt x="8335392" y="621572"/>
                </a:cubicBezTo>
                <a:cubicBezTo>
                  <a:pt x="8334656" y="620591"/>
                  <a:pt x="8333183" y="619366"/>
                  <a:pt x="8331219" y="619365"/>
                </a:cubicBezTo>
                <a:cubicBezTo>
                  <a:pt x="8328519" y="619610"/>
                  <a:pt x="8327046" y="618140"/>
                  <a:pt x="8326555" y="615442"/>
                </a:cubicBezTo>
                <a:cubicBezTo>
                  <a:pt x="8326065" y="613726"/>
                  <a:pt x="8324836" y="612745"/>
                  <a:pt x="8323610" y="611520"/>
                </a:cubicBezTo>
                <a:cubicBezTo>
                  <a:pt x="8320418" y="608578"/>
                  <a:pt x="8318945" y="605146"/>
                  <a:pt x="8320173" y="600733"/>
                </a:cubicBezTo>
                <a:cubicBezTo>
                  <a:pt x="8320909" y="598281"/>
                  <a:pt x="8320172" y="595584"/>
                  <a:pt x="8317718" y="594114"/>
                </a:cubicBezTo>
                <a:cubicBezTo>
                  <a:pt x="8317718" y="593133"/>
                  <a:pt x="8317718" y="592152"/>
                  <a:pt x="8317718" y="591171"/>
                </a:cubicBezTo>
                <a:cubicBezTo>
                  <a:pt x="8319927" y="589946"/>
                  <a:pt x="8320909" y="588475"/>
                  <a:pt x="8320663" y="585287"/>
                </a:cubicBezTo>
                <a:cubicBezTo>
                  <a:pt x="8320418" y="580874"/>
                  <a:pt x="8322382" y="577442"/>
                  <a:pt x="8327292" y="576462"/>
                </a:cubicBezTo>
                <a:cubicBezTo>
                  <a:pt x="8329500" y="576216"/>
                  <a:pt x="8329010" y="574500"/>
                  <a:pt x="8329010" y="573029"/>
                </a:cubicBezTo>
                <a:cubicBezTo>
                  <a:pt x="8329009" y="570578"/>
                  <a:pt x="8329992" y="570087"/>
                  <a:pt x="8331956" y="571803"/>
                </a:cubicBezTo>
                <a:cubicBezTo>
                  <a:pt x="8334901" y="574255"/>
                  <a:pt x="8336865" y="574255"/>
                  <a:pt x="8337601" y="570088"/>
                </a:cubicBezTo>
                <a:cubicBezTo>
                  <a:pt x="8337847" y="569107"/>
                  <a:pt x="8338583" y="567881"/>
                  <a:pt x="8339565" y="569106"/>
                </a:cubicBezTo>
                <a:cubicBezTo>
                  <a:pt x="8342757" y="572294"/>
                  <a:pt x="8344967" y="570333"/>
                  <a:pt x="8347421" y="568125"/>
                </a:cubicBezTo>
                <a:cubicBezTo>
                  <a:pt x="8347667" y="567635"/>
                  <a:pt x="8348648" y="567635"/>
                  <a:pt x="8349139" y="567635"/>
                </a:cubicBezTo>
                <a:close/>
                <a:moveTo>
                  <a:pt x="8881204" y="561337"/>
                </a:moveTo>
                <a:lnTo>
                  <a:pt x="8881585" y="561427"/>
                </a:lnTo>
                <a:lnTo>
                  <a:pt x="8881379" y="561631"/>
                </a:lnTo>
                <a:close/>
                <a:moveTo>
                  <a:pt x="2859478" y="560539"/>
                </a:moveTo>
                <a:cubicBezTo>
                  <a:pt x="2865809" y="564228"/>
                  <a:pt x="2871877" y="568443"/>
                  <a:pt x="2878206" y="572395"/>
                </a:cubicBezTo>
                <a:cubicBezTo>
                  <a:pt x="2881109" y="574240"/>
                  <a:pt x="2882693" y="579244"/>
                  <a:pt x="2884011" y="583197"/>
                </a:cubicBezTo>
                <a:cubicBezTo>
                  <a:pt x="2884539" y="584777"/>
                  <a:pt x="2884274" y="586359"/>
                  <a:pt x="2885858" y="587676"/>
                </a:cubicBezTo>
                <a:cubicBezTo>
                  <a:pt x="2887441" y="588993"/>
                  <a:pt x="2887179" y="590573"/>
                  <a:pt x="2886122" y="592155"/>
                </a:cubicBezTo>
                <a:cubicBezTo>
                  <a:pt x="2885593" y="593208"/>
                  <a:pt x="2884539" y="594526"/>
                  <a:pt x="2885330" y="595579"/>
                </a:cubicBezTo>
                <a:cubicBezTo>
                  <a:pt x="2887969" y="598740"/>
                  <a:pt x="2888232" y="601111"/>
                  <a:pt x="2884011" y="602693"/>
                </a:cubicBezTo>
                <a:cubicBezTo>
                  <a:pt x="2882955" y="602955"/>
                  <a:pt x="2882692" y="604537"/>
                  <a:pt x="2883748" y="605327"/>
                </a:cubicBezTo>
                <a:cubicBezTo>
                  <a:pt x="2887179" y="608225"/>
                  <a:pt x="2883484" y="609542"/>
                  <a:pt x="2882955" y="611650"/>
                </a:cubicBezTo>
                <a:cubicBezTo>
                  <a:pt x="2881109" y="618764"/>
                  <a:pt x="2872931" y="616655"/>
                  <a:pt x="2869766" y="621925"/>
                </a:cubicBezTo>
                <a:cubicBezTo>
                  <a:pt x="2868709" y="623769"/>
                  <a:pt x="2863698" y="622452"/>
                  <a:pt x="2861325" y="622189"/>
                </a:cubicBezTo>
                <a:cubicBezTo>
                  <a:pt x="2855784" y="621398"/>
                  <a:pt x="2849189" y="624823"/>
                  <a:pt x="2844705" y="618500"/>
                </a:cubicBezTo>
                <a:cubicBezTo>
                  <a:pt x="2843913" y="617446"/>
                  <a:pt x="2842332" y="616129"/>
                  <a:pt x="2840221" y="616129"/>
                </a:cubicBezTo>
                <a:cubicBezTo>
                  <a:pt x="2837318" y="616392"/>
                  <a:pt x="2835736" y="614811"/>
                  <a:pt x="2835209" y="611913"/>
                </a:cubicBezTo>
                <a:cubicBezTo>
                  <a:pt x="2834680" y="610070"/>
                  <a:pt x="2833361" y="609016"/>
                  <a:pt x="2832044" y="607699"/>
                </a:cubicBezTo>
                <a:cubicBezTo>
                  <a:pt x="2828614" y="604537"/>
                  <a:pt x="2827031" y="600848"/>
                  <a:pt x="2828351" y="596106"/>
                </a:cubicBezTo>
                <a:cubicBezTo>
                  <a:pt x="2829140" y="593471"/>
                  <a:pt x="2828350" y="590574"/>
                  <a:pt x="2825711" y="588993"/>
                </a:cubicBezTo>
                <a:cubicBezTo>
                  <a:pt x="2825711" y="587939"/>
                  <a:pt x="2825711" y="586885"/>
                  <a:pt x="2825711" y="585831"/>
                </a:cubicBezTo>
                <a:cubicBezTo>
                  <a:pt x="2828087" y="584514"/>
                  <a:pt x="2829140" y="582933"/>
                  <a:pt x="2828878" y="579508"/>
                </a:cubicBezTo>
                <a:cubicBezTo>
                  <a:pt x="2828615" y="574767"/>
                  <a:pt x="2830724" y="571077"/>
                  <a:pt x="2836000" y="570024"/>
                </a:cubicBezTo>
                <a:cubicBezTo>
                  <a:pt x="2838373" y="569760"/>
                  <a:pt x="2837847" y="567916"/>
                  <a:pt x="2837847" y="566335"/>
                </a:cubicBezTo>
                <a:cubicBezTo>
                  <a:pt x="2837846" y="563701"/>
                  <a:pt x="2838901" y="563174"/>
                  <a:pt x="2841013" y="565018"/>
                </a:cubicBezTo>
                <a:cubicBezTo>
                  <a:pt x="2844179" y="567652"/>
                  <a:pt x="2846289" y="567653"/>
                  <a:pt x="2847079" y="563174"/>
                </a:cubicBezTo>
                <a:cubicBezTo>
                  <a:pt x="2847343" y="562120"/>
                  <a:pt x="2848134" y="560802"/>
                  <a:pt x="2849189" y="562120"/>
                </a:cubicBezTo>
                <a:cubicBezTo>
                  <a:pt x="2852619" y="565545"/>
                  <a:pt x="2854993" y="563437"/>
                  <a:pt x="2857632" y="561067"/>
                </a:cubicBezTo>
                <a:cubicBezTo>
                  <a:pt x="2857896" y="560539"/>
                  <a:pt x="2858952" y="560539"/>
                  <a:pt x="2859478" y="560539"/>
                </a:cubicBezTo>
                <a:close/>
                <a:moveTo>
                  <a:pt x="4504221" y="542912"/>
                </a:moveTo>
                <a:cubicBezTo>
                  <a:pt x="4505278" y="543416"/>
                  <a:pt x="4507069" y="543801"/>
                  <a:pt x="4508734" y="542929"/>
                </a:cubicBezTo>
                <a:cubicBezTo>
                  <a:pt x="4510915" y="541522"/>
                  <a:pt x="4512816" y="542115"/>
                  <a:pt x="4514429" y="544182"/>
                </a:cubicBezTo>
                <a:cubicBezTo>
                  <a:pt x="4515607" y="545419"/>
                  <a:pt x="4517085" y="545705"/>
                  <a:pt x="4518669" y="546199"/>
                </a:cubicBezTo>
                <a:cubicBezTo>
                  <a:pt x="4522680" y="547275"/>
                  <a:pt x="4525455" y="549530"/>
                  <a:pt x="4526371" y="553816"/>
                </a:cubicBezTo>
                <a:cubicBezTo>
                  <a:pt x="4526837" y="556221"/>
                  <a:pt x="4528656" y="558180"/>
                  <a:pt x="4531396" y="558336"/>
                </a:cubicBezTo>
                <a:cubicBezTo>
                  <a:pt x="4531828" y="559168"/>
                  <a:pt x="4532261" y="559999"/>
                  <a:pt x="4532701" y="560830"/>
                </a:cubicBezTo>
                <a:cubicBezTo>
                  <a:pt x="4531372" y="562850"/>
                  <a:pt x="4531192" y="564533"/>
                  <a:pt x="4532815" y="567126"/>
                </a:cubicBezTo>
                <a:cubicBezTo>
                  <a:pt x="4534983" y="570757"/>
                  <a:pt x="4534842" y="574538"/>
                  <a:pt x="4531119" y="577549"/>
                </a:cubicBezTo>
                <a:cubicBezTo>
                  <a:pt x="4529355" y="578738"/>
                  <a:pt x="4530530" y="579975"/>
                  <a:pt x="4531184" y="581222"/>
                </a:cubicBezTo>
                <a:cubicBezTo>
                  <a:pt x="4532275" y="583300"/>
                  <a:pt x="4531659" y="584152"/>
                  <a:pt x="4529231" y="583569"/>
                </a:cubicBezTo>
                <a:cubicBezTo>
                  <a:pt x="4525645" y="582799"/>
                  <a:pt x="4523980" y="583671"/>
                  <a:pt x="4525207" y="587531"/>
                </a:cubicBezTo>
                <a:cubicBezTo>
                  <a:pt x="4525436" y="588470"/>
                  <a:pt x="4525355" y="589836"/>
                  <a:pt x="4523979" y="589234"/>
                </a:cubicBezTo>
                <a:cubicBezTo>
                  <a:pt x="4519857" y="587950"/>
                  <a:pt x="4518858" y="590593"/>
                  <a:pt x="4517757" y="593553"/>
                </a:cubicBezTo>
                <a:cubicBezTo>
                  <a:pt x="4517764" y="594078"/>
                  <a:pt x="4516932" y="594514"/>
                  <a:pt x="4516519" y="594732"/>
                </a:cubicBezTo>
                <a:cubicBezTo>
                  <a:pt x="4510001" y="594439"/>
                  <a:pt x="4503469" y="593621"/>
                  <a:pt x="4496845" y="593120"/>
                </a:cubicBezTo>
                <a:cubicBezTo>
                  <a:pt x="4493791" y="592865"/>
                  <a:pt x="4490473" y="589571"/>
                  <a:pt x="4487805" y="586998"/>
                </a:cubicBezTo>
                <a:cubicBezTo>
                  <a:pt x="4486732" y="585970"/>
                  <a:pt x="4486291" y="584615"/>
                  <a:pt x="4484494" y="584229"/>
                </a:cubicBezTo>
                <a:cubicBezTo>
                  <a:pt x="4482699" y="583844"/>
                  <a:pt x="4482254" y="582488"/>
                  <a:pt x="4482437" y="580806"/>
                </a:cubicBezTo>
                <a:cubicBezTo>
                  <a:pt x="4482421" y="579757"/>
                  <a:pt x="4482706" y="578281"/>
                  <a:pt x="4481645" y="577778"/>
                </a:cubicBezTo>
                <a:cubicBezTo>
                  <a:pt x="4478264" y="576374"/>
                  <a:pt x="4477072" y="574612"/>
                  <a:pt x="4479743" y="571622"/>
                </a:cubicBezTo>
                <a:cubicBezTo>
                  <a:pt x="4480469" y="570978"/>
                  <a:pt x="4480022" y="569623"/>
                  <a:pt x="4478869" y="569435"/>
                </a:cubicBezTo>
                <a:cubicBezTo>
                  <a:pt x="4474964" y="568566"/>
                  <a:pt x="4477331" y="566001"/>
                  <a:pt x="4476878" y="564120"/>
                </a:cubicBezTo>
                <a:cubicBezTo>
                  <a:pt x="4475396" y="557747"/>
                  <a:pt x="4482712" y="556030"/>
                  <a:pt x="4483033" y="550566"/>
                </a:cubicBezTo>
                <a:cubicBezTo>
                  <a:pt x="4483106" y="548675"/>
                  <a:pt x="4487604" y="547644"/>
                  <a:pt x="4489584" y="546871"/>
                </a:cubicBezTo>
                <a:cubicBezTo>
                  <a:pt x="4494278" y="545204"/>
                  <a:pt x="4498065" y="539778"/>
                  <a:pt x="4504221" y="542912"/>
                </a:cubicBezTo>
                <a:close/>
                <a:moveTo>
                  <a:pt x="6288145" y="535747"/>
                </a:moveTo>
                <a:lnTo>
                  <a:pt x="6292938" y="544469"/>
                </a:lnTo>
                <a:cubicBezTo>
                  <a:pt x="6295369" y="551244"/>
                  <a:pt x="6298446" y="557475"/>
                  <a:pt x="6296607" y="565087"/>
                </a:cubicBezTo>
                <a:cubicBezTo>
                  <a:pt x="6294123" y="573241"/>
                  <a:pt x="6293972" y="582189"/>
                  <a:pt x="6286274" y="588114"/>
                </a:cubicBezTo>
                <a:lnTo>
                  <a:pt x="6282169" y="590120"/>
                </a:lnTo>
                <a:lnTo>
                  <a:pt x="6370681" y="596347"/>
                </a:lnTo>
                <a:cubicBezTo>
                  <a:pt x="6662270" y="628593"/>
                  <a:pt x="6945972" y="706899"/>
                  <a:pt x="7211608" y="826684"/>
                </a:cubicBezTo>
                <a:lnTo>
                  <a:pt x="7274309" y="857334"/>
                </a:lnTo>
                <a:lnTo>
                  <a:pt x="7273303" y="852977"/>
                </a:lnTo>
                <a:cubicBezTo>
                  <a:pt x="7271890" y="850860"/>
                  <a:pt x="7271536" y="848742"/>
                  <a:pt x="7273657" y="846977"/>
                </a:cubicBezTo>
                <a:cubicBezTo>
                  <a:pt x="7275778" y="845212"/>
                  <a:pt x="7275423" y="843095"/>
                  <a:pt x="7276130" y="840977"/>
                </a:cubicBezTo>
                <a:cubicBezTo>
                  <a:pt x="7277898" y="835682"/>
                  <a:pt x="7280018" y="828976"/>
                  <a:pt x="7283906" y="826505"/>
                </a:cubicBezTo>
                <a:cubicBezTo>
                  <a:pt x="7292387" y="821210"/>
                  <a:pt x="7300516" y="815563"/>
                  <a:pt x="7308998" y="810622"/>
                </a:cubicBezTo>
                <a:cubicBezTo>
                  <a:pt x="7309705" y="810622"/>
                  <a:pt x="7311119" y="810622"/>
                  <a:pt x="7311472" y="811327"/>
                </a:cubicBezTo>
                <a:cubicBezTo>
                  <a:pt x="7315007" y="814504"/>
                  <a:pt x="7318188" y="817328"/>
                  <a:pt x="7322781" y="812740"/>
                </a:cubicBezTo>
                <a:cubicBezTo>
                  <a:pt x="7324195" y="810975"/>
                  <a:pt x="7325255" y="812740"/>
                  <a:pt x="7325608" y="814151"/>
                </a:cubicBezTo>
                <a:cubicBezTo>
                  <a:pt x="7326669" y="820152"/>
                  <a:pt x="7329497" y="820152"/>
                  <a:pt x="7333738" y="816622"/>
                </a:cubicBezTo>
                <a:cubicBezTo>
                  <a:pt x="7336565" y="814152"/>
                  <a:pt x="7337979" y="814857"/>
                  <a:pt x="7337978" y="818387"/>
                </a:cubicBezTo>
                <a:cubicBezTo>
                  <a:pt x="7337978" y="820504"/>
                  <a:pt x="7337272" y="822976"/>
                  <a:pt x="7340452" y="823328"/>
                </a:cubicBezTo>
                <a:cubicBezTo>
                  <a:pt x="7347520" y="824740"/>
                  <a:pt x="7350348" y="829682"/>
                  <a:pt x="7349994" y="836035"/>
                </a:cubicBezTo>
                <a:cubicBezTo>
                  <a:pt x="7349641" y="840624"/>
                  <a:pt x="7351055" y="842741"/>
                  <a:pt x="7354236" y="844506"/>
                </a:cubicBezTo>
                <a:cubicBezTo>
                  <a:pt x="7354235" y="845918"/>
                  <a:pt x="7354235" y="847330"/>
                  <a:pt x="7354235" y="848742"/>
                </a:cubicBezTo>
                <a:cubicBezTo>
                  <a:pt x="7350702" y="850860"/>
                  <a:pt x="7349641" y="854742"/>
                  <a:pt x="7350702" y="858272"/>
                </a:cubicBezTo>
                <a:cubicBezTo>
                  <a:pt x="7352469" y="864625"/>
                  <a:pt x="7350348" y="869567"/>
                  <a:pt x="7345753" y="873802"/>
                </a:cubicBezTo>
                <a:cubicBezTo>
                  <a:pt x="7343986" y="875568"/>
                  <a:pt x="7342219" y="876979"/>
                  <a:pt x="7341512" y="879449"/>
                </a:cubicBezTo>
                <a:cubicBezTo>
                  <a:pt x="7340806" y="883333"/>
                  <a:pt x="7338685" y="885450"/>
                  <a:pt x="7334797" y="885097"/>
                </a:cubicBezTo>
                <a:lnTo>
                  <a:pt x="7333024" y="886035"/>
                </a:lnTo>
                <a:lnTo>
                  <a:pt x="7368740" y="903495"/>
                </a:lnTo>
                <a:cubicBezTo>
                  <a:pt x="7626741" y="1039688"/>
                  <a:pt x="7864637" y="1216454"/>
                  <a:pt x="8072250" y="1429192"/>
                </a:cubicBezTo>
                <a:cubicBezTo>
                  <a:pt x="8072250" y="1429192"/>
                  <a:pt x="8072250" y="1429192"/>
                  <a:pt x="8074054" y="1433579"/>
                </a:cubicBezTo>
                <a:cubicBezTo>
                  <a:pt x="8074054" y="1433579"/>
                  <a:pt x="8075858" y="1437968"/>
                  <a:pt x="8075858" y="1437968"/>
                </a:cubicBezTo>
                <a:cubicBezTo>
                  <a:pt x="8067865" y="1430996"/>
                  <a:pt x="8065281" y="1437185"/>
                  <a:pt x="8073274" y="1444155"/>
                </a:cubicBezTo>
                <a:cubicBezTo>
                  <a:pt x="8065281" y="1437185"/>
                  <a:pt x="8065281" y="1437185"/>
                  <a:pt x="8065281" y="1437185"/>
                </a:cubicBezTo>
                <a:cubicBezTo>
                  <a:pt x="8059091" y="1434599"/>
                  <a:pt x="8059091" y="1434599"/>
                  <a:pt x="8056506" y="1440791"/>
                </a:cubicBezTo>
                <a:cubicBezTo>
                  <a:pt x="8056506" y="1440791"/>
                  <a:pt x="8058309" y="1445178"/>
                  <a:pt x="8064499" y="1447761"/>
                </a:cubicBezTo>
                <a:cubicBezTo>
                  <a:pt x="8070689" y="1450345"/>
                  <a:pt x="8070689" y="1450345"/>
                  <a:pt x="8070689" y="1450345"/>
                </a:cubicBezTo>
                <a:cubicBezTo>
                  <a:pt x="8072492" y="1454733"/>
                  <a:pt x="8072492" y="1454733"/>
                  <a:pt x="8072492" y="1454733"/>
                </a:cubicBezTo>
                <a:cubicBezTo>
                  <a:pt x="8068105" y="1456535"/>
                  <a:pt x="8066362" y="1458534"/>
                  <a:pt x="8066716" y="1460953"/>
                </a:cubicBezTo>
                <a:lnTo>
                  <a:pt x="8067317" y="1461727"/>
                </a:lnTo>
                <a:lnTo>
                  <a:pt x="8082644" y="1452725"/>
                </a:lnTo>
                <a:lnTo>
                  <a:pt x="8081266" y="1451127"/>
                </a:lnTo>
                <a:cubicBezTo>
                  <a:pt x="8075076" y="1448542"/>
                  <a:pt x="8075076" y="1448542"/>
                  <a:pt x="8075076" y="1448542"/>
                </a:cubicBezTo>
                <a:cubicBezTo>
                  <a:pt x="8079461" y="1446740"/>
                  <a:pt x="8081266" y="1451127"/>
                  <a:pt x="8085653" y="1449324"/>
                </a:cubicBezTo>
                <a:lnTo>
                  <a:pt x="8086194" y="1450639"/>
                </a:lnTo>
                <a:lnTo>
                  <a:pt x="8089783" y="1448530"/>
                </a:lnTo>
                <a:cubicBezTo>
                  <a:pt x="8103178" y="1437386"/>
                  <a:pt x="8114813" y="1423947"/>
                  <a:pt x="8124382" y="1408243"/>
                </a:cubicBezTo>
                <a:lnTo>
                  <a:pt x="8131508" y="1400879"/>
                </a:lnTo>
                <a:lnTo>
                  <a:pt x="7957229" y="1229439"/>
                </a:lnTo>
                <a:lnTo>
                  <a:pt x="7932499" y="1209829"/>
                </a:lnTo>
                <a:lnTo>
                  <a:pt x="7923459" y="1218228"/>
                </a:lnTo>
                <a:cubicBezTo>
                  <a:pt x="7918932" y="1217227"/>
                  <a:pt x="7914909" y="1216226"/>
                  <a:pt x="7910382" y="1216226"/>
                </a:cubicBezTo>
                <a:cubicBezTo>
                  <a:pt x="7905855" y="1216226"/>
                  <a:pt x="7901328" y="1213220"/>
                  <a:pt x="7899317" y="1209215"/>
                </a:cubicBezTo>
                <a:cubicBezTo>
                  <a:pt x="7897808" y="1205711"/>
                  <a:pt x="7896299" y="1203707"/>
                  <a:pt x="7893281" y="1202205"/>
                </a:cubicBezTo>
                <a:cubicBezTo>
                  <a:pt x="7893281" y="1196197"/>
                  <a:pt x="7893280" y="1190189"/>
                  <a:pt x="7893281" y="1184180"/>
                </a:cubicBezTo>
                <a:lnTo>
                  <a:pt x="7896328" y="1181145"/>
                </a:lnTo>
                <a:lnTo>
                  <a:pt x="7732225" y="1051010"/>
                </a:lnTo>
                <a:cubicBezTo>
                  <a:pt x="7309218" y="749794"/>
                  <a:pt x="6810878" y="572326"/>
                  <a:pt x="6297971" y="536052"/>
                </a:cubicBezTo>
                <a:close/>
                <a:moveTo>
                  <a:pt x="6077440" y="529202"/>
                </a:moveTo>
                <a:cubicBezTo>
                  <a:pt x="5809481" y="531501"/>
                  <a:pt x="5539964" y="572574"/>
                  <a:pt x="5277342" y="654869"/>
                </a:cubicBezTo>
                <a:cubicBezTo>
                  <a:pt x="5218498" y="673921"/>
                  <a:pt x="5164064" y="691168"/>
                  <a:pt x="5107025" y="714606"/>
                </a:cubicBezTo>
                <a:cubicBezTo>
                  <a:pt x="5107025" y="714606"/>
                  <a:pt x="5105224" y="710219"/>
                  <a:pt x="5100837" y="712021"/>
                </a:cubicBezTo>
                <a:cubicBezTo>
                  <a:pt x="5087671" y="717431"/>
                  <a:pt x="5087671" y="717431"/>
                  <a:pt x="5087671" y="717431"/>
                </a:cubicBezTo>
                <a:cubicBezTo>
                  <a:pt x="5087671" y="717431"/>
                  <a:pt x="5083288" y="719233"/>
                  <a:pt x="5085094" y="723620"/>
                </a:cubicBezTo>
                <a:lnTo>
                  <a:pt x="4962265" y="774102"/>
                </a:lnTo>
                <a:cubicBezTo>
                  <a:pt x="4867524" y="818152"/>
                  <a:pt x="4779025" y="864786"/>
                  <a:pt x="4687914" y="917611"/>
                </a:cubicBezTo>
                <a:cubicBezTo>
                  <a:pt x="4614545" y="960580"/>
                  <a:pt x="4543638" y="1006388"/>
                  <a:pt x="4475346" y="1054892"/>
                </a:cubicBezTo>
                <a:lnTo>
                  <a:pt x="4420523" y="1097615"/>
                </a:lnTo>
                <a:lnTo>
                  <a:pt x="4435473" y="1101506"/>
                </a:lnTo>
                <a:lnTo>
                  <a:pt x="4438550" y="1102501"/>
                </a:lnTo>
                <a:lnTo>
                  <a:pt x="4659977" y="956656"/>
                </a:lnTo>
                <a:cubicBezTo>
                  <a:pt x="4752954" y="902740"/>
                  <a:pt x="4850034" y="853548"/>
                  <a:pt x="4951149" y="809437"/>
                </a:cubicBezTo>
                <a:cubicBezTo>
                  <a:pt x="4952947" y="813825"/>
                  <a:pt x="4952947" y="813825"/>
                  <a:pt x="4954747" y="818211"/>
                </a:cubicBezTo>
                <a:cubicBezTo>
                  <a:pt x="4895125" y="847838"/>
                  <a:pt x="4879612" y="884978"/>
                  <a:pt x="4847345" y="918751"/>
                </a:cubicBezTo>
                <a:cubicBezTo>
                  <a:pt x="4847345" y="918751"/>
                  <a:pt x="4857915" y="919532"/>
                  <a:pt x="4866690" y="915927"/>
                </a:cubicBezTo>
                <a:cubicBezTo>
                  <a:pt x="4852752" y="931913"/>
                  <a:pt x="4815857" y="941948"/>
                  <a:pt x="4791342" y="957153"/>
                </a:cubicBezTo>
                <a:cubicBezTo>
                  <a:pt x="4773015" y="974941"/>
                  <a:pt x="4743326" y="1002526"/>
                  <a:pt x="4743326" y="1002526"/>
                </a:cubicBezTo>
                <a:cubicBezTo>
                  <a:pt x="4751318" y="1009497"/>
                  <a:pt x="4768866" y="1002285"/>
                  <a:pt x="4790806" y="993271"/>
                </a:cubicBezTo>
                <a:cubicBezTo>
                  <a:pt x="4792605" y="997658"/>
                  <a:pt x="4788219" y="999460"/>
                  <a:pt x="4788219" y="999460"/>
                </a:cubicBezTo>
                <a:cubicBezTo>
                  <a:pt x="4783831" y="1001263"/>
                  <a:pt x="4783831" y="1001263"/>
                  <a:pt x="4783831" y="1001263"/>
                </a:cubicBezTo>
                <a:cubicBezTo>
                  <a:pt x="4783831" y="1001263"/>
                  <a:pt x="4779447" y="1003067"/>
                  <a:pt x="4779447" y="1003067"/>
                </a:cubicBezTo>
                <a:cubicBezTo>
                  <a:pt x="4779447" y="1003067"/>
                  <a:pt x="4775060" y="1004869"/>
                  <a:pt x="4770668" y="1006672"/>
                </a:cubicBezTo>
                <a:cubicBezTo>
                  <a:pt x="4772474" y="1011060"/>
                  <a:pt x="4772474" y="1011060"/>
                  <a:pt x="4776864" y="1009255"/>
                </a:cubicBezTo>
                <a:cubicBezTo>
                  <a:pt x="4776864" y="1009255"/>
                  <a:pt x="4781250" y="1007452"/>
                  <a:pt x="4781250" y="1007452"/>
                </a:cubicBezTo>
                <a:cubicBezTo>
                  <a:pt x="4785640" y="1005650"/>
                  <a:pt x="4785640" y="1005650"/>
                  <a:pt x="4785640" y="1005650"/>
                </a:cubicBezTo>
                <a:cubicBezTo>
                  <a:pt x="4762916" y="1025241"/>
                  <a:pt x="4798017" y="1010817"/>
                  <a:pt x="4800602" y="1004628"/>
                </a:cubicBezTo>
                <a:cubicBezTo>
                  <a:pt x="4804980" y="1002826"/>
                  <a:pt x="4803185" y="998438"/>
                  <a:pt x="4803185" y="998438"/>
                </a:cubicBezTo>
                <a:cubicBezTo>
                  <a:pt x="4803185" y="998438"/>
                  <a:pt x="4798798" y="1000242"/>
                  <a:pt x="4798798" y="1000242"/>
                </a:cubicBezTo>
                <a:cubicBezTo>
                  <a:pt x="4792605" y="997658"/>
                  <a:pt x="4792605" y="997658"/>
                  <a:pt x="4792605" y="997658"/>
                </a:cubicBezTo>
                <a:cubicBezTo>
                  <a:pt x="4792605" y="997658"/>
                  <a:pt x="4801384" y="994052"/>
                  <a:pt x="4805764" y="992249"/>
                </a:cubicBezTo>
                <a:cubicBezTo>
                  <a:pt x="4810147" y="990446"/>
                  <a:pt x="4810147" y="990446"/>
                  <a:pt x="4810147" y="990446"/>
                </a:cubicBezTo>
                <a:cubicBezTo>
                  <a:pt x="4840847" y="977826"/>
                  <a:pt x="4866387" y="977585"/>
                  <a:pt x="4854252" y="997958"/>
                </a:cubicBezTo>
                <a:cubicBezTo>
                  <a:pt x="4832325" y="1006971"/>
                  <a:pt x="4834125" y="1011359"/>
                  <a:pt x="4803424" y="1023979"/>
                </a:cubicBezTo>
                <a:cubicBezTo>
                  <a:pt x="4802645" y="1034556"/>
                  <a:pt x="4820188" y="1027345"/>
                  <a:pt x="4828183" y="1034315"/>
                </a:cubicBezTo>
                <a:cubicBezTo>
                  <a:pt x="4794113" y="1063710"/>
                  <a:pt x="4731901" y="1099527"/>
                  <a:pt x="4740925" y="1121464"/>
                </a:cubicBezTo>
                <a:cubicBezTo>
                  <a:pt x="4740925" y="1121464"/>
                  <a:pt x="4736530" y="1123267"/>
                  <a:pt x="4736530" y="1123267"/>
                </a:cubicBezTo>
                <a:cubicBezTo>
                  <a:pt x="4736530" y="1123267"/>
                  <a:pt x="4727761" y="1126872"/>
                  <a:pt x="4727761" y="1126872"/>
                </a:cubicBezTo>
                <a:cubicBezTo>
                  <a:pt x="4725173" y="1133063"/>
                  <a:pt x="4720794" y="1134866"/>
                  <a:pt x="4725173" y="1133063"/>
                </a:cubicBezTo>
                <a:cubicBezTo>
                  <a:pt x="4718205" y="1141056"/>
                  <a:pt x="4705048" y="1146463"/>
                  <a:pt x="4682330" y="1166056"/>
                </a:cubicBezTo>
                <a:cubicBezTo>
                  <a:pt x="4675352" y="1174049"/>
                  <a:pt x="4670965" y="1175852"/>
                  <a:pt x="4666584" y="1177654"/>
                </a:cubicBezTo>
                <a:cubicBezTo>
                  <a:pt x="4666584" y="1177654"/>
                  <a:pt x="4665937" y="1179203"/>
                  <a:pt x="4665298" y="1180749"/>
                </a:cubicBezTo>
                <a:lnTo>
                  <a:pt x="4664805" y="1181922"/>
                </a:lnTo>
                <a:lnTo>
                  <a:pt x="4739093" y="1210984"/>
                </a:lnTo>
                <a:lnTo>
                  <a:pt x="4746186" y="1206372"/>
                </a:lnTo>
                <a:cubicBezTo>
                  <a:pt x="4779777" y="1185174"/>
                  <a:pt x="4814177" y="1165641"/>
                  <a:pt x="4851795" y="1150918"/>
                </a:cubicBezTo>
                <a:cubicBezTo>
                  <a:pt x="4859079" y="1148227"/>
                  <a:pt x="4865025" y="1141892"/>
                  <a:pt x="4873818" y="1147758"/>
                </a:cubicBezTo>
                <a:cubicBezTo>
                  <a:pt x="4878965" y="1154967"/>
                  <a:pt x="4872940" y="1158847"/>
                  <a:pt x="4869299" y="1160192"/>
                </a:cubicBezTo>
                <a:lnTo>
                  <a:pt x="4766089" y="1221545"/>
                </a:lnTo>
                <a:lnTo>
                  <a:pt x="4786333" y="1229463"/>
                </a:lnTo>
                <a:lnTo>
                  <a:pt x="4788579" y="1224948"/>
                </a:lnTo>
                <a:cubicBezTo>
                  <a:pt x="4788579" y="1224948"/>
                  <a:pt x="4788579" y="1224948"/>
                  <a:pt x="4786780" y="1220561"/>
                </a:cubicBezTo>
                <a:cubicBezTo>
                  <a:pt x="4808713" y="1211546"/>
                  <a:pt x="4808713" y="1211546"/>
                  <a:pt x="4808713" y="1211546"/>
                </a:cubicBezTo>
                <a:cubicBezTo>
                  <a:pt x="4808713" y="1211546"/>
                  <a:pt x="4811297" y="1205358"/>
                  <a:pt x="4811297" y="1205358"/>
                </a:cubicBezTo>
                <a:cubicBezTo>
                  <a:pt x="4811297" y="1205358"/>
                  <a:pt x="4806904" y="1207160"/>
                  <a:pt x="4806904" y="1207160"/>
                </a:cubicBezTo>
                <a:cubicBezTo>
                  <a:pt x="4786780" y="1220561"/>
                  <a:pt x="4786780" y="1220561"/>
                  <a:pt x="4786780" y="1220561"/>
                </a:cubicBezTo>
                <a:cubicBezTo>
                  <a:pt x="4786780" y="1220561"/>
                  <a:pt x="4784978" y="1216175"/>
                  <a:pt x="4784978" y="1216175"/>
                </a:cubicBezTo>
                <a:cubicBezTo>
                  <a:pt x="4789366" y="1214371"/>
                  <a:pt x="4793751" y="1212569"/>
                  <a:pt x="4793751" y="1212569"/>
                </a:cubicBezTo>
                <a:cubicBezTo>
                  <a:pt x="4798140" y="1210765"/>
                  <a:pt x="4798140" y="1210765"/>
                  <a:pt x="4798140" y="1210765"/>
                </a:cubicBezTo>
                <a:cubicBezTo>
                  <a:pt x="4802525" y="1208964"/>
                  <a:pt x="4805107" y="1202774"/>
                  <a:pt x="4809492" y="1200970"/>
                </a:cubicBezTo>
                <a:cubicBezTo>
                  <a:pt x="4813880" y="1199168"/>
                  <a:pt x="4818266" y="1197365"/>
                  <a:pt x="4827038" y="1193758"/>
                </a:cubicBezTo>
                <a:cubicBezTo>
                  <a:pt x="4822654" y="1195562"/>
                  <a:pt x="4824453" y="1199949"/>
                  <a:pt x="4824453" y="1199949"/>
                </a:cubicBezTo>
                <a:cubicBezTo>
                  <a:pt x="4824453" y="1199949"/>
                  <a:pt x="4828844" y="1198146"/>
                  <a:pt x="4833231" y="1196344"/>
                </a:cubicBezTo>
                <a:cubicBezTo>
                  <a:pt x="4833231" y="1196344"/>
                  <a:pt x="4837615" y="1194541"/>
                  <a:pt x="4842000" y="1192737"/>
                </a:cubicBezTo>
                <a:cubicBezTo>
                  <a:pt x="4844587" y="1186547"/>
                  <a:pt x="4848967" y="1184744"/>
                  <a:pt x="4853355" y="1182941"/>
                </a:cubicBezTo>
                <a:cubicBezTo>
                  <a:pt x="4857734" y="1181140"/>
                  <a:pt x="4857734" y="1181140"/>
                  <a:pt x="4862125" y="1179336"/>
                </a:cubicBezTo>
                <a:cubicBezTo>
                  <a:pt x="4864702" y="1173146"/>
                  <a:pt x="4864702" y="1173146"/>
                  <a:pt x="4864702" y="1173146"/>
                </a:cubicBezTo>
                <a:cubicBezTo>
                  <a:pt x="4869094" y="1171343"/>
                  <a:pt x="4871679" y="1165153"/>
                  <a:pt x="4876071" y="1163350"/>
                </a:cubicBezTo>
                <a:cubicBezTo>
                  <a:pt x="4880451" y="1161547"/>
                  <a:pt x="4884843" y="1159743"/>
                  <a:pt x="4884843" y="1159743"/>
                </a:cubicBezTo>
                <a:cubicBezTo>
                  <a:pt x="4886651" y="1164131"/>
                  <a:pt x="4886651" y="1164131"/>
                  <a:pt x="4891040" y="1162327"/>
                </a:cubicBezTo>
                <a:cubicBezTo>
                  <a:pt x="4891040" y="1162327"/>
                  <a:pt x="4895432" y="1160524"/>
                  <a:pt x="4893619" y="1156139"/>
                </a:cubicBezTo>
                <a:cubicBezTo>
                  <a:pt x="4893619" y="1156139"/>
                  <a:pt x="4898007" y="1154337"/>
                  <a:pt x="4904198" y="1156921"/>
                </a:cubicBezTo>
                <a:cubicBezTo>
                  <a:pt x="4911175" y="1148926"/>
                  <a:pt x="4911175" y="1148926"/>
                  <a:pt x="4911175" y="1148926"/>
                </a:cubicBezTo>
                <a:cubicBezTo>
                  <a:pt x="4911175" y="1148926"/>
                  <a:pt x="4906790" y="1150730"/>
                  <a:pt x="4904989" y="1146344"/>
                </a:cubicBezTo>
                <a:cubicBezTo>
                  <a:pt x="4909364" y="1144540"/>
                  <a:pt x="4913761" y="1142737"/>
                  <a:pt x="4918150" y="1140935"/>
                </a:cubicBezTo>
                <a:cubicBezTo>
                  <a:pt x="4922536" y="1139132"/>
                  <a:pt x="4922536" y="1139132"/>
                  <a:pt x="4922536" y="1139132"/>
                </a:cubicBezTo>
                <a:cubicBezTo>
                  <a:pt x="4929504" y="1131137"/>
                  <a:pt x="4933889" y="1129336"/>
                  <a:pt x="4938284" y="1127532"/>
                </a:cubicBezTo>
                <a:cubicBezTo>
                  <a:pt x="4947064" y="1123927"/>
                  <a:pt x="4951451" y="1122123"/>
                  <a:pt x="4955838" y="1120320"/>
                </a:cubicBezTo>
                <a:cubicBezTo>
                  <a:pt x="4960223" y="1118517"/>
                  <a:pt x="4960223" y="1118517"/>
                  <a:pt x="4969000" y="1114911"/>
                </a:cubicBezTo>
                <a:cubicBezTo>
                  <a:pt x="4975194" y="1117496"/>
                  <a:pt x="4986548" y="1107698"/>
                  <a:pt x="4995316" y="1104093"/>
                </a:cubicBezTo>
                <a:cubicBezTo>
                  <a:pt x="4999702" y="1102289"/>
                  <a:pt x="5005887" y="1104873"/>
                  <a:pt x="5010279" y="1103071"/>
                </a:cubicBezTo>
                <a:cubicBezTo>
                  <a:pt x="5010279" y="1103071"/>
                  <a:pt x="5007691" y="1109261"/>
                  <a:pt x="5007691" y="1109261"/>
                </a:cubicBezTo>
                <a:cubicBezTo>
                  <a:pt x="5003309" y="1111064"/>
                  <a:pt x="5005110" y="1115452"/>
                  <a:pt x="5005110" y="1115452"/>
                </a:cubicBezTo>
                <a:cubicBezTo>
                  <a:pt x="5005110" y="1115452"/>
                  <a:pt x="5005110" y="1115452"/>
                  <a:pt x="5009496" y="1113649"/>
                </a:cubicBezTo>
                <a:cubicBezTo>
                  <a:pt x="5013881" y="1111847"/>
                  <a:pt x="5013881" y="1111847"/>
                  <a:pt x="5013881" y="1111847"/>
                </a:cubicBezTo>
                <a:cubicBezTo>
                  <a:pt x="5018271" y="1110042"/>
                  <a:pt x="5018271" y="1110042"/>
                  <a:pt x="5016467" y="1105654"/>
                </a:cubicBezTo>
                <a:cubicBezTo>
                  <a:pt x="5016467" y="1105654"/>
                  <a:pt x="5019051" y="1099464"/>
                  <a:pt x="5019051" y="1099464"/>
                </a:cubicBezTo>
                <a:cubicBezTo>
                  <a:pt x="5017250" y="1095076"/>
                  <a:pt x="5017250" y="1095076"/>
                  <a:pt x="5017250" y="1095076"/>
                </a:cubicBezTo>
                <a:cubicBezTo>
                  <a:pt x="5012860" y="1096880"/>
                  <a:pt x="5002286" y="1096097"/>
                  <a:pt x="4993513" y="1099705"/>
                </a:cubicBezTo>
                <a:cubicBezTo>
                  <a:pt x="4989135" y="1101508"/>
                  <a:pt x="4989135" y="1101508"/>
                  <a:pt x="4989135" y="1101508"/>
                </a:cubicBezTo>
                <a:cubicBezTo>
                  <a:pt x="4984746" y="1103310"/>
                  <a:pt x="4977779" y="1111306"/>
                  <a:pt x="4971591" y="1108721"/>
                </a:cubicBezTo>
                <a:cubicBezTo>
                  <a:pt x="4967199" y="1110525"/>
                  <a:pt x="4967199" y="1110525"/>
                  <a:pt x="4962811" y="1112326"/>
                </a:cubicBezTo>
                <a:cubicBezTo>
                  <a:pt x="4965394" y="1106137"/>
                  <a:pt x="4974170" y="1102530"/>
                  <a:pt x="4982943" y="1098924"/>
                </a:cubicBezTo>
                <a:cubicBezTo>
                  <a:pt x="4991707" y="1095316"/>
                  <a:pt x="5000477" y="1091711"/>
                  <a:pt x="5007455" y="1083719"/>
                </a:cubicBezTo>
                <a:cubicBezTo>
                  <a:pt x="5011839" y="1081917"/>
                  <a:pt x="5013643" y="1086303"/>
                  <a:pt x="5018026" y="1084500"/>
                </a:cubicBezTo>
                <a:cubicBezTo>
                  <a:pt x="5026809" y="1080895"/>
                  <a:pt x="5026809" y="1080895"/>
                  <a:pt x="5026809" y="1080895"/>
                </a:cubicBezTo>
                <a:cubicBezTo>
                  <a:pt x="5035576" y="1077291"/>
                  <a:pt x="5039965" y="1075488"/>
                  <a:pt x="5048742" y="1071882"/>
                </a:cubicBezTo>
                <a:cubicBezTo>
                  <a:pt x="5046155" y="1078070"/>
                  <a:pt x="5046155" y="1078070"/>
                  <a:pt x="5046155" y="1078070"/>
                </a:cubicBezTo>
                <a:cubicBezTo>
                  <a:pt x="5041769" y="1079873"/>
                  <a:pt x="5041769" y="1079873"/>
                  <a:pt x="5047958" y="1082457"/>
                </a:cubicBezTo>
                <a:cubicBezTo>
                  <a:pt x="5047958" y="1082457"/>
                  <a:pt x="5047958" y="1082457"/>
                  <a:pt x="5052347" y="1080654"/>
                </a:cubicBezTo>
                <a:cubicBezTo>
                  <a:pt x="5052347" y="1080654"/>
                  <a:pt x="5056732" y="1078852"/>
                  <a:pt x="5056732" y="1078852"/>
                </a:cubicBezTo>
                <a:cubicBezTo>
                  <a:pt x="5059313" y="1072662"/>
                  <a:pt x="5059313" y="1072662"/>
                  <a:pt x="5059313" y="1072662"/>
                </a:cubicBezTo>
                <a:cubicBezTo>
                  <a:pt x="5059313" y="1072662"/>
                  <a:pt x="5063706" y="1070859"/>
                  <a:pt x="5063706" y="1070859"/>
                </a:cubicBezTo>
                <a:cubicBezTo>
                  <a:pt x="5063706" y="1070859"/>
                  <a:pt x="5063706" y="1070859"/>
                  <a:pt x="5068089" y="1069055"/>
                </a:cubicBezTo>
                <a:cubicBezTo>
                  <a:pt x="5072479" y="1067254"/>
                  <a:pt x="5079447" y="1059261"/>
                  <a:pt x="5083833" y="1057459"/>
                </a:cubicBezTo>
                <a:cubicBezTo>
                  <a:pt x="5096990" y="1052050"/>
                  <a:pt x="5099579" y="1045852"/>
                  <a:pt x="5105774" y="1048435"/>
                </a:cubicBezTo>
                <a:cubicBezTo>
                  <a:pt x="5107571" y="1052831"/>
                  <a:pt x="5111957" y="1051028"/>
                  <a:pt x="5111957" y="1051028"/>
                </a:cubicBezTo>
                <a:cubicBezTo>
                  <a:pt x="5111957" y="1051028"/>
                  <a:pt x="5113755" y="1055415"/>
                  <a:pt x="5109372" y="1057218"/>
                </a:cubicBezTo>
                <a:cubicBezTo>
                  <a:pt x="5091822" y="1064429"/>
                  <a:pt x="5074275" y="1071640"/>
                  <a:pt x="5058533" y="1083238"/>
                </a:cubicBezTo>
                <a:cubicBezTo>
                  <a:pt x="5054145" y="1085042"/>
                  <a:pt x="5054145" y="1085042"/>
                  <a:pt x="5054145" y="1085042"/>
                </a:cubicBezTo>
                <a:cubicBezTo>
                  <a:pt x="5055951" y="1089427"/>
                  <a:pt x="5060334" y="1087624"/>
                  <a:pt x="5060334" y="1087624"/>
                </a:cubicBezTo>
                <a:cubicBezTo>
                  <a:pt x="5076080" y="1076027"/>
                  <a:pt x="5093623" y="1068815"/>
                  <a:pt x="5111177" y="1061604"/>
                </a:cubicBezTo>
                <a:cubicBezTo>
                  <a:pt x="5112982" y="1065991"/>
                  <a:pt x="5114783" y="1070378"/>
                  <a:pt x="5125357" y="1071160"/>
                </a:cubicBezTo>
                <a:cubicBezTo>
                  <a:pt x="5147291" y="1062145"/>
                  <a:pt x="5155294" y="1069116"/>
                  <a:pt x="5177227" y="1060101"/>
                </a:cubicBezTo>
                <a:cubicBezTo>
                  <a:pt x="5243279" y="1058598"/>
                  <a:pt x="5317075" y="1038518"/>
                  <a:pt x="5367125" y="1023073"/>
                </a:cubicBezTo>
                <a:cubicBezTo>
                  <a:pt x="5371516" y="1021270"/>
                  <a:pt x="5371516" y="1021270"/>
                  <a:pt x="5371516" y="1021270"/>
                </a:cubicBezTo>
                <a:cubicBezTo>
                  <a:pt x="5371516" y="1021270"/>
                  <a:pt x="5375902" y="1019468"/>
                  <a:pt x="5375902" y="1019468"/>
                </a:cubicBezTo>
                <a:cubicBezTo>
                  <a:pt x="5374093" y="1015080"/>
                  <a:pt x="5374093" y="1015080"/>
                  <a:pt x="5369707" y="1016883"/>
                </a:cubicBezTo>
                <a:cubicBezTo>
                  <a:pt x="5319650" y="1032329"/>
                  <a:pt x="5250242" y="1050607"/>
                  <a:pt x="5184191" y="1052109"/>
                </a:cubicBezTo>
                <a:cubicBezTo>
                  <a:pt x="5188587" y="1050307"/>
                  <a:pt x="5188587" y="1050307"/>
                  <a:pt x="5188587" y="1050307"/>
                </a:cubicBezTo>
                <a:cubicBezTo>
                  <a:pt x="5186782" y="1045911"/>
                  <a:pt x="5182406" y="1047714"/>
                  <a:pt x="5176214" y="1045130"/>
                </a:cubicBezTo>
                <a:cubicBezTo>
                  <a:pt x="5180598" y="1043326"/>
                  <a:pt x="5184981" y="1041523"/>
                  <a:pt x="5189366" y="1039721"/>
                </a:cubicBezTo>
                <a:cubicBezTo>
                  <a:pt x="5189366" y="1039721"/>
                  <a:pt x="5189366" y="1039721"/>
                  <a:pt x="5191164" y="1044108"/>
                </a:cubicBezTo>
                <a:cubicBezTo>
                  <a:pt x="5195547" y="1042305"/>
                  <a:pt x="5195547" y="1042305"/>
                  <a:pt x="5195547" y="1042305"/>
                </a:cubicBezTo>
                <a:cubicBezTo>
                  <a:pt x="5195547" y="1042305"/>
                  <a:pt x="5195547" y="1042305"/>
                  <a:pt x="5199930" y="1040502"/>
                </a:cubicBezTo>
                <a:cubicBezTo>
                  <a:pt x="5199930" y="1040502"/>
                  <a:pt x="5198134" y="1036115"/>
                  <a:pt x="5198134" y="1036115"/>
                </a:cubicBezTo>
                <a:cubicBezTo>
                  <a:pt x="5208704" y="1036897"/>
                  <a:pt x="5217469" y="1033291"/>
                  <a:pt x="5221866" y="1031488"/>
                </a:cubicBezTo>
                <a:cubicBezTo>
                  <a:pt x="5226252" y="1029685"/>
                  <a:pt x="5226252" y="1029685"/>
                  <a:pt x="5230649" y="1027882"/>
                </a:cubicBezTo>
                <a:cubicBezTo>
                  <a:pt x="5235035" y="1026080"/>
                  <a:pt x="5239429" y="1024277"/>
                  <a:pt x="5243817" y="1022473"/>
                </a:cubicBezTo>
                <a:lnTo>
                  <a:pt x="5248204" y="1020671"/>
                </a:lnTo>
                <a:cubicBezTo>
                  <a:pt x="5250007" y="1025059"/>
                  <a:pt x="5250007" y="1025059"/>
                  <a:pt x="5254397" y="1023255"/>
                </a:cubicBezTo>
                <a:cubicBezTo>
                  <a:pt x="5258772" y="1021452"/>
                  <a:pt x="5258772" y="1021452"/>
                  <a:pt x="5263164" y="1019649"/>
                </a:cubicBezTo>
                <a:cubicBezTo>
                  <a:pt x="5263164" y="1019649"/>
                  <a:pt x="5265748" y="1013459"/>
                  <a:pt x="5265748" y="1013459"/>
                </a:cubicBezTo>
                <a:cubicBezTo>
                  <a:pt x="5299035" y="994649"/>
                  <a:pt x="5334129" y="980226"/>
                  <a:pt x="5371033" y="970190"/>
                </a:cubicBezTo>
                <a:cubicBezTo>
                  <a:pt x="5390381" y="967365"/>
                  <a:pt x="5403544" y="961956"/>
                  <a:pt x="5422891" y="959131"/>
                </a:cubicBezTo>
                <a:cubicBezTo>
                  <a:pt x="5422891" y="959131"/>
                  <a:pt x="5421086" y="954744"/>
                  <a:pt x="5416703" y="956548"/>
                </a:cubicBezTo>
                <a:cubicBezTo>
                  <a:pt x="5449210" y="948314"/>
                  <a:pt x="5475530" y="937496"/>
                  <a:pt x="5508036" y="929263"/>
                </a:cubicBezTo>
                <a:cubicBezTo>
                  <a:pt x="5512426" y="927461"/>
                  <a:pt x="5512426" y="927461"/>
                  <a:pt x="5510626" y="923074"/>
                </a:cubicBezTo>
                <a:cubicBezTo>
                  <a:pt x="5519397" y="919468"/>
                  <a:pt x="5525586" y="922051"/>
                  <a:pt x="5534361" y="918446"/>
                </a:cubicBezTo>
                <a:cubicBezTo>
                  <a:pt x="5529972" y="920248"/>
                  <a:pt x="5536160" y="922833"/>
                  <a:pt x="5540549" y="921030"/>
                </a:cubicBezTo>
                <a:cubicBezTo>
                  <a:pt x="5538745" y="916643"/>
                  <a:pt x="5543133" y="914840"/>
                  <a:pt x="5547522" y="913037"/>
                </a:cubicBezTo>
                <a:cubicBezTo>
                  <a:pt x="5556294" y="909432"/>
                  <a:pt x="5566867" y="910214"/>
                  <a:pt x="5575640" y="906607"/>
                </a:cubicBezTo>
                <a:cubicBezTo>
                  <a:pt x="5575640" y="906607"/>
                  <a:pt x="5580029" y="904805"/>
                  <a:pt x="5580029" y="904805"/>
                </a:cubicBezTo>
                <a:cubicBezTo>
                  <a:pt x="5584415" y="903001"/>
                  <a:pt x="5590603" y="905584"/>
                  <a:pt x="5594991" y="903782"/>
                </a:cubicBezTo>
                <a:cubicBezTo>
                  <a:pt x="5599375" y="901979"/>
                  <a:pt x="5599375" y="901979"/>
                  <a:pt x="5599375" y="901979"/>
                </a:cubicBezTo>
                <a:cubicBezTo>
                  <a:pt x="5599375" y="901979"/>
                  <a:pt x="5603761" y="900176"/>
                  <a:pt x="5603761" y="900176"/>
                </a:cubicBezTo>
                <a:cubicBezTo>
                  <a:pt x="5631887" y="893746"/>
                  <a:pt x="5661789" y="891703"/>
                  <a:pt x="5685524" y="887075"/>
                </a:cubicBezTo>
                <a:cubicBezTo>
                  <a:pt x="5685524" y="887075"/>
                  <a:pt x="5692493" y="879083"/>
                  <a:pt x="5698685" y="881666"/>
                </a:cubicBezTo>
                <a:cubicBezTo>
                  <a:pt x="5698685" y="881666"/>
                  <a:pt x="5703074" y="879862"/>
                  <a:pt x="5703074" y="879862"/>
                </a:cubicBezTo>
                <a:cubicBezTo>
                  <a:pt x="5698685" y="881666"/>
                  <a:pt x="5711842" y="876257"/>
                  <a:pt x="5720619" y="872651"/>
                </a:cubicBezTo>
                <a:cubicBezTo>
                  <a:pt x="5739967" y="869827"/>
                  <a:pt x="5761119" y="871389"/>
                  <a:pt x="5776086" y="870367"/>
                </a:cubicBezTo>
                <a:cubicBezTo>
                  <a:pt x="5859672" y="861653"/>
                  <a:pt x="5923912" y="855764"/>
                  <a:pt x="5983764" y="851677"/>
                </a:cubicBezTo>
                <a:cubicBezTo>
                  <a:pt x="5988149" y="849873"/>
                  <a:pt x="5988149" y="849873"/>
                  <a:pt x="5988149" y="849873"/>
                </a:cubicBezTo>
                <a:cubicBezTo>
                  <a:pt x="5994338" y="852458"/>
                  <a:pt x="5994338" y="852458"/>
                  <a:pt x="5994338" y="852458"/>
                </a:cubicBezTo>
                <a:cubicBezTo>
                  <a:pt x="6018585" y="855312"/>
                  <a:pt x="6041740" y="858617"/>
                  <a:pt x="6065982" y="861472"/>
                </a:cubicBezTo>
                <a:lnTo>
                  <a:pt x="6135789" y="867103"/>
                </a:lnTo>
                <a:lnTo>
                  <a:pt x="6134312" y="867116"/>
                </a:lnTo>
                <a:cubicBezTo>
                  <a:pt x="6128012" y="867383"/>
                  <a:pt x="6122400" y="867766"/>
                  <a:pt x="6118659" y="868022"/>
                </a:cubicBezTo>
                <a:cubicBezTo>
                  <a:pt x="6114275" y="869825"/>
                  <a:pt x="6108085" y="867240"/>
                  <a:pt x="6108085" y="867240"/>
                </a:cubicBezTo>
                <a:cubicBezTo>
                  <a:pt x="6086936" y="865679"/>
                  <a:pt x="6074565" y="860510"/>
                  <a:pt x="6071978" y="866699"/>
                </a:cubicBezTo>
                <a:cubicBezTo>
                  <a:pt x="6063989" y="859728"/>
                  <a:pt x="6034061" y="861772"/>
                  <a:pt x="6010324" y="866399"/>
                </a:cubicBezTo>
                <a:cubicBezTo>
                  <a:pt x="6005938" y="868202"/>
                  <a:pt x="6001552" y="870006"/>
                  <a:pt x="5999748" y="865620"/>
                </a:cubicBezTo>
                <a:cubicBezTo>
                  <a:pt x="5999748" y="865620"/>
                  <a:pt x="5993559" y="863035"/>
                  <a:pt x="5989173" y="864837"/>
                </a:cubicBezTo>
                <a:cubicBezTo>
                  <a:pt x="5984784" y="866641"/>
                  <a:pt x="5980398" y="868444"/>
                  <a:pt x="5986587" y="871028"/>
                </a:cubicBezTo>
                <a:cubicBezTo>
                  <a:pt x="5988390" y="875413"/>
                  <a:pt x="5998969" y="876196"/>
                  <a:pt x="6009542" y="876977"/>
                </a:cubicBezTo>
                <a:cubicBezTo>
                  <a:pt x="6013929" y="875173"/>
                  <a:pt x="6013929" y="875173"/>
                  <a:pt x="6013929" y="875173"/>
                </a:cubicBezTo>
                <a:cubicBezTo>
                  <a:pt x="6056235" y="878299"/>
                  <a:pt x="6072999" y="881664"/>
                  <a:pt x="6107302" y="877819"/>
                </a:cubicBezTo>
                <a:cubicBezTo>
                  <a:pt x="6107302" y="877819"/>
                  <a:pt x="6111691" y="876015"/>
                  <a:pt x="6111691" y="876015"/>
                </a:cubicBezTo>
                <a:cubicBezTo>
                  <a:pt x="6117878" y="878597"/>
                  <a:pt x="6134646" y="881964"/>
                  <a:pt x="6140834" y="884548"/>
                </a:cubicBezTo>
                <a:cubicBezTo>
                  <a:pt x="6147806" y="876554"/>
                  <a:pt x="6151412" y="885329"/>
                  <a:pt x="6172566" y="886891"/>
                </a:cubicBezTo>
                <a:cubicBezTo>
                  <a:pt x="6190625" y="887162"/>
                  <a:pt x="6212423" y="887176"/>
                  <a:pt x="6234899" y="888836"/>
                </a:cubicBezTo>
                <a:lnTo>
                  <a:pt x="6290539" y="898739"/>
                </a:lnTo>
                <a:lnTo>
                  <a:pt x="6286326" y="901674"/>
                </a:lnTo>
                <a:cubicBezTo>
                  <a:pt x="6370940" y="907923"/>
                  <a:pt x="6448583" y="922165"/>
                  <a:pt x="6538608" y="941577"/>
                </a:cubicBezTo>
                <a:cubicBezTo>
                  <a:pt x="6538608" y="941577"/>
                  <a:pt x="6540410" y="945962"/>
                  <a:pt x="6540410" y="945962"/>
                </a:cubicBezTo>
                <a:cubicBezTo>
                  <a:pt x="6544799" y="944159"/>
                  <a:pt x="6544799" y="944159"/>
                  <a:pt x="6544799" y="944159"/>
                </a:cubicBezTo>
                <a:cubicBezTo>
                  <a:pt x="6544799" y="944159"/>
                  <a:pt x="6544799" y="944159"/>
                  <a:pt x="6549184" y="942357"/>
                </a:cubicBezTo>
                <a:cubicBezTo>
                  <a:pt x="6555374" y="944941"/>
                  <a:pt x="6563367" y="951912"/>
                  <a:pt x="6569557" y="954495"/>
                </a:cubicBezTo>
                <a:cubicBezTo>
                  <a:pt x="6579113" y="940313"/>
                  <a:pt x="6618054" y="960205"/>
                  <a:pt x="6645396" y="964352"/>
                </a:cubicBezTo>
                <a:cubicBezTo>
                  <a:pt x="6642812" y="970541"/>
                  <a:pt x="6630433" y="965373"/>
                  <a:pt x="6632237" y="969759"/>
                </a:cubicBezTo>
                <a:cubicBezTo>
                  <a:pt x="6663186" y="982680"/>
                  <a:pt x="6633017" y="959181"/>
                  <a:pt x="6668354" y="970301"/>
                </a:cubicBezTo>
                <a:cubicBezTo>
                  <a:pt x="6670157" y="974687"/>
                  <a:pt x="6663967" y="972103"/>
                  <a:pt x="6665770" y="976490"/>
                </a:cubicBezTo>
                <a:cubicBezTo>
                  <a:pt x="6703691" y="981418"/>
                  <a:pt x="6736443" y="998725"/>
                  <a:pt x="6761984" y="998485"/>
                </a:cubicBezTo>
                <a:cubicBezTo>
                  <a:pt x="6761984" y="998485"/>
                  <a:pt x="6751407" y="997704"/>
                  <a:pt x="6763786" y="1002871"/>
                </a:cubicBezTo>
                <a:cubicBezTo>
                  <a:pt x="6787524" y="998244"/>
                  <a:pt x="6811502" y="1019156"/>
                  <a:pt x="6836260" y="1029494"/>
                </a:cubicBezTo>
                <a:cubicBezTo>
                  <a:pt x="6867992" y="1031836"/>
                  <a:pt x="6898941" y="1044757"/>
                  <a:pt x="6925504" y="1059488"/>
                </a:cubicBezTo>
                <a:cubicBezTo>
                  <a:pt x="6938786" y="1066850"/>
                  <a:pt x="6952067" y="1074211"/>
                  <a:pt x="6967218" y="1081444"/>
                </a:cubicBezTo>
                <a:lnTo>
                  <a:pt x="7013833" y="1100105"/>
                </a:lnTo>
                <a:lnTo>
                  <a:pt x="7009579" y="1101853"/>
                </a:lnTo>
                <a:cubicBezTo>
                  <a:pt x="7011380" y="1106241"/>
                  <a:pt x="7011380" y="1106241"/>
                  <a:pt x="7015769" y="1104438"/>
                </a:cubicBezTo>
                <a:cubicBezTo>
                  <a:pt x="7026345" y="1105220"/>
                  <a:pt x="7026345" y="1105220"/>
                  <a:pt x="7026345" y="1105220"/>
                </a:cubicBezTo>
                <a:cubicBezTo>
                  <a:pt x="7021957" y="1107024"/>
                  <a:pt x="7021957" y="1107024"/>
                  <a:pt x="7021957" y="1107024"/>
                </a:cubicBezTo>
                <a:cubicBezTo>
                  <a:pt x="7029951" y="1113994"/>
                  <a:pt x="7042331" y="1119165"/>
                  <a:pt x="7059096" y="1122529"/>
                </a:cubicBezTo>
                <a:cubicBezTo>
                  <a:pt x="7059096" y="1122529"/>
                  <a:pt x="7063484" y="1120725"/>
                  <a:pt x="7063484" y="1120725"/>
                </a:cubicBezTo>
                <a:cubicBezTo>
                  <a:pt x="7067871" y="1118921"/>
                  <a:pt x="7069675" y="1123309"/>
                  <a:pt x="7074061" y="1121508"/>
                </a:cubicBezTo>
                <a:cubicBezTo>
                  <a:pt x="7069675" y="1123309"/>
                  <a:pt x="7063484" y="1120725"/>
                  <a:pt x="7065287" y="1125112"/>
                </a:cubicBezTo>
                <a:cubicBezTo>
                  <a:pt x="7071477" y="1127697"/>
                  <a:pt x="7077666" y="1130282"/>
                  <a:pt x="7083856" y="1132866"/>
                </a:cubicBezTo>
                <a:cubicBezTo>
                  <a:pt x="7079468" y="1134669"/>
                  <a:pt x="7079468" y="1134669"/>
                  <a:pt x="7079468" y="1134669"/>
                </a:cubicBezTo>
                <a:cubicBezTo>
                  <a:pt x="7079468" y="1134669"/>
                  <a:pt x="7079468" y="1134669"/>
                  <a:pt x="7075083" y="1136472"/>
                </a:cubicBezTo>
                <a:cubicBezTo>
                  <a:pt x="7075083" y="1136472"/>
                  <a:pt x="7075083" y="1136472"/>
                  <a:pt x="7076886" y="1140859"/>
                </a:cubicBezTo>
                <a:cubicBezTo>
                  <a:pt x="7081272" y="1139056"/>
                  <a:pt x="7085660" y="1137253"/>
                  <a:pt x="7085660" y="1137253"/>
                </a:cubicBezTo>
                <a:cubicBezTo>
                  <a:pt x="7085660" y="1137253"/>
                  <a:pt x="7085660" y="1137253"/>
                  <a:pt x="7090046" y="1135449"/>
                </a:cubicBezTo>
                <a:cubicBezTo>
                  <a:pt x="7090046" y="1135449"/>
                  <a:pt x="7096237" y="1138034"/>
                  <a:pt x="7096237" y="1138034"/>
                </a:cubicBezTo>
                <a:cubicBezTo>
                  <a:pt x="7096237" y="1138034"/>
                  <a:pt x="7098040" y="1142421"/>
                  <a:pt x="7098040" y="1142421"/>
                </a:cubicBezTo>
                <a:cubicBezTo>
                  <a:pt x="7098040" y="1142421"/>
                  <a:pt x="7099843" y="1146809"/>
                  <a:pt x="7099843" y="1146809"/>
                </a:cubicBezTo>
                <a:cubicBezTo>
                  <a:pt x="7104229" y="1145006"/>
                  <a:pt x="7104229" y="1145006"/>
                  <a:pt x="7104229" y="1145006"/>
                </a:cubicBezTo>
                <a:cubicBezTo>
                  <a:pt x="7108617" y="1143202"/>
                  <a:pt x="7108617" y="1143202"/>
                  <a:pt x="7108617" y="1143202"/>
                </a:cubicBezTo>
                <a:lnTo>
                  <a:pt x="7110529" y="1144490"/>
                </a:lnTo>
                <a:lnTo>
                  <a:pt x="7110249" y="1142742"/>
                </a:lnTo>
                <a:lnTo>
                  <a:pt x="7107699" y="1132185"/>
                </a:lnTo>
                <a:lnTo>
                  <a:pt x="7100788" y="1130395"/>
                </a:lnTo>
                <a:cubicBezTo>
                  <a:pt x="7097468" y="1128553"/>
                  <a:pt x="7093922" y="1126164"/>
                  <a:pt x="7090828" y="1124872"/>
                </a:cubicBezTo>
                <a:cubicBezTo>
                  <a:pt x="7095215" y="1123069"/>
                  <a:pt x="7076645" y="1115318"/>
                  <a:pt x="7076645" y="1115318"/>
                </a:cubicBezTo>
                <a:cubicBezTo>
                  <a:pt x="7070455" y="1112733"/>
                  <a:pt x="7064265" y="1110148"/>
                  <a:pt x="7059879" y="1111952"/>
                </a:cubicBezTo>
                <a:cubicBezTo>
                  <a:pt x="7058075" y="1107564"/>
                  <a:pt x="7058075" y="1107564"/>
                  <a:pt x="7058075" y="1107564"/>
                </a:cubicBezTo>
                <a:cubicBezTo>
                  <a:pt x="7009336" y="1076315"/>
                  <a:pt x="6939447" y="1043494"/>
                  <a:pt x="6889927" y="1022822"/>
                </a:cubicBezTo>
                <a:cubicBezTo>
                  <a:pt x="6888124" y="1018435"/>
                  <a:pt x="6888124" y="1018435"/>
                  <a:pt x="6888124" y="1018435"/>
                </a:cubicBezTo>
                <a:cubicBezTo>
                  <a:pt x="6888124" y="1018435"/>
                  <a:pt x="6888124" y="1018435"/>
                  <a:pt x="6886322" y="1014048"/>
                </a:cubicBezTo>
                <a:cubicBezTo>
                  <a:pt x="6892511" y="1016632"/>
                  <a:pt x="6892511" y="1016632"/>
                  <a:pt x="6898701" y="1019216"/>
                </a:cubicBezTo>
                <a:cubicBezTo>
                  <a:pt x="6898701" y="1019216"/>
                  <a:pt x="6904890" y="1021800"/>
                  <a:pt x="6911082" y="1024384"/>
                </a:cubicBezTo>
                <a:cubicBezTo>
                  <a:pt x="6917271" y="1026969"/>
                  <a:pt x="6917271" y="1026969"/>
                  <a:pt x="6923460" y="1029553"/>
                </a:cubicBezTo>
                <a:cubicBezTo>
                  <a:pt x="6923460" y="1029553"/>
                  <a:pt x="6923460" y="1029553"/>
                  <a:pt x="6927848" y="1027749"/>
                </a:cubicBezTo>
                <a:cubicBezTo>
                  <a:pt x="6935841" y="1034720"/>
                  <a:pt x="6946417" y="1035502"/>
                  <a:pt x="6958797" y="1040670"/>
                </a:cubicBezTo>
                <a:cubicBezTo>
                  <a:pt x="6958797" y="1040670"/>
                  <a:pt x="6964987" y="1043254"/>
                  <a:pt x="6963183" y="1038868"/>
                </a:cubicBezTo>
                <a:cubicBezTo>
                  <a:pt x="6967571" y="1037065"/>
                  <a:pt x="6961381" y="1034479"/>
                  <a:pt x="6961381" y="1034479"/>
                </a:cubicBezTo>
                <a:cubicBezTo>
                  <a:pt x="6955190" y="1031895"/>
                  <a:pt x="6955190" y="1031895"/>
                  <a:pt x="6955190" y="1031895"/>
                </a:cubicBezTo>
                <a:lnTo>
                  <a:pt x="6954911" y="1031515"/>
                </a:lnTo>
                <a:lnTo>
                  <a:pt x="6967496" y="1037001"/>
                </a:lnTo>
                <a:lnTo>
                  <a:pt x="6967571" y="1037065"/>
                </a:lnTo>
                <a:lnTo>
                  <a:pt x="6967623" y="1037059"/>
                </a:lnTo>
                <a:lnTo>
                  <a:pt x="6969119" y="1037709"/>
                </a:lnTo>
                <a:cubicBezTo>
                  <a:pt x="6978854" y="1042682"/>
                  <a:pt x="6981753" y="1046619"/>
                  <a:pt x="6966790" y="1047640"/>
                </a:cubicBezTo>
                <a:cubicBezTo>
                  <a:pt x="7000323" y="1054380"/>
                  <a:pt x="7008316" y="1061351"/>
                  <a:pt x="7033076" y="1071687"/>
                </a:cubicBezTo>
                <a:cubicBezTo>
                  <a:pt x="7031272" y="1067300"/>
                  <a:pt x="7031272" y="1067300"/>
                  <a:pt x="7031272" y="1067300"/>
                </a:cubicBezTo>
                <a:cubicBezTo>
                  <a:pt x="7049843" y="1075051"/>
                  <a:pt x="7049843" y="1075051"/>
                  <a:pt x="7049843" y="1075051"/>
                </a:cubicBezTo>
                <a:cubicBezTo>
                  <a:pt x="7051645" y="1079438"/>
                  <a:pt x="7051645" y="1079438"/>
                  <a:pt x="7051645" y="1079438"/>
                </a:cubicBezTo>
                <a:cubicBezTo>
                  <a:pt x="7056031" y="1077636"/>
                  <a:pt x="7056031" y="1077636"/>
                  <a:pt x="7056031" y="1077636"/>
                </a:cubicBezTo>
                <a:cubicBezTo>
                  <a:pt x="7057834" y="1082021"/>
                  <a:pt x="7057834" y="1082021"/>
                  <a:pt x="7057834" y="1082021"/>
                </a:cubicBezTo>
                <a:cubicBezTo>
                  <a:pt x="7064025" y="1084605"/>
                  <a:pt x="7068412" y="1082803"/>
                  <a:pt x="7070214" y="1087190"/>
                </a:cubicBezTo>
                <a:cubicBezTo>
                  <a:pt x="7074602" y="1085387"/>
                  <a:pt x="7076405" y="1089774"/>
                  <a:pt x="7080791" y="1087970"/>
                </a:cubicBezTo>
                <a:cubicBezTo>
                  <a:pt x="7082593" y="1092356"/>
                  <a:pt x="7086981" y="1090554"/>
                  <a:pt x="7086981" y="1090554"/>
                </a:cubicBezTo>
                <a:cubicBezTo>
                  <a:pt x="7093172" y="1093139"/>
                  <a:pt x="7099360" y="1095723"/>
                  <a:pt x="7105551" y="1098307"/>
                </a:cubicBezTo>
                <a:cubicBezTo>
                  <a:pt x="7109938" y="1096503"/>
                  <a:pt x="7109938" y="1096503"/>
                  <a:pt x="7109938" y="1096503"/>
                </a:cubicBezTo>
                <a:cubicBezTo>
                  <a:pt x="7109938" y="1096503"/>
                  <a:pt x="7111741" y="1100891"/>
                  <a:pt x="7116127" y="1099088"/>
                </a:cubicBezTo>
                <a:lnTo>
                  <a:pt x="7117783" y="1099896"/>
                </a:lnTo>
                <a:lnTo>
                  <a:pt x="7118883" y="1097222"/>
                </a:lnTo>
                <a:cubicBezTo>
                  <a:pt x="7119098" y="1095711"/>
                  <a:pt x="7119529" y="1095064"/>
                  <a:pt x="7121040" y="1095496"/>
                </a:cubicBezTo>
                <a:lnTo>
                  <a:pt x="7132091" y="1090245"/>
                </a:lnTo>
                <a:lnTo>
                  <a:pt x="7127584" y="1087971"/>
                </a:lnTo>
                <a:cubicBezTo>
                  <a:pt x="7109112" y="1078897"/>
                  <a:pt x="7091639" y="1070695"/>
                  <a:pt x="7076164" y="1064234"/>
                </a:cubicBezTo>
                <a:cubicBezTo>
                  <a:pt x="7074361" y="1059848"/>
                  <a:pt x="7072558" y="1055462"/>
                  <a:pt x="7068171" y="1057264"/>
                </a:cubicBezTo>
                <a:cubicBezTo>
                  <a:pt x="7066368" y="1052877"/>
                  <a:pt x="7066368" y="1052877"/>
                  <a:pt x="7066368" y="1052877"/>
                </a:cubicBezTo>
                <a:cubicBezTo>
                  <a:pt x="7066368" y="1052877"/>
                  <a:pt x="7064565" y="1048481"/>
                  <a:pt x="7060178" y="1050293"/>
                </a:cubicBezTo>
                <a:cubicBezTo>
                  <a:pt x="7055791" y="1052096"/>
                  <a:pt x="7055791" y="1052096"/>
                  <a:pt x="7055791" y="1052096"/>
                </a:cubicBezTo>
                <a:cubicBezTo>
                  <a:pt x="7037222" y="1044334"/>
                  <a:pt x="6998279" y="1024443"/>
                  <a:pt x="7008075" y="1035801"/>
                </a:cubicBezTo>
                <a:cubicBezTo>
                  <a:pt x="7008075" y="1035801"/>
                  <a:pt x="7008075" y="1035801"/>
                  <a:pt x="7001885" y="1033217"/>
                </a:cubicBezTo>
                <a:cubicBezTo>
                  <a:pt x="7000082" y="1028831"/>
                  <a:pt x="6991308" y="1032436"/>
                  <a:pt x="6991308" y="1032436"/>
                </a:cubicBezTo>
                <a:lnTo>
                  <a:pt x="6994838" y="1041027"/>
                </a:lnTo>
                <a:lnTo>
                  <a:pt x="6982310" y="1035494"/>
                </a:lnTo>
                <a:lnTo>
                  <a:pt x="6967623" y="1037059"/>
                </a:lnTo>
                <a:lnTo>
                  <a:pt x="6967496" y="1037001"/>
                </a:lnTo>
                <a:lnTo>
                  <a:pt x="6953035" y="1025090"/>
                </a:lnTo>
                <a:cubicBezTo>
                  <a:pt x="6946296" y="1022732"/>
                  <a:pt x="6937913" y="1021049"/>
                  <a:pt x="6928630" y="1017172"/>
                </a:cubicBezTo>
                <a:cubicBezTo>
                  <a:pt x="6928630" y="1017172"/>
                  <a:pt x="6926826" y="1012785"/>
                  <a:pt x="6926826" y="1012785"/>
                </a:cubicBezTo>
                <a:cubicBezTo>
                  <a:pt x="6922439" y="1014588"/>
                  <a:pt x="6920636" y="1010201"/>
                  <a:pt x="6922439" y="1014588"/>
                </a:cubicBezTo>
                <a:cubicBezTo>
                  <a:pt x="6922439" y="1014588"/>
                  <a:pt x="6922439" y="1014588"/>
                  <a:pt x="6918052" y="1016391"/>
                </a:cubicBezTo>
                <a:cubicBezTo>
                  <a:pt x="6911862" y="1013807"/>
                  <a:pt x="6910060" y="1009421"/>
                  <a:pt x="6908255" y="1005034"/>
                </a:cubicBezTo>
                <a:cubicBezTo>
                  <a:pt x="6914446" y="1007618"/>
                  <a:pt x="6914446" y="1007618"/>
                  <a:pt x="6914446" y="1007618"/>
                </a:cubicBezTo>
                <a:cubicBezTo>
                  <a:pt x="6920636" y="1010201"/>
                  <a:pt x="6925023" y="1008398"/>
                  <a:pt x="6925023" y="1008398"/>
                </a:cubicBezTo>
                <a:cubicBezTo>
                  <a:pt x="6923220" y="1004011"/>
                  <a:pt x="6921417" y="999625"/>
                  <a:pt x="6917030" y="1001427"/>
                </a:cubicBezTo>
                <a:cubicBezTo>
                  <a:pt x="6915227" y="997041"/>
                  <a:pt x="6915227" y="997041"/>
                  <a:pt x="6915227" y="997041"/>
                </a:cubicBezTo>
                <a:cubicBezTo>
                  <a:pt x="6919615" y="995238"/>
                  <a:pt x="6941790" y="1011764"/>
                  <a:pt x="6944373" y="1005574"/>
                </a:cubicBezTo>
                <a:cubicBezTo>
                  <a:pt x="6884278" y="984121"/>
                  <a:pt x="6814386" y="951309"/>
                  <a:pt x="6748100" y="927272"/>
                </a:cubicBezTo>
                <a:cubicBezTo>
                  <a:pt x="6741910" y="924687"/>
                  <a:pt x="6731333" y="923906"/>
                  <a:pt x="6725143" y="921322"/>
                </a:cubicBezTo>
                <a:cubicBezTo>
                  <a:pt x="6720757" y="923125"/>
                  <a:pt x="6725143" y="921322"/>
                  <a:pt x="6718954" y="918737"/>
                </a:cubicBezTo>
                <a:cubicBezTo>
                  <a:pt x="6665048" y="899868"/>
                  <a:pt x="6596178" y="882020"/>
                  <a:pt x="6524725" y="870363"/>
                </a:cubicBezTo>
                <a:cubicBezTo>
                  <a:pt x="6518533" y="867780"/>
                  <a:pt x="6516732" y="863392"/>
                  <a:pt x="6512346" y="865194"/>
                </a:cubicBezTo>
                <a:cubicBezTo>
                  <a:pt x="6516732" y="863392"/>
                  <a:pt x="6521117" y="861588"/>
                  <a:pt x="6529111" y="868560"/>
                </a:cubicBezTo>
                <a:cubicBezTo>
                  <a:pt x="6527309" y="864173"/>
                  <a:pt x="6531695" y="862371"/>
                  <a:pt x="6537886" y="864954"/>
                </a:cubicBezTo>
                <a:cubicBezTo>
                  <a:pt x="6535301" y="871144"/>
                  <a:pt x="6554652" y="868319"/>
                  <a:pt x="6559040" y="866516"/>
                </a:cubicBezTo>
                <a:cubicBezTo>
                  <a:pt x="6559040" y="866516"/>
                  <a:pt x="6560841" y="870904"/>
                  <a:pt x="6565229" y="869100"/>
                </a:cubicBezTo>
                <a:cubicBezTo>
                  <a:pt x="6565229" y="869100"/>
                  <a:pt x="6569617" y="867298"/>
                  <a:pt x="6569617" y="867298"/>
                </a:cubicBezTo>
                <a:cubicBezTo>
                  <a:pt x="6584579" y="866276"/>
                  <a:pt x="6622500" y="871203"/>
                  <a:pt x="6616310" y="868619"/>
                </a:cubicBezTo>
                <a:cubicBezTo>
                  <a:pt x="6611923" y="870423"/>
                  <a:pt x="6610120" y="866033"/>
                  <a:pt x="6605733" y="867839"/>
                </a:cubicBezTo>
                <a:cubicBezTo>
                  <a:pt x="6610120" y="866033"/>
                  <a:pt x="6614507" y="864232"/>
                  <a:pt x="6614507" y="864232"/>
                </a:cubicBezTo>
                <a:cubicBezTo>
                  <a:pt x="6614507" y="864232"/>
                  <a:pt x="6612705" y="859845"/>
                  <a:pt x="6606514" y="857261"/>
                </a:cubicBezTo>
                <a:cubicBezTo>
                  <a:pt x="6606514" y="857261"/>
                  <a:pt x="6606514" y="857261"/>
                  <a:pt x="6610902" y="855458"/>
                </a:cubicBezTo>
                <a:cubicBezTo>
                  <a:pt x="6610902" y="855458"/>
                  <a:pt x="6612705" y="859845"/>
                  <a:pt x="6617091" y="858043"/>
                </a:cubicBezTo>
                <a:cubicBezTo>
                  <a:pt x="6617091" y="858043"/>
                  <a:pt x="6617091" y="858043"/>
                  <a:pt x="6621477" y="856239"/>
                </a:cubicBezTo>
                <a:cubicBezTo>
                  <a:pt x="6638246" y="859604"/>
                  <a:pt x="6648821" y="860386"/>
                  <a:pt x="6653208" y="858583"/>
                </a:cubicBezTo>
                <a:cubicBezTo>
                  <a:pt x="6657596" y="856780"/>
                  <a:pt x="6657596" y="856780"/>
                  <a:pt x="6657596" y="856780"/>
                </a:cubicBezTo>
                <a:cubicBezTo>
                  <a:pt x="6657596" y="856780"/>
                  <a:pt x="6657596" y="856780"/>
                  <a:pt x="6651405" y="854195"/>
                </a:cubicBezTo>
                <a:cubicBezTo>
                  <a:pt x="6657596" y="856780"/>
                  <a:pt x="6655793" y="852393"/>
                  <a:pt x="6649603" y="849809"/>
                </a:cubicBezTo>
                <a:cubicBezTo>
                  <a:pt x="6689327" y="859123"/>
                  <a:pt x="6714867" y="858883"/>
                  <a:pt x="6746598" y="861226"/>
                </a:cubicBezTo>
                <a:cubicBezTo>
                  <a:pt x="6773941" y="865372"/>
                  <a:pt x="6801286" y="869519"/>
                  <a:pt x="6841007" y="878834"/>
                </a:cubicBezTo>
                <a:cubicBezTo>
                  <a:pt x="6834817" y="876250"/>
                  <a:pt x="6839204" y="874446"/>
                  <a:pt x="6845394" y="877031"/>
                </a:cubicBezTo>
                <a:cubicBezTo>
                  <a:pt x="6845394" y="877031"/>
                  <a:pt x="6845394" y="877031"/>
                  <a:pt x="6847197" y="881417"/>
                </a:cubicBezTo>
                <a:cubicBezTo>
                  <a:pt x="6847197" y="881417"/>
                  <a:pt x="6851585" y="879615"/>
                  <a:pt x="6851585" y="879615"/>
                </a:cubicBezTo>
                <a:cubicBezTo>
                  <a:pt x="6857775" y="882199"/>
                  <a:pt x="6857775" y="882199"/>
                  <a:pt x="6857775" y="882199"/>
                </a:cubicBezTo>
                <a:cubicBezTo>
                  <a:pt x="6874540" y="885564"/>
                  <a:pt x="6874540" y="885564"/>
                  <a:pt x="6874540" y="885564"/>
                </a:cubicBezTo>
                <a:cubicBezTo>
                  <a:pt x="6872739" y="881177"/>
                  <a:pt x="6878927" y="883762"/>
                  <a:pt x="6883315" y="881957"/>
                </a:cubicBezTo>
                <a:cubicBezTo>
                  <a:pt x="6870936" y="876791"/>
                  <a:pt x="6872739" y="881177"/>
                  <a:pt x="6862161" y="880397"/>
                </a:cubicBezTo>
                <a:cubicBezTo>
                  <a:pt x="6862161" y="880397"/>
                  <a:pt x="6860358" y="876008"/>
                  <a:pt x="6860358" y="876008"/>
                </a:cubicBezTo>
                <a:cubicBezTo>
                  <a:pt x="6860358" y="876008"/>
                  <a:pt x="6860358" y="876008"/>
                  <a:pt x="6864746" y="874206"/>
                </a:cubicBezTo>
                <a:cubicBezTo>
                  <a:pt x="6862943" y="869819"/>
                  <a:pt x="6858554" y="871622"/>
                  <a:pt x="6858554" y="871622"/>
                </a:cubicBezTo>
                <a:cubicBezTo>
                  <a:pt x="6858554" y="871622"/>
                  <a:pt x="6854169" y="873425"/>
                  <a:pt x="6854169" y="873425"/>
                </a:cubicBezTo>
                <a:cubicBezTo>
                  <a:pt x="6847978" y="870841"/>
                  <a:pt x="6847978" y="870841"/>
                  <a:pt x="6847978" y="870841"/>
                </a:cubicBezTo>
                <a:cubicBezTo>
                  <a:pt x="6841788" y="868257"/>
                  <a:pt x="6828629" y="873666"/>
                  <a:pt x="6831212" y="867476"/>
                </a:cubicBezTo>
                <a:cubicBezTo>
                  <a:pt x="6823219" y="860506"/>
                  <a:pt x="6828629" y="873666"/>
                  <a:pt x="6822438" y="871081"/>
                </a:cubicBezTo>
                <a:cubicBezTo>
                  <a:pt x="6816248" y="868498"/>
                  <a:pt x="6820635" y="866694"/>
                  <a:pt x="6818832" y="862308"/>
                </a:cubicBezTo>
                <a:cubicBezTo>
                  <a:pt x="6808256" y="861526"/>
                  <a:pt x="6782716" y="861767"/>
                  <a:pt x="6782716" y="861767"/>
                </a:cubicBezTo>
                <a:cubicBezTo>
                  <a:pt x="6761561" y="860204"/>
                  <a:pt x="6726225" y="849086"/>
                  <a:pt x="6715648" y="848306"/>
                </a:cubicBezTo>
                <a:cubicBezTo>
                  <a:pt x="6709458" y="845722"/>
                  <a:pt x="6715648" y="848306"/>
                  <a:pt x="6717450" y="852693"/>
                </a:cubicBezTo>
                <a:cubicBezTo>
                  <a:pt x="6715648" y="848306"/>
                  <a:pt x="6705071" y="847525"/>
                  <a:pt x="6705071" y="847525"/>
                </a:cubicBezTo>
                <a:cubicBezTo>
                  <a:pt x="6705071" y="847525"/>
                  <a:pt x="6696297" y="851131"/>
                  <a:pt x="6696297" y="851131"/>
                </a:cubicBezTo>
                <a:cubicBezTo>
                  <a:pt x="6690107" y="848547"/>
                  <a:pt x="6698881" y="844940"/>
                  <a:pt x="6694494" y="846743"/>
                </a:cubicBezTo>
                <a:cubicBezTo>
                  <a:pt x="6686502" y="839773"/>
                  <a:pt x="6681333" y="852152"/>
                  <a:pt x="6682115" y="841576"/>
                </a:cubicBezTo>
                <a:cubicBezTo>
                  <a:pt x="6672439" y="842988"/>
                  <a:pt x="6657475" y="844009"/>
                  <a:pt x="6643157" y="843484"/>
                </a:cubicBezTo>
                <a:lnTo>
                  <a:pt x="6626448" y="839970"/>
                </a:lnTo>
                <a:lnTo>
                  <a:pt x="6614112" y="838605"/>
                </a:lnTo>
                <a:lnTo>
                  <a:pt x="6612394" y="838407"/>
                </a:lnTo>
                <a:lnTo>
                  <a:pt x="6611682" y="844882"/>
                </a:lnTo>
                <a:cubicBezTo>
                  <a:pt x="6571960" y="835568"/>
                  <a:pt x="6512885" y="829076"/>
                  <a:pt x="6493535" y="831901"/>
                </a:cubicBezTo>
                <a:cubicBezTo>
                  <a:pt x="6482958" y="831120"/>
                  <a:pt x="6420278" y="815856"/>
                  <a:pt x="6398343" y="824871"/>
                </a:cubicBezTo>
                <a:cubicBezTo>
                  <a:pt x="6387765" y="824091"/>
                  <a:pt x="6398343" y="824871"/>
                  <a:pt x="6396541" y="820483"/>
                </a:cubicBezTo>
                <a:cubicBezTo>
                  <a:pt x="6383378" y="825892"/>
                  <a:pt x="6349846" y="819162"/>
                  <a:pt x="6333079" y="815797"/>
                </a:cubicBezTo>
                <a:cubicBezTo>
                  <a:pt x="6333079" y="815797"/>
                  <a:pt x="6343656" y="816578"/>
                  <a:pt x="6346239" y="810389"/>
                </a:cubicBezTo>
                <a:cubicBezTo>
                  <a:pt x="6311925" y="814234"/>
                  <a:pt x="6322503" y="815016"/>
                  <a:pt x="6330497" y="821987"/>
                </a:cubicBezTo>
                <a:cubicBezTo>
                  <a:pt x="6288189" y="818863"/>
                  <a:pt x="6283801" y="820667"/>
                  <a:pt x="6259041" y="810329"/>
                </a:cubicBezTo>
                <a:cubicBezTo>
                  <a:pt x="6259041" y="810329"/>
                  <a:pt x="6252852" y="807746"/>
                  <a:pt x="6252852" y="807746"/>
                </a:cubicBezTo>
                <a:cubicBezTo>
                  <a:pt x="6252852" y="807746"/>
                  <a:pt x="6252852" y="807746"/>
                  <a:pt x="6248465" y="809548"/>
                </a:cubicBezTo>
                <a:cubicBezTo>
                  <a:pt x="6248465" y="809548"/>
                  <a:pt x="6250267" y="813934"/>
                  <a:pt x="6250267" y="813934"/>
                </a:cubicBezTo>
                <a:cubicBezTo>
                  <a:pt x="6250267" y="813934"/>
                  <a:pt x="6245880" y="815738"/>
                  <a:pt x="6239691" y="813154"/>
                </a:cubicBezTo>
                <a:cubicBezTo>
                  <a:pt x="6239691" y="813154"/>
                  <a:pt x="6239691" y="813154"/>
                  <a:pt x="6244077" y="811350"/>
                </a:cubicBezTo>
                <a:cubicBezTo>
                  <a:pt x="6244077" y="811350"/>
                  <a:pt x="6244077" y="811350"/>
                  <a:pt x="6242274" y="806964"/>
                </a:cubicBezTo>
                <a:cubicBezTo>
                  <a:pt x="6237888" y="808767"/>
                  <a:pt x="6237888" y="808767"/>
                  <a:pt x="6233501" y="810569"/>
                </a:cubicBezTo>
                <a:cubicBezTo>
                  <a:pt x="6227310" y="807986"/>
                  <a:pt x="6227310" y="807986"/>
                  <a:pt x="6227310" y="807986"/>
                </a:cubicBezTo>
                <a:cubicBezTo>
                  <a:pt x="6221122" y="805401"/>
                  <a:pt x="6195582" y="805642"/>
                  <a:pt x="6214150" y="813394"/>
                </a:cubicBezTo>
                <a:cubicBezTo>
                  <a:pt x="6207962" y="810810"/>
                  <a:pt x="6207962" y="810810"/>
                  <a:pt x="6203575" y="812612"/>
                </a:cubicBezTo>
                <a:cubicBezTo>
                  <a:pt x="6203575" y="812612"/>
                  <a:pt x="6205378" y="817000"/>
                  <a:pt x="6209764" y="815197"/>
                </a:cubicBezTo>
                <a:cubicBezTo>
                  <a:pt x="6209764" y="815197"/>
                  <a:pt x="6211567" y="819584"/>
                  <a:pt x="6215952" y="817781"/>
                </a:cubicBezTo>
                <a:cubicBezTo>
                  <a:pt x="6211567" y="819584"/>
                  <a:pt x="6207181" y="821386"/>
                  <a:pt x="6207181" y="821386"/>
                </a:cubicBezTo>
                <a:cubicBezTo>
                  <a:pt x="6200991" y="818803"/>
                  <a:pt x="6190413" y="818022"/>
                  <a:pt x="6175452" y="819043"/>
                </a:cubicBezTo>
                <a:cubicBezTo>
                  <a:pt x="6154296" y="817481"/>
                  <a:pt x="6133142" y="815918"/>
                  <a:pt x="6118178" y="816941"/>
                </a:cubicBezTo>
                <a:cubicBezTo>
                  <a:pt x="6113790" y="818744"/>
                  <a:pt x="6111988" y="814356"/>
                  <a:pt x="6111988" y="814356"/>
                </a:cubicBezTo>
                <a:cubicBezTo>
                  <a:pt x="6111988" y="814356"/>
                  <a:pt x="6107602" y="816160"/>
                  <a:pt x="6107602" y="816160"/>
                </a:cubicBezTo>
                <a:cubicBezTo>
                  <a:pt x="6098829" y="819766"/>
                  <a:pt x="6088256" y="818984"/>
                  <a:pt x="6082074" y="816400"/>
                </a:cubicBezTo>
                <a:cubicBezTo>
                  <a:pt x="6077686" y="818203"/>
                  <a:pt x="6067107" y="817422"/>
                  <a:pt x="6062724" y="819225"/>
                </a:cubicBezTo>
                <a:cubicBezTo>
                  <a:pt x="6052151" y="818444"/>
                  <a:pt x="6035383" y="815078"/>
                  <a:pt x="6024807" y="814297"/>
                </a:cubicBezTo>
                <a:cubicBezTo>
                  <a:pt x="6023000" y="809909"/>
                  <a:pt x="6023000" y="809909"/>
                  <a:pt x="6023000" y="809909"/>
                </a:cubicBezTo>
                <a:cubicBezTo>
                  <a:pt x="6018616" y="811714"/>
                  <a:pt x="6018616" y="811714"/>
                  <a:pt x="6014230" y="813516"/>
                </a:cubicBezTo>
                <a:cubicBezTo>
                  <a:pt x="6008041" y="810932"/>
                  <a:pt x="6009844" y="815319"/>
                  <a:pt x="6009844" y="815319"/>
                </a:cubicBezTo>
                <a:cubicBezTo>
                  <a:pt x="6016034" y="817902"/>
                  <a:pt x="6016034" y="817902"/>
                  <a:pt x="6016034" y="817902"/>
                </a:cubicBezTo>
                <a:cubicBezTo>
                  <a:pt x="6005455" y="817122"/>
                  <a:pt x="5986884" y="809370"/>
                  <a:pt x="5979915" y="817363"/>
                </a:cubicBezTo>
                <a:cubicBezTo>
                  <a:pt x="5978116" y="812976"/>
                  <a:pt x="5978116" y="812976"/>
                  <a:pt x="5973725" y="814779"/>
                </a:cubicBezTo>
                <a:cubicBezTo>
                  <a:pt x="5967538" y="812194"/>
                  <a:pt x="5969341" y="816580"/>
                  <a:pt x="5969341" y="816580"/>
                </a:cubicBezTo>
                <a:cubicBezTo>
                  <a:pt x="5952573" y="813215"/>
                  <a:pt x="5943019" y="827399"/>
                  <a:pt x="5935029" y="820427"/>
                </a:cubicBezTo>
                <a:cubicBezTo>
                  <a:pt x="5939415" y="818624"/>
                  <a:pt x="5939415" y="818624"/>
                  <a:pt x="5939415" y="818624"/>
                </a:cubicBezTo>
                <a:cubicBezTo>
                  <a:pt x="5949988" y="819405"/>
                  <a:pt x="5954377" y="817602"/>
                  <a:pt x="5952573" y="813215"/>
                </a:cubicBezTo>
                <a:cubicBezTo>
                  <a:pt x="5952573" y="813215"/>
                  <a:pt x="5946384" y="810631"/>
                  <a:pt x="5941997" y="812435"/>
                </a:cubicBezTo>
                <a:cubicBezTo>
                  <a:pt x="5935805" y="809851"/>
                  <a:pt x="5935805" y="809851"/>
                  <a:pt x="5935805" y="809851"/>
                </a:cubicBezTo>
                <a:cubicBezTo>
                  <a:pt x="5932201" y="801078"/>
                  <a:pt x="5947165" y="800055"/>
                  <a:pt x="5955158" y="807026"/>
                </a:cubicBezTo>
                <a:cubicBezTo>
                  <a:pt x="5947165" y="800055"/>
                  <a:pt x="5970901" y="795428"/>
                  <a:pt x="5955938" y="796449"/>
                </a:cubicBezTo>
                <a:cubicBezTo>
                  <a:pt x="5950773" y="808829"/>
                  <a:pt x="5935564" y="784310"/>
                  <a:pt x="5919821" y="795909"/>
                </a:cubicBezTo>
                <a:cubicBezTo>
                  <a:pt x="5913634" y="793324"/>
                  <a:pt x="5913634" y="793324"/>
                  <a:pt x="5913634" y="793324"/>
                </a:cubicBezTo>
                <a:cubicBezTo>
                  <a:pt x="5913634" y="793324"/>
                  <a:pt x="5909245" y="795127"/>
                  <a:pt x="5909245" y="795127"/>
                </a:cubicBezTo>
                <a:cubicBezTo>
                  <a:pt x="5903058" y="792544"/>
                  <a:pt x="5904857" y="796931"/>
                  <a:pt x="5904857" y="796931"/>
                </a:cubicBezTo>
                <a:cubicBezTo>
                  <a:pt x="5909245" y="795127"/>
                  <a:pt x="5911046" y="799515"/>
                  <a:pt x="5911046" y="799515"/>
                </a:cubicBezTo>
                <a:cubicBezTo>
                  <a:pt x="5906665" y="801317"/>
                  <a:pt x="5896088" y="800536"/>
                  <a:pt x="5897888" y="804923"/>
                </a:cubicBezTo>
                <a:cubicBezTo>
                  <a:pt x="5904077" y="807508"/>
                  <a:pt x="5893499" y="806726"/>
                  <a:pt x="5895305" y="811113"/>
                </a:cubicBezTo>
                <a:cubicBezTo>
                  <a:pt x="5905881" y="811893"/>
                  <a:pt x="5910270" y="810092"/>
                  <a:pt x="5920843" y="810873"/>
                </a:cubicBezTo>
                <a:cubicBezTo>
                  <a:pt x="5916457" y="812675"/>
                  <a:pt x="5916457" y="812675"/>
                  <a:pt x="5916457" y="812675"/>
                </a:cubicBezTo>
                <a:cubicBezTo>
                  <a:pt x="5912068" y="814477"/>
                  <a:pt x="5907684" y="816281"/>
                  <a:pt x="5909486" y="820668"/>
                </a:cubicBezTo>
                <a:lnTo>
                  <a:pt x="5918605" y="821341"/>
                </a:lnTo>
                <a:lnTo>
                  <a:pt x="5910291" y="824183"/>
                </a:lnTo>
                <a:cubicBezTo>
                  <a:pt x="5903360" y="824468"/>
                  <a:pt x="5895422" y="823883"/>
                  <a:pt x="5885751" y="825295"/>
                </a:cubicBezTo>
                <a:cubicBezTo>
                  <a:pt x="5919280" y="832026"/>
                  <a:pt x="5883166" y="831485"/>
                  <a:pt x="5877998" y="843866"/>
                </a:cubicBezTo>
                <a:cubicBezTo>
                  <a:pt x="5871808" y="841281"/>
                  <a:pt x="5880583" y="837675"/>
                  <a:pt x="5880583" y="837675"/>
                </a:cubicBezTo>
                <a:cubicBezTo>
                  <a:pt x="5878777" y="833289"/>
                  <a:pt x="5878777" y="833289"/>
                  <a:pt x="5878777" y="833289"/>
                </a:cubicBezTo>
                <a:cubicBezTo>
                  <a:pt x="5883166" y="831485"/>
                  <a:pt x="5883166" y="831485"/>
                  <a:pt x="5876979" y="828901"/>
                </a:cubicBezTo>
                <a:cubicBezTo>
                  <a:pt x="5876979" y="828901"/>
                  <a:pt x="5872591" y="830704"/>
                  <a:pt x="5868207" y="832506"/>
                </a:cubicBezTo>
                <a:cubicBezTo>
                  <a:pt x="5863818" y="834309"/>
                  <a:pt x="5863818" y="834309"/>
                  <a:pt x="5863818" y="834309"/>
                </a:cubicBezTo>
                <a:cubicBezTo>
                  <a:pt x="5857625" y="831726"/>
                  <a:pt x="5860213" y="825537"/>
                  <a:pt x="5851437" y="829142"/>
                </a:cubicBezTo>
                <a:cubicBezTo>
                  <a:pt x="5855825" y="827339"/>
                  <a:pt x="5855825" y="827339"/>
                  <a:pt x="5860213" y="825537"/>
                </a:cubicBezTo>
                <a:cubicBezTo>
                  <a:pt x="5864600" y="823733"/>
                  <a:pt x="5862793" y="819346"/>
                  <a:pt x="5858409" y="821147"/>
                </a:cubicBezTo>
                <a:cubicBezTo>
                  <a:pt x="5856603" y="816762"/>
                  <a:pt x="5852215" y="818564"/>
                  <a:pt x="5847831" y="820368"/>
                </a:cubicBezTo>
                <a:cubicBezTo>
                  <a:pt x="5843447" y="822171"/>
                  <a:pt x="5843447" y="822171"/>
                  <a:pt x="5839061" y="823974"/>
                </a:cubicBezTo>
                <a:cubicBezTo>
                  <a:pt x="5830286" y="827579"/>
                  <a:pt x="5823312" y="835573"/>
                  <a:pt x="5833889" y="836353"/>
                </a:cubicBezTo>
                <a:cubicBezTo>
                  <a:pt x="5829505" y="838156"/>
                  <a:pt x="5829505" y="838156"/>
                  <a:pt x="5831308" y="842544"/>
                </a:cubicBezTo>
                <a:cubicBezTo>
                  <a:pt x="5831308" y="842544"/>
                  <a:pt x="5831308" y="842544"/>
                  <a:pt x="5837498" y="845127"/>
                </a:cubicBezTo>
                <a:cubicBezTo>
                  <a:pt x="5833109" y="846930"/>
                  <a:pt x="5822533" y="846148"/>
                  <a:pt x="5813759" y="849755"/>
                </a:cubicBezTo>
                <a:cubicBezTo>
                  <a:pt x="5822533" y="846148"/>
                  <a:pt x="5833109" y="846930"/>
                  <a:pt x="5826921" y="844346"/>
                </a:cubicBezTo>
                <a:cubicBezTo>
                  <a:pt x="5818926" y="837375"/>
                  <a:pt x="5813759" y="849755"/>
                  <a:pt x="5805765" y="842784"/>
                </a:cubicBezTo>
                <a:cubicBezTo>
                  <a:pt x="5803962" y="838396"/>
                  <a:pt x="5803962" y="838396"/>
                  <a:pt x="5803962" y="838396"/>
                </a:cubicBezTo>
                <a:cubicBezTo>
                  <a:pt x="5803962" y="838396"/>
                  <a:pt x="5803962" y="838396"/>
                  <a:pt x="5799579" y="840200"/>
                </a:cubicBezTo>
                <a:cubicBezTo>
                  <a:pt x="5799579" y="840200"/>
                  <a:pt x="5799579" y="840200"/>
                  <a:pt x="5795194" y="842002"/>
                </a:cubicBezTo>
                <a:cubicBezTo>
                  <a:pt x="5796994" y="846389"/>
                  <a:pt x="5796994" y="846389"/>
                  <a:pt x="5796994" y="846389"/>
                </a:cubicBezTo>
                <a:cubicBezTo>
                  <a:pt x="5790804" y="843806"/>
                  <a:pt x="5790804" y="843806"/>
                  <a:pt x="5784616" y="841221"/>
                </a:cubicBezTo>
                <a:cubicBezTo>
                  <a:pt x="5777644" y="849214"/>
                  <a:pt x="5767068" y="848434"/>
                  <a:pt x="5758298" y="852039"/>
                </a:cubicBezTo>
                <a:cubicBezTo>
                  <a:pt x="5762681" y="850235"/>
                  <a:pt x="5767068" y="848434"/>
                  <a:pt x="5767068" y="848434"/>
                </a:cubicBezTo>
                <a:cubicBezTo>
                  <a:pt x="5747720" y="851257"/>
                  <a:pt x="5753910" y="853842"/>
                  <a:pt x="5737144" y="850476"/>
                </a:cubicBezTo>
                <a:cubicBezTo>
                  <a:pt x="5741527" y="848674"/>
                  <a:pt x="5739727" y="844286"/>
                  <a:pt x="5739727" y="844286"/>
                </a:cubicBezTo>
                <a:cubicBezTo>
                  <a:pt x="5739727" y="844286"/>
                  <a:pt x="5735340" y="846089"/>
                  <a:pt x="5735340" y="846089"/>
                </a:cubicBezTo>
                <a:cubicBezTo>
                  <a:pt x="5733537" y="841703"/>
                  <a:pt x="5733537" y="841703"/>
                  <a:pt x="5733537" y="841703"/>
                </a:cubicBezTo>
                <a:cubicBezTo>
                  <a:pt x="5763463" y="839659"/>
                  <a:pt x="5737925" y="839900"/>
                  <a:pt x="5736120" y="835513"/>
                </a:cubicBezTo>
                <a:cubicBezTo>
                  <a:pt x="5751084" y="834491"/>
                  <a:pt x="5766047" y="833469"/>
                  <a:pt x="5779210" y="828060"/>
                </a:cubicBezTo>
                <a:cubicBezTo>
                  <a:pt x="5781011" y="832447"/>
                  <a:pt x="5781011" y="832447"/>
                  <a:pt x="5781011" y="832447"/>
                </a:cubicBezTo>
                <a:cubicBezTo>
                  <a:pt x="5791584" y="833229"/>
                  <a:pt x="5795973" y="831426"/>
                  <a:pt x="5800359" y="829624"/>
                </a:cubicBezTo>
                <a:cubicBezTo>
                  <a:pt x="5789780" y="828842"/>
                  <a:pt x="5785399" y="830645"/>
                  <a:pt x="5783591" y="826257"/>
                </a:cubicBezTo>
                <a:cubicBezTo>
                  <a:pt x="5798556" y="825235"/>
                  <a:pt x="5796753" y="820848"/>
                  <a:pt x="5807328" y="821631"/>
                </a:cubicBezTo>
                <a:cubicBezTo>
                  <a:pt x="5807328" y="821631"/>
                  <a:pt x="5811716" y="819826"/>
                  <a:pt x="5813521" y="824215"/>
                </a:cubicBezTo>
                <a:cubicBezTo>
                  <a:pt x="5817905" y="822412"/>
                  <a:pt x="5817905" y="822412"/>
                  <a:pt x="5817905" y="822412"/>
                </a:cubicBezTo>
                <a:cubicBezTo>
                  <a:pt x="5822295" y="820609"/>
                  <a:pt x="5826679" y="818805"/>
                  <a:pt x="5820490" y="816222"/>
                </a:cubicBezTo>
                <a:cubicBezTo>
                  <a:pt x="5814302" y="813637"/>
                  <a:pt x="5814302" y="813637"/>
                  <a:pt x="5814302" y="813637"/>
                </a:cubicBezTo>
                <a:cubicBezTo>
                  <a:pt x="5812497" y="809251"/>
                  <a:pt x="5808110" y="811054"/>
                  <a:pt x="5803724" y="812856"/>
                </a:cubicBezTo>
                <a:cubicBezTo>
                  <a:pt x="5799340" y="814660"/>
                  <a:pt x="5799340" y="814660"/>
                  <a:pt x="5799340" y="814660"/>
                </a:cubicBezTo>
                <a:cubicBezTo>
                  <a:pt x="5801140" y="819046"/>
                  <a:pt x="5801140" y="819046"/>
                  <a:pt x="5801140" y="819046"/>
                </a:cubicBezTo>
                <a:cubicBezTo>
                  <a:pt x="5787982" y="824454"/>
                  <a:pt x="5751863" y="823914"/>
                  <a:pt x="5734318" y="831126"/>
                </a:cubicBezTo>
                <a:cubicBezTo>
                  <a:pt x="5728128" y="828542"/>
                  <a:pt x="5728128" y="828542"/>
                  <a:pt x="5728128" y="828542"/>
                </a:cubicBezTo>
                <a:cubicBezTo>
                  <a:pt x="5728128" y="828542"/>
                  <a:pt x="5728128" y="828542"/>
                  <a:pt x="5723742" y="830346"/>
                </a:cubicBezTo>
                <a:cubicBezTo>
                  <a:pt x="5723742" y="830346"/>
                  <a:pt x="5719356" y="832148"/>
                  <a:pt x="5719356" y="832148"/>
                </a:cubicBezTo>
                <a:cubicBezTo>
                  <a:pt x="5710582" y="835754"/>
                  <a:pt x="5695620" y="836776"/>
                  <a:pt x="5689427" y="834191"/>
                </a:cubicBezTo>
                <a:cubicBezTo>
                  <a:pt x="5691228" y="838579"/>
                  <a:pt x="5691228" y="838579"/>
                  <a:pt x="5691228" y="838579"/>
                </a:cubicBezTo>
                <a:cubicBezTo>
                  <a:pt x="5685044" y="835993"/>
                  <a:pt x="5685044" y="835993"/>
                  <a:pt x="5685044" y="835993"/>
                </a:cubicBezTo>
                <a:cubicBezTo>
                  <a:pt x="5685044" y="835993"/>
                  <a:pt x="5678859" y="833409"/>
                  <a:pt x="5674468" y="835212"/>
                </a:cubicBezTo>
                <a:cubicBezTo>
                  <a:pt x="5674468" y="835212"/>
                  <a:pt x="5670082" y="837015"/>
                  <a:pt x="5671886" y="841403"/>
                </a:cubicBezTo>
                <a:cubicBezTo>
                  <a:pt x="5626233" y="855043"/>
                  <a:pt x="5598895" y="850898"/>
                  <a:pt x="5569992" y="867905"/>
                </a:cubicBezTo>
                <a:cubicBezTo>
                  <a:pt x="5568183" y="863518"/>
                  <a:pt x="5563802" y="865321"/>
                  <a:pt x="5559414" y="867124"/>
                </a:cubicBezTo>
                <a:cubicBezTo>
                  <a:pt x="5559414" y="867124"/>
                  <a:pt x="5555030" y="868928"/>
                  <a:pt x="5555030" y="868928"/>
                </a:cubicBezTo>
                <a:cubicBezTo>
                  <a:pt x="5556828" y="873314"/>
                  <a:pt x="5556828" y="873314"/>
                  <a:pt x="5556828" y="873314"/>
                </a:cubicBezTo>
                <a:cubicBezTo>
                  <a:pt x="5548840" y="866343"/>
                  <a:pt x="5535682" y="871753"/>
                  <a:pt x="5526903" y="875358"/>
                </a:cubicBezTo>
                <a:cubicBezTo>
                  <a:pt x="5526903" y="875358"/>
                  <a:pt x="5522521" y="877161"/>
                  <a:pt x="5522521" y="877161"/>
                </a:cubicBezTo>
                <a:cubicBezTo>
                  <a:pt x="5516334" y="874576"/>
                  <a:pt x="5516334" y="874576"/>
                  <a:pt x="5513748" y="880767"/>
                </a:cubicBezTo>
                <a:cubicBezTo>
                  <a:pt x="5509363" y="882570"/>
                  <a:pt x="5509363" y="882570"/>
                  <a:pt x="5509363" y="882570"/>
                </a:cubicBezTo>
                <a:cubicBezTo>
                  <a:pt x="5509363" y="882570"/>
                  <a:pt x="5507556" y="878182"/>
                  <a:pt x="5503170" y="879985"/>
                </a:cubicBezTo>
                <a:cubicBezTo>
                  <a:pt x="5503170" y="879985"/>
                  <a:pt x="5503170" y="879985"/>
                  <a:pt x="5498786" y="881790"/>
                </a:cubicBezTo>
                <a:cubicBezTo>
                  <a:pt x="5491815" y="889782"/>
                  <a:pt x="5468859" y="883831"/>
                  <a:pt x="5472459" y="892605"/>
                </a:cubicBezTo>
                <a:cubicBezTo>
                  <a:pt x="5472459" y="892605"/>
                  <a:pt x="5472459" y="892605"/>
                  <a:pt x="5468076" y="894409"/>
                </a:cubicBezTo>
                <a:cubicBezTo>
                  <a:pt x="5463692" y="896212"/>
                  <a:pt x="5459303" y="898014"/>
                  <a:pt x="5459303" y="898014"/>
                </a:cubicBezTo>
                <a:cubicBezTo>
                  <a:pt x="5459303" y="898014"/>
                  <a:pt x="5454917" y="899817"/>
                  <a:pt x="5454917" y="899817"/>
                </a:cubicBezTo>
                <a:cubicBezTo>
                  <a:pt x="5446928" y="892846"/>
                  <a:pt x="5432986" y="908833"/>
                  <a:pt x="5424211" y="912437"/>
                </a:cubicBezTo>
                <a:cubicBezTo>
                  <a:pt x="5411053" y="917847"/>
                  <a:pt x="5416223" y="905466"/>
                  <a:pt x="5403054" y="910876"/>
                </a:cubicBezTo>
                <a:cubicBezTo>
                  <a:pt x="5403054" y="910876"/>
                  <a:pt x="5398679" y="912677"/>
                  <a:pt x="5396869" y="908291"/>
                </a:cubicBezTo>
                <a:cubicBezTo>
                  <a:pt x="5396869" y="908291"/>
                  <a:pt x="5392491" y="910094"/>
                  <a:pt x="5392491" y="910094"/>
                </a:cubicBezTo>
                <a:cubicBezTo>
                  <a:pt x="5388097" y="911897"/>
                  <a:pt x="5388097" y="911897"/>
                  <a:pt x="5394287" y="914480"/>
                </a:cubicBezTo>
                <a:cubicBezTo>
                  <a:pt x="5394287" y="914480"/>
                  <a:pt x="5394287" y="914480"/>
                  <a:pt x="5398679" y="912677"/>
                </a:cubicBezTo>
                <a:cubicBezTo>
                  <a:pt x="5391701" y="920670"/>
                  <a:pt x="5381132" y="919889"/>
                  <a:pt x="5382929" y="924276"/>
                </a:cubicBezTo>
                <a:cubicBezTo>
                  <a:pt x="5367972" y="925298"/>
                  <a:pt x="5381132" y="919889"/>
                  <a:pt x="5379329" y="915503"/>
                </a:cubicBezTo>
                <a:lnTo>
                  <a:pt x="5381752" y="909689"/>
                </a:lnTo>
                <a:lnTo>
                  <a:pt x="5406865" y="901219"/>
                </a:lnTo>
                <a:cubicBezTo>
                  <a:pt x="5431993" y="891610"/>
                  <a:pt x="5446608" y="882719"/>
                  <a:pt x="5469641" y="873256"/>
                </a:cubicBezTo>
                <a:cubicBezTo>
                  <a:pt x="5469641" y="873256"/>
                  <a:pt x="5471440" y="877642"/>
                  <a:pt x="5475829" y="875841"/>
                </a:cubicBezTo>
                <a:cubicBezTo>
                  <a:pt x="5475829" y="875841"/>
                  <a:pt x="5480219" y="874036"/>
                  <a:pt x="5480219" y="874036"/>
                </a:cubicBezTo>
                <a:cubicBezTo>
                  <a:pt x="5493373" y="868628"/>
                  <a:pt x="5497761" y="866824"/>
                  <a:pt x="5500348" y="860635"/>
                </a:cubicBezTo>
                <a:cubicBezTo>
                  <a:pt x="5482805" y="867846"/>
                  <a:pt x="5482805" y="867846"/>
                  <a:pt x="5482805" y="867846"/>
                </a:cubicBezTo>
                <a:cubicBezTo>
                  <a:pt x="5482805" y="867846"/>
                  <a:pt x="5487186" y="866043"/>
                  <a:pt x="5485386" y="861656"/>
                </a:cubicBezTo>
                <a:cubicBezTo>
                  <a:pt x="5485386" y="861656"/>
                  <a:pt x="5480991" y="863459"/>
                  <a:pt x="5480991" y="863459"/>
                </a:cubicBezTo>
                <a:cubicBezTo>
                  <a:pt x="5476611" y="865262"/>
                  <a:pt x="5476611" y="865262"/>
                  <a:pt x="5476611" y="865262"/>
                </a:cubicBezTo>
                <a:cubicBezTo>
                  <a:pt x="5472220" y="867065"/>
                  <a:pt x="5472220" y="867065"/>
                  <a:pt x="5472220" y="867065"/>
                </a:cubicBezTo>
                <a:cubicBezTo>
                  <a:pt x="5459842" y="861897"/>
                  <a:pt x="5451852" y="854926"/>
                  <a:pt x="5419349" y="863159"/>
                </a:cubicBezTo>
                <a:cubicBezTo>
                  <a:pt x="5390201" y="854626"/>
                  <a:pt x="5340925" y="859493"/>
                  <a:pt x="5306614" y="863341"/>
                </a:cubicBezTo>
                <a:cubicBezTo>
                  <a:pt x="5302222" y="865144"/>
                  <a:pt x="5300421" y="860757"/>
                  <a:pt x="5300421" y="860757"/>
                </a:cubicBezTo>
                <a:cubicBezTo>
                  <a:pt x="5300421" y="860757"/>
                  <a:pt x="5298613" y="856369"/>
                  <a:pt x="5294224" y="858172"/>
                </a:cubicBezTo>
                <a:cubicBezTo>
                  <a:pt x="5294224" y="858172"/>
                  <a:pt x="5298613" y="856369"/>
                  <a:pt x="5296812" y="851982"/>
                </a:cubicBezTo>
                <a:cubicBezTo>
                  <a:pt x="5288045" y="855587"/>
                  <a:pt x="5283648" y="857391"/>
                  <a:pt x="5283648" y="857391"/>
                </a:cubicBezTo>
                <a:cubicBezTo>
                  <a:pt x="5253728" y="859433"/>
                  <a:pt x="5216815" y="869471"/>
                  <a:pt x="5193084" y="874098"/>
                </a:cubicBezTo>
                <a:cubicBezTo>
                  <a:pt x="5186904" y="871514"/>
                  <a:pt x="5195671" y="867908"/>
                  <a:pt x="5200056" y="866105"/>
                </a:cubicBezTo>
                <a:cubicBezTo>
                  <a:pt x="5185096" y="867128"/>
                  <a:pt x="5128840" y="879987"/>
                  <a:pt x="5136595" y="861418"/>
                </a:cubicBezTo>
                <a:cubicBezTo>
                  <a:pt x="5145370" y="857812"/>
                  <a:pt x="5145370" y="857812"/>
                  <a:pt x="5145370" y="857812"/>
                </a:cubicBezTo>
                <a:cubicBezTo>
                  <a:pt x="5149766" y="856010"/>
                  <a:pt x="5149766" y="856010"/>
                  <a:pt x="5149766" y="856010"/>
                </a:cubicBezTo>
                <a:cubicBezTo>
                  <a:pt x="5149766" y="856010"/>
                  <a:pt x="5147954" y="851623"/>
                  <a:pt x="5143563" y="853427"/>
                </a:cubicBezTo>
                <a:cubicBezTo>
                  <a:pt x="5134790" y="857032"/>
                  <a:pt x="5134790" y="857032"/>
                  <a:pt x="5134790" y="857032"/>
                </a:cubicBezTo>
                <a:cubicBezTo>
                  <a:pt x="5150545" y="845435"/>
                  <a:pt x="5178663" y="839003"/>
                  <a:pt x="5204980" y="828185"/>
                </a:cubicBezTo>
                <a:cubicBezTo>
                  <a:pt x="5217896" y="797236"/>
                  <a:pt x="5136112" y="810338"/>
                  <a:pt x="5072894" y="831191"/>
                </a:cubicBezTo>
                <a:cubicBezTo>
                  <a:pt x="5066703" y="828607"/>
                  <a:pt x="5069289" y="822416"/>
                  <a:pt x="5052526" y="819053"/>
                </a:cubicBezTo>
                <a:cubicBezTo>
                  <a:pt x="5067484" y="818030"/>
                  <a:pt x="5065684" y="813643"/>
                  <a:pt x="5063877" y="809258"/>
                </a:cubicBezTo>
                <a:cubicBezTo>
                  <a:pt x="5098975" y="794833"/>
                  <a:pt x="5135871" y="784798"/>
                  <a:pt x="5170974" y="770374"/>
                </a:cubicBezTo>
                <a:cubicBezTo>
                  <a:pt x="5192908" y="761360"/>
                  <a:pt x="5167368" y="761600"/>
                  <a:pt x="5181313" y="745613"/>
                </a:cubicBezTo>
                <a:cubicBezTo>
                  <a:pt x="5205044" y="740987"/>
                  <a:pt x="5212002" y="732994"/>
                  <a:pt x="5240148" y="726563"/>
                </a:cubicBezTo>
                <a:cubicBezTo>
                  <a:pt x="5238343" y="722176"/>
                  <a:pt x="5227758" y="721396"/>
                  <a:pt x="5210193" y="728607"/>
                </a:cubicBezTo>
                <a:cubicBezTo>
                  <a:pt x="5218976" y="725001"/>
                  <a:pt x="5225948" y="717009"/>
                  <a:pt x="5245317" y="714184"/>
                </a:cubicBezTo>
                <a:cubicBezTo>
                  <a:pt x="5234731" y="713403"/>
                  <a:pt x="5237318" y="707212"/>
                  <a:pt x="5222343" y="708236"/>
                </a:cubicBezTo>
                <a:cubicBezTo>
                  <a:pt x="5300535" y="686360"/>
                  <a:pt x="5378722" y="664483"/>
                  <a:pt x="5458700" y="646997"/>
                </a:cubicBezTo>
                <a:cubicBezTo>
                  <a:pt x="5467475" y="643390"/>
                  <a:pt x="5476249" y="639784"/>
                  <a:pt x="5482438" y="642369"/>
                </a:cubicBezTo>
                <a:cubicBezTo>
                  <a:pt x="5705323" y="594028"/>
                  <a:pt x="5929500" y="574172"/>
                  <a:pt x="6150670" y="580870"/>
                </a:cubicBezTo>
                <a:lnTo>
                  <a:pt x="6208535" y="584941"/>
                </a:lnTo>
                <a:lnTo>
                  <a:pt x="6208615" y="583984"/>
                </a:lnTo>
                <a:cubicBezTo>
                  <a:pt x="6214822" y="581519"/>
                  <a:pt x="6219988" y="577174"/>
                  <a:pt x="6222819" y="572035"/>
                </a:cubicBezTo>
                <a:cubicBezTo>
                  <a:pt x="6226196" y="567539"/>
                  <a:pt x="6229028" y="562401"/>
                  <a:pt x="6232456" y="557313"/>
                </a:cubicBezTo>
                <a:cubicBezTo>
                  <a:pt x="6235833" y="552818"/>
                  <a:pt x="6239261" y="547729"/>
                  <a:pt x="6240354" y="541847"/>
                </a:cubicBezTo>
                <a:lnTo>
                  <a:pt x="6247643" y="534489"/>
                </a:lnTo>
                <a:close/>
                <a:moveTo>
                  <a:pt x="1800011" y="528967"/>
                </a:moveTo>
                <a:lnTo>
                  <a:pt x="1799916" y="529453"/>
                </a:lnTo>
                <a:lnTo>
                  <a:pt x="1799538" y="529276"/>
                </a:lnTo>
                <a:close/>
                <a:moveTo>
                  <a:pt x="3846383" y="524445"/>
                </a:moveTo>
                <a:cubicBezTo>
                  <a:pt x="3848918" y="523116"/>
                  <a:pt x="3852336" y="523470"/>
                  <a:pt x="3854638" y="525124"/>
                </a:cubicBezTo>
                <a:cubicBezTo>
                  <a:pt x="3856512" y="526644"/>
                  <a:pt x="3857945" y="527323"/>
                  <a:pt x="3860076" y="527279"/>
                </a:cubicBezTo>
                <a:cubicBezTo>
                  <a:pt x="3861840" y="530644"/>
                  <a:pt x="3863600" y="534009"/>
                  <a:pt x="3865366" y="537375"/>
                </a:cubicBezTo>
                <a:cubicBezTo>
                  <a:pt x="3863282" y="540254"/>
                  <a:pt x="3862204" y="543678"/>
                  <a:pt x="3862400" y="546792"/>
                </a:cubicBezTo>
                <a:cubicBezTo>
                  <a:pt x="3862168" y="549774"/>
                  <a:pt x="3862362" y="552888"/>
                  <a:pt x="3862276" y="556150"/>
                </a:cubicBezTo>
                <a:cubicBezTo>
                  <a:pt x="3862043" y="559132"/>
                  <a:pt x="3861957" y="562394"/>
                  <a:pt x="3863146" y="565346"/>
                </a:cubicBezTo>
                <a:cubicBezTo>
                  <a:pt x="3863903" y="568166"/>
                  <a:pt x="3862801" y="570172"/>
                  <a:pt x="3861564" y="572608"/>
                </a:cubicBezTo>
                <a:cubicBezTo>
                  <a:pt x="3860327" y="575044"/>
                  <a:pt x="3857362" y="576239"/>
                  <a:pt x="3856982" y="578940"/>
                </a:cubicBezTo>
                <a:cubicBezTo>
                  <a:pt x="3855011" y="579973"/>
                  <a:pt x="3853321" y="580859"/>
                  <a:pt x="3851349" y="581891"/>
                </a:cubicBezTo>
                <a:cubicBezTo>
                  <a:pt x="3850908" y="581051"/>
                  <a:pt x="3850479" y="580917"/>
                  <a:pt x="3849916" y="581212"/>
                </a:cubicBezTo>
                <a:cubicBezTo>
                  <a:pt x="3845689" y="583427"/>
                  <a:pt x="3841965" y="581802"/>
                  <a:pt x="3838795" y="579175"/>
                </a:cubicBezTo>
                <a:cubicBezTo>
                  <a:pt x="3835770" y="576829"/>
                  <a:pt x="3832611" y="574910"/>
                  <a:pt x="3831263" y="570968"/>
                </a:cubicBezTo>
                <a:cubicBezTo>
                  <a:pt x="3830052" y="566600"/>
                  <a:pt x="3827567" y="562540"/>
                  <a:pt x="3829331" y="557684"/>
                </a:cubicBezTo>
                <a:cubicBezTo>
                  <a:pt x="3829870" y="555972"/>
                  <a:pt x="3830555" y="554540"/>
                  <a:pt x="3832233" y="552946"/>
                </a:cubicBezTo>
                <a:cubicBezTo>
                  <a:pt x="3834611" y="550629"/>
                  <a:pt x="3837255" y="547456"/>
                  <a:pt x="3834060" y="543411"/>
                </a:cubicBezTo>
                <a:cubicBezTo>
                  <a:pt x="3832897" y="541876"/>
                  <a:pt x="3834294" y="540430"/>
                  <a:pt x="3834134" y="539441"/>
                </a:cubicBezTo>
                <a:cubicBezTo>
                  <a:pt x="3833192" y="534215"/>
                  <a:pt x="3835543" y="530481"/>
                  <a:pt x="3838471" y="527161"/>
                </a:cubicBezTo>
                <a:cubicBezTo>
                  <a:pt x="3841300" y="526393"/>
                  <a:pt x="3843848" y="525773"/>
                  <a:pt x="3846383" y="524445"/>
                </a:cubicBezTo>
                <a:close/>
                <a:moveTo>
                  <a:pt x="10304300" y="513527"/>
                </a:moveTo>
                <a:cubicBezTo>
                  <a:pt x="10305105" y="513960"/>
                  <a:pt x="10306713" y="514825"/>
                  <a:pt x="10306681" y="515845"/>
                </a:cubicBezTo>
                <a:cubicBezTo>
                  <a:pt x="10308754" y="521623"/>
                  <a:pt x="10310642" y="526783"/>
                  <a:pt x="10318679" y="524379"/>
                </a:cubicBezTo>
                <a:cubicBezTo>
                  <a:pt x="10321367" y="523238"/>
                  <a:pt x="10321492" y="525894"/>
                  <a:pt x="10321029" y="527717"/>
                </a:cubicBezTo>
                <a:cubicBezTo>
                  <a:pt x="10318558" y="535190"/>
                  <a:pt x="10321773" y="536922"/>
                  <a:pt x="10328759" y="535506"/>
                </a:cubicBezTo>
                <a:cubicBezTo>
                  <a:pt x="10333488" y="534429"/>
                  <a:pt x="10334663" y="536098"/>
                  <a:pt x="10332501" y="540112"/>
                </a:cubicBezTo>
                <a:cubicBezTo>
                  <a:pt x="10331203" y="542520"/>
                  <a:pt x="10328886" y="544897"/>
                  <a:pt x="10332287" y="547247"/>
                </a:cubicBezTo>
                <a:cubicBezTo>
                  <a:pt x="10339460" y="553183"/>
                  <a:pt x="10339648" y="560534"/>
                  <a:pt x="10335355" y="567544"/>
                </a:cubicBezTo>
                <a:cubicBezTo>
                  <a:pt x="10332141" y="572546"/>
                  <a:pt x="10332451" y="575820"/>
                  <a:pt x="10334987" y="579775"/>
                </a:cubicBezTo>
                <a:cubicBezTo>
                  <a:pt x="10334123" y="581381"/>
                  <a:pt x="10333257" y="582986"/>
                  <a:pt x="10332392" y="584593"/>
                </a:cubicBezTo>
                <a:cubicBezTo>
                  <a:pt x="10327076" y="584836"/>
                  <a:pt x="10323492" y="588601"/>
                  <a:pt x="10322535" y="593265"/>
                </a:cubicBezTo>
                <a:cubicBezTo>
                  <a:pt x="10320653" y="601573"/>
                  <a:pt x="10315213" y="605893"/>
                  <a:pt x="10307393" y="607895"/>
                </a:cubicBezTo>
                <a:cubicBezTo>
                  <a:pt x="10304302" y="608820"/>
                  <a:pt x="10301428" y="609344"/>
                  <a:pt x="10299110" y="611720"/>
                </a:cubicBezTo>
                <a:cubicBezTo>
                  <a:pt x="10295928" y="615703"/>
                  <a:pt x="10292219" y="616812"/>
                  <a:pt x="10288014" y="614029"/>
                </a:cubicBezTo>
                <a:cubicBezTo>
                  <a:pt x="10284799" y="612297"/>
                  <a:pt x="10281307" y="613005"/>
                  <a:pt x="10279235" y="613960"/>
                </a:cubicBezTo>
                <a:cubicBezTo>
                  <a:pt x="10267213" y="619914"/>
                  <a:pt x="10259976" y="609283"/>
                  <a:pt x="10250887" y="605940"/>
                </a:cubicBezTo>
                <a:cubicBezTo>
                  <a:pt x="10247054" y="604393"/>
                  <a:pt x="10238337" y="602286"/>
                  <a:pt x="10238243" y="598610"/>
                </a:cubicBezTo>
                <a:cubicBezTo>
                  <a:pt x="10237745" y="587984"/>
                  <a:pt x="10223554" y="584484"/>
                  <a:pt x="10226580" y="572129"/>
                </a:cubicBezTo>
                <a:cubicBezTo>
                  <a:pt x="10227506" y="568485"/>
                  <a:pt x="10222960" y="563447"/>
                  <a:pt x="10230563" y="561847"/>
                </a:cubicBezTo>
                <a:cubicBezTo>
                  <a:pt x="10232820" y="561508"/>
                  <a:pt x="10233716" y="558883"/>
                  <a:pt x="10232324" y="557616"/>
                </a:cubicBezTo>
                <a:cubicBezTo>
                  <a:pt x="10227190" y="551743"/>
                  <a:pt x="10229539" y="548347"/>
                  <a:pt x="10236153" y="545696"/>
                </a:cubicBezTo>
                <a:cubicBezTo>
                  <a:pt x="10238224" y="544739"/>
                  <a:pt x="10237697" y="541866"/>
                  <a:pt x="10237759" y="539827"/>
                </a:cubicBezTo>
                <a:cubicBezTo>
                  <a:pt x="10237449" y="536553"/>
                  <a:pt x="10238343" y="533927"/>
                  <a:pt x="10241837" y="533220"/>
                </a:cubicBezTo>
                <a:cubicBezTo>
                  <a:pt x="10245329" y="532512"/>
                  <a:pt x="10246224" y="529886"/>
                  <a:pt x="10248326" y="527911"/>
                </a:cubicBezTo>
                <a:cubicBezTo>
                  <a:pt x="10253579" y="522973"/>
                  <a:pt x="10260099" y="516646"/>
                  <a:pt x="10266034" y="516218"/>
                </a:cubicBezTo>
                <a:cubicBezTo>
                  <a:pt x="10278923" y="515393"/>
                  <a:pt x="10291627" y="513949"/>
                  <a:pt x="10304300" y="513527"/>
                </a:cubicBezTo>
                <a:close/>
                <a:moveTo>
                  <a:pt x="10773377" y="512275"/>
                </a:moveTo>
                <a:cubicBezTo>
                  <a:pt x="10777868" y="516096"/>
                  <a:pt x="10782594" y="515136"/>
                  <a:pt x="10787266" y="512978"/>
                </a:cubicBezTo>
                <a:cubicBezTo>
                  <a:pt x="10789414" y="512030"/>
                  <a:pt x="10790989" y="511710"/>
                  <a:pt x="10792760" y="514067"/>
                </a:cubicBezTo>
                <a:cubicBezTo>
                  <a:pt x="10794783" y="517260"/>
                  <a:pt x="10798283" y="517276"/>
                  <a:pt x="10801713" y="516552"/>
                </a:cubicBezTo>
                <a:cubicBezTo>
                  <a:pt x="10804587" y="515996"/>
                  <a:pt x="10807654" y="515076"/>
                  <a:pt x="10810528" y="514521"/>
                </a:cubicBezTo>
                <a:cubicBezTo>
                  <a:pt x="10811914" y="514333"/>
                  <a:pt x="10813087" y="514437"/>
                  <a:pt x="10813771" y="515012"/>
                </a:cubicBezTo>
                <a:cubicBezTo>
                  <a:pt x="10814457" y="515585"/>
                  <a:pt x="10814654" y="516627"/>
                  <a:pt x="10814097" y="518313"/>
                </a:cubicBezTo>
                <a:cubicBezTo>
                  <a:pt x="10813706" y="519038"/>
                  <a:pt x="10813498" y="519861"/>
                  <a:pt x="10813469" y="520781"/>
                </a:cubicBezTo>
                <a:cubicBezTo>
                  <a:pt x="10813344" y="521882"/>
                  <a:pt x="10812563" y="523332"/>
                  <a:pt x="10813735" y="524197"/>
                </a:cubicBezTo>
                <a:cubicBezTo>
                  <a:pt x="10814822" y="524783"/>
                  <a:pt x="10816036" y="524267"/>
                  <a:pt x="10816969" y="523836"/>
                </a:cubicBezTo>
                <a:cubicBezTo>
                  <a:pt x="10821349" y="522220"/>
                  <a:pt x="10822338" y="522987"/>
                  <a:pt x="10821921" y="527672"/>
                </a:cubicBezTo>
                <a:cubicBezTo>
                  <a:pt x="10821795" y="528773"/>
                  <a:pt x="10821586" y="529595"/>
                  <a:pt x="10821739" y="530613"/>
                </a:cubicBezTo>
                <a:cubicBezTo>
                  <a:pt x="10821878" y="532091"/>
                  <a:pt x="10822115" y="533387"/>
                  <a:pt x="10824319" y="533639"/>
                </a:cubicBezTo>
                <a:cubicBezTo>
                  <a:pt x="10826440" y="533612"/>
                  <a:pt x="10826830" y="532888"/>
                  <a:pt x="10827248" y="531243"/>
                </a:cubicBezTo>
                <a:lnTo>
                  <a:pt x="10828419" y="528338"/>
                </a:lnTo>
                <a:lnTo>
                  <a:pt x="10834997" y="550063"/>
                </a:lnTo>
                <a:lnTo>
                  <a:pt x="10833565" y="550777"/>
                </a:lnTo>
                <a:cubicBezTo>
                  <a:pt x="10832325" y="552212"/>
                  <a:pt x="10832282" y="553592"/>
                  <a:pt x="10833343" y="555098"/>
                </a:cubicBezTo>
                <a:cubicBezTo>
                  <a:pt x="10834137" y="556228"/>
                  <a:pt x="10835030" y="557177"/>
                  <a:pt x="10835824" y="558306"/>
                </a:cubicBezTo>
                <a:cubicBezTo>
                  <a:pt x="10837149" y="560188"/>
                  <a:pt x="10837192" y="561848"/>
                  <a:pt x="10835658" y="563826"/>
                </a:cubicBezTo>
                <a:cubicBezTo>
                  <a:pt x="10831055" y="569763"/>
                  <a:pt x="10830973" y="575564"/>
                  <a:pt x="10835212" y="581587"/>
                </a:cubicBezTo>
                <a:cubicBezTo>
                  <a:pt x="10835825" y="582619"/>
                  <a:pt x="10837917" y="583512"/>
                  <a:pt x="10836677" y="584948"/>
                </a:cubicBezTo>
                <a:cubicBezTo>
                  <a:pt x="10835617" y="586481"/>
                  <a:pt x="10833789" y="585965"/>
                  <a:pt x="10832061" y="585267"/>
                </a:cubicBezTo>
                <a:cubicBezTo>
                  <a:pt x="10831878" y="585169"/>
                  <a:pt x="10831698" y="585072"/>
                  <a:pt x="10831516" y="584974"/>
                </a:cubicBezTo>
                <a:cubicBezTo>
                  <a:pt x="10826774" y="583355"/>
                  <a:pt x="10824432" y="584664"/>
                  <a:pt x="10824754" y="589278"/>
                </a:cubicBezTo>
                <a:cubicBezTo>
                  <a:pt x="10824991" y="593615"/>
                  <a:pt x="10823079" y="595859"/>
                  <a:pt x="10819802" y="597599"/>
                </a:cubicBezTo>
                <a:cubicBezTo>
                  <a:pt x="10815493" y="599954"/>
                  <a:pt x="10811630" y="602783"/>
                  <a:pt x="10810278" y="607899"/>
                </a:cubicBezTo>
                <a:cubicBezTo>
                  <a:pt x="10809748" y="610185"/>
                  <a:pt x="10807267" y="610016"/>
                  <a:pt x="10805802" y="609696"/>
                </a:cubicBezTo>
                <a:cubicBezTo>
                  <a:pt x="10800211" y="608787"/>
                  <a:pt x="10796376" y="610695"/>
                  <a:pt x="10793293" y="615113"/>
                </a:cubicBezTo>
                <a:cubicBezTo>
                  <a:pt x="10791369" y="617817"/>
                  <a:pt x="10789988" y="617774"/>
                  <a:pt x="10788064" y="614401"/>
                </a:cubicBezTo>
                <a:cubicBezTo>
                  <a:pt x="10783949" y="607275"/>
                  <a:pt x="10773422" y="605109"/>
                  <a:pt x="10767285" y="609986"/>
                </a:cubicBezTo>
                <a:cubicBezTo>
                  <a:pt x="10766058" y="610962"/>
                  <a:pt x="10764455" y="612202"/>
                  <a:pt x="10765138" y="613973"/>
                </a:cubicBezTo>
                <a:cubicBezTo>
                  <a:pt x="10765821" y="615744"/>
                  <a:pt x="10767342" y="617264"/>
                  <a:pt x="10769559" y="617056"/>
                </a:cubicBezTo>
                <a:cubicBezTo>
                  <a:pt x="10770939" y="617098"/>
                  <a:pt x="10772515" y="616778"/>
                  <a:pt x="10773993" y="616639"/>
                </a:cubicBezTo>
                <a:cubicBezTo>
                  <a:pt x="10775569" y="616319"/>
                  <a:pt x="10776950" y="616362"/>
                  <a:pt x="10777270" y="617937"/>
                </a:cubicBezTo>
                <a:cubicBezTo>
                  <a:pt x="10777674" y="619791"/>
                  <a:pt x="10776364" y="620488"/>
                  <a:pt x="10774970" y="620906"/>
                </a:cubicBezTo>
                <a:cubicBezTo>
                  <a:pt x="10773756" y="621421"/>
                  <a:pt x="10772278" y="621560"/>
                  <a:pt x="10771163" y="621894"/>
                </a:cubicBezTo>
                <a:cubicBezTo>
                  <a:pt x="10768652" y="622646"/>
                  <a:pt x="10766575" y="624332"/>
                  <a:pt x="10767230" y="627023"/>
                </a:cubicBezTo>
                <a:cubicBezTo>
                  <a:pt x="10767900" y="629254"/>
                  <a:pt x="10770675" y="628879"/>
                  <a:pt x="10772710" y="628573"/>
                </a:cubicBezTo>
                <a:cubicBezTo>
                  <a:pt x="10774467" y="628350"/>
                  <a:pt x="10776252" y="627208"/>
                  <a:pt x="10778178" y="627543"/>
                </a:cubicBezTo>
                <a:cubicBezTo>
                  <a:pt x="10781021" y="627907"/>
                  <a:pt x="10782277" y="629050"/>
                  <a:pt x="10780535" y="631852"/>
                </a:cubicBezTo>
                <a:cubicBezTo>
                  <a:pt x="10778205" y="635741"/>
                  <a:pt x="10774816" y="638124"/>
                  <a:pt x="10770981" y="640032"/>
                </a:cubicBezTo>
                <a:cubicBezTo>
                  <a:pt x="10766114" y="642553"/>
                  <a:pt x="10764763" y="644630"/>
                  <a:pt x="10765613" y="649998"/>
                </a:cubicBezTo>
                <a:cubicBezTo>
                  <a:pt x="10765738" y="651936"/>
                  <a:pt x="10766505" y="653985"/>
                  <a:pt x="10767091" y="655937"/>
                </a:cubicBezTo>
                <a:cubicBezTo>
                  <a:pt x="10767343" y="656774"/>
                  <a:pt x="10767957" y="657806"/>
                  <a:pt x="10767105" y="658516"/>
                </a:cubicBezTo>
                <a:cubicBezTo>
                  <a:pt x="10766157" y="659408"/>
                  <a:pt x="10765153" y="659101"/>
                  <a:pt x="10764525" y="658529"/>
                </a:cubicBezTo>
                <a:cubicBezTo>
                  <a:pt x="10761653" y="656046"/>
                  <a:pt x="10760147" y="657105"/>
                  <a:pt x="10758766" y="660102"/>
                </a:cubicBezTo>
                <a:cubicBezTo>
                  <a:pt x="10756996" y="663824"/>
                  <a:pt x="10753273" y="665091"/>
                  <a:pt x="10749661" y="665717"/>
                </a:cubicBezTo>
                <a:cubicBezTo>
                  <a:pt x="10746787" y="666274"/>
                  <a:pt x="10745922" y="667444"/>
                  <a:pt x="10747136" y="669968"/>
                </a:cubicBezTo>
                <a:cubicBezTo>
                  <a:pt x="10747833" y="671279"/>
                  <a:pt x="10748168" y="672394"/>
                  <a:pt x="10747024" y="673649"/>
                </a:cubicBezTo>
                <a:cubicBezTo>
                  <a:pt x="10745589" y="675447"/>
                  <a:pt x="10744333" y="674303"/>
                  <a:pt x="10742870" y="673981"/>
                </a:cubicBezTo>
                <a:cubicBezTo>
                  <a:pt x="10742046" y="673772"/>
                  <a:pt x="10741139" y="673284"/>
                  <a:pt x="10740135" y="672976"/>
                </a:cubicBezTo>
                <a:cubicBezTo>
                  <a:pt x="10734948" y="670884"/>
                  <a:pt x="10732397" y="673016"/>
                  <a:pt x="10733052" y="678746"/>
                </a:cubicBezTo>
                <a:cubicBezTo>
                  <a:pt x="10733121" y="679484"/>
                  <a:pt x="10733288" y="680042"/>
                  <a:pt x="10733177" y="680683"/>
                </a:cubicBezTo>
                <a:cubicBezTo>
                  <a:pt x="10733136" y="682063"/>
                  <a:pt x="10732718" y="683708"/>
                  <a:pt x="10731240" y="683847"/>
                </a:cubicBezTo>
                <a:cubicBezTo>
                  <a:pt x="10729942" y="684083"/>
                  <a:pt x="10729063" y="682675"/>
                  <a:pt x="10728728" y="681560"/>
                </a:cubicBezTo>
                <a:cubicBezTo>
                  <a:pt x="10728394" y="680444"/>
                  <a:pt x="10728240" y="679427"/>
                  <a:pt x="10728184" y="678228"/>
                </a:cubicBezTo>
                <a:cubicBezTo>
                  <a:pt x="10727781" y="676373"/>
                  <a:pt x="10726888" y="675424"/>
                  <a:pt x="10724852" y="675730"/>
                </a:cubicBezTo>
                <a:cubicBezTo>
                  <a:pt x="10720138" y="676231"/>
                  <a:pt x="10716136" y="674542"/>
                  <a:pt x="10712232" y="672673"/>
                </a:cubicBezTo>
                <a:cubicBezTo>
                  <a:pt x="10707504" y="670593"/>
                  <a:pt x="10703083" y="667511"/>
                  <a:pt x="10697966" y="666157"/>
                </a:cubicBezTo>
                <a:cubicBezTo>
                  <a:pt x="10696139" y="665640"/>
                  <a:pt x="10695817" y="664065"/>
                  <a:pt x="10695580" y="662767"/>
                </a:cubicBezTo>
                <a:cubicBezTo>
                  <a:pt x="10694604" y="658501"/>
                  <a:pt x="10693809" y="654333"/>
                  <a:pt x="10688497" y="653341"/>
                </a:cubicBezTo>
                <a:cubicBezTo>
                  <a:pt x="10687493" y="653034"/>
                  <a:pt x="10687339" y="652015"/>
                  <a:pt x="10687366" y="651095"/>
                </a:cubicBezTo>
                <a:cubicBezTo>
                  <a:pt x="10687324" y="646397"/>
                  <a:pt x="10685623" y="641740"/>
                  <a:pt x="10684563" y="637195"/>
                </a:cubicBezTo>
                <a:cubicBezTo>
                  <a:pt x="10682932" y="630237"/>
                  <a:pt x="10683405" y="623713"/>
                  <a:pt x="10688454" y="618250"/>
                </a:cubicBezTo>
                <a:cubicBezTo>
                  <a:pt x="10690364" y="616006"/>
                  <a:pt x="10689793" y="613595"/>
                  <a:pt x="10689122" y="611364"/>
                </a:cubicBezTo>
                <a:cubicBezTo>
                  <a:pt x="10687714" y="606163"/>
                  <a:pt x="10688871" y="604449"/>
                  <a:pt x="10693961" y="603684"/>
                </a:cubicBezTo>
                <a:cubicBezTo>
                  <a:pt x="10699414" y="603115"/>
                  <a:pt x="10699414" y="603115"/>
                  <a:pt x="10698299" y="597371"/>
                </a:cubicBezTo>
                <a:cubicBezTo>
                  <a:pt x="10698061" y="596074"/>
                  <a:pt x="10697908" y="595056"/>
                  <a:pt x="10699582" y="594555"/>
                </a:cubicBezTo>
                <a:cubicBezTo>
                  <a:pt x="10705452" y="592340"/>
                  <a:pt x="10710960" y="589931"/>
                  <a:pt x="10716915" y="587995"/>
                </a:cubicBezTo>
                <a:cubicBezTo>
                  <a:pt x="10721293" y="586379"/>
                  <a:pt x="10725813" y="586242"/>
                  <a:pt x="10730289" y="587485"/>
                </a:cubicBezTo>
                <a:cubicBezTo>
                  <a:pt x="10733217" y="588127"/>
                  <a:pt x="10741626" y="584241"/>
                  <a:pt x="10743272" y="581621"/>
                </a:cubicBezTo>
                <a:cubicBezTo>
                  <a:pt x="10743759" y="580715"/>
                  <a:pt x="10744149" y="579990"/>
                  <a:pt x="10743257" y="579042"/>
                </a:cubicBezTo>
                <a:cubicBezTo>
                  <a:pt x="10739004" y="573478"/>
                  <a:pt x="10738920" y="567120"/>
                  <a:pt x="10739395" y="560596"/>
                </a:cubicBezTo>
                <a:cubicBezTo>
                  <a:pt x="10739435" y="559216"/>
                  <a:pt x="10739562" y="558114"/>
                  <a:pt x="10739506" y="556916"/>
                </a:cubicBezTo>
                <a:cubicBezTo>
                  <a:pt x="10739254" y="553039"/>
                  <a:pt x="10739715" y="550014"/>
                  <a:pt x="10742935" y="547074"/>
                </a:cubicBezTo>
                <a:cubicBezTo>
                  <a:pt x="10746157" y="544134"/>
                  <a:pt x="10746114" y="539436"/>
                  <a:pt x="10746059" y="535198"/>
                </a:cubicBezTo>
                <a:cubicBezTo>
                  <a:pt x="10746212" y="533176"/>
                  <a:pt x="10746435" y="531893"/>
                  <a:pt x="10748584" y="530947"/>
                </a:cubicBezTo>
                <a:cubicBezTo>
                  <a:pt x="10757369" y="526795"/>
                  <a:pt x="10765276" y="521236"/>
                  <a:pt x="10770784" y="512748"/>
                </a:cubicBezTo>
                <a:cubicBezTo>
                  <a:pt x="10771649" y="511577"/>
                  <a:pt x="10772303" y="511229"/>
                  <a:pt x="10773377" y="512275"/>
                </a:cubicBezTo>
                <a:close/>
                <a:moveTo>
                  <a:pt x="2685915" y="486683"/>
                </a:moveTo>
                <a:lnTo>
                  <a:pt x="2686114" y="486878"/>
                </a:lnTo>
                <a:lnTo>
                  <a:pt x="2685748" y="486965"/>
                </a:lnTo>
                <a:close/>
                <a:moveTo>
                  <a:pt x="11128309" y="485923"/>
                </a:moveTo>
                <a:cubicBezTo>
                  <a:pt x="11130473" y="481909"/>
                  <a:pt x="11132513" y="481972"/>
                  <a:pt x="11134215" y="486514"/>
                </a:cubicBezTo>
                <a:cubicBezTo>
                  <a:pt x="11136874" y="493126"/>
                  <a:pt x="11140089" y="494858"/>
                  <a:pt x="11144971" y="488683"/>
                </a:cubicBezTo>
                <a:cubicBezTo>
                  <a:pt x="11146239" y="487295"/>
                  <a:pt x="11148525" y="485937"/>
                  <a:pt x="11149053" y="488810"/>
                </a:cubicBezTo>
                <a:cubicBezTo>
                  <a:pt x="11151465" y="496843"/>
                  <a:pt x="11156814" y="495580"/>
                  <a:pt x="11162779" y="494133"/>
                </a:cubicBezTo>
                <a:cubicBezTo>
                  <a:pt x="11163612" y="493547"/>
                  <a:pt x="11165221" y="494413"/>
                  <a:pt x="11166024" y="494846"/>
                </a:cubicBezTo>
                <a:cubicBezTo>
                  <a:pt x="11172644" y="505662"/>
                  <a:pt x="11178427" y="517064"/>
                  <a:pt x="11184829" y="528282"/>
                </a:cubicBezTo>
                <a:cubicBezTo>
                  <a:pt x="11187737" y="533474"/>
                  <a:pt x="11186041" y="542399"/>
                  <a:pt x="11184806" y="549502"/>
                </a:cubicBezTo>
                <a:cubicBezTo>
                  <a:pt x="11184312" y="552344"/>
                  <a:pt x="11182614" y="554536"/>
                  <a:pt x="11183944" y="557843"/>
                </a:cubicBezTo>
                <a:cubicBezTo>
                  <a:pt x="11185273" y="561148"/>
                  <a:pt x="11183575" y="563340"/>
                  <a:pt x="11180669" y="564882"/>
                </a:cubicBezTo>
                <a:cubicBezTo>
                  <a:pt x="11179000" y="566055"/>
                  <a:pt x="11176312" y="567196"/>
                  <a:pt x="11176652" y="569451"/>
                </a:cubicBezTo>
                <a:cubicBezTo>
                  <a:pt x="11178076" y="576433"/>
                  <a:pt x="11176532" y="580262"/>
                  <a:pt x="11168805" y="579207"/>
                </a:cubicBezTo>
                <a:cubicBezTo>
                  <a:pt x="11166980" y="578742"/>
                  <a:pt x="11165281" y="580934"/>
                  <a:pt x="11166240" y="583004"/>
                </a:cubicBezTo>
                <a:cubicBezTo>
                  <a:pt x="11169086" y="590234"/>
                  <a:pt x="11162378" y="589211"/>
                  <a:pt x="11159844" y="591988"/>
                </a:cubicBezTo>
                <a:cubicBezTo>
                  <a:pt x="11151192" y="601310"/>
                  <a:pt x="11140463" y="591388"/>
                  <a:pt x="11131315" y="596818"/>
                </a:cubicBezTo>
                <a:cubicBezTo>
                  <a:pt x="11128195" y="598762"/>
                  <a:pt x="11121639" y="592641"/>
                  <a:pt x="11118237" y="590290"/>
                </a:cubicBezTo>
                <a:cubicBezTo>
                  <a:pt x="11110446" y="584540"/>
                  <a:pt x="11097587" y="584345"/>
                  <a:pt x="11095944" y="571030"/>
                </a:cubicBezTo>
                <a:cubicBezTo>
                  <a:pt x="11095604" y="568776"/>
                  <a:pt x="11094274" y="565470"/>
                  <a:pt x="11091057" y="563737"/>
                </a:cubicBezTo>
                <a:cubicBezTo>
                  <a:pt x="11086421" y="561757"/>
                  <a:pt x="11085307" y="558049"/>
                  <a:pt x="11086882" y="553201"/>
                </a:cubicBezTo>
                <a:cubicBezTo>
                  <a:pt x="11087592" y="549958"/>
                  <a:pt x="11086446" y="547269"/>
                  <a:pt x="11085519" y="544180"/>
                </a:cubicBezTo>
                <a:cubicBezTo>
                  <a:pt x="11082888" y="536548"/>
                  <a:pt x="11083504" y="529630"/>
                  <a:pt x="11089405" y="523488"/>
                </a:cubicBezTo>
                <a:cubicBezTo>
                  <a:pt x="11092773" y="520123"/>
                  <a:pt x="11093946" y="515058"/>
                  <a:pt x="11091224" y="510484"/>
                </a:cubicBezTo>
                <a:cubicBezTo>
                  <a:pt x="11092089" y="508878"/>
                  <a:pt x="11092955" y="507273"/>
                  <a:pt x="11093819" y="505667"/>
                </a:cubicBezTo>
                <a:cubicBezTo>
                  <a:pt x="11098518" y="505608"/>
                  <a:pt x="11101424" y="504067"/>
                  <a:pt x="11103833" y="498631"/>
                </a:cubicBezTo>
                <a:cubicBezTo>
                  <a:pt x="11107322" y="491190"/>
                  <a:pt x="11113565" y="487302"/>
                  <a:pt x="11122470" y="490027"/>
                </a:cubicBezTo>
                <a:cubicBezTo>
                  <a:pt x="11126303" y="491574"/>
                  <a:pt x="11127012" y="488331"/>
                  <a:pt x="11128309" y="485923"/>
                </a:cubicBezTo>
                <a:close/>
                <a:moveTo>
                  <a:pt x="7889440" y="481512"/>
                </a:moveTo>
                <a:cubicBezTo>
                  <a:pt x="7897921" y="486454"/>
                  <a:pt x="7906050" y="492101"/>
                  <a:pt x="7914532" y="497395"/>
                </a:cubicBezTo>
                <a:cubicBezTo>
                  <a:pt x="7918419" y="499866"/>
                  <a:pt x="7920539" y="506573"/>
                  <a:pt x="7922307" y="511867"/>
                </a:cubicBezTo>
                <a:cubicBezTo>
                  <a:pt x="7923014" y="513985"/>
                  <a:pt x="7922660" y="516103"/>
                  <a:pt x="7924780" y="517867"/>
                </a:cubicBezTo>
                <a:cubicBezTo>
                  <a:pt x="7926901" y="519633"/>
                  <a:pt x="7926548" y="521751"/>
                  <a:pt x="7925134" y="523868"/>
                </a:cubicBezTo>
                <a:cubicBezTo>
                  <a:pt x="7924427" y="525280"/>
                  <a:pt x="7923014" y="527045"/>
                  <a:pt x="7924074" y="528456"/>
                </a:cubicBezTo>
                <a:cubicBezTo>
                  <a:pt x="7927608" y="532692"/>
                  <a:pt x="7927962" y="535869"/>
                  <a:pt x="7922307" y="537987"/>
                </a:cubicBezTo>
                <a:cubicBezTo>
                  <a:pt x="7920893" y="538340"/>
                  <a:pt x="7920540" y="540458"/>
                  <a:pt x="7921953" y="541517"/>
                </a:cubicBezTo>
                <a:cubicBezTo>
                  <a:pt x="7926548" y="545399"/>
                  <a:pt x="7921600" y="547164"/>
                  <a:pt x="7920893" y="549988"/>
                </a:cubicBezTo>
                <a:cubicBezTo>
                  <a:pt x="7918419" y="559517"/>
                  <a:pt x="7907463" y="556694"/>
                  <a:pt x="7903223" y="563753"/>
                </a:cubicBezTo>
                <a:cubicBezTo>
                  <a:pt x="7901808" y="566223"/>
                  <a:pt x="7895093" y="564459"/>
                  <a:pt x="7891913" y="564106"/>
                </a:cubicBezTo>
                <a:cubicBezTo>
                  <a:pt x="7884491" y="563048"/>
                  <a:pt x="7875655" y="567636"/>
                  <a:pt x="7869648" y="559165"/>
                </a:cubicBezTo>
                <a:cubicBezTo>
                  <a:pt x="7868587" y="557753"/>
                  <a:pt x="7866467" y="555988"/>
                  <a:pt x="7863640" y="555988"/>
                </a:cubicBezTo>
                <a:cubicBezTo>
                  <a:pt x="7859752" y="556341"/>
                  <a:pt x="7857631" y="554223"/>
                  <a:pt x="7856924" y="550340"/>
                </a:cubicBezTo>
                <a:cubicBezTo>
                  <a:pt x="7856218" y="547870"/>
                  <a:pt x="7854451" y="546458"/>
                  <a:pt x="7852684" y="544693"/>
                </a:cubicBezTo>
                <a:cubicBezTo>
                  <a:pt x="7848089" y="540458"/>
                  <a:pt x="7845969" y="535516"/>
                  <a:pt x="7847736" y="529163"/>
                </a:cubicBezTo>
                <a:cubicBezTo>
                  <a:pt x="7848796" y="525633"/>
                  <a:pt x="7847736" y="521751"/>
                  <a:pt x="7844201" y="519633"/>
                </a:cubicBezTo>
                <a:cubicBezTo>
                  <a:pt x="7844202" y="518221"/>
                  <a:pt x="7844202" y="516809"/>
                  <a:pt x="7844202" y="515397"/>
                </a:cubicBezTo>
                <a:cubicBezTo>
                  <a:pt x="7847383" y="513632"/>
                  <a:pt x="7848797" y="511514"/>
                  <a:pt x="7848442" y="506926"/>
                </a:cubicBezTo>
                <a:cubicBezTo>
                  <a:pt x="7848089" y="500573"/>
                  <a:pt x="7850917" y="495631"/>
                  <a:pt x="7857985" y="494219"/>
                </a:cubicBezTo>
                <a:cubicBezTo>
                  <a:pt x="7861165" y="493866"/>
                  <a:pt x="7860458" y="491395"/>
                  <a:pt x="7860458" y="489278"/>
                </a:cubicBezTo>
                <a:cubicBezTo>
                  <a:pt x="7860459" y="485748"/>
                  <a:pt x="7861873" y="485042"/>
                  <a:pt x="7864700" y="487513"/>
                </a:cubicBezTo>
                <a:cubicBezTo>
                  <a:pt x="7868941" y="491043"/>
                  <a:pt x="7871768" y="491042"/>
                  <a:pt x="7872829" y="485042"/>
                </a:cubicBezTo>
                <a:cubicBezTo>
                  <a:pt x="7873182" y="483630"/>
                  <a:pt x="7874242" y="481865"/>
                  <a:pt x="7875656" y="483630"/>
                </a:cubicBezTo>
                <a:cubicBezTo>
                  <a:pt x="7880250" y="488219"/>
                  <a:pt x="7883431" y="485395"/>
                  <a:pt x="7886965" y="482218"/>
                </a:cubicBezTo>
                <a:cubicBezTo>
                  <a:pt x="7887319" y="481513"/>
                  <a:pt x="7888732" y="481513"/>
                  <a:pt x="7889440" y="481512"/>
                </a:cubicBezTo>
                <a:close/>
                <a:moveTo>
                  <a:pt x="4169942" y="479857"/>
                </a:moveTo>
                <a:cubicBezTo>
                  <a:pt x="4170927" y="480327"/>
                  <a:pt x="4172596" y="480684"/>
                  <a:pt x="4174143" y="479873"/>
                </a:cubicBezTo>
                <a:cubicBezTo>
                  <a:pt x="4176174" y="478563"/>
                  <a:pt x="4177943" y="479115"/>
                  <a:pt x="4179444" y="481039"/>
                </a:cubicBezTo>
                <a:cubicBezTo>
                  <a:pt x="4180541" y="482190"/>
                  <a:pt x="4181913" y="482457"/>
                  <a:pt x="4183389" y="482916"/>
                </a:cubicBezTo>
                <a:lnTo>
                  <a:pt x="4183391" y="482917"/>
                </a:lnTo>
                <a:cubicBezTo>
                  <a:pt x="4187123" y="483919"/>
                  <a:pt x="4189704" y="486017"/>
                  <a:pt x="4190560" y="490006"/>
                </a:cubicBezTo>
                <a:cubicBezTo>
                  <a:pt x="4190991" y="492244"/>
                  <a:pt x="4192687" y="494066"/>
                  <a:pt x="4195226" y="494212"/>
                </a:cubicBezTo>
                <a:cubicBezTo>
                  <a:pt x="4195631" y="494985"/>
                  <a:pt x="4196034" y="495759"/>
                  <a:pt x="4196440" y="496532"/>
                </a:cubicBezTo>
                <a:cubicBezTo>
                  <a:pt x="4195204" y="498413"/>
                  <a:pt x="4195039" y="499978"/>
                  <a:pt x="4196549" y="502391"/>
                </a:cubicBezTo>
                <a:cubicBezTo>
                  <a:pt x="4198565" y="505770"/>
                  <a:pt x="4198438" y="509288"/>
                  <a:pt x="4194969" y="512091"/>
                </a:cubicBezTo>
                <a:lnTo>
                  <a:pt x="4195026" y="515451"/>
                </a:lnTo>
                <a:lnTo>
                  <a:pt x="4195030" y="515507"/>
                </a:lnTo>
                <a:lnTo>
                  <a:pt x="4195029" y="515508"/>
                </a:lnTo>
                <a:cubicBezTo>
                  <a:pt x="4196042" y="517441"/>
                  <a:pt x="4195471" y="518234"/>
                  <a:pt x="4193221" y="517692"/>
                </a:cubicBezTo>
                <a:cubicBezTo>
                  <a:pt x="4189882" y="516975"/>
                  <a:pt x="4188336" y="517787"/>
                  <a:pt x="4189475" y="521379"/>
                </a:cubicBezTo>
                <a:cubicBezTo>
                  <a:pt x="4189687" y="522254"/>
                  <a:pt x="4189613" y="523525"/>
                  <a:pt x="4188333" y="522964"/>
                </a:cubicBezTo>
                <a:cubicBezTo>
                  <a:pt x="4184497" y="521769"/>
                  <a:pt x="4183566" y="524229"/>
                  <a:pt x="4182542" y="526984"/>
                </a:cubicBezTo>
                <a:cubicBezTo>
                  <a:pt x="4182551" y="527471"/>
                  <a:pt x="4181776" y="527878"/>
                  <a:pt x="4181389" y="528080"/>
                </a:cubicBezTo>
                <a:cubicBezTo>
                  <a:pt x="4175324" y="527808"/>
                  <a:pt x="4169248" y="527047"/>
                  <a:pt x="4163081" y="526580"/>
                </a:cubicBezTo>
                <a:lnTo>
                  <a:pt x="4161460" y="525482"/>
                </a:lnTo>
                <a:lnTo>
                  <a:pt x="4154668" y="520884"/>
                </a:lnTo>
                <a:cubicBezTo>
                  <a:pt x="4153673" y="519926"/>
                  <a:pt x="4153258" y="518664"/>
                  <a:pt x="4151589" y="518306"/>
                </a:cubicBezTo>
                <a:cubicBezTo>
                  <a:pt x="4149922" y="517948"/>
                  <a:pt x="4149507" y="516686"/>
                  <a:pt x="4149674" y="515120"/>
                </a:cubicBezTo>
                <a:cubicBezTo>
                  <a:pt x="4149656" y="514144"/>
                  <a:pt x="4149924" y="512772"/>
                  <a:pt x="4148939" y="512302"/>
                </a:cubicBezTo>
                <a:cubicBezTo>
                  <a:pt x="4145787" y="510996"/>
                  <a:pt x="4144681" y="509357"/>
                  <a:pt x="4147170" y="506573"/>
                </a:cubicBezTo>
                <a:cubicBezTo>
                  <a:pt x="4147845" y="505975"/>
                  <a:pt x="4147430" y="504713"/>
                  <a:pt x="4146351" y="504539"/>
                </a:cubicBezTo>
                <a:cubicBezTo>
                  <a:pt x="4142720" y="503730"/>
                  <a:pt x="4144925" y="501343"/>
                  <a:pt x="4144502" y="499594"/>
                </a:cubicBezTo>
                <a:cubicBezTo>
                  <a:pt x="4143120" y="493662"/>
                  <a:pt x="4149933" y="492065"/>
                  <a:pt x="4150231" y="486980"/>
                </a:cubicBezTo>
                <a:cubicBezTo>
                  <a:pt x="4150296" y="485220"/>
                  <a:pt x="4154481" y="484260"/>
                  <a:pt x="4156325" y="483540"/>
                </a:cubicBezTo>
                <a:cubicBezTo>
                  <a:pt x="4160695" y="481991"/>
                  <a:pt x="4164220" y="476941"/>
                  <a:pt x="4169942" y="479857"/>
                </a:cubicBezTo>
                <a:close/>
                <a:moveTo>
                  <a:pt x="1695890" y="479776"/>
                </a:moveTo>
                <a:cubicBezTo>
                  <a:pt x="1703678" y="479922"/>
                  <a:pt x="1711316" y="481307"/>
                  <a:pt x="1716977" y="488737"/>
                </a:cubicBezTo>
                <a:cubicBezTo>
                  <a:pt x="1718070" y="490117"/>
                  <a:pt x="1721606" y="490024"/>
                  <a:pt x="1722217" y="493357"/>
                </a:cubicBezTo>
                <a:cubicBezTo>
                  <a:pt x="1723667" y="502308"/>
                  <a:pt x="1730927" y="502644"/>
                  <a:pt x="1736757" y="502314"/>
                </a:cubicBezTo>
                <a:cubicBezTo>
                  <a:pt x="1740818" y="502030"/>
                  <a:pt x="1743491" y="502841"/>
                  <a:pt x="1746353" y="504175"/>
                </a:cubicBezTo>
                <a:cubicBezTo>
                  <a:pt x="1754750" y="507654"/>
                  <a:pt x="1757064" y="515701"/>
                  <a:pt x="1761293" y="522465"/>
                </a:cubicBezTo>
                <a:cubicBezTo>
                  <a:pt x="1764807" y="528893"/>
                  <a:pt x="1763543" y="535272"/>
                  <a:pt x="1762995" y="541984"/>
                </a:cubicBezTo>
                <a:cubicBezTo>
                  <a:pt x="1762637" y="549221"/>
                  <a:pt x="1760320" y="555981"/>
                  <a:pt x="1752429" y="558834"/>
                </a:cubicBezTo>
                <a:cubicBezTo>
                  <a:pt x="1751376" y="559214"/>
                  <a:pt x="1751040" y="559927"/>
                  <a:pt x="1751607" y="561498"/>
                </a:cubicBezTo>
                <a:cubicBezTo>
                  <a:pt x="1747924" y="562830"/>
                  <a:pt x="1744767" y="563972"/>
                  <a:pt x="1741084" y="565302"/>
                </a:cubicBezTo>
                <a:cubicBezTo>
                  <a:pt x="1737128" y="562587"/>
                  <a:pt x="1732055" y="565013"/>
                  <a:pt x="1727426" y="563725"/>
                </a:cubicBezTo>
                <a:cubicBezTo>
                  <a:pt x="1722797" y="562438"/>
                  <a:pt x="1718883" y="561484"/>
                  <a:pt x="1716126" y="557150"/>
                </a:cubicBezTo>
                <a:cubicBezTo>
                  <a:pt x="1713707" y="552102"/>
                  <a:pt x="1709372" y="548339"/>
                  <a:pt x="1705226" y="545100"/>
                </a:cubicBezTo>
                <a:cubicBezTo>
                  <a:pt x="1700892" y="541337"/>
                  <a:pt x="1697083" y="537383"/>
                  <a:pt x="1692937" y="534144"/>
                </a:cubicBezTo>
                <a:cubicBezTo>
                  <a:pt x="1689129" y="530191"/>
                  <a:pt x="1683404" y="527522"/>
                  <a:pt x="1677196" y="526806"/>
                </a:cubicBezTo>
                <a:cubicBezTo>
                  <a:pt x="1674925" y="520520"/>
                  <a:pt x="1672653" y="514234"/>
                  <a:pt x="1670381" y="507948"/>
                </a:cubicBezTo>
                <a:cubicBezTo>
                  <a:pt x="1672970" y="505236"/>
                  <a:pt x="1673790" y="502571"/>
                  <a:pt x="1674044" y="498334"/>
                </a:cubicBezTo>
                <a:cubicBezTo>
                  <a:pt x="1674634" y="493382"/>
                  <a:pt x="1678232" y="488528"/>
                  <a:pt x="1682968" y="486816"/>
                </a:cubicBezTo>
                <a:cubicBezTo>
                  <a:pt x="1687703" y="485104"/>
                  <a:pt x="1691534" y="482536"/>
                  <a:pt x="1695890" y="479776"/>
                </a:cubicBezTo>
                <a:close/>
                <a:moveTo>
                  <a:pt x="8968660" y="473508"/>
                </a:moveTo>
                <a:cubicBezTo>
                  <a:pt x="8972120" y="473468"/>
                  <a:pt x="8975739" y="474253"/>
                  <a:pt x="8979043" y="473782"/>
                </a:cubicBezTo>
                <a:cubicBezTo>
                  <a:pt x="8981876" y="473468"/>
                  <a:pt x="8987856" y="471897"/>
                  <a:pt x="8989114" y="474097"/>
                </a:cubicBezTo>
                <a:cubicBezTo>
                  <a:pt x="8992891" y="480383"/>
                  <a:pt x="9002645" y="477869"/>
                  <a:pt x="9004848" y="486354"/>
                </a:cubicBezTo>
                <a:cubicBezTo>
                  <a:pt x="9005478" y="488868"/>
                  <a:pt x="9009883" y="490440"/>
                  <a:pt x="9005792" y="493897"/>
                </a:cubicBezTo>
                <a:cubicBezTo>
                  <a:pt x="9004533" y="494840"/>
                  <a:pt x="9004848" y="496726"/>
                  <a:pt x="9006108" y="497040"/>
                </a:cubicBezTo>
                <a:cubicBezTo>
                  <a:pt x="9011143" y="498926"/>
                  <a:pt x="9010827" y="501755"/>
                  <a:pt x="9007680" y="505526"/>
                </a:cubicBezTo>
                <a:cubicBezTo>
                  <a:pt x="9006736" y="506783"/>
                  <a:pt x="9007995" y="508354"/>
                  <a:pt x="9008624" y="509611"/>
                </a:cubicBezTo>
                <a:cubicBezTo>
                  <a:pt x="9009884" y="511497"/>
                  <a:pt x="9010198" y="513383"/>
                  <a:pt x="9008310" y="514954"/>
                </a:cubicBezTo>
                <a:cubicBezTo>
                  <a:pt x="9006423" y="516526"/>
                  <a:pt x="9006736" y="518412"/>
                  <a:pt x="9006107" y="520297"/>
                </a:cubicBezTo>
                <a:cubicBezTo>
                  <a:pt x="9004533" y="525012"/>
                  <a:pt x="9002645" y="530983"/>
                  <a:pt x="8999184" y="533183"/>
                </a:cubicBezTo>
                <a:cubicBezTo>
                  <a:pt x="8991631" y="537898"/>
                  <a:pt x="8984393" y="542926"/>
                  <a:pt x="8976841" y="547327"/>
                </a:cubicBezTo>
                <a:cubicBezTo>
                  <a:pt x="8976212" y="547326"/>
                  <a:pt x="8974952" y="547327"/>
                  <a:pt x="8974639" y="546698"/>
                </a:cubicBezTo>
                <a:cubicBezTo>
                  <a:pt x="8971491" y="543869"/>
                  <a:pt x="8968660" y="541355"/>
                  <a:pt x="8964569" y="545441"/>
                </a:cubicBezTo>
                <a:cubicBezTo>
                  <a:pt x="8963310" y="547012"/>
                  <a:pt x="8962365" y="545440"/>
                  <a:pt x="8962050" y="544184"/>
                </a:cubicBezTo>
                <a:cubicBezTo>
                  <a:pt x="8961107" y="538841"/>
                  <a:pt x="8958589" y="538840"/>
                  <a:pt x="8954813" y="541983"/>
                </a:cubicBezTo>
                <a:cubicBezTo>
                  <a:pt x="8952296" y="544184"/>
                  <a:pt x="8951036" y="543555"/>
                  <a:pt x="8951037" y="540412"/>
                </a:cubicBezTo>
                <a:cubicBezTo>
                  <a:pt x="8951037" y="538526"/>
                  <a:pt x="8951666" y="536326"/>
                  <a:pt x="8948833" y="536012"/>
                </a:cubicBezTo>
                <a:cubicBezTo>
                  <a:pt x="8942539" y="534755"/>
                  <a:pt x="8940022" y="530355"/>
                  <a:pt x="8940337" y="524697"/>
                </a:cubicBezTo>
                <a:cubicBezTo>
                  <a:pt x="8940652" y="520612"/>
                  <a:pt x="8939392" y="518726"/>
                  <a:pt x="8936560" y="517155"/>
                </a:cubicBezTo>
                <a:cubicBezTo>
                  <a:pt x="8936561" y="515897"/>
                  <a:pt x="8936561" y="514640"/>
                  <a:pt x="8936560" y="513383"/>
                </a:cubicBezTo>
                <a:cubicBezTo>
                  <a:pt x="8939708" y="511497"/>
                  <a:pt x="8940651" y="508040"/>
                  <a:pt x="8939708" y="504897"/>
                </a:cubicBezTo>
                <a:cubicBezTo>
                  <a:pt x="8938133" y="499240"/>
                  <a:pt x="8940022" y="494840"/>
                  <a:pt x="8944113" y="491068"/>
                </a:cubicBezTo>
                <a:cubicBezTo>
                  <a:pt x="8945687" y="489497"/>
                  <a:pt x="8947261" y="488239"/>
                  <a:pt x="8947890" y="486039"/>
                </a:cubicBezTo>
                <a:cubicBezTo>
                  <a:pt x="8948518" y="482583"/>
                  <a:pt x="8950406" y="480697"/>
                  <a:pt x="8953868" y="481011"/>
                </a:cubicBezTo>
                <a:cubicBezTo>
                  <a:pt x="8956386" y="481011"/>
                  <a:pt x="8958274" y="479440"/>
                  <a:pt x="8959219" y="478182"/>
                </a:cubicBezTo>
                <a:cubicBezTo>
                  <a:pt x="8961893" y="474411"/>
                  <a:pt x="8965197" y="473547"/>
                  <a:pt x="8968660" y="473508"/>
                </a:cubicBezTo>
                <a:close/>
                <a:moveTo>
                  <a:pt x="9602462" y="472780"/>
                </a:moveTo>
                <a:cubicBezTo>
                  <a:pt x="9605045" y="472809"/>
                  <a:pt x="9607512" y="473454"/>
                  <a:pt x="9609509" y="476269"/>
                </a:cubicBezTo>
                <a:cubicBezTo>
                  <a:pt x="9610214" y="477207"/>
                  <a:pt x="9611622" y="478380"/>
                  <a:pt x="9613501" y="478380"/>
                </a:cubicBezTo>
                <a:cubicBezTo>
                  <a:pt x="9616086" y="478146"/>
                  <a:pt x="9617495" y="479553"/>
                  <a:pt x="9617965" y="482134"/>
                </a:cubicBezTo>
                <a:cubicBezTo>
                  <a:pt x="9618434" y="483776"/>
                  <a:pt x="9619609" y="484714"/>
                  <a:pt x="9620784" y="485888"/>
                </a:cubicBezTo>
                <a:cubicBezTo>
                  <a:pt x="9623837" y="488703"/>
                  <a:pt x="9625246" y="491986"/>
                  <a:pt x="9624072" y="496210"/>
                </a:cubicBezTo>
                <a:cubicBezTo>
                  <a:pt x="9623366" y="498555"/>
                  <a:pt x="9624072" y="501136"/>
                  <a:pt x="9626420" y="502544"/>
                </a:cubicBezTo>
                <a:cubicBezTo>
                  <a:pt x="9626421" y="503482"/>
                  <a:pt x="9626420" y="504420"/>
                  <a:pt x="9626421" y="505358"/>
                </a:cubicBezTo>
                <a:cubicBezTo>
                  <a:pt x="9624306" y="506532"/>
                  <a:pt x="9623366" y="507939"/>
                  <a:pt x="9623602" y="510988"/>
                </a:cubicBezTo>
                <a:cubicBezTo>
                  <a:pt x="9623836" y="515211"/>
                  <a:pt x="9621957" y="518495"/>
                  <a:pt x="9617259" y="519433"/>
                </a:cubicBezTo>
                <a:cubicBezTo>
                  <a:pt x="9615145" y="519668"/>
                  <a:pt x="9615615" y="521311"/>
                  <a:pt x="9615616" y="522718"/>
                </a:cubicBezTo>
                <a:cubicBezTo>
                  <a:pt x="9615616" y="525064"/>
                  <a:pt x="9614675" y="525533"/>
                  <a:pt x="9612797" y="523891"/>
                </a:cubicBezTo>
                <a:cubicBezTo>
                  <a:pt x="9609978" y="521545"/>
                  <a:pt x="9608100" y="521545"/>
                  <a:pt x="9607394" y="525533"/>
                </a:cubicBezTo>
                <a:cubicBezTo>
                  <a:pt x="9607159" y="526471"/>
                  <a:pt x="9606455" y="527644"/>
                  <a:pt x="9605515" y="526472"/>
                </a:cubicBezTo>
                <a:cubicBezTo>
                  <a:pt x="9602462" y="523422"/>
                  <a:pt x="9600347" y="525298"/>
                  <a:pt x="9597999" y="527410"/>
                </a:cubicBezTo>
                <a:cubicBezTo>
                  <a:pt x="9597763" y="527879"/>
                  <a:pt x="9596824" y="527879"/>
                  <a:pt x="9596355" y="527879"/>
                </a:cubicBezTo>
                <a:cubicBezTo>
                  <a:pt x="9590718" y="524594"/>
                  <a:pt x="9585315" y="520841"/>
                  <a:pt x="9579677" y="517323"/>
                </a:cubicBezTo>
                <a:cubicBezTo>
                  <a:pt x="9577093" y="515681"/>
                  <a:pt x="9575684" y="511223"/>
                  <a:pt x="9574509" y="507705"/>
                </a:cubicBezTo>
                <a:cubicBezTo>
                  <a:pt x="9574040" y="506296"/>
                  <a:pt x="9574274" y="504889"/>
                  <a:pt x="9572865" y="503716"/>
                </a:cubicBezTo>
                <a:cubicBezTo>
                  <a:pt x="9571457" y="502543"/>
                  <a:pt x="9571691" y="501136"/>
                  <a:pt x="9572630" y="499728"/>
                </a:cubicBezTo>
                <a:cubicBezTo>
                  <a:pt x="9573100" y="498789"/>
                  <a:pt x="9574040" y="497617"/>
                  <a:pt x="9573336" y="496679"/>
                </a:cubicBezTo>
                <a:cubicBezTo>
                  <a:pt x="9570986" y="493863"/>
                  <a:pt x="9570752" y="491752"/>
                  <a:pt x="9574510" y="490345"/>
                </a:cubicBezTo>
                <a:cubicBezTo>
                  <a:pt x="9575450" y="490109"/>
                  <a:pt x="9575684" y="488702"/>
                  <a:pt x="9574745" y="487999"/>
                </a:cubicBezTo>
                <a:cubicBezTo>
                  <a:pt x="9571692" y="485418"/>
                  <a:pt x="9574979" y="484246"/>
                  <a:pt x="9575449" y="482368"/>
                </a:cubicBezTo>
                <a:cubicBezTo>
                  <a:pt x="9577094" y="476035"/>
                  <a:pt x="9584375" y="477911"/>
                  <a:pt x="9587193" y="473220"/>
                </a:cubicBezTo>
                <a:cubicBezTo>
                  <a:pt x="9588133" y="471577"/>
                  <a:pt x="9592597" y="472750"/>
                  <a:pt x="9594710" y="472985"/>
                </a:cubicBezTo>
                <a:cubicBezTo>
                  <a:pt x="9597178" y="473337"/>
                  <a:pt x="9599878" y="472750"/>
                  <a:pt x="9602462" y="472780"/>
                </a:cubicBezTo>
                <a:close/>
                <a:moveTo>
                  <a:pt x="4719837" y="469604"/>
                </a:moveTo>
                <a:cubicBezTo>
                  <a:pt x="4720401" y="469149"/>
                  <a:pt x="4721042" y="469455"/>
                  <a:pt x="4721555" y="469825"/>
                </a:cubicBezTo>
                <a:cubicBezTo>
                  <a:pt x="4724255" y="471614"/>
                  <a:pt x="4727571" y="472439"/>
                  <a:pt x="4730578" y="473588"/>
                </a:cubicBezTo>
                <a:cubicBezTo>
                  <a:pt x="4735180" y="475340"/>
                  <a:pt x="4738723" y="478128"/>
                  <a:pt x="4739899" y="483119"/>
                </a:cubicBezTo>
                <a:cubicBezTo>
                  <a:pt x="4740443" y="485076"/>
                  <a:pt x="4742039" y="485680"/>
                  <a:pt x="4743573" y="486159"/>
                </a:cubicBezTo>
                <a:cubicBezTo>
                  <a:pt x="4747090" y="487360"/>
                  <a:pt x="4747621" y="488683"/>
                  <a:pt x="4746092" y="491886"/>
                </a:cubicBezTo>
                <a:cubicBezTo>
                  <a:pt x="4744315" y="495220"/>
                  <a:pt x="4744315" y="495220"/>
                  <a:pt x="4748027" y="496799"/>
                </a:cubicBezTo>
                <a:cubicBezTo>
                  <a:pt x="4748856" y="497163"/>
                  <a:pt x="4749498" y="497469"/>
                  <a:pt x="4749141" y="498618"/>
                </a:cubicBezTo>
                <a:cubicBezTo>
                  <a:pt x="4748140" y="502826"/>
                  <a:pt x="4747391" y="506902"/>
                  <a:pt x="4746199" y="511050"/>
                </a:cubicBezTo>
                <a:cubicBezTo>
                  <a:pt x="4745432" y="514174"/>
                  <a:pt x="4743766" y="516808"/>
                  <a:pt x="4741327" y="518887"/>
                </a:cubicBezTo>
                <a:cubicBezTo>
                  <a:pt x="4739834" y="520311"/>
                  <a:pt x="4738807" y="526614"/>
                  <a:pt x="4739670" y="528565"/>
                </a:cubicBezTo>
                <a:cubicBezTo>
                  <a:pt x="4740000" y="529193"/>
                  <a:pt x="4740261" y="529695"/>
                  <a:pt x="4741150" y="529551"/>
                </a:cubicBezTo>
                <a:cubicBezTo>
                  <a:pt x="4745966" y="529269"/>
                  <a:pt x="4749632" y="531674"/>
                  <a:pt x="4753176" y="534462"/>
                </a:cubicBezTo>
                <a:cubicBezTo>
                  <a:pt x="4753946" y="535019"/>
                  <a:pt x="4754528" y="535515"/>
                  <a:pt x="4755237" y="535946"/>
                </a:cubicBezTo>
                <a:cubicBezTo>
                  <a:pt x="4757545" y="537298"/>
                  <a:pt x="4759098" y="538727"/>
                  <a:pt x="4759531" y="541702"/>
                </a:cubicBezTo>
                <a:cubicBezTo>
                  <a:pt x="4759968" y="544677"/>
                  <a:pt x="4762668" y="546465"/>
                  <a:pt x="4765112" y="548069"/>
                </a:cubicBezTo>
                <a:cubicBezTo>
                  <a:pt x="4766207" y="548936"/>
                  <a:pt x="4766854" y="549558"/>
                  <a:pt x="4766564" y="551151"/>
                </a:cubicBezTo>
                <a:cubicBezTo>
                  <a:pt x="4765548" y="557771"/>
                  <a:pt x="4765675" y="564433"/>
                  <a:pt x="4768396" y="570854"/>
                </a:cubicBezTo>
                <a:cubicBezTo>
                  <a:pt x="4768731" y="571799"/>
                  <a:pt x="4768676" y="572308"/>
                  <a:pt x="4767667" y="572518"/>
                </a:cubicBezTo>
                <a:cubicBezTo>
                  <a:pt x="4763749" y="573608"/>
                  <a:pt x="4762472" y="576679"/>
                  <a:pt x="4761905" y="580181"/>
                </a:cubicBezTo>
                <a:cubicBezTo>
                  <a:pt x="4761619" y="581772"/>
                  <a:pt x="4761195" y="582796"/>
                  <a:pt x="4759164" y="582899"/>
                </a:cubicBezTo>
                <a:cubicBezTo>
                  <a:pt x="4756557" y="582822"/>
                  <a:pt x="4755197" y="584815"/>
                  <a:pt x="4754288" y="587054"/>
                </a:cubicBezTo>
                <a:cubicBezTo>
                  <a:pt x="4753500" y="588909"/>
                  <a:pt x="4752839" y="591016"/>
                  <a:pt x="4752049" y="592872"/>
                </a:cubicBezTo>
                <a:cubicBezTo>
                  <a:pt x="4751619" y="593737"/>
                  <a:pt x="4751109" y="594365"/>
                  <a:pt x="4750514" y="594535"/>
                </a:cubicBezTo>
                <a:cubicBezTo>
                  <a:pt x="4749924" y="594705"/>
                  <a:pt x="4749251" y="594417"/>
                  <a:pt x="4748503" y="593447"/>
                </a:cubicBezTo>
                <a:cubicBezTo>
                  <a:pt x="4748242" y="592944"/>
                  <a:pt x="4747852" y="592508"/>
                  <a:pt x="4747338" y="592137"/>
                </a:cubicBezTo>
                <a:cubicBezTo>
                  <a:pt x="4746756" y="591641"/>
                  <a:pt x="4746230" y="590635"/>
                  <a:pt x="4745282" y="590971"/>
                </a:cubicBezTo>
                <a:cubicBezTo>
                  <a:pt x="4744527" y="591366"/>
                  <a:pt x="4744355" y="592258"/>
                  <a:pt x="4744242" y="592958"/>
                </a:cubicBezTo>
                <a:cubicBezTo>
                  <a:pt x="4743477" y="596083"/>
                  <a:pt x="4742655" y="596352"/>
                  <a:pt x="4740144" y="594306"/>
                </a:cubicBezTo>
                <a:cubicBezTo>
                  <a:pt x="4739558" y="593809"/>
                  <a:pt x="4739173" y="593372"/>
                  <a:pt x="4738529" y="593068"/>
                </a:cubicBezTo>
                <a:cubicBezTo>
                  <a:pt x="4737634" y="592577"/>
                  <a:pt x="4736800" y="592212"/>
                  <a:pt x="4735807" y="593374"/>
                </a:cubicBezTo>
                <a:cubicBezTo>
                  <a:pt x="4735004" y="594595"/>
                  <a:pt x="4735264" y="595098"/>
                  <a:pt x="4736047" y="595971"/>
                </a:cubicBezTo>
                <a:lnTo>
                  <a:pt x="4737252" y="597761"/>
                </a:lnTo>
                <a:lnTo>
                  <a:pt x="4722306" y="593136"/>
                </a:lnTo>
                <a:lnTo>
                  <a:pt x="4722451" y="592043"/>
                </a:lnTo>
                <a:cubicBezTo>
                  <a:pt x="4722108" y="590780"/>
                  <a:pt x="4721337" y="590224"/>
                  <a:pt x="4720067" y="590247"/>
                </a:cubicBezTo>
                <a:cubicBezTo>
                  <a:pt x="4719116" y="590266"/>
                  <a:pt x="4718230" y="590410"/>
                  <a:pt x="4717278" y="590428"/>
                </a:cubicBezTo>
                <a:cubicBezTo>
                  <a:pt x="4715693" y="590458"/>
                  <a:pt x="4714727" y="589842"/>
                  <a:pt x="4714190" y="588203"/>
                </a:cubicBezTo>
                <a:cubicBezTo>
                  <a:pt x="4712571" y="583283"/>
                  <a:pt x="4709293" y="580998"/>
                  <a:pt x="4704212" y="581095"/>
                </a:cubicBezTo>
                <a:cubicBezTo>
                  <a:pt x="4703388" y="581047"/>
                  <a:pt x="4702073" y="581898"/>
                  <a:pt x="4701730" y="580635"/>
                </a:cubicBezTo>
                <a:cubicBezTo>
                  <a:pt x="4701262" y="579438"/>
                  <a:pt x="4702262" y="578593"/>
                  <a:pt x="4703327" y="577875"/>
                </a:cubicBezTo>
                <a:cubicBezTo>
                  <a:pt x="4703454" y="577809"/>
                  <a:pt x="4703583" y="577744"/>
                  <a:pt x="4703707" y="577678"/>
                </a:cubicBezTo>
                <a:cubicBezTo>
                  <a:pt x="4706462" y="575594"/>
                  <a:pt x="4706617" y="573750"/>
                  <a:pt x="4703859" y="572153"/>
                </a:cubicBezTo>
                <a:cubicBezTo>
                  <a:pt x="4701288" y="570616"/>
                  <a:pt x="4700745" y="568659"/>
                  <a:pt x="4701014" y="566115"/>
                </a:cubicBezTo>
                <a:cubicBezTo>
                  <a:pt x="4701332" y="562745"/>
                  <a:pt x="4701204" y="559448"/>
                  <a:pt x="4698804" y="556700"/>
                </a:cubicBezTo>
                <a:cubicBezTo>
                  <a:pt x="4697705" y="555516"/>
                  <a:pt x="4698756" y="554163"/>
                  <a:pt x="4699507" y="553451"/>
                </a:cubicBezTo>
                <a:cubicBezTo>
                  <a:pt x="4702184" y="550607"/>
                  <a:pt x="4702574" y="547680"/>
                  <a:pt x="4701239" y="544215"/>
                </a:cubicBezTo>
                <a:cubicBezTo>
                  <a:pt x="4700436" y="542072"/>
                  <a:pt x="4700992" y="541300"/>
                  <a:pt x="4703664" y="541503"/>
                </a:cubicBezTo>
                <a:cubicBezTo>
                  <a:pt x="4709320" y="541902"/>
                  <a:pt x="4714621" y="536723"/>
                  <a:pt x="4714202" y="531337"/>
                </a:cubicBezTo>
                <a:cubicBezTo>
                  <a:pt x="4714117" y="530259"/>
                  <a:pt x="4714030" y="528865"/>
                  <a:pt x="4712751" y="528572"/>
                </a:cubicBezTo>
                <a:cubicBezTo>
                  <a:pt x="4711479" y="528280"/>
                  <a:pt x="4710023" y="528561"/>
                  <a:pt x="4709284" y="529908"/>
                </a:cubicBezTo>
                <a:cubicBezTo>
                  <a:pt x="4708733" y="530681"/>
                  <a:pt x="4708304" y="531704"/>
                  <a:pt x="4707812" y="532601"/>
                </a:cubicBezTo>
                <a:cubicBezTo>
                  <a:pt x="4707388" y="533625"/>
                  <a:pt x="4706830" y="534397"/>
                  <a:pt x="4705808" y="533974"/>
                </a:cubicBezTo>
                <a:cubicBezTo>
                  <a:pt x="4704593" y="533489"/>
                  <a:pt x="4704699" y="532471"/>
                  <a:pt x="4705000" y="531513"/>
                </a:cubicBezTo>
                <a:cubicBezTo>
                  <a:pt x="4705173" y="530622"/>
                  <a:pt x="4705662" y="529723"/>
                  <a:pt x="4705904" y="528957"/>
                </a:cubicBezTo>
                <a:cubicBezTo>
                  <a:pt x="4706443" y="527234"/>
                  <a:pt x="4706283" y="525396"/>
                  <a:pt x="4704492" y="524732"/>
                </a:cubicBezTo>
                <a:cubicBezTo>
                  <a:pt x="4702961" y="524254"/>
                  <a:pt x="4702101" y="525983"/>
                  <a:pt x="4701492" y="527265"/>
                </a:cubicBezTo>
                <a:cubicBezTo>
                  <a:pt x="4700939" y="528354"/>
                  <a:pt x="4700906" y="529815"/>
                  <a:pt x="4699970" y="530785"/>
                </a:cubicBezTo>
                <a:cubicBezTo>
                  <a:pt x="4698666" y="532269"/>
                  <a:pt x="4697528" y="532545"/>
                  <a:pt x="4696599" y="530468"/>
                </a:cubicBezTo>
                <a:cubicBezTo>
                  <a:pt x="4695278" y="527637"/>
                  <a:pt x="4695226" y="524783"/>
                  <a:pt x="4695615" y="521856"/>
                </a:cubicBezTo>
                <a:cubicBezTo>
                  <a:pt x="4696053" y="518103"/>
                  <a:pt x="4695388" y="516529"/>
                  <a:pt x="4691993" y="514944"/>
                </a:cubicBezTo>
                <a:cubicBezTo>
                  <a:pt x="4690838" y="514268"/>
                  <a:pt x="4689367" y="513916"/>
                  <a:pt x="4688028" y="513496"/>
                </a:cubicBezTo>
                <a:cubicBezTo>
                  <a:pt x="4687453" y="513318"/>
                  <a:pt x="4686627" y="513270"/>
                  <a:pt x="4686550" y="512509"/>
                </a:cubicBezTo>
                <a:cubicBezTo>
                  <a:pt x="4686408" y="511624"/>
                  <a:pt x="4686968" y="511169"/>
                  <a:pt x="4687539" y="511031"/>
                </a:cubicBezTo>
                <a:cubicBezTo>
                  <a:pt x="4690064" y="510348"/>
                  <a:pt x="4690041" y="509079"/>
                  <a:pt x="4688863" y="507134"/>
                </a:cubicBezTo>
                <a:cubicBezTo>
                  <a:pt x="4687422" y="504687"/>
                  <a:pt x="4688132" y="502071"/>
                  <a:pt x="4689169" y="499767"/>
                </a:cubicBezTo>
                <a:cubicBezTo>
                  <a:pt x="4689960" y="497910"/>
                  <a:pt x="4689624" y="496965"/>
                  <a:pt x="4687714" y="496684"/>
                </a:cubicBezTo>
                <a:cubicBezTo>
                  <a:pt x="4686697" y="496577"/>
                  <a:pt x="4685928" y="496338"/>
                  <a:pt x="4685654" y="495201"/>
                </a:cubicBezTo>
                <a:cubicBezTo>
                  <a:pt x="4685182" y="493687"/>
                  <a:pt x="4686318" y="493411"/>
                  <a:pt x="4687069" y="492698"/>
                </a:cubicBezTo>
                <a:cubicBezTo>
                  <a:pt x="4687505" y="492310"/>
                  <a:pt x="4688134" y="491980"/>
                  <a:pt x="4688697" y="491525"/>
                </a:cubicBezTo>
                <a:cubicBezTo>
                  <a:pt x="4691896" y="489369"/>
                  <a:pt x="4691663" y="487089"/>
                  <a:pt x="4688134" y="485252"/>
                </a:cubicBezTo>
                <a:cubicBezTo>
                  <a:pt x="4687684" y="485008"/>
                  <a:pt x="4687302" y="484887"/>
                  <a:pt x="4686980" y="484576"/>
                </a:cubicBezTo>
                <a:cubicBezTo>
                  <a:pt x="4686207" y="484020"/>
                  <a:pt x="4685433" y="483147"/>
                  <a:pt x="4685918" y="482249"/>
                </a:cubicBezTo>
                <a:cubicBezTo>
                  <a:pt x="4686286" y="481416"/>
                  <a:pt x="4687430" y="481458"/>
                  <a:pt x="4688194" y="481697"/>
                </a:cubicBezTo>
                <a:cubicBezTo>
                  <a:pt x="4688961" y="481937"/>
                  <a:pt x="4689599" y="482241"/>
                  <a:pt x="4690309" y="482672"/>
                </a:cubicBezTo>
                <a:cubicBezTo>
                  <a:pt x="4691523" y="483156"/>
                  <a:pt x="4692411" y="483013"/>
                  <a:pt x="4693021" y="481732"/>
                </a:cubicBezTo>
                <a:cubicBezTo>
                  <a:pt x="4694552" y="478847"/>
                  <a:pt x="4697063" y="477212"/>
                  <a:pt x="4699636" y="475703"/>
                </a:cubicBezTo>
                <a:cubicBezTo>
                  <a:pt x="4702649" y="473804"/>
                  <a:pt x="4706116" y="472469"/>
                  <a:pt x="4708863" y="470068"/>
                </a:cubicBezTo>
                <a:cubicBezTo>
                  <a:pt x="4709863" y="469224"/>
                  <a:pt x="4710888" y="469649"/>
                  <a:pt x="4711717" y="470014"/>
                </a:cubicBezTo>
                <a:cubicBezTo>
                  <a:pt x="4714533" y="471102"/>
                  <a:pt x="4717221" y="472257"/>
                  <a:pt x="4719837" y="469604"/>
                </a:cubicBezTo>
                <a:close/>
                <a:moveTo>
                  <a:pt x="8794932" y="459629"/>
                </a:moveTo>
                <a:cubicBezTo>
                  <a:pt x="8799095" y="460627"/>
                  <a:pt x="8803426" y="460128"/>
                  <a:pt x="8807590" y="460461"/>
                </a:cubicBezTo>
                <a:cubicBezTo>
                  <a:pt x="8811087" y="460628"/>
                  <a:pt x="8814584" y="460960"/>
                  <a:pt x="8817749" y="463124"/>
                </a:cubicBezTo>
                <a:cubicBezTo>
                  <a:pt x="8819082" y="464123"/>
                  <a:pt x="8820080" y="463791"/>
                  <a:pt x="8821080" y="462625"/>
                </a:cubicBezTo>
                <a:cubicBezTo>
                  <a:pt x="8821579" y="461793"/>
                  <a:pt x="8822080" y="461127"/>
                  <a:pt x="8822746" y="460461"/>
                </a:cubicBezTo>
                <a:cubicBezTo>
                  <a:pt x="8823412" y="459795"/>
                  <a:pt x="8824577" y="459130"/>
                  <a:pt x="8825411" y="459796"/>
                </a:cubicBezTo>
                <a:cubicBezTo>
                  <a:pt x="8826410" y="460462"/>
                  <a:pt x="8826076" y="461792"/>
                  <a:pt x="8825577" y="462792"/>
                </a:cubicBezTo>
                <a:cubicBezTo>
                  <a:pt x="8825410" y="463291"/>
                  <a:pt x="8825077" y="463624"/>
                  <a:pt x="8824744" y="464123"/>
                </a:cubicBezTo>
                <a:cubicBezTo>
                  <a:pt x="8822080" y="467952"/>
                  <a:pt x="8823078" y="470449"/>
                  <a:pt x="8827575" y="470948"/>
                </a:cubicBezTo>
                <a:cubicBezTo>
                  <a:pt x="8828408" y="471115"/>
                  <a:pt x="8829240" y="471115"/>
                  <a:pt x="8829908" y="471281"/>
                </a:cubicBezTo>
                <a:cubicBezTo>
                  <a:pt x="8831072" y="471614"/>
                  <a:pt x="8832406" y="471281"/>
                  <a:pt x="8832739" y="473112"/>
                </a:cubicBezTo>
                <a:cubicBezTo>
                  <a:pt x="8833071" y="474444"/>
                  <a:pt x="8832405" y="475109"/>
                  <a:pt x="8831405" y="475775"/>
                </a:cubicBezTo>
                <a:cubicBezTo>
                  <a:pt x="8829573" y="477108"/>
                  <a:pt x="8829740" y="478273"/>
                  <a:pt x="8831572" y="479771"/>
                </a:cubicBezTo>
                <a:cubicBezTo>
                  <a:pt x="8833905" y="481602"/>
                  <a:pt x="8836069" y="483932"/>
                  <a:pt x="8835902" y="487261"/>
                </a:cubicBezTo>
                <a:cubicBezTo>
                  <a:pt x="8835737" y="489925"/>
                  <a:pt x="8836403" y="491256"/>
                  <a:pt x="8839400" y="490591"/>
                </a:cubicBezTo>
                <a:cubicBezTo>
                  <a:pt x="8840066" y="490424"/>
                  <a:pt x="8840899" y="490591"/>
                  <a:pt x="8841233" y="491590"/>
                </a:cubicBezTo>
                <a:cubicBezTo>
                  <a:pt x="8841565" y="492422"/>
                  <a:pt x="8840733" y="492921"/>
                  <a:pt x="8840232" y="493420"/>
                </a:cubicBezTo>
                <a:cubicBezTo>
                  <a:pt x="8839068" y="494586"/>
                  <a:pt x="8837734" y="495751"/>
                  <a:pt x="8836902" y="497083"/>
                </a:cubicBezTo>
                <a:cubicBezTo>
                  <a:pt x="8834237" y="500579"/>
                  <a:pt x="8834403" y="502576"/>
                  <a:pt x="8836902" y="506238"/>
                </a:cubicBezTo>
                <a:cubicBezTo>
                  <a:pt x="8838901" y="509068"/>
                  <a:pt x="8840399" y="512064"/>
                  <a:pt x="8840567" y="515726"/>
                </a:cubicBezTo>
                <a:cubicBezTo>
                  <a:pt x="8840732" y="518390"/>
                  <a:pt x="8839401" y="518722"/>
                  <a:pt x="8837236" y="517890"/>
                </a:cubicBezTo>
                <a:cubicBezTo>
                  <a:pt x="8835736" y="517391"/>
                  <a:pt x="8834904" y="515893"/>
                  <a:pt x="8833737" y="515061"/>
                </a:cubicBezTo>
                <a:cubicBezTo>
                  <a:pt x="8832405" y="514062"/>
                  <a:pt x="8830573" y="512730"/>
                  <a:pt x="8829240" y="514062"/>
                </a:cubicBezTo>
                <a:cubicBezTo>
                  <a:pt x="8827742" y="515727"/>
                  <a:pt x="8828574" y="517724"/>
                  <a:pt x="8830073" y="519222"/>
                </a:cubicBezTo>
                <a:cubicBezTo>
                  <a:pt x="8830739" y="519888"/>
                  <a:pt x="8831740" y="520554"/>
                  <a:pt x="8832405" y="521387"/>
                </a:cubicBezTo>
                <a:cubicBezTo>
                  <a:pt x="8833239" y="522218"/>
                  <a:pt x="8833905" y="523217"/>
                  <a:pt x="8832905" y="524383"/>
                </a:cubicBezTo>
                <a:cubicBezTo>
                  <a:pt x="8832072" y="525382"/>
                  <a:pt x="8831072" y="524882"/>
                  <a:pt x="8830074" y="524050"/>
                </a:cubicBezTo>
                <a:cubicBezTo>
                  <a:pt x="8829075" y="523384"/>
                  <a:pt x="8828075" y="522551"/>
                  <a:pt x="8827075" y="522052"/>
                </a:cubicBezTo>
                <a:cubicBezTo>
                  <a:pt x="8825576" y="521053"/>
                  <a:pt x="8823912" y="521553"/>
                  <a:pt x="8822745" y="522552"/>
                </a:cubicBezTo>
                <a:cubicBezTo>
                  <a:pt x="8821580" y="523551"/>
                  <a:pt x="8822246" y="525049"/>
                  <a:pt x="8822745" y="526213"/>
                </a:cubicBezTo>
                <a:cubicBezTo>
                  <a:pt x="8825243" y="532040"/>
                  <a:pt x="8833572" y="534536"/>
                  <a:pt x="8839233" y="531041"/>
                </a:cubicBezTo>
                <a:cubicBezTo>
                  <a:pt x="8841898" y="529377"/>
                  <a:pt x="8842897" y="529876"/>
                  <a:pt x="8843231" y="532539"/>
                </a:cubicBezTo>
                <a:cubicBezTo>
                  <a:pt x="8843730" y="536867"/>
                  <a:pt x="8845730" y="539697"/>
                  <a:pt x="8850059" y="541195"/>
                </a:cubicBezTo>
                <a:cubicBezTo>
                  <a:pt x="8851226" y="541528"/>
                  <a:pt x="8853057" y="542361"/>
                  <a:pt x="8852558" y="544191"/>
                </a:cubicBezTo>
                <a:cubicBezTo>
                  <a:pt x="8851558" y="548353"/>
                  <a:pt x="8853223" y="551849"/>
                  <a:pt x="8855389" y="555178"/>
                </a:cubicBezTo>
                <a:cubicBezTo>
                  <a:pt x="8857055" y="557675"/>
                  <a:pt x="8857553" y="560005"/>
                  <a:pt x="8855721" y="563002"/>
                </a:cubicBezTo>
                <a:cubicBezTo>
                  <a:pt x="8853724" y="566165"/>
                  <a:pt x="8854890" y="567996"/>
                  <a:pt x="8858886" y="568661"/>
                </a:cubicBezTo>
                <a:cubicBezTo>
                  <a:pt x="8859053" y="568661"/>
                  <a:pt x="8859219" y="568661"/>
                  <a:pt x="8859386" y="568661"/>
                </a:cubicBezTo>
                <a:cubicBezTo>
                  <a:pt x="8860884" y="568828"/>
                  <a:pt x="8862383" y="569161"/>
                  <a:pt x="8862551" y="570659"/>
                </a:cubicBezTo>
                <a:cubicBezTo>
                  <a:pt x="8862884" y="572157"/>
                  <a:pt x="8861051" y="571991"/>
                  <a:pt x="8860218" y="572490"/>
                </a:cubicBezTo>
                <a:cubicBezTo>
                  <a:pt x="8854889" y="575154"/>
                  <a:pt x="8852723" y="579315"/>
                  <a:pt x="8853724" y="585308"/>
                </a:cubicBezTo>
                <a:cubicBezTo>
                  <a:pt x="8854057" y="587306"/>
                  <a:pt x="8853391" y="588470"/>
                  <a:pt x="8851724" y="589303"/>
                </a:cubicBezTo>
                <a:cubicBezTo>
                  <a:pt x="8850725" y="589802"/>
                  <a:pt x="8849727" y="590135"/>
                  <a:pt x="8848726" y="590634"/>
                </a:cubicBezTo>
                <a:cubicBezTo>
                  <a:pt x="8847394" y="591300"/>
                  <a:pt x="8846895" y="592299"/>
                  <a:pt x="8847228" y="593797"/>
                </a:cubicBezTo>
                <a:lnTo>
                  <a:pt x="8847974" y="594855"/>
                </a:lnTo>
                <a:lnTo>
                  <a:pt x="8834956" y="607801"/>
                </a:lnTo>
                <a:lnTo>
                  <a:pt x="8835236" y="605283"/>
                </a:lnTo>
                <a:cubicBezTo>
                  <a:pt x="8835569" y="603952"/>
                  <a:pt x="8835569" y="603285"/>
                  <a:pt x="8834071" y="602453"/>
                </a:cubicBezTo>
                <a:cubicBezTo>
                  <a:pt x="8832405" y="601787"/>
                  <a:pt x="8831739" y="602619"/>
                  <a:pt x="8831073" y="603618"/>
                </a:cubicBezTo>
                <a:cubicBezTo>
                  <a:pt x="8830573" y="604284"/>
                  <a:pt x="8830406" y="604950"/>
                  <a:pt x="8830073" y="605782"/>
                </a:cubicBezTo>
                <a:cubicBezTo>
                  <a:pt x="8828574" y="609278"/>
                  <a:pt x="8827575" y="609444"/>
                  <a:pt x="8825077" y="606614"/>
                </a:cubicBezTo>
                <a:cubicBezTo>
                  <a:pt x="8824577" y="605949"/>
                  <a:pt x="8823911" y="605116"/>
                  <a:pt x="8822913" y="605117"/>
                </a:cubicBezTo>
                <a:cubicBezTo>
                  <a:pt x="8821747" y="605283"/>
                  <a:pt x="8821746" y="606615"/>
                  <a:pt x="8821413" y="607447"/>
                </a:cubicBezTo>
                <a:cubicBezTo>
                  <a:pt x="8821081" y="608113"/>
                  <a:pt x="8820913" y="608779"/>
                  <a:pt x="8820914" y="609445"/>
                </a:cubicBezTo>
                <a:cubicBezTo>
                  <a:pt x="8820663" y="610860"/>
                  <a:pt x="8820123" y="611525"/>
                  <a:pt x="8819414" y="611671"/>
                </a:cubicBezTo>
                <a:cubicBezTo>
                  <a:pt x="8818706" y="611817"/>
                  <a:pt x="8817833" y="611442"/>
                  <a:pt x="8816916" y="610776"/>
                </a:cubicBezTo>
                <a:cubicBezTo>
                  <a:pt x="8815084" y="609278"/>
                  <a:pt x="8813252" y="607447"/>
                  <a:pt x="8811421" y="605949"/>
                </a:cubicBezTo>
                <a:cubicBezTo>
                  <a:pt x="8809255" y="604118"/>
                  <a:pt x="8806757" y="602786"/>
                  <a:pt x="8804092" y="604284"/>
                </a:cubicBezTo>
                <a:cubicBezTo>
                  <a:pt x="8801927" y="605283"/>
                  <a:pt x="8800927" y="604451"/>
                  <a:pt x="8799763" y="602952"/>
                </a:cubicBezTo>
                <a:cubicBezTo>
                  <a:pt x="8797263" y="599623"/>
                  <a:pt x="8794267" y="597126"/>
                  <a:pt x="8789603" y="598125"/>
                </a:cubicBezTo>
                <a:cubicBezTo>
                  <a:pt x="8788437" y="598458"/>
                  <a:pt x="8788103" y="597958"/>
                  <a:pt x="8787937" y="596793"/>
                </a:cubicBezTo>
                <a:cubicBezTo>
                  <a:pt x="8787271" y="588637"/>
                  <a:pt x="8783774" y="581646"/>
                  <a:pt x="8779110" y="575320"/>
                </a:cubicBezTo>
                <a:cubicBezTo>
                  <a:pt x="8777945" y="573822"/>
                  <a:pt x="8778277" y="572822"/>
                  <a:pt x="8778943" y="571325"/>
                </a:cubicBezTo>
                <a:cubicBezTo>
                  <a:pt x="8780610" y="568329"/>
                  <a:pt x="8782441" y="564999"/>
                  <a:pt x="8781276" y="561670"/>
                </a:cubicBezTo>
                <a:cubicBezTo>
                  <a:pt x="8780109" y="558341"/>
                  <a:pt x="8780942" y="556010"/>
                  <a:pt x="8782608" y="553347"/>
                </a:cubicBezTo>
                <a:cubicBezTo>
                  <a:pt x="8783107" y="552514"/>
                  <a:pt x="8783441" y="551682"/>
                  <a:pt x="8783940" y="550683"/>
                </a:cubicBezTo>
                <a:cubicBezTo>
                  <a:pt x="8786106" y="545856"/>
                  <a:pt x="8788603" y="541362"/>
                  <a:pt x="8793766" y="539032"/>
                </a:cubicBezTo>
                <a:cubicBezTo>
                  <a:pt x="8794766" y="538698"/>
                  <a:pt x="8794765" y="538032"/>
                  <a:pt x="8794765" y="537200"/>
                </a:cubicBezTo>
                <a:cubicBezTo>
                  <a:pt x="8794599" y="534703"/>
                  <a:pt x="8790103" y="528711"/>
                  <a:pt x="8787770" y="528044"/>
                </a:cubicBezTo>
                <a:cubicBezTo>
                  <a:pt x="8784106" y="527212"/>
                  <a:pt x="8780942" y="525381"/>
                  <a:pt x="8778444" y="522551"/>
                </a:cubicBezTo>
                <a:cubicBezTo>
                  <a:pt x="8774946" y="518889"/>
                  <a:pt x="8771949" y="515061"/>
                  <a:pt x="8768617" y="511232"/>
                </a:cubicBezTo>
                <a:cubicBezTo>
                  <a:pt x="8767618" y="510233"/>
                  <a:pt x="8768119" y="509567"/>
                  <a:pt x="8768785" y="508735"/>
                </a:cubicBezTo>
                <a:cubicBezTo>
                  <a:pt x="8771783" y="505073"/>
                  <a:pt x="8771783" y="505073"/>
                  <a:pt x="8768119" y="502576"/>
                </a:cubicBezTo>
                <a:cubicBezTo>
                  <a:pt x="8764788" y="500079"/>
                  <a:pt x="8764620" y="498414"/>
                  <a:pt x="8767618" y="495252"/>
                </a:cubicBezTo>
                <a:cubicBezTo>
                  <a:pt x="8768951" y="493920"/>
                  <a:pt x="8770284" y="492422"/>
                  <a:pt x="8769784" y="490092"/>
                </a:cubicBezTo>
                <a:cubicBezTo>
                  <a:pt x="8768285" y="484265"/>
                  <a:pt x="8770449" y="479437"/>
                  <a:pt x="8774281" y="475110"/>
                </a:cubicBezTo>
                <a:cubicBezTo>
                  <a:pt x="8776778" y="472280"/>
                  <a:pt x="8779776" y="469616"/>
                  <a:pt x="8781608" y="466288"/>
                </a:cubicBezTo>
                <a:cubicBezTo>
                  <a:pt x="8781941" y="465621"/>
                  <a:pt x="8782442" y="464956"/>
                  <a:pt x="8783275" y="465122"/>
                </a:cubicBezTo>
                <a:cubicBezTo>
                  <a:pt x="8787438" y="466454"/>
                  <a:pt x="8789602" y="463791"/>
                  <a:pt x="8791934" y="461127"/>
                </a:cubicBezTo>
                <a:cubicBezTo>
                  <a:pt x="8792600" y="460295"/>
                  <a:pt x="8793433" y="459296"/>
                  <a:pt x="8794932" y="459629"/>
                </a:cubicBezTo>
                <a:close/>
                <a:moveTo>
                  <a:pt x="9211807" y="455326"/>
                </a:moveTo>
                <a:cubicBezTo>
                  <a:pt x="9214211" y="455353"/>
                  <a:pt x="9216506" y="455954"/>
                  <a:pt x="9218363" y="458574"/>
                </a:cubicBezTo>
                <a:cubicBezTo>
                  <a:pt x="9219019" y="459447"/>
                  <a:pt x="9220331" y="460538"/>
                  <a:pt x="9222080" y="460538"/>
                </a:cubicBezTo>
                <a:cubicBezTo>
                  <a:pt x="9224483" y="460320"/>
                  <a:pt x="9225795" y="461630"/>
                  <a:pt x="9226232" y="464031"/>
                </a:cubicBezTo>
                <a:cubicBezTo>
                  <a:pt x="9226670" y="465559"/>
                  <a:pt x="9227763" y="466432"/>
                  <a:pt x="9228855" y="467524"/>
                </a:cubicBezTo>
                <a:cubicBezTo>
                  <a:pt x="9231697" y="470144"/>
                  <a:pt x="9233008" y="473200"/>
                  <a:pt x="9231915" y="477129"/>
                </a:cubicBezTo>
                <a:cubicBezTo>
                  <a:pt x="9231259" y="479312"/>
                  <a:pt x="9231915" y="481713"/>
                  <a:pt x="9234101" y="483024"/>
                </a:cubicBezTo>
                <a:lnTo>
                  <a:pt x="9234101" y="483025"/>
                </a:lnTo>
                <a:lnTo>
                  <a:pt x="9234101" y="485643"/>
                </a:lnTo>
                <a:lnTo>
                  <a:pt x="9234102" y="485644"/>
                </a:lnTo>
                <a:cubicBezTo>
                  <a:pt x="9232135" y="486735"/>
                  <a:pt x="9231259" y="488046"/>
                  <a:pt x="9231478" y="490883"/>
                </a:cubicBezTo>
                <a:cubicBezTo>
                  <a:pt x="9231697" y="494813"/>
                  <a:pt x="9229949" y="497868"/>
                  <a:pt x="9225576" y="498742"/>
                </a:cubicBezTo>
                <a:cubicBezTo>
                  <a:pt x="9223609" y="498960"/>
                  <a:pt x="9224046" y="500488"/>
                  <a:pt x="9224046" y="501799"/>
                </a:cubicBezTo>
                <a:cubicBezTo>
                  <a:pt x="9224047" y="503981"/>
                  <a:pt x="9223172" y="504418"/>
                  <a:pt x="9221423" y="502890"/>
                </a:cubicBezTo>
                <a:cubicBezTo>
                  <a:pt x="9218800" y="500707"/>
                  <a:pt x="9217052" y="500707"/>
                  <a:pt x="9216396" y="504418"/>
                </a:cubicBezTo>
                <a:cubicBezTo>
                  <a:pt x="9216178" y="505292"/>
                  <a:pt x="9215522" y="506383"/>
                  <a:pt x="9214647" y="505292"/>
                </a:cubicBezTo>
                <a:cubicBezTo>
                  <a:pt x="9211807" y="502453"/>
                  <a:pt x="9209839" y="504200"/>
                  <a:pt x="9207654" y="506165"/>
                </a:cubicBezTo>
                <a:cubicBezTo>
                  <a:pt x="9207434" y="506601"/>
                  <a:pt x="9206560" y="506601"/>
                  <a:pt x="9206123" y="506601"/>
                </a:cubicBezTo>
                <a:cubicBezTo>
                  <a:pt x="9200876" y="503545"/>
                  <a:pt x="9195850" y="500052"/>
                  <a:pt x="9190603" y="496778"/>
                </a:cubicBezTo>
                <a:cubicBezTo>
                  <a:pt x="9188200" y="495249"/>
                  <a:pt x="9186887" y="491102"/>
                  <a:pt x="9185794" y="487827"/>
                </a:cubicBezTo>
                <a:cubicBezTo>
                  <a:pt x="9185357" y="486517"/>
                  <a:pt x="9185576" y="485208"/>
                  <a:pt x="9184264" y="484116"/>
                </a:cubicBezTo>
                <a:cubicBezTo>
                  <a:pt x="9182954" y="483025"/>
                  <a:pt x="9183171" y="481714"/>
                  <a:pt x="9184047" y="480405"/>
                </a:cubicBezTo>
                <a:lnTo>
                  <a:pt x="9184047" y="480404"/>
                </a:lnTo>
                <a:cubicBezTo>
                  <a:pt x="9184483" y="479530"/>
                  <a:pt x="9185358" y="478439"/>
                  <a:pt x="9184701" y="477566"/>
                </a:cubicBezTo>
                <a:cubicBezTo>
                  <a:pt x="9182516" y="474946"/>
                  <a:pt x="9182297" y="472981"/>
                  <a:pt x="9185794" y="471671"/>
                </a:cubicBezTo>
                <a:cubicBezTo>
                  <a:pt x="9186670" y="471453"/>
                  <a:pt x="9186887" y="470143"/>
                  <a:pt x="9186014" y="469489"/>
                </a:cubicBezTo>
                <a:cubicBezTo>
                  <a:pt x="9183172" y="467087"/>
                  <a:pt x="9186232" y="465996"/>
                  <a:pt x="9186669" y="464250"/>
                </a:cubicBezTo>
                <a:cubicBezTo>
                  <a:pt x="9188200" y="458355"/>
                  <a:pt x="9194975" y="460102"/>
                  <a:pt x="9197599" y="455736"/>
                </a:cubicBezTo>
                <a:cubicBezTo>
                  <a:pt x="9198472" y="454208"/>
                  <a:pt x="9202626" y="455299"/>
                  <a:pt x="9204592" y="455517"/>
                </a:cubicBezTo>
                <a:cubicBezTo>
                  <a:pt x="9206887" y="455844"/>
                  <a:pt x="9209401" y="455299"/>
                  <a:pt x="9211807" y="455326"/>
                </a:cubicBezTo>
                <a:close/>
                <a:moveTo>
                  <a:pt x="3531830" y="447728"/>
                </a:moveTo>
                <a:cubicBezTo>
                  <a:pt x="3537721" y="451160"/>
                  <a:pt x="3543366" y="455083"/>
                  <a:pt x="3549259" y="458760"/>
                </a:cubicBezTo>
                <a:cubicBezTo>
                  <a:pt x="3551958" y="460477"/>
                  <a:pt x="3553432" y="465135"/>
                  <a:pt x="3554657" y="468813"/>
                </a:cubicBezTo>
                <a:cubicBezTo>
                  <a:pt x="3555150" y="470283"/>
                  <a:pt x="3554902" y="471754"/>
                  <a:pt x="3556376" y="472980"/>
                </a:cubicBezTo>
                <a:cubicBezTo>
                  <a:pt x="3557848" y="474207"/>
                  <a:pt x="3557605" y="475676"/>
                  <a:pt x="3556620" y="477148"/>
                </a:cubicBezTo>
                <a:cubicBezTo>
                  <a:pt x="3556130" y="478129"/>
                  <a:pt x="3555150" y="479355"/>
                  <a:pt x="3555887" y="480335"/>
                </a:cubicBezTo>
                <a:cubicBezTo>
                  <a:pt x="3558340" y="483277"/>
                  <a:pt x="3558587" y="485484"/>
                  <a:pt x="3554658" y="486954"/>
                </a:cubicBezTo>
                <a:cubicBezTo>
                  <a:pt x="3553676" y="487200"/>
                  <a:pt x="3553432" y="488671"/>
                  <a:pt x="3554413" y="489406"/>
                </a:cubicBezTo>
                <a:cubicBezTo>
                  <a:pt x="3557605" y="492103"/>
                  <a:pt x="3554167" y="493329"/>
                  <a:pt x="3553676" y="495290"/>
                </a:cubicBezTo>
                <a:cubicBezTo>
                  <a:pt x="3551957" y="501910"/>
                  <a:pt x="3544348" y="499948"/>
                  <a:pt x="3541403" y="504852"/>
                </a:cubicBezTo>
                <a:cubicBezTo>
                  <a:pt x="3540421" y="506568"/>
                  <a:pt x="3535758" y="505342"/>
                  <a:pt x="3533547" y="505097"/>
                </a:cubicBezTo>
                <a:cubicBezTo>
                  <a:pt x="3528394" y="504361"/>
                  <a:pt x="3522256" y="507548"/>
                  <a:pt x="3518084" y="501665"/>
                </a:cubicBezTo>
                <a:cubicBezTo>
                  <a:pt x="3517348" y="500684"/>
                  <a:pt x="3515874" y="499458"/>
                  <a:pt x="3513909" y="499458"/>
                </a:cubicBezTo>
                <a:cubicBezTo>
                  <a:pt x="3511210" y="499703"/>
                  <a:pt x="3509740" y="498233"/>
                  <a:pt x="3509247" y="495535"/>
                </a:cubicBezTo>
                <a:cubicBezTo>
                  <a:pt x="3508756" y="493819"/>
                  <a:pt x="3507528" y="492839"/>
                  <a:pt x="3506301" y="491613"/>
                </a:cubicBezTo>
                <a:cubicBezTo>
                  <a:pt x="3503109" y="488672"/>
                  <a:pt x="3501639" y="485238"/>
                  <a:pt x="3502865" y="480826"/>
                </a:cubicBezTo>
                <a:cubicBezTo>
                  <a:pt x="3503602" y="478374"/>
                  <a:pt x="3502865" y="475677"/>
                  <a:pt x="3500411" y="474206"/>
                </a:cubicBezTo>
                <a:cubicBezTo>
                  <a:pt x="3500411" y="473225"/>
                  <a:pt x="3500411" y="472244"/>
                  <a:pt x="3500411" y="471264"/>
                </a:cubicBezTo>
                <a:cubicBezTo>
                  <a:pt x="3502619" y="470038"/>
                  <a:pt x="3503602" y="468567"/>
                  <a:pt x="3503357" y="465380"/>
                </a:cubicBezTo>
                <a:cubicBezTo>
                  <a:pt x="3503109" y="460967"/>
                  <a:pt x="3505075" y="457535"/>
                  <a:pt x="3509984" y="456554"/>
                </a:cubicBezTo>
                <a:cubicBezTo>
                  <a:pt x="3512191" y="456309"/>
                  <a:pt x="3511700" y="454593"/>
                  <a:pt x="3511700" y="453122"/>
                </a:cubicBezTo>
                <a:cubicBezTo>
                  <a:pt x="3511700" y="450670"/>
                  <a:pt x="3512684" y="450179"/>
                  <a:pt x="3514647" y="451896"/>
                </a:cubicBezTo>
                <a:cubicBezTo>
                  <a:pt x="3517592" y="454348"/>
                  <a:pt x="3519557" y="454347"/>
                  <a:pt x="3520293" y="450180"/>
                </a:cubicBezTo>
                <a:cubicBezTo>
                  <a:pt x="3520538" y="449199"/>
                  <a:pt x="3521274" y="447973"/>
                  <a:pt x="3522256" y="449199"/>
                </a:cubicBezTo>
                <a:cubicBezTo>
                  <a:pt x="3525446" y="452386"/>
                  <a:pt x="3527657" y="450425"/>
                  <a:pt x="3530112" y="448218"/>
                </a:cubicBezTo>
                <a:cubicBezTo>
                  <a:pt x="3530356" y="447728"/>
                  <a:pt x="3531339" y="447728"/>
                  <a:pt x="3531830" y="447728"/>
                </a:cubicBezTo>
                <a:close/>
                <a:moveTo>
                  <a:pt x="2626606" y="438787"/>
                </a:moveTo>
                <a:cubicBezTo>
                  <a:pt x="2627282" y="438926"/>
                  <a:pt x="2627800" y="439564"/>
                  <a:pt x="2628038" y="440918"/>
                </a:cubicBezTo>
                <a:cubicBezTo>
                  <a:pt x="2628038" y="441555"/>
                  <a:pt x="2628198" y="442192"/>
                  <a:pt x="2628518" y="442830"/>
                </a:cubicBezTo>
                <a:cubicBezTo>
                  <a:pt x="2628838" y="443627"/>
                  <a:pt x="2628837" y="444901"/>
                  <a:pt x="2629954" y="445060"/>
                </a:cubicBezTo>
                <a:cubicBezTo>
                  <a:pt x="2630909" y="445060"/>
                  <a:pt x="2631547" y="444264"/>
                  <a:pt x="2632024" y="443626"/>
                </a:cubicBezTo>
                <a:cubicBezTo>
                  <a:pt x="2634415" y="440918"/>
                  <a:pt x="2635373" y="441077"/>
                  <a:pt x="2636807" y="444423"/>
                </a:cubicBezTo>
                <a:cubicBezTo>
                  <a:pt x="2637126" y="445220"/>
                  <a:pt x="2637286" y="445857"/>
                  <a:pt x="2637763" y="446494"/>
                </a:cubicBezTo>
                <a:cubicBezTo>
                  <a:pt x="2638401" y="447450"/>
                  <a:pt x="2639039" y="448247"/>
                  <a:pt x="2640635" y="447609"/>
                </a:cubicBezTo>
                <a:cubicBezTo>
                  <a:pt x="2642069" y="446814"/>
                  <a:pt x="2642069" y="446175"/>
                  <a:pt x="2641750" y="444901"/>
                </a:cubicBezTo>
                <a:lnTo>
                  <a:pt x="2641481" y="442491"/>
                </a:lnTo>
                <a:lnTo>
                  <a:pt x="2653939" y="454883"/>
                </a:lnTo>
                <a:lnTo>
                  <a:pt x="2653226" y="455895"/>
                </a:lnTo>
                <a:cubicBezTo>
                  <a:pt x="2652908" y="457329"/>
                  <a:pt x="2653386" y="458285"/>
                  <a:pt x="2654661" y="458922"/>
                </a:cubicBezTo>
                <a:cubicBezTo>
                  <a:pt x="2655617" y="459400"/>
                  <a:pt x="2656574" y="459719"/>
                  <a:pt x="2657531" y="460197"/>
                </a:cubicBezTo>
                <a:cubicBezTo>
                  <a:pt x="2659127" y="460994"/>
                  <a:pt x="2659764" y="462108"/>
                  <a:pt x="2659446" y="464020"/>
                </a:cubicBezTo>
                <a:cubicBezTo>
                  <a:pt x="2658490" y="469756"/>
                  <a:pt x="2660561" y="473740"/>
                  <a:pt x="2665661" y="476289"/>
                </a:cubicBezTo>
                <a:cubicBezTo>
                  <a:pt x="2666459" y="476768"/>
                  <a:pt x="2668213" y="476608"/>
                  <a:pt x="2667893" y="478042"/>
                </a:cubicBezTo>
                <a:cubicBezTo>
                  <a:pt x="2667734" y="479476"/>
                  <a:pt x="2666299" y="479795"/>
                  <a:pt x="2664865" y="479954"/>
                </a:cubicBezTo>
                <a:cubicBezTo>
                  <a:pt x="2664706" y="479954"/>
                  <a:pt x="2664546" y="479954"/>
                  <a:pt x="2664387" y="479954"/>
                </a:cubicBezTo>
                <a:cubicBezTo>
                  <a:pt x="2660561" y="480592"/>
                  <a:pt x="2659445" y="482344"/>
                  <a:pt x="2661357" y="485371"/>
                </a:cubicBezTo>
                <a:cubicBezTo>
                  <a:pt x="2663111" y="488239"/>
                  <a:pt x="2662633" y="490470"/>
                  <a:pt x="2661038" y="492860"/>
                </a:cubicBezTo>
                <a:cubicBezTo>
                  <a:pt x="2658967" y="496046"/>
                  <a:pt x="2657372" y="499392"/>
                  <a:pt x="2658329" y="503376"/>
                </a:cubicBezTo>
                <a:cubicBezTo>
                  <a:pt x="2658807" y="505128"/>
                  <a:pt x="2657053" y="505925"/>
                  <a:pt x="2655936" y="506244"/>
                </a:cubicBezTo>
                <a:cubicBezTo>
                  <a:pt x="2651794" y="507677"/>
                  <a:pt x="2649879" y="510386"/>
                  <a:pt x="2649401" y="514528"/>
                </a:cubicBezTo>
                <a:cubicBezTo>
                  <a:pt x="2649083" y="517077"/>
                  <a:pt x="2648127" y="517555"/>
                  <a:pt x="2645576" y="515962"/>
                </a:cubicBezTo>
                <a:cubicBezTo>
                  <a:pt x="2640156" y="512616"/>
                  <a:pt x="2632185" y="515007"/>
                  <a:pt x="2629794" y="520583"/>
                </a:cubicBezTo>
                <a:cubicBezTo>
                  <a:pt x="2629316" y="521698"/>
                  <a:pt x="2628676" y="523132"/>
                  <a:pt x="2629795" y="524089"/>
                </a:cubicBezTo>
                <a:cubicBezTo>
                  <a:pt x="2630909" y="525044"/>
                  <a:pt x="2632503" y="525522"/>
                  <a:pt x="2633938" y="524567"/>
                </a:cubicBezTo>
                <a:cubicBezTo>
                  <a:pt x="2634895" y="524088"/>
                  <a:pt x="2635851" y="523291"/>
                  <a:pt x="2636807" y="522654"/>
                </a:cubicBezTo>
                <a:cubicBezTo>
                  <a:pt x="2637763" y="521857"/>
                  <a:pt x="2638720" y="521380"/>
                  <a:pt x="2639516" y="522336"/>
                </a:cubicBezTo>
                <a:cubicBezTo>
                  <a:pt x="2640475" y="523451"/>
                  <a:pt x="2639836" y="524407"/>
                  <a:pt x="2639039" y="525204"/>
                </a:cubicBezTo>
                <a:cubicBezTo>
                  <a:pt x="2638401" y="526000"/>
                  <a:pt x="2637444" y="526637"/>
                  <a:pt x="2636807" y="527275"/>
                </a:cubicBezTo>
                <a:cubicBezTo>
                  <a:pt x="2635373" y="528708"/>
                  <a:pt x="2634576" y="530621"/>
                  <a:pt x="2636011" y="532214"/>
                </a:cubicBezTo>
                <a:cubicBezTo>
                  <a:pt x="2637285" y="533489"/>
                  <a:pt x="2639038" y="532214"/>
                  <a:pt x="2640314" y="531258"/>
                </a:cubicBezTo>
                <a:cubicBezTo>
                  <a:pt x="2641431" y="530461"/>
                  <a:pt x="2642228" y="529027"/>
                  <a:pt x="2643663" y="528549"/>
                </a:cubicBezTo>
                <a:cubicBezTo>
                  <a:pt x="2645735" y="527753"/>
                  <a:pt x="2647011" y="528072"/>
                  <a:pt x="2646850" y="530621"/>
                </a:cubicBezTo>
                <a:cubicBezTo>
                  <a:pt x="2646691" y="534126"/>
                  <a:pt x="2645257" y="536994"/>
                  <a:pt x="2643344" y="539703"/>
                </a:cubicBezTo>
                <a:cubicBezTo>
                  <a:pt x="2640953" y="543208"/>
                  <a:pt x="2640794" y="545120"/>
                  <a:pt x="2643344" y="548466"/>
                </a:cubicBezTo>
                <a:cubicBezTo>
                  <a:pt x="2644140" y="549741"/>
                  <a:pt x="2645417" y="550856"/>
                  <a:pt x="2646533" y="551972"/>
                </a:cubicBezTo>
                <a:cubicBezTo>
                  <a:pt x="2647011" y="552449"/>
                  <a:pt x="2647807" y="552927"/>
                  <a:pt x="2647489" y="553724"/>
                </a:cubicBezTo>
                <a:cubicBezTo>
                  <a:pt x="2647169" y="554679"/>
                  <a:pt x="2646373" y="554839"/>
                  <a:pt x="2645735" y="554679"/>
                </a:cubicBezTo>
                <a:cubicBezTo>
                  <a:pt x="2642865" y="554043"/>
                  <a:pt x="2642228" y="555317"/>
                  <a:pt x="2642387" y="557866"/>
                </a:cubicBezTo>
                <a:cubicBezTo>
                  <a:pt x="2642547" y="561053"/>
                  <a:pt x="2640474" y="563283"/>
                  <a:pt x="2638240" y="565037"/>
                </a:cubicBezTo>
                <a:cubicBezTo>
                  <a:pt x="2636487" y="566470"/>
                  <a:pt x="2636328" y="567586"/>
                  <a:pt x="2638082" y="568861"/>
                </a:cubicBezTo>
                <a:cubicBezTo>
                  <a:pt x="2639039" y="569497"/>
                  <a:pt x="2639677" y="570135"/>
                  <a:pt x="2639357" y="571409"/>
                </a:cubicBezTo>
                <a:cubicBezTo>
                  <a:pt x="2639039" y="573162"/>
                  <a:pt x="2637762" y="572843"/>
                  <a:pt x="2636646" y="573162"/>
                </a:cubicBezTo>
                <a:cubicBezTo>
                  <a:pt x="2636011" y="573321"/>
                  <a:pt x="2635214" y="573322"/>
                  <a:pt x="2634415" y="573481"/>
                </a:cubicBezTo>
                <a:cubicBezTo>
                  <a:pt x="2630112" y="573959"/>
                  <a:pt x="2629155" y="576349"/>
                  <a:pt x="2631706" y="580014"/>
                </a:cubicBezTo>
                <a:cubicBezTo>
                  <a:pt x="2632024" y="580492"/>
                  <a:pt x="2632343" y="580810"/>
                  <a:pt x="2632503" y="581288"/>
                </a:cubicBezTo>
                <a:cubicBezTo>
                  <a:pt x="2632981" y="582244"/>
                  <a:pt x="2633299" y="583518"/>
                  <a:pt x="2632343" y="584156"/>
                </a:cubicBezTo>
                <a:cubicBezTo>
                  <a:pt x="2631546" y="584794"/>
                  <a:pt x="2630432" y="584156"/>
                  <a:pt x="2629795" y="583519"/>
                </a:cubicBezTo>
                <a:cubicBezTo>
                  <a:pt x="2629155" y="582881"/>
                  <a:pt x="2628675" y="582244"/>
                  <a:pt x="2628198" y="581447"/>
                </a:cubicBezTo>
                <a:cubicBezTo>
                  <a:pt x="2627243" y="580332"/>
                  <a:pt x="2626286" y="580013"/>
                  <a:pt x="2625011" y="580969"/>
                </a:cubicBezTo>
                <a:cubicBezTo>
                  <a:pt x="2621981" y="583041"/>
                  <a:pt x="2618633" y="583359"/>
                  <a:pt x="2615286" y="583518"/>
                </a:cubicBezTo>
                <a:cubicBezTo>
                  <a:pt x="2611298" y="583837"/>
                  <a:pt x="2607157" y="583359"/>
                  <a:pt x="2603172" y="584315"/>
                </a:cubicBezTo>
                <a:cubicBezTo>
                  <a:pt x="2601735" y="584634"/>
                  <a:pt x="2600937" y="583678"/>
                  <a:pt x="2600301" y="582882"/>
                </a:cubicBezTo>
                <a:cubicBezTo>
                  <a:pt x="2598069" y="580332"/>
                  <a:pt x="2595996" y="577783"/>
                  <a:pt x="2592009" y="579058"/>
                </a:cubicBezTo>
                <a:cubicBezTo>
                  <a:pt x="2591215" y="579217"/>
                  <a:pt x="2590738" y="578579"/>
                  <a:pt x="2590420" y="577942"/>
                </a:cubicBezTo>
                <a:cubicBezTo>
                  <a:pt x="2588665" y="574756"/>
                  <a:pt x="2585797" y="572206"/>
                  <a:pt x="2583400" y="569497"/>
                </a:cubicBezTo>
                <a:cubicBezTo>
                  <a:pt x="2579741" y="565355"/>
                  <a:pt x="2577666" y="560735"/>
                  <a:pt x="2579097" y="555158"/>
                </a:cubicBezTo>
                <a:cubicBezTo>
                  <a:pt x="2579575" y="552927"/>
                  <a:pt x="2578302" y="551493"/>
                  <a:pt x="2577030" y="550219"/>
                </a:cubicBezTo>
                <a:cubicBezTo>
                  <a:pt x="2574155" y="547191"/>
                  <a:pt x="2574318" y="545598"/>
                  <a:pt x="2577506" y="543208"/>
                </a:cubicBezTo>
                <a:cubicBezTo>
                  <a:pt x="2581015" y="540818"/>
                  <a:pt x="2581015" y="540818"/>
                  <a:pt x="2578142" y="537313"/>
                </a:cubicBezTo>
                <a:cubicBezTo>
                  <a:pt x="2577506" y="536517"/>
                  <a:pt x="2577031" y="535879"/>
                  <a:pt x="2577983" y="534923"/>
                </a:cubicBezTo>
                <a:cubicBezTo>
                  <a:pt x="2581173" y="531258"/>
                  <a:pt x="2584038" y="527594"/>
                  <a:pt x="2587390" y="524089"/>
                </a:cubicBezTo>
                <a:cubicBezTo>
                  <a:pt x="2589782" y="521380"/>
                  <a:pt x="2592808" y="519627"/>
                  <a:pt x="2596315" y="518831"/>
                </a:cubicBezTo>
                <a:cubicBezTo>
                  <a:pt x="2598548" y="518193"/>
                  <a:pt x="2602853" y="512457"/>
                  <a:pt x="2603014" y="510067"/>
                </a:cubicBezTo>
                <a:cubicBezTo>
                  <a:pt x="2603013" y="509271"/>
                  <a:pt x="2603014" y="508633"/>
                  <a:pt x="2602055" y="508315"/>
                </a:cubicBezTo>
                <a:cubicBezTo>
                  <a:pt x="2597112" y="506084"/>
                  <a:pt x="2594724" y="501782"/>
                  <a:pt x="2592646" y="497161"/>
                </a:cubicBezTo>
                <a:cubicBezTo>
                  <a:pt x="2592168" y="496206"/>
                  <a:pt x="2591853" y="495408"/>
                  <a:pt x="2591374" y="494613"/>
                </a:cubicBezTo>
                <a:cubicBezTo>
                  <a:pt x="2589782" y="492063"/>
                  <a:pt x="2588981" y="489833"/>
                  <a:pt x="2590101" y="486645"/>
                </a:cubicBezTo>
                <a:cubicBezTo>
                  <a:pt x="2591215" y="483459"/>
                  <a:pt x="2589463" y="480273"/>
                  <a:pt x="2587864" y="477405"/>
                </a:cubicBezTo>
                <a:cubicBezTo>
                  <a:pt x="2587228" y="475971"/>
                  <a:pt x="2586912" y="475015"/>
                  <a:pt x="2588027" y="473581"/>
                </a:cubicBezTo>
                <a:cubicBezTo>
                  <a:pt x="2592489" y="467526"/>
                  <a:pt x="2595837" y="460834"/>
                  <a:pt x="2596473" y="453027"/>
                </a:cubicBezTo>
                <a:cubicBezTo>
                  <a:pt x="2596635" y="451911"/>
                  <a:pt x="2596952" y="451434"/>
                  <a:pt x="2598069" y="451753"/>
                </a:cubicBezTo>
                <a:cubicBezTo>
                  <a:pt x="2602532" y="452708"/>
                  <a:pt x="2605401" y="450319"/>
                  <a:pt x="2607795" y="447132"/>
                </a:cubicBezTo>
                <a:cubicBezTo>
                  <a:pt x="2608909" y="445698"/>
                  <a:pt x="2609865" y="444901"/>
                  <a:pt x="2611941" y="445857"/>
                </a:cubicBezTo>
                <a:cubicBezTo>
                  <a:pt x="2614488" y="447291"/>
                  <a:pt x="2616881" y="446016"/>
                  <a:pt x="2618952" y="444264"/>
                </a:cubicBezTo>
                <a:cubicBezTo>
                  <a:pt x="2620708" y="442830"/>
                  <a:pt x="2622460" y="441077"/>
                  <a:pt x="2624213" y="439643"/>
                </a:cubicBezTo>
                <a:cubicBezTo>
                  <a:pt x="2625090" y="439006"/>
                  <a:pt x="2625926" y="438648"/>
                  <a:pt x="2626606" y="438787"/>
                </a:cubicBezTo>
                <a:close/>
                <a:moveTo>
                  <a:pt x="3092065" y="390996"/>
                </a:moveTo>
                <a:cubicBezTo>
                  <a:pt x="3094566" y="390996"/>
                  <a:pt x="3096708" y="390996"/>
                  <a:pt x="3099208" y="390996"/>
                </a:cubicBezTo>
                <a:cubicBezTo>
                  <a:pt x="3100995" y="393485"/>
                  <a:pt x="3104566" y="393130"/>
                  <a:pt x="3107068" y="394907"/>
                </a:cubicBezTo>
                <a:cubicBezTo>
                  <a:pt x="3109567" y="396686"/>
                  <a:pt x="3111710" y="398108"/>
                  <a:pt x="3112425" y="401307"/>
                </a:cubicBezTo>
                <a:cubicBezTo>
                  <a:pt x="3112784" y="404863"/>
                  <a:pt x="3114567" y="408064"/>
                  <a:pt x="3116355" y="410908"/>
                </a:cubicBezTo>
                <a:cubicBezTo>
                  <a:pt x="3118140" y="414108"/>
                  <a:pt x="3119568" y="417308"/>
                  <a:pt x="3121355" y="420153"/>
                </a:cubicBezTo>
                <a:cubicBezTo>
                  <a:pt x="3122784" y="423353"/>
                  <a:pt x="3125643" y="426197"/>
                  <a:pt x="3129213" y="427975"/>
                </a:cubicBezTo>
                <a:cubicBezTo>
                  <a:pt x="3129213" y="432241"/>
                  <a:pt x="3129214" y="436508"/>
                  <a:pt x="3129214" y="440775"/>
                </a:cubicBezTo>
                <a:cubicBezTo>
                  <a:pt x="3127070" y="441842"/>
                  <a:pt x="3125998" y="443264"/>
                  <a:pt x="3124926" y="445753"/>
                </a:cubicBezTo>
                <a:cubicBezTo>
                  <a:pt x="3123499" y="448598"/>
                  <a:pt x="3120283" y="450731"/>
                  <a:pt x="3117069" y="450731"/>
                </a:cubicBezTo>
                <a:cubicBezTo>
                  <a:pt x="3113853" y="450731"/>
                  <a:pt x="3110997" y="451442"/>
                  <a:pt x="3107780" y="452153"/>
                </a:cubicBezTo>
                <a:cubicBezTo>
                  <a:pt x="3103137" y="450376"/>
                  <a:pt x="3098851" y="447887"/>
                  <a:pt x="3097066" y="442197"/>
                </a:cubicBezTo>
                <a:cubicBezTo>
                  <a:pt x="3096708" y="441131"/>
                  <a:pt x="3094566" y="440420"/>
                  <a:pt x="3094923" y="438286"/>
                </a:cubicBezTo>
                <a:cubicBezTo>
                  <a:pt x="3095995" y="432597"/>
                  <a:pt x="3091709" y="430819"/>
                  <a:pt x="3088136" y="429753"/>
                </a:cubicBezTo>
                <a:cubicBezTo>
                  <a:pt x="3085635" y="429041"/>
                  <a:pt x="3084206" y="427975"/>
                  <a:pt x="3082778" y="426552"/>
                </a:cubicBezTo>
                <a:cubicBezTo>
                  <a:pt x="3078492" y="422641"/>
                  <a:pt x="3078849" y="417308"/>
                  <a:pt x="3077777" y="412330"/>
                </a:cubicBezTo>
                <a:cubicBezTo>
                  <a:pt x="3077063" y="407707"/>
                  <a:pt x="3079207" y="404152"/>
                  <a:pt x="3080992" y="400241"/>
                </a:cubicBezTo>
                <a:cubicBezTo>
                  <a:pt x="3082778" y="395974"/>
                  <a:pt x="3085636" y="392418"/>
                  <a:pt x="3090993" y="392418"/>
                </a:cubicBezTo>
                <a:cubicBezTo>
                  <a:pt x="3091708" y="392418"/>
                  <a:pt x="3092065" y="392062"/>
                  <a:pt x="3092065" y="390996"/>
                </a:cubicBezTo>
                <a:close/>
                <a:moveTo>
                  <a:pt x="3318977" y="381838"/>
                </a:moveTo>
                <a:cubicBezTo>
                  <a:pt x="3324867" y="385270"/>
                  <a:pt x="3330513" y="389192"/>
                  <a:pt x="3336405" y="392870"/>
                </a:cubicBezTo>
                <a:cubicBezTo>
                  <a:pt x="3339106" y="394586"/>
                  <a:pt x="3340578" y="399244"/>
                  <a:pt x="3341806" y="402922"/>
                </a:cubicBezTo>
                <a:cubicBezTo>
                  <a:pt x="3342296" y="404393"/>
                  <a:pt x="3342052" y="405864"/>
                  <a:pt x="3343524" y="407089"/>
                </a:cubicBezTo>
                <a:cubicBezTo>
                  <a:pt x="3344998" y="408316"/>
                  <a:pt x="3344751" y="409786"/>
                  <a:pt x="3343769" y="411257"/>
                </a:cubicBezTo>
                <a:cubicBezTo>
                  <a:pt x="3343278" y="412239"/>
                  <a:pt x="3342297" y="413464"/>
                  <a:pt x="3343033" y="414445"/>
                </a:cubicBezTo>
                <a:cubicBezTo>
                  <a:pt x="3345488" y="417387"/>
                  <a:pt x="3345734" y="419593"/>
                  <a:pt x="3341805" y="421064"/>
                </a:cubicBezTo>
                <a:cubicBezTo>
                  <a:pt x="3340824" y="421309"/>
                  <a:pt x="3340578" y="422780"/>
                  <a:pt x="3341559" y="423515"/>
                </a:cubicBezTo>
                <a:cubicBezTo>
                  <a:pt x="3344751" y="426213"/>
                  <a:pt x="3341313" y="427439"/>
                  <a:pt x="3340824" y="429400"/>
                </a:cubicBezTo>
                <a:cubicBezTo>
                  <a:pt x="3339106" y="436019"/>
                  <a:pt x="3331495" y="434058"/>
                  <a:pt x="3328549" y="438961"/>
                </a:cubicBezTo>
                <a:cubicBezTo>
                  <a:pt x="3327568" y="440677"/>
                  <a:pt x="3322903" y="439452"/>
                  <a:pt x="3320693" y="439207"/>
                </a:cubicBezTo>
                <a:cubicBezTo>
                  <a:pt x="3315536" y="438471"/>
                  <a:pt x="3309401" y="441658"/>
                  <a:pt x="3305228" y="435774"/>
                </a:cubicBezTo>
                <a:cubicBezTo>
                  <a:pt x="3304490" y="434793"/>
                  <a:pt x="3303018" y="433568"/>
                  <a:pt x="3301055" y="433568"/>
                </a:cubicBezTo>
                <a:cubicBezTo>
                  <a:pt x="3298354" y="433813"/>
                  <a:pt x="3296881" y="432342"/>
                  <a:pt x="3296389" y="429645"/>
                </a:cubicBezTo>
                <a:cubicBezTo>
                  <a:pt x="3295899" y="427929"/>
                  <a:pt x="3294671" y="426948"/>
                  <a:pt x="3293444" y="425723"/>
                </a:cubicBezTo>
                <a:cubicBezTo>
                  <a:pt x="3290251" y="422780"/>
                  <a:pt x="3288779" y="419348"/>
                  <a:pt x="3290006" y="414935"/>
                </a:cubicBezTo>
                <a:cubicBezTo>
                  <a:pt x="3290744" y="412483"/>
                  <a:pt x="3290006" y="409786"/>
                  <a:pt x="3287550" y="408316"/>
                </a:cubicBezTo>
                <a:cubicBezTo>
                  <a:pt x="3287550" y="407335"/>
                  <a:pt x="3287550" y="406354"/>
                  <a:pt x="3287550" y="405373"/>
                </a:cubicBezTo>
                <a:cubicBezTo>
                  <a:pt x="3289761" y="404148"/>
                  <a:pt x="3290743" y="402677"/>
                  <a:pt x="3290497" y="399489"/>
                </a:cubicBezTo>
                <a:cubicBezTo>
                  <a:pt x="3290251" y="395076"/>
                  <a:pt x="3292215" y="391644"/>
                  <a:pt x="3297127" y="390664"/>
                </a:cubicBezTo>
                <a:cubicBezTo>
                  <a:pt x="3299334" y="390419"/>
                  <a:pt x="3298845" y="388703"/>
                  <a:pt x="3298845" y="387231"/>
                </a:cubicBezTo>
                <a:cubicBezTo>
                  <a:pt x="3298845" y="384780"/>
                  <a:pt x="3299825" y="384289"/>
                  <a:pt x="3301791" y="386005"/>
                </a:cubicBezTo>
                <a:cubicBezTo>
                  <a:pt x="3304736" y="388457"/>
                  <a:pt x="3306701" y="388457"/>
                  <a:pt x="3307437" y="384289"/>
                </a:cubicBezTo>
                <a:cubicBezTo>
                  <a:pt x="3307681" y="383309"/>
                  <a:pt x="3308419" y="382083"/>
                  <a:pt x="3309402" y="383309"/>
                </a:cubicBezTo>
                <a:cubicBezTo>
                  <a:pt x="3312591" y="386496"/>
                  <a:pt x="3314801" y="384535"/>
                  <a:pt x="3317257" y="382328"/>
                </a:cubicBezTo>
                <a:cubicBezTo>
                  <a:pt x="3317502" y="381837"/>
                  <a:pt x="3318484" y="381837"/>
                  <a:pt x="3318977" y="381838"/>
                </a:cubicBezTo>
                <a:close/>
                <a:moveTo>
                  <a:pt x="10050735" y="367822"/>
                </a:moveTo>
                <a:lnTo>
                  <a:pt x="10050532" y="368162"/>
                </a:lnTo>
                <a:lnTo>
                  <a:pt x="10050294" y="367927"/>
                </a:lnTo>
                <a:close/>
                <a:moveTo>
                  <a:pt x="6887260" y="351534"/>
                </a:moveTo>
                <a:cubicBezTo>
                  <a:pt x="6888097" y="351604"/>
                  <a:pt x="6889771" y="351744"/>
                  <a:pt x="6890120" y="352616"/>
                </a:cubicBezTo>
                <a:cubicBezTo>
                  <a:pt x="6893990" y="356731"/>
                  <a:pt x="6897477" y="360392"/>
                  <a:pt x="6903377" y="355413"/>
                </a:cubicBezTo>
                <a:cubicBezTo>
                  <a:pt x="6905227" y="353463"/>
                  <a:pt x="6906307" y="355659"/>
                  <a:pt x="6906585" y="357366"/>
                </a:cubicBezTo>
                <a:cubicBezTo>
                  <a:pt x="6907245" y="364580"/>
                  <a:pt x="6910595" y="364861"/>
                  <a:pt x="6915970" y="361102"/>
                </a:cubicBezTo>
                <a:cubicBezTo>
                  <a:pt x="6919565" y="358456"/>
                  <a:pt x="6921169" y="359433"/>
                  <a:pt x="6920818" y="363614"/>
                </a:cubicBezTo>
                <a:cubicBezTo>
                  <a:pt x="6920608" y="366123"/>
                  <a:pt x="6919524" y="368979"/>
                  <a:pt x="6923258" y="369714"/>
                </a:cubicBezTo>
                <a:cubicBezTo>
                  <a:pt x="6931490" y="372089"/>
                  <a:pt x="6934349" y="378225"/>
                  <a:pt x="6933298" y="385716"/>
                </a:cubicBezTo>
                <a:cubicBezTo>
                  <a:pt x="6932423" y="391117"/>
                  <a:pt x="6933887" y="393766"/>
                  <a:pt x="6937480" y="396173"/>
                </a:cubicBezTo>
                <a:cubicBezTo>
                  <a:pt x="6937339" y="397846"/>
                  <a:pt x="6937199" y="399518"/>
                  <a:pt x="6937058" y="401191"/>
                </a:cubicBezTo>
                <a:cubicBezTo>
                  <a:pt x="6932661" y="403348"/>
                  <a:pt x="6931019" y="407842"/>
                  <a:pt x="6931924" y="412129"/>
                </a:cubicBezTo>
                <a:cubicBezTo>
                  <a:pt x="6933385" y="419831"/>
                  <a:pt x="6930382" y="425474"/>
                  <a:pt x="6924519" y="430035"/>
                </a:cubicBezTo>
                <a:cubicBezTo>
                  <a:pt x="6922250" y="431950"/>
                  <a:pt x="6920016" y="433446"/>
                  <a:pt x="6918933" y="436303"/>
                </a:cubicBezTo>
                <a:cubicBezTo>
                  <a:pt x="6917710" y="440832"/>
                  <a:pt x="6914986" y="443131"/>
                  <a:pt x="6910416" y="442326"/>
                </a:cubicBezTo>
                <a:cubicBezTo>
                  <a:pt x="6907067" y="442045"/>
                  <a:pt x="6904380" y="443924"/>
                  <a:pt x="6902984" y="445492"/>
                </a:cubicBezTo>
                <a:cubicBezTo>
                  <a:pt x="6895023" y="454929"/>
                  <a:pt x="6885013" y="448615"/>
                  <a:pt x="6876116" y="449132"/>
                </a:cubicBezTo>
                <a:cubicBezTo>
                  <a:pt x="6872312" y="449234"/>
                  <a:pt x="6864182" y="450657"/>
                  <a:pt x="6862753" y="447588"/>
                </a:cubicBezTo>
                <a:cubicBezTo>
                  <a:pt x="6858431" y="438804"/>
                  <a:pt x="6845172" y="441060"/>
                  <a:pt x="6843189" y="429525"/>
                </a:cubicBezTo>
                <a:cubicBezTo>
                  <a:pt x="6842632" y="426109"/>
                  <a:pt x="6836946" y="423526"/>
                  <a:pt x="6842774" y="419383"/>
                </a:cubicBezTo>
                <a:cubicBezTo>
                  <a:pt x="6844555" y="418269"/>
                  <a:pt x="6844347" y="415726"/>
                  <a:pt x="6842707" y="415167"/>
                </a:cubicBezTo>
                <a:cubicBezTo>
                  <a:pt x="6836219" y="412097"/>
                  <a:pt x="6836953" y="408368"/>
                  <a:pt x="6841562" y="403702"/>
                </a:cubicBezTo>
                <a:cubicBezTo>
                  <a:pt x="6842958" y="402134"/>
                  <a:pt x="6841458" y="399903"/>
                  <a:pt x="6840761" y="398161"/>
                </a:cubicBezTo>
                <a:cubicBezTo>
                  <a:pt x="6839298" y="395511"/>
                  <a:pt x="6839090" y="392968"/>
                  <a:pt x="6841777" y="391088"/>
                </a:cubicBezTo>
                <a:cubicBezTo>
                  <a:pt x="6844464" y="389207"/>
                  <a:pt x="6844256" y="386664"/>
                  <a:pt x="6845304" y="384225"/>
                </a:cubicBezTo>
                <a:cubicBezTo>
                  <a:pt x="6847924" y="378129"/>
                  <a:pt x="6851103" y="370395"/>
                  <a:pt x="6855954" y="367854"/>
                </a:cubicBezTo>
                <a:cubicBezTo>
                  <a:pt x="6866529" y="362426"/>
                  <a:pt x="6876719" y="356544"/>
                  <a:pt x="6887260" y="351534"/>
                </a:cubicBezTo>
                <a:close/>
                <a:moveTo>
                  <a:pt x="1867119" y="348819"/>
                </a:moveTo>
                <a:cubicBezTo>
                  <a:pt x="1868988" y="347633"/>
                  <a:pt x="1870607" y="348579"/>
                  <a:pt x="1871917" y="349381"/>
                </a:cubicBezTo>
                <a:cubicBezTo>
                  <a:pt x="1876383" y="351848"/>
                  <a:pt x="1880624" y="354398"/>
                  <a:pt x="1885614" y="350553"/>
                </a:cubicBezTo>
                <a:cubicBezTo>
                  <a:pt x="1886662" y="349919"/>
                  <a:pt x="1887665" y="350577"/>
                  <a:pt x="1888443" y="351316"/>
                </a:cubicBezTo>
                <a:cubicBezTo>
                  <a:pt x="1892558" y="354931"/>
                  <a:pt x="1897927" y="357073"/>
                  <a:pt x="1902700" y="359685"/>
                </a:cubicBezTo>
                <a:cubicBezTo>
                  <a:pt x="1910013" y="363675"/>
                  <a:pt x="1915314" y="369157"/>
                  <a:pt x="1916138" y="377791"/>
                </a:cubicBezTo>
                <a:cubicBezTo>
                  <a:pt x="1916603" y="381194"/>
                  <a:pt x="1919142" y="382573"/>
                  <a:pt x="1921601" y="383724"/>
                </a:cubicBezTo>
                <a:cubicBezTo>
                  <a:pt x="1927216" y="386543"/>
                  <a:pt x="1927805" y="388881"/>
                  <a:pt x="1924513" y="393899"/>
                </a:cubicBezTo>
                <a:cubicBezTo>
                  <a:pt x="1920769" y="399079"/>
                  <a:pt x="1920769" y="399079"/>
                  <a:pt x="1926627" y="402574"/>
                </a:cubicBezTo>
                <a:cubicBezTo>
                  <a:pt x="1927939" y="403376"/>
                  <a:pt x="1928942" y="404033"/>
                  <a:pt x="1928078" y="405877"/>
                </a:cubicBezTo>
                <a:cubicBezTo>
                  <a:pt x="1925438" y="412699"/>
                  <a:pt x="1923251" y="419358"/>
                  <a:pt x="1920304" y="426036"/>
                </a:cubicBezTo>
                <a:cubicBezTo>
                  <a:pt x="1918304" y="431097"/>
                  <a:pt x="1914911" y="435130"/>
                  <a:pt x="1910352" y="438053"/>
                </a:cubicBezTo>
                <a:cubicBezTo>
                  <a:pt x="1907518" y="440099"/>
                  <a:pt x="1904358" y="450425"/>
                  <a:pt x="1905357" y="453891"/>
                </a:cubicBezTo>
                <a:cubicBezTo>
                  <a:pt x="1905764" y="455021"/>
                  <a:pt x="1906090" y="455923"/>
                  <a:pt x="1907609" y="455885"/>
                </a:cubicBezTo>
                <a:cubicBezTo>
                  <a:pt x="1915749" y="456514"/>
                  <a:pt x="1921338" y="461382"/>
                  <a:pt x="1926639" y="466865"/>
                </a:cubicBezTo>
                <a:cubicBezTo>
                  <a:pt x="1927805" y="467975"/>
                  <a:pt x="1928665" y="468940"/>
                  <a:pt x="1929749" y="469823"/>
                </a:cubicBezTo>
                <a:cubicBezTo>
                  <a:pt x="1933313" y="472618"/>
                  <a:pt x="1935583" y="475368"/>
                  <a:pt x="1935634" y="480453"/>
                </a:cubicBezTo>
                <a:cubicBezTo>
                  <a:pt x="1935685" y="485537"/>
                  <a:pt x="1939800" y="489152"/>
                  <a:pt x="1943526" y="492398"/>
                </a:cubicBezTo>
                <a:cubicBezTo>
                  <a:pt x="1945164" y="494102"/>
                  <a:pt x="1946104" y="495293"/>
                  <a:pt x="1945258" y="497895"/>
                </a:cubicBezTo>
                <a:cubicBezTo>
                  <a:pt x="1942036" y="508756"/>
                  <a:pt x="1940721" y="519947"/>
                  <a:pt x="1943815" y="531330"/>
                </a:cubicBezTo>
                <a:cubicBezTo>
                  <a:pt x="1944160" y="532991"/>
                  <a:pt x="1943953" y="533832"/>
                  <a:pt x="1942210" y="533952"/>
                </a:cubicBezTo>
                <a:cubicBezTo>
                  <a:pt x="1935398" y="534882"/>
                  <a:pt x="1932558" y="539737"/>
                  <a:pt x="1930802" y="545474"/>
                </a:cubicBezTo>
                <a:cubicBezTo>
                  <a:pt x="1929957" y="548075"/>
                  <a:pt x="1929010" y="549694"/>
                  <a:pt x="1925586" y="549400"/>
                </a:cubicBezTo>
                <a:cubicBezTo>
                  <a:pt x="1921240" y="548675"/>
                  <a:pt x="1918505" y="551705"/>
                  <a:pt x="1916468" y="555248"/>
                </a:cubicBezTo>
                <a:cubicBezTo>
                  <a:pt x="1914718" y="558177"/>
                  <a:pt x="1913132" y="561556"/>
                  <a:pt x="1911383" y="564485"/>
                </a:cubicBezTo>
                <a:cubicBezTo>
                  <a:pt x="1910467" y="565836"/>
                  <a:pt x="1909466" y="566773"/>
                  <a:pt x="1908435" y="566922"/>
                </a:cubicBezTo>
                <a:cubicBezTo>
                  <a:pt x="1907404" y="567071"/>
                  <a:pt x="1906343" y="566434"/>
                  <a:pt x="1905312" y="564639"/>
                </a:cubicBezTo>
                <a:cubicBezTo>
                  <a:pt x="1904985" y="563736"/>
                  <a:pt x="1904434" y="562915"/>
                  <a:pt x="1903655" y="562176"/>
                </a:cubicBezTo>
                <a:cubicBezTo>
                  <a:pt x="1902797" y="561210"/>
                  <a:pt x="1902144" y="559405"/>
                  <a:pt x="1900482" y="559751"/>
                </a:cubicBezTo>
                <a:cubicBezTo>
                  <a:pt x="1899127" y="560240"/>
                  <a:pt x="1898632" y="561695"/>
                  <a:pt x="1898281" y="562842"/>
                </a:cubicBezTo>
                <a:cubicBezTo>
                  <a:pt x="1896281" y="567903"/>
                  <a:pt x="1894845" y="568167"/>
                  <a:pt x="1891100" y="564162"/>
                </a:cubicBezTo>
                <a:cubicBezTo>
                  <a:pt x="1890241" y="563198"/>
                  <a:pt x="1889688" y="562377"/>
                  <a:pt x="1888685" y="561719"/>
                </a:cubicBezTo>
                <a:cubicBezTo>
                  <a:pt x="1887292" y="560692"/>
                  <a:pt x="1885982" y="559889"/>
                  <a:pt x="1884050" y="561609"/>
                </a:cubicBezTo>
                <a:cubicBezTo>
                  <a:pt x="1882427" y="563471"/>
                  <a:pt x="1882753" y="564374"/>
                  <a:pt x="1883857" y="566016"/>
                </a:cubicBezTo>
                <a:lnTo>
                  <a:pt x="1885470" y="569291"/>
                </a:lnTo>
                <a:lnTo>
                  <a:pt x="1861481" y="558121"/>
                </a:lnTo>
                <a:lnTo>
                  <a:pt x="1861973" y="556322"/>
                </a:lnTo>
                <a:cubicBezTo>
                  <a:pt x="1861690" y="554127"/>
                  <a:pt x="1860524" y="553018"/>
                  <a:pt x="1858391" y="552769"/>
                </a:cubicBezTo>
                <a:cubicBezTo>
                  <a:pt x="1856792" y="552581"/>
                  <a:pt x="1855274" y="552619"/>
                  <a:pt x="1853675" y="552433"/>
                </a:cubicBezTo>
                <a:cubicBezTo>
                  <a:pt x="1851009" y="552120"/>
                  <a:pt x="1849536" y="550867"/>
                  <a:pt x="1849008" y="547996"/>
                </a:cubicBezTo>
                <a:cubicBezTo>
                  <a:pt x="1847427" y="539382"/>
                  <a:pt x="1842451" y="534802"/>
                  <a:pt x="1833922" y="533803"/>
                </a:cubicBezTo>
                <a:cubicBezTo>
                  <a:pt x="1832549" y="533535"/>
                  <a:pt x="1830146" y="534658"/>
                  <a:pt x="1829864" y="532463"/>
                </a:cubicBezTo>
                <a:cubicBezTo>
                  <a:pt x="1829356" y="530351"/>
                  <a:pt x="1831225" y="529166"/>
                  <a:pt x="1833175" y="528205"/>
                </a:cubicBezTo>
                <a:cubicBezTo>
                  <a:pt x="1833400" y="528124"/>
                  <a:pt x="1833627" y="528042"/>
                  <a:pt x="1833853" y="527960"/>
                </a:cubicBezTo>
                <a:cubicBezTo>
                  <a:pt x="1838945" y="525099"/>
                  <a:pt x="1839628" y="522045"/>
                  <a:pt x="1835368" y="518738"/>
                </a:cubicBezTo>
                <a:cubicBezTo>
                  <a:pt x="1831417" y="515573"/>
                  <a:pt x="1830952" y="512170"/>
                  <a:pt x="1831986" y="507969"/>
                </a:cubicBezTo>
                <a:cubicBezTo>
                  <a:pt x="1833290" y="502394"/>
                  <a:pt x="1833834" y="496839"/>
                  <a:pt x="1830440" y="491689"/>
                </a:cubicBezTo>
                <a:cubicBezTo>
                  <a:pt x="1828866" y="489451"/>
                  <a:pt x="1830942" y="487425"/>
                  <a:pt x="1832359" y="486403"/>
                </a:cubicBezTo>
                <a:cubicBezTo>
                  <a:pt x="1837495" y="482250"/>
                  <a:pt x="1838817" y="477434"/>
                  <a:pt x="1837373" y="471322"/>
                </a:cubicBezTo>
                <a:cubicBezTo>
                  <a:pt x="1836520" y="467549"/>
                  <a:pt x="1837631" y="466381"/>
                  <a:pt x="1842058" y="467333"/>
                </a:cubicBezTo>
                <a:cubicBezTo>
                  <a:pt x="1851447" y="469297"/>
                  <a:pt x="1861512" y="461831"/>
                  <a:pt x="1862044" y="452709"/>
                </a:cubicBezTo>
                <a:cubicBezTo>
                  <a:pt x="1862150" y="450885"/>
                  <a:pt x="1862318" y="448528"/>
                  <a:pt x="1860250" y="447745"/>
                </a:cubicBezTo>
                <a:cubicBezTo>
                  <a:pt x="1858179" y="446962"/>
                  <a:pt x="1855678" y="447101"/>
                  <a:pt x="1854134" y="449189"/>
                </a:cubicBezTo>
                <a:cubicBezTo>
                  <a:pt x="1853024" y="450357"/>
                  <a:pt x="1852078" y="451974"/>
                  <a:pt x="1851050" y="453366"/>
                </a:cubicBezTo>
                <a:cubicBezTo>
                  <a:pt x="1850103" y="454985"/>
                  <a:pt x="1848993" y="456151"/>
                  <a:pt x="1847375" y="455205"/>
                </a:cubicBezTo>
                <a:cubicBezTo>
                  <a:pt x="1845449" y="454115"/>
                  <a:pt x="1845863" y="452435"/>
                  <a:pt x="1846584" y="450899"/>
                </a:cubicBezTo>
                <a:cubicBezTo>
                  <a:pt x="1847078" y="449444"/>
                  <a:pt x="1848107" y="448051"/>
                  <a:pt x="1848684" y="446822"/>
                </a:cubicBezTo>
                <a:cubicBezTo>
                  <a:pt x="1849982" y="444057"/>
                  <a:pt x="1850131" y="440942"/>
                  <a:pt x="1847285" y="439419"/>
                </a:cubicBezTo>
                <a:cubicBezTo>
                  <a:pt x="1844825" y="438267"/>
                  <a:pt x="1842995" y="440970"/>
                  <a:pt x="1841677" y="442977"/>
                </a:cubicBezTo>
                <a:cubicBezTo>
                  <a:pt x="1840506" y="444676"/>
                  <a:pt x="1840111" y="447115"/>
                  <a:pt x="1838323" y="448527"/>
                </a:cubicBezTo>
                <a:cubicBezTo>
                  <a:pt x="1835796" y="450716"/>
                  <a:pt x="1833828" y="450917"/>
                  <a:pt x="1832748" y="447226"/>
                </a:cubicBezTo>
                <a:cubicBezTo>
                  <a:pt x="1831179" y="442180"/>
                  <a:pt x="1831743" y="437383"/>
                  <a:pt x="1833065" y="432568"/>
                </a:cubicBezTo>
                <a:cubicBezTo>
                  <a:pt x="1834657" y="426379"/>
                  <a:pt x="1833905" y="423590"/>
                  <a:pt x="1828579" y="420157"/>
                </a:cubicBezTo>
                <a:cubicBezTo>
                  <a:pt x="1826798" y="418759"/>
                  <a:pt x="1824420" y="417832"/>
                  <a:pt x="1822269" y="416825"/>
                </a:cubicBezTo>
                <a:cubicBezTo>
                  <a:pt x="1821347" y="416392"/>
                  <a:pt x="1819974" y="416123"/>
                  <a:pt x="1820017" y="414832"/>
                </a:cubicBezTo>
                <a:cubicBezTo>
                  <a:pt x="1819978" y="413315"/>
                  <a:pt x="1821027" y="412681"/>
                  <a:pt x="1822011" y="412580"/>
                </a:cubicBezTo>
                <a:cubicBezTo>
                  <a:pt x="1826401" y="412013"/>
                  <a:pt x="1826651" y="409882"/>
                  <a:pt x="1825121" y="406354"/>
                </a:cubicBezTo>
                <a:cubicBezTo>
                  <a:pt x="1823264" y="401922"/>
                  <a:pt x="1825056" y="397702"/>
                  <a:pt x="1827320" y="394076"/>
                </a:cubicBezTo>
                <a:cubicBezTo>
                  <a:pt x="1829069" y="391149"/>
                  <a:pt x="1828724" y="389487"/>
                  <a:pt x="1825588" y="388579"/>
                </a:cubicBezTo>
                <a:cubicBezTo>
                  <a:pt x="1823908" y="388167"/>
                  <a:pt x="1822677" y="387590"/>
                  <a:pt x="1822477" y="385622"/>
                </a:cubicBezTo>
                <a:cubicBezTo>
                  <a:pt x="1822031" y="382977"/>
                  <a:pt x="1824001" y="382775"/>
                  <a:pt x="1825418" y="381752"/>
                </a:cubicBezTo>
                <a:cubicBezTo>
                  <a:pt x="1826239" y="381201"/>
                  <a:pt x="1827368" y="380792"/>
                  <a:pt x="1828415" y="380158"/>
                </a:cubicBezTo>
                <a:cubicBezTo>
                  <a:pt x="1834267" y="377279"/>
                  <a:pt x="1834397" y="373404"/>
                  <a:pt x="1828909" y="369519"/>
                </a:cubicBezTo>
                <a:cubicBezTo>
                  <a:pt x="1828213" y="369006"/>
                  <a:pt x="1827598" y="368718"/>
                  <a:pt x="1827127" y="368122"/>
                </a:cubicBezTo>
                <a:cubicBezTo>
                  <a:pt x="1825961" y="367013"/>
                  <a:pt x="1824857" y="365372"/>
                  <a:pt x="1825885" y="363979"/>
                </a:cubicBezTo>
                <a:cubicBezTo>
                  <a:pt x="1826687" y="362668"/>
                  <a:pt x="1828595" y="363000"/>
                  <a:pt x="1829824" y="363576"/>
                </a:cubicBezTo>
                <a:cubicBezTo>
                  <a:pt x="1831053" y="364152"/>
                  <a:pt x="1832057" y="364810"/>
                  <a:pt x="1833142" y="365693"/>
                </a:cubicBezTo>
                <a:cubicBezTo>
                  <a:pt x="1835067" y="366783"/>
                  <a:pt x="1836585" y="366745"/>
                  <a:pt x="1837902" y="364738"/>
                </a:cubicBezTo>
                <a:cubicBezTo>
                  <a:pt x="1841132" y="360254"/>
                  <a:pt x="1845710" y="358089"/>
                  <a:pt x="1850369" y="356149"/>
                </a:cubicBezTo>
                <a:cubicBezTo>
                  <a:pt x="1855850" y="353658"/>
                  <a:pt x="1861964" y="352213"/>
                  <a:pt x="1867119" y="348819"/>
                </a:cubicBezTo>
                <a:close/>
                <a:moveTo>
                  <a:pt x="8902792" y="346645"/>
                </a:moveTo>
                <a:cubicBezTo>
                  <a:pt x="8905654" y="347277"/>
                  <a:pt x="8908199" y="347910"/>
                  <a:pt x="8911061" y="347911"/>
                </a:cubicBezTo>
                <a:cubicBezTo>
                  <a:pt x="8913923" y="347910"/>
                  <a:pt x="8916786" y="349810"/>
                  <a:pt x="8918058" y="352344"/>
                </a:cubicBezTo>
                <a:cubicBezTo>
                  <a:pt x="8919012" y="354559"/>
                  <a:pt x="8919967" y="355825"/>
                  <a:pt x="8921875" y="356775"/>
                </a:cubicBezTo>
                <a:cubicBezTo>
                  <a:pt x="8921874" y="360575"/>
                  <a:pt x="8921874" y="364374"/>
                  <a:pt x="8921874" y="368173"/>
                </a:cubicBezTo>
                <a:cubicBezTo>
                  <a:pt x="8918694" y="369757"/>
                  <a:pt x="8916149" y="372290"/>
                  <a:pt x="8914877" y="375139"/>
                </a:cubicBezTo>
                <a:cubicBezTo>
                  <a:pt x="8913287" y="377672"/>
                  <a:pt x="8912015" y="380522"/>
                  <a:pt x="8910425" y="383371"/>
                </a:cubicBezTo>
                <a:cubicBezTo>
                  <a:pt x="8908836" y="385904"/>
                  <a:pt x="8907245" y="388754"/>
                  <a:pt x="8906927" y="391919"/>
                </a:cubicBezTo>
                <a:cubicBezTo>
                  <a:pt x="8906290" y="394769"/>
                  <a:pt x="8904383" y="396036"/>
                  <a:pt x="8902156" y="397618"/>
                </a:cubicBezTo>
                <a:cubicBezTo>
                  <a:pt x="8899930" y="399201"/>
                  <a:pt x="8896750" y="398884"/>
                  <a:pt x="8895160" y="401101"/>
                </a:cubicBezTo>
                <a:cubicBezTo>
                  <a:pt x="8892934" y="401101"/>
                  <a:pt x="8891025" y="401101"/>
                  <a:pt x="8888798" y="401101"/>
                </a:cubicBezTo>
                <a:cubicBezTo>
                  <a:pt x="8888799" y="400151"/>
                  <a:pt x="8888480" y="399835"/>
                  <a:pt x="8887844" y="399835"/>
                </a:cubicBezTo>
                <a:cubicBezTo>
                  <a:pt x="8883074" y="399835"/>
                  <a:pt x="8880530" y="396669"/>
                  <a:pt x="8878939" y="392869"/>
                </a:cubicBezTo>
                <a:cubicBezTo>
                  <a:pt x="8877349" y="389386"/>
                  <a:pt x="8875441" y="386221"/>
                  <a:pt x="8876078" y="382104"/>
                </a:cubicBezTo>
                <a:cubicBezTo>
                  <a:pt x="8877032" y="377672"/>
                  <a:pt x="8876713" y="372922"/>
                  <a:pt x="8880531" y="369441"/>
                </a:cubicBezTo>
                <a:cubicBezTo>
                  <a:pt x="8881802" y="368173"/>
                  <a:pt x="8883074" y="367224"/>
                  <a:pt x="8885301" y="366590"/>
                </a:cubicBezTo>
                <a:cubicBezTo>
                  <a:pt x="8888480" y="365641"/>
                  <a:pt x="8892297" y="364058"/>
                  <a:pt x="8891343" y="358992"/>
                </a:cubicBezTo>
                <a:cubicBezTo>
                  <a:pt x="8891025" y="357092"/>
                  <a:pt x="8892933" y="356459"/>
                  <a:pt x="8893251" y="355510"/>
                </a:cubicBezTo>
                <a:cubicBezTo>
                  <a:pt x="8894842" y="350444"/>
                  <a:pt x="8898657" y="348227"/>
                  <a:pt x="8902792" y="346645"/>
                </a:cubicBezTo>
                <a:close/>
                <a:moveTo>
                  <a:pt x="7015858" y="343164"/>
                </a:moveTo>
                <a:lnTo>
                  <a:pt x="7016061" y="343575"/>
                </a:lnTo>
                <a:lnTo>
                  <a:pt x="7015563" y="343413"/>
                </a:lnTo>
                <a:close/>
                <a:moveTo>
                  <a:pt x="9757077" y="342938"/>
                </a:moveTo>
                <a:cubicBezTo>
                  <a:pt x="9759662" y="342967"/>
                  <a:pt x="9762128" y="343612"/>
                  <a:pt x="9764124" y="346428"/>
                </a:cubicBezTo>
                <a:cubicBezTo>
                  <a:pt x="9764829" y="347366"/>
                  <a:pt x="9766239" y="348539"/>
                  <a:pt x="9768117" y="348539"/>
                </a:cubicBezTo>
                <a:cubicBezTo>
                  <a:pt x="9770701" y="348304"/>
                  <a:pt x="9772110" y="349711"/>
                  <a:pt x="9772580" y="352291"/>
                </a:cubicBezTo>
                <a:cubicBezTo>
                  <a:pt x="9773050" y="353934"/>
                  <a:pt x="9774224" y="354872"/>
                  <a:pt x="9775399" y="356045"/>
                </a:cubicBezTo>
                <a:cubicBezTo>
                  <a:pt x="9778452" y="358861"/>
                  <a:pt x="9779862" y="362145"/>
                  <a:pt x="9778687" y="366368"/>
                </a:cubicBezTo>
                <a:cubicBezTo>
                  <a:pt x="9777982" y="368713"/>
                  <a:pt x="9778687" y="371294"/>
                  <a:pt x="9781037" y="372701"/>
                </a:cubicBezTo>
                <a:cubicBezTo>
                  <a:pt x="9781036" y="373640"/>
                  <a:pt x="9781037" y="374578"/>
                  <a:pt x="9781036" y="375516"/>
                </a:cubicBezTo>
                <a:cubicBezTo>
                  <a:pt x="9778923" y="376689"/>
                  <a:pt x="9777983" y="378097"/>
                  <a:pt x="9778217" y="381146"/>
                </a:cubicBezTo>
                <a:cubicBezTo>
                  <a:pt x="9778452" y="385369"/>
                  <a:pt x="9776574" y="388653"/>
                  <a:pt x="9771876" y="389591"/>
                </a:cubicBezTo>
                <a:cubicBezTo>
                  <a:pt x="9769762" y="389826"/>
                  <a:pt x="9770231" y="391468"/>
                  <a:pt x="9770231" y="392876"/>
                </a:cubicBezTo>
                <a:cubicBezTo>
                  <a:pt x="9770231" y="395221"/>
                  <a:pt x="9769291" y="395691"/>
                  <a:pt x="9767412" y="394049"/>
                </a:cubicBezTo>
                <a:cubicBezTo>
                  <a:pt x="9764595" y="391703"/>
                  <a:pt x="9762715" y="391702"/>
                  <a:pt x="9762010" y="395691"/>
                </a:cubicBezTo>
                <a:cubicBezTo>
                  <a:pt x="9761776" y="396629"/>
                  <a:pt x="9761070" y="397802"/>
                  <a:pt x="9760132" y="396630"/>
                </a:cubicBezTo>
                <a:cubicBezTo>
                  <a:pt x="9757077" y="393579"/>
                  <a:pt x="9754964" y="395456"/>
                  <a:pt x="9752614" y="397568"/>
                </a:cubicBezTo>
                <a:cubicBezTo>
                  <a:pt x="9752379" y="398037"/>
                  <a:pt x="9751441" y="398037"/>
                  <a:pt x="9750970" y="398037"/>
                </a:cubicBezTo>
                <a:cubicBezTo>
                  <a:pt x="9745333" y="394752"/>
                  <a:pt x="9739930" y="390999"/>
                  <a:pt x="9734294" y="387480"/>
                </a:cubicBezTo>
                <a:cubicBezTo>
                  <a:pt x="9731710" y="385838"/>
                  <a:pt x="9730301" y="381381"/>
                  <a:pt x="9729125" y="377862"/>
                </a:cubicBezTo>
                <a:cubicBezTo>
                  <a:pt x="9728655" y="376455"/>
                  <a:pt x="9728891" y="375047"/>
                  <a:pt x="9727482" y="373874"/>
                </a:cubicBezTo>
                <a:cubicBezTo>
                  <a:pt x="9726072" y="372701"/>
                  <a:pt x="9726307" y="371294"/>
                  <a:pt x="9727246" y="369886"/>
                </a:cubicBezTo>
                <a:cubicBezTo>
                  <a:pt x="9727717" y="368948"/>
                  <a:pt x="9728655" y="367775"/>
                  <a:pt x="9727951" y="366836"/>
                </a:cubicBezTo>
                <a:cubicBezTo>
                  <a:pt x="9725602" y="364021"/>
                  <a:pt x="9725367" y="361910"/>
                  <a:pt x="9729125" y="360502"/>
                </a:cubicBezTo>
                <a:cubicBezTo>
                  <a:pt x="9730065" y="360268"/>
                  <a:pt x="9730300" y="358860"/>
                  <a:pt x="9729360" y="358157"/>
                </a:cubicBezTo>
                <a:cubicBezTo>
                  <a:pt x="9726307" y="355577"/>
                  <a:pt x="9729596" y="354403"/>
                  <a:pt x="9730065" y="352526"/>
                </a:cubicBezTo>
                <a:cubicBezTo>
                  <a:pt x="9731709" y="346192"/>
                  <a:pt x="9738992" y="348069"/>
                  <a:pt x="9741810" y="343377"/>
                </a:cubicBezTo>
                <a:cubicBezTo>
                  <a:pt x="9742749" y="341735"/>
                  <a:pt x="9747212" y="342909"/>
                  <a:pt x="9749327" y="343142"/>
                </a:cubicBezTo>
                <a:cubicBezTo>
                  <a:pt x="9751793" y="343495"/>
                  <a:pt x="9754495" y="342908"/>
                  <a:pt x="9757077" y="342938"/>
                </a:cubicBezTo>
                <a:close/>
                <a:moveTo>
                  <a:pt x="4729966" y="318578"/>
                </a:moveTo>
                <a:cubicBezTo>
                  <a:pt x="4730948" y="319048"/>
                  <a:pt x="4732621" y="319406"/>
                  <a:pt x="4734169" y="318595"/>
                </a:cubicBezTo>
                <a:cubicBezTo>
                  <a:pt x="4736196" y="317285"/>
                  <a:pt x="4737967" y="317837"/>
                  <a:pt x="4739467" y="319761"/>
                </a:cubicBezTo>
                <a:cubicBezTo>
                  <a:pt x="4740564" y="320912"/>
                  <a:pt x="4741935" y="321179"/>
                  <a:pt x="4743412" y="321638"/>
                </a:cubicBezTo>
                <a:cubicBezTo>
                  <a:pt x="4747145" y="322639"/>
                  <a:pt x="4749723" y="324738"/>
                  <a:pt x="4750578" y="328726"/>
                </a:cubicBezTo>
                <a:cubicBezTo>
                  <a:pt x="4751014" y="330964"/>
                  <a:pt x="4752708" y="332786"/>
                  <a:pt x="4755251" y="332933"/>
                </a:cubicBezTo>
                <a:cubicBezTo>
                  <a:pt x="4755654" y="333706"/>
                  <a:pt x="4756063" y="334480"/>
                  <a:pt x="4756468" y="335254"/>
                </a:cubicBezTo>
                <a:cubicBezTo>
                  <a:pt x="4755229" y="337132"/>
                  <a:pt x="4755064" y="338699"/>
                  <a:pt x="4756579" y="341111"/>
                </a:cubicBezTo>
                <a:cubicBezTo>
                  <a:pt x="4758594" y="344491"/>
                  <a:pt x="4758460" y="348009"/>
                  <a:pt x="4754998" y="350811"/>
                </a:cubicBezTo>
                <a:cubicBezTo>
                  <a:pt x="4753351" y="351918"/>
                  <a:pt x="4754451" y="353068"/>
                  <a:pt x="4755059" y="354229"/>
                </a:cubicBezTo>
                <a:cubicBezTo>
                  <a:pt x="4756068" y="356162"/>
                  <a:pt x="4755497" y="356955"/>
                  <a:pt x="4753240" y="356413"/>
                </a:cubicBezTo>
                <a:cubicBezTo>
                  <a:pt x="4749902" y="355696"/>
                  <a:pt x="4748355" y="356508"/>
                  <a:pt x="4749498" y="360100"/>
                </a:cubicBezTo>
                <a:cubicBezTo>
                  <a:pt x="4749707" y="360974"/>
                  <a:pt x="4749634" y="362245"/>
                  <a:pt x="4748356" y="361684"/>
                </a:cubicBezTo>
                <a:cubicBezTo>
                  <a:pt x="4744519" y="360489"/>
                  <a:pt x="4743588" y="362949"/>
                  <a:pt x="4742562" y="365704"/>
                </a:cubicBezTo>
                <a:cubicBezTo>
                  <a:pt x="4742572" y="366193"/>
                  <a:pt x="4741798" y="366598"/>
                  <a:pt x="4741410" y="366801"/>
                </a:cubicBezTo>
                <a:cubicBezTo>
                  <a:pt x="4735344" y="366528"/>
                  <a:pt x="4729271" y="365767"/>
                  <a:pt x="4723106" y="365301"/>
                </a:cubicBezTo>
                <a:cubicBezTo>
                  <a:pt x="4720267" y="365064"/>
                  <a:pt x="4717177" y="361998"/>
                  <a:pt x="4714692" y="359604"/>
                </a:cubicBezTo>
                <a:cubicBezTo>
                  <a:pt x="4713699" y="358647"/>
                  <a:pt x="4713283" y="357386"/>
                  <a:pt x="4711613" y="357028"/>
                </a:cubicBezTo>
                <a:cubicBezTo>
                  <a:pt x="4709946" y="356669"/>
                  <a:pt x="4709532" y="355407"/>
                  <a:pt x="4709699" y="353842"/>
                </a:cubicBezTo>
                <a:cubicBezTo>
                  <a:pt x="4709681" y="352866"/>
                  <a:pt x="4709948" y="351492"/>
                  <a:pt x="4708959" y="351024"/>
                </a:cubicBezTo>
                <a:cubicBezTo>
                  <a:pt x="4705808" y="349718"/>
                  <a:pt x="4704703" y="348079"/>
                  <a:pt x="4707196" y="345295"/>
                </a:cubicBezTo>
                <a:cubicBezTo>
                  <a:pt x="4707867" y="344696"/>
                  <a:pt x="4707451" y="343434"/>
                  <a:pt x="4706376" y="343261"/>
                </a:cubicBezTo>
                <a:cubicBezTo>
                  <a:pt x="4702745" y="342452"/>
                  <a:pt x="4704949" y="340065"/>
                  <a:pt x="4704523" y="338315"/>
                </a:cubicBezTo>
                <a:cubicBezTo>
                  <a:pt x="4703142" y="332384"/>
                  <a:pt x="4709955" y="330786"/>
                  <a:pt x="4710253" y="325701"/>
                </a:cubicBezTo>
                <a:cubicBezTo>
                  <a:pt x="4710317" y="323942"/>
                  <a:pt x="4714503" y="322981"/>
                  <a:pt x="4716348" y="322262"/>
                </a:cubicBezTo>
                <a:cubicBezTo>
                  <a:pt x="4720718" y="320712"/>
                  <a:pt x="4724243" y="315662"/>
                  <a:pt x="4729966" y="318578"/>
                </a:cubicBezTo>
                <a:close/>
                <a:moveTo>
                  <a:pt x="4524628" y="314011"/>
                </a:moveTo>
                <a:cubicBezTo>
                  <a:pt x="4525687" y="314514"/>
                  <a:pt x="4527480" y="314900"/>
                  <a:pt x="4529144" y="314028"/>
                </a:cubicBezTo>
                <a:cubicBezTo>
                  <a:pt x="4531324" y="312620"/>
                  <a:pt x="4533226" y="313213"/>
                  <a:pt x="4534840" y="315282"/>
                </a:cubicBezTo>
                <a:cubicBezTo>
                  <a:pt x="4536018" y="316517"/>
                  <a:pt x="4537498" y="316804"/>
                  <a:pt x="4539079" y="317298"/>
                </a:cubicBezTo>
                <a:cubicBezTo>
                  <a:pt x="4543089" y="318374"/>
                  <a:pt x="4545864" y="320629"/>
                  <a:pt x="4546784" y="324915"/>
                </a:cubicBezTo>
                <a:cubicBezTo>
                  <a:pt x="4547249" y="327320"/>
                  <a:pt x="4549068" y="329279"/>
                  <a:pt x="4551804" y="329435"/>
                </a:cubicBezTo>
                <a:cubicBezTo>
                  <a:pt x="4552241" y="330267"/>
                  <a:pt x="4552675" y="331098"/>
                  <a:pt x="4553106" y="331929"/>
                </a:cubicBezTo>
                <a:cubicBezTo>
                  <a:pt x="4551779" y="333949"/>
                  <a:pt x="4551602" y="335632"/>
                  <a:pt x="4553226" y="338224"/>
                </a:cubicBezTo>
                <a:cubicBezTo>
                  <a:pt x="4555395" y="341856"/>
                  <a:pt x="4555252" y="345637"/>
                  <a:pt x="4551529" y="348648"/>
                </a:cubicBezTo>
                <a:cubicBezTo>
                  <a:pt x="4549763" y="349837"/>
                  <a:pt x="4550943" y="351074"/>
                  <a:pt x="4551596" y="352321"/>
                </a:cubicBezTo>
                <a:cubicBezTo>
                  <a:pt x="4552682" y="354398"/>
                  <a:pt x="4552069" y="355250"/>
                  <a:pt x="4549642" y="354668"/>
                </a:cubicBezTo>
                <a:cubicBezTo>
                  <a:pt x="4546054" y="353898"/>
                  <a:pt x="4544393" y="354770"/>
                  <a:pt x="4545616" y="358629"/>
                </a:cubicBezTo>
                <a:cubicBezTo>
                  <a:pt x="4545845" y="359569"/>
                  <a:pt x="4545765" y="360935"/>
                  <a:pt x="4544390" y="360332"/>
                </a:cubicBezTo>
                <a:cubicBezTo>
                  <a:pt x="4540267" y="359048"/>
                  <a:pt x="4539267" y="361691"/>
                  <a:pt x="4538170" y="364652"/>
                </a:cubicBezTo>
                <a:cubicBezTo>
                  <a:pt x="4538174" y="365176"/>
                  <a:pt x="4537345" y="365612"/>
                  <a:pt x="4536929" y="365830"/>
                </a:cubicBezTo>
                <a:cubicBezTo>
                  <a:pt x="4530412" y="365537"/>
                  <a:pt x="4523883" y="364720"/>
                  <a:pt x="4517255" y="364219"/>
                </a:cubicBezTo>
                <a:cubicBezTo>
                  <a:pt x="4514209" y="363963"/>
                  <a:pt x="4510890" y="360669"/>
                  <a:pt x="4508215" y="358098"/>
                </a:cubicBezTo>
                <a:cubicBezTo>
                  <a:pt x="4507147" y="357069"/>
                  <a:pt x="4506701" y="355713"/>
                  <a:pt x="4504909" y="355328"/>
                </a:cubicBezTo>
                <a:cubicBezTo>
                  <a:pt x="4503113" y="354943"/>
                  <a:pt x="4502669" y="353587"/>
                  <a:pt x="4502848" y="351905"/>
                </a:cubicBezTo>
                <a:cubicBezTo>
                  <a:pt x="4502827" y="350856"/>
                  <a:pt x="4503116" y="349380"/>
                  <a:pt x="4502059" y="348876"/>
                </a:cubicBezTo>
                <a:cubicBezTo>
                  <a:pt x="4498665" y="347472"/>
                  <a:pt x="4497480" y="345711"/>
                  <a:pt x="4500156" y="342721"/>
                </a:cubicBezTo>
                <a:cubicBezTo>
                  <a:pt x="4500883" y="342076"/>
                  <a:pt x="4500437" y="340721"/>
                  <a:pt x="4499275" y="340533"/>
                </a:cubicBezTo>
                <a:cubicBezTo>
                  <a:pt x="4495375" y="339665"/>
                  <a:pt x="4497740" y="337100"/>
                  <a:pt x="4497287" y="335219"/>
                </a:cubicBezTo>
                <a:cubicBezTo>
                  <a:pt x="4495805" y="328846"/>
                  <a:pt x="4503124" y="327129"/>
                  <a:pt x="4503441" y="321665"/>
                </a:cubicBezTo>
                <a:cubicBezTo>
                  <a:pt x="4503515" y="319774"/>
                  <a:pt x="4508013" y="318742"/>
                  <a:pt x="4509995" y="317969"/>
                </a:cubicBezTo>
                <a:cubicBezTo>
                  <a:pt x="4514692" y="316303"/>
                  <a:pt x="4518479" y="310877"/>
                  <a:pt x="4524628" y="314011"/>
                </a:cubicBezTo>
                <a:close/>
                <a:moveTo>
                  <a:pt x="6060879" y="308223"/>
                </a:moveTo>
                <a:cubicBezTo>
                  <a:pt x="6068013" y="313222"/>
                  <a:pt x="6074781" y="318819"/>
                  <a:pt x="6081887" y="324130"/>
                </a:cubicBezTo>
                <a:lnTo>
                  <a:pt x="6086113" y="333868"/>
                </a:lnTo>
                <a:lnTo>
                  <a:pt x="6218652" y="338114"/>
                </a:lnTo>
                <a:cubicBezTo>
                  <a:pt x="6284244" y="342102"/>
                  <a:pt x="6349647" y="348062"/>
                  <a:pt x="6414834" y="356272"/>
                </a:cubicBezTo>
                <a:lnTo>
                  <a:pt x="6573042" y="381975"/>
                </a:lnTo>
                <a:lnTo>
                  <a:pt x="6575588" y="380522"/>
                </a:lnTo>
                <a:cubicBezTo>
                  <a:pt x="6575927" y="379965"/>
                  <a:pt x="6577090" y="380063"/>
                  <a:pt x="6577672" y="380111"/>
                </a:cubicBezTo>
                <a:lnTo>
                  <a:pt x="6582070" y="383441"/>
                </a:lnTo>
                <a:lnTo>
                  <a:pt x="6609719" y="387933"/>
                </a:lnTo>
                <a:cubicBezTo>
                  <a:pt x="6674447" y="400922"/>
                  <a:pt x="6738933" y="416439"/>
                  <a:pt x="6803148" y="434762"/>
                </a:cubicBezTo>
                <a:cubicBezTo>
                  <a:pt x="7197358" y="549550"/>
                  <a:pt x="7549854" y="738970"/>
                  <a:pt x="7866095" y="1000776"/>
                </a:cubicBezTo>
                <a:cubicBezTo>
                  <a:pt x="7976685" y="1093731"/>
                  <a:pt x="8097775" y="1175980"/>
                  <a:pt x="8188103" y="1292160"/>
                </a:cubicBezTo>
                <a:lnTo>
                  <a:pt x="8218816" y="1332902"/>
                </a:lnTo>
                <a:lnTo>
                  <a:pt x="8217878" y="1328842"/>
                </a:lnTo>
                <a:cubicBezTo>
                  <a:pt x="8216464" y="1326724"/>
                  <a:pt x="8216111" y="1324606"/>
                  <a:pt x="8218231" y="1322841"/>
                </a:cubicBezTo>
                <a:cubicBezTo>
                  <a:pt x="8220352" y="1321076"/>
                  <a:pt x="8219998" y="1318958"/>
                  <a:pt x="8220705" y="1316841"/>
                </a:cubicBezTo>
                <a:cubicBezTo>
                  <a:pt x="8222473" y="1311546"/>
                  <a:pt x="8224593" y="1304839"/>
                  <a:pt x="8228481" y="1302368"/>
                </a:cubicBezTo>
                <a:cubicBezTo>
                  <a:pt x="8236963" y="1297074"/>
                  <a:pt x="8245091" y="1291427"/>
                  <a:pt x="8253573" y="1286486"/>
                </a:cubicBezTo>
                <a:cubicBezTo>
                  <a:pt x="8254280" y="1286486"/>
                  <a:pt x="8255693" y="1286485"/>
                  <a:pt x="8256048" y="1287191"/>
                </a:cubicBezTo>
                <a:cubicBezTo>
                  <a:pt x="8259581" y="1290369"/>
                  <a:pt x="8262762" y="1293192"/>
                  <a:pt x="8267356" y="1288604"/>
                </a:cubicBezTo>
                <a:cubicBezTo>
                  <a:pt x="8268770" y="1286839"/>
                  <a:pt x="8269830" y="1288604"/>
                  <a:pt x="8270184" y="1290015"/>
                </a:cubicBezTo>
                <a:cubicBezTo>
                  <a:pt x="8271244" y="1296016"/>
                  <a:pt x="8274072" y="1296016"/>
                  <a:pt x="8278313" y="1292486"/>
                </a:cubicBezTo>
                <a:cubicBezTo>
                  <a:pt x="8281139" y="1290015"/>
                  <a:pt x="8282553" y="1290721"/>
                  <a:pt x="8282554" y="1294251"/>
                </a:cubicBezTo>
                <a:cubicBezTo>
                  <a:pt x="8282554" y="1296369"/>
                  <a:pt x="8281847" y="1298839"/>
                  <a:pt x="8285027" y="1299193"/>
                </a:cubicBezTo>
                <a:cubicBezTo>
                  <a:pt x="8292096" y="1300604"/>
                  <a:pt x="8294923" y="1305545"/>
                  <a:pt x="8294570" y="1311899"/>
                </a:cubicBezTo>
                <a:lnTo>
                  <a:pt x="8297559" y="1317871"/>
                </a:lnTo>
                <a:lnTo>
                  <a:pt x="8328455" y="1302330"/>
                </a:lnTo>
                <a:cubicBezTo>
                  <a:pt x="8392462" y="1276446"/>
                  <a:pt x="8457806" y="1251664"/>
                  <a:pt x="8520240" y="1222239"/>
                </a:cubicBezTo>
                <a:cubicBezTo>
                  <a:pt x="8656228" y="1157383"/>
                  <a:pt x="8800753" y="1123569"/>
                  <a:pt x="8946747" y="1096021"/>
                </a:cubicBezTo>
                <a:lnTo>
                  <a:pt x="9011142" y="1084407"/>
                </a:lnTo>
                <a:lnTo>
                  <a:pt x="9011142" y="1084338"/>
                </a:lnTo>
                <a:cubicBezTo>
                  <a:pt x="9014290" y="1082453"/>
                  <a:pt x="9015233" y="1078995"/>
                  <a:pt x="9014290" y="1075852"/>
                </a:cubicBezTo>
                <a:cubicBezTo>
                  <a:pt x="9012715" y="1070196"/>
                  <a:pt x="9014604" y="1065795"/>
                  <a:pt x="9018695" y="1062023"/>
                </a:cubicBezTo>
                <a:cubicBezTo>
                  <a:pt x="9020268" y="1060452"/>
                  <a:pt x="9021843" y="1059195"/>
                  <a:pt x="9022472" y="1056995"/>
                </a:cubicBezTo>
                <a:cubicBezTo>
                  <a:pt x="9023100" y="1053538"/>
                  <a:pt x="9024989" y="1051652"/>
                  <a:pt x="9028450" y="1051966"/>
                </a:cubicBezTo>
                <a:cubicBezTo>
                  <a:pt x="9030968" y="1051966"/>
                  <a:pt x="9032856" y="1050395"/>
                  <a:pt x="9033800" y="1049135"/>
                </a:cubicBezTo>
                <a:cubicBezTo>
                  <a:pt x="9039151" y="1041593"/>
                  <a:pt x="9047017" y="1045678"/>
                  <a:pt x="9053625" y="1044735"/>
                </a:cubicBezTo>
                <a:cubicBezTo>
                  <a:pt x="9056459" y="1044421"/>
                  <a:pt x="9062437" y="1042850"/>
                  <a:pt x="9063696" y="1045050"/>
                </a:cubicBezTo>
                <a:cubicBezTo>
                  <a:pt x="9067473" y="1051338"/>
                  <a:pt x="9077227" y="1048821"/>
                  <a:pt x="9079430" y="1057309"/>
                </a:cubicBezTo>
                <a:cubicBezTo>
                  <a:pt x="9080060" y="1059823"/>
                  <a:pt x="9084465" y="1061395"/>
                  <a:pt x="9080375" y="1064852"/>
                </a:cubicBezTo>
                <a:cubicBezTo>
                  <a:pt x="9079115" y="1065795"/>
                  <a:pt x="9079431" y="1067681"/>
                  <a:pt x="9080690" y="1067995"/>
                </a:cubicBezTo>
                <a:lnTo>
                  <a:pt x="9081383" y="1071738"/>
                </a:lnTo>
                <a:lnTo>
                  <a:pt x="9092971" y="1069648"/>
                </a:lnTo>
                <a:cubicBezTo>
                  <a:pt x="9216489" y="1047862"/>
                  <a:pt x="9338669" y="1024982"/>
                  <a:pt x="9465172" y="1021390"/>
                </a:cubicBezTo>
                <a:cubicBezTo>
                  <a:pt x="9473832" y="1021785"/>
                  <a:pt x="9483594" y="1020843"/>
                  <a:pt x="9492251" y="1021239"/>
                </a:cubicBezTo>
                <a:cubicBezTo>
                  <a:pt x="9508232" y="1020927"/>
                  <a:pt x="9514289" y="1032658"/>
                  <a:pt x="9514366" y="1046197"/>
                </a:cubicBezTo>
                <a:cubicBezTo>
                  <a:pt x="9513337" y="1061085"/>
                  <a:pt x="9502002" y="1058484"/>
                  <a:pt x="9490902" y="1058325"/>
                </a:cubicBezTo>
                <a:cubicBezTo>
                  <a:pt x="9425644" y="1058467"/>
                  <a:pt x="9359518" y="1062388"/>
                  <a:pt x="9294334" y="1076070"/>
                </a:cubicBezTo>
                <a:cubicBezTo>
                  <a:pt x="9283469" y="1078349"/>
                  <a:pt x="9271268" y="1079527"/>
                  <a:pt x="9262212" y="1087792"/>
                </a:cubicBezTo>
                <a:cubicBezTo>
                  <a:pt x="9261110" y="1089129"/>
                  <a:pt x="9256466" y="1092040"/>
                  <a:pt x="9257803" y="1093140"/>
                </a:cubicBezTo>
                <a:cubicBezTo>
                  <a:pt x="9258273" y="1098023"/>
                  <a:pt x="9261817" y="1096450"/>
                  <a:pt x="9264022" y="1093773"/>
                </a:cubicBezTo>
                <a:cubicBezTo>
                  <a:pt x="9386747" y="1089314"/>
                  <a:pt x="9508766" y="1077535"/>
                  <a:pt x="9630625" y="1076855"/>
                </a:cubicBezTo>
                <a:cubicBezTo>
                  <a:pt x="9668803" y="1076863"/>
                  <a:pt x="9705879" y="1078210"/>
                  <a:pt x="9745161" y="1076880"/>
                </a:cubicBezTo>
                <a:cubicBezTo>
                  <a:pt x="9753821" y="1077276"/>
                  <a:pt x="9764053" y="1081214"/>
                  <a:pt x="9775078" y="1067835"/>
                </a:cubicBezTo>
                <a:cubicBezTo>
                  <a:pt x="9711082" y="1055540"/>
                  <a:pt x="9643928" y="1074339"/>
                  <a:pt x="9593249" y="1021341"/>
                </a:cubicBezTo>
                <a:cubicBezTo>
                  <a:pt x="9860898" y="1012742"/>
                  <a:pt x="10118379" y="1051933"/>
                  <a:pt x="10371908" y="1139530"/>
                </a:cubicBezTo>
                <a:cubicBezTo>
                  <a:pt x="10352461" y="1154954"/>
                  <a:pt x="10333099" y="1145740"/>
                  <a:pt x="10314206" y="1141407"/>
                </a:cubicBezTo>
                <a:cubicBezTo>
                  <a:pt x="10293977" y="1135969"/>
                  <a:pt x="10275086" y="1131634"/>
                  <a:pt x="10254226" y="1132418"/>
                </a:cubicBezTo>
                <a:cubicBezTo>
                  <a:pt x="10202196" y="1116506"/>
                  <a:pt x="10149299" y="1104368"/>
                  <a:pt x="10097346" y="1101995"/>
                </a:cubicBezTo>
                <a:cubicBezTo>
                  <a:pt x="10096479" y="1105772"/>
                  <a:pt x="10095611" y="1109552"/>
                  <a:pt x="10094744" y="1113332"/>
                </a:cubicBezTo>
                <a:cubicBezTo>
                  <a:pt x="10147404" y="1123025"/>
                  <a:pt x="10200065" y="1132721"/>
                  <a:pt x="10253829" y="1141078"/>
                </a:cubicBezTo>
                <a:cubicBezTo>
                  <a:pt x="10399760" y="1188874"/>
                  <a:pt x="10545694" y="1236671"/>
                  <a:pt x="10686640" y="1297419"/>
                </a:cubicBezTo>
                <a:lnTo>
                  <a:pt x="10729007" y="1317382"/>
                </a:lnTo>
                <a:lnTo>
                  <a:pt x="10728877" y="1316792"/>
                </a:lnTo>
                <a:cubicBezTo>
                  <a:pt x="10732559" y="1309958"/>
                  <a:pt x="10736239" y="1303125"/>
                  <a:pt x="10739920" y="1296292"/>
                </a:cubicBezTo>
                <a:cubicBezTo>
                  <a:pt x="10747174" y="1296527"/>
                  <a:pt x="10754205" y="1294437"/>
                  <a:pt x="10759253" y="1290544"/>
                </a:cubicBezTo>
                <a:cubicBezTo>
                  <a:pt x="10764568" y="1287529"/>
                  <a:pt x="10769616" y="1283637"/>
                  <a:pt x="10775237" y="1280052"/>
                </a:cubicBezTo>
                <a:cubicBezTo>
                  <a:pt x="10780551" y="1277037"/>
                  <a:pt x="10786171" y="1273453"/>
                  <a:pt x="10789811" y="1268067"/>
                </a:cubicBezTo>
                <a:cubicBezTo>
                  <a:pt x="10793716" y="1263558"/>
                  <a:pt x="10798375" y="1263130"/>
                  <a:pt x="10803913" y="1262439"/>
                </a:cubicBezTo>
                <a:cubicBezTo>
                  <a:pt x="10809451" y="1261749"/>
                  <a:pt x="10814864" y="1265401"/>
                  <a:pt x="10819871" y="1262955"/>
                </a:cubicBezTo>
                <a:cubicBezTo>
                  <a:pt x="10823876" y="1265112"/>
                  <a:pt x="10827307" y="1266961"/>
                  <a:pt x="10831312" y="1269117"/>
                </a:cubicBezTo>
                <a:cubicBezTo>
                  <a:pt x="10830392" y="1270825"/>
                  <a:pt x="10830656" y="1271704"/>
                  <a:pt x="10831801" y="1272320"/>
                </a:cubicBezTo>
                <a:cubicBezTo>
                  <a:pt x="10840381" y="1276941"/>
                  <a:pt x="10841890" y="1285101"/>
                  <a:pt x="10841069" y="1293475"/>
                </a:cubicBezTo>
                <a:cubicBezTo>
                  <a:pt x="10840554" y="1301280"/>
                  <a:pt x="10840918" y="1308823"/>
                  <a:pt x="10835787" y="1315610"/>
                </a:cubicBezTo>
                <a:cubicBezTo>
                  <a:pt x="10829776" y="1322657"/>
                  <a:pt x="10825747" y="1331508"/>
                  <a:pt x="10815508" y="1334073"/>
                </a:cubicBezTo>
                <a:cubicBezTo>
                  <a:pt x="10811993" y="1335119"/>
                  <a:pt x="10808784" y="1335594"/>
                  <a:pt x="10804167" y="1334576"/>
                </a:cubicBezTo>
                <a:cubicBezTo>
                  <a:pt x="10797527" y="1333203"/>
                  <a:pt x="10789130" y="1332353"/>
                  <a:pt x="10785937" y="1342388"/>
                </a:cubicBezTo>
                <a:lnTo>
                  <a:pt x="10784312" y="1343442"/>
                </a:lnTo>
                <a:lnTo>
                  <a:pt x="10825741" y="1362963"/>
                </a:lnTo>
                <a:cubicBezTo>
                  <a:pt x="11108909" y="1512046"/>
                  <a:pt x="11353853" y="1702921"/>
                  <a:pt x="11562628" y="1935390"/>
                </a:cubicBezTo>
                <a:lnTo>
                  <a:pt x="11569270" y="1943702"/>
                </a:lnTo>
                <a:lnTo>
                  <a:pt x="11572012" y="1938431"/>
                </a:lnTo>
                <a:cubicBezTo>
                  <a:pt x="11573117" y="1937165"/>
                  <a:pt x="11574084" y="1936225"/>
                  <a:pt x="11574956" y="1935054"/>
                </a:cubicBezTo>
                <a:cubicBezTo>
                  <a:pt x="11577708" y="1931212"/>
                  <a:pt x="11580473" y="1928720"/>
                  <a:pt x="11585772" y="1928436"/>
                </a:cubicBezTo>
                <a:cubicBezTo>
                  <a:pt x="11591072" y="1928153"/>
                  <a:pt x="11594656" y="1923699"/>
                  <a:pt x="11597870" y="1919667"/>
                </a:cubicBezTo>
                <a:cubicBezTo>
                  <a:pt x="11599573" y="1917882"/>
                  <a:pt x="11600772" y="1916847"/>
                  <a:pt x="11603524" y="1917611"/>
                </a:cubicBezTo>
                <a:cubicBezTo>
                  <a:pt x="11614993" y="1920480"/>
                  <a:pt x="11626722" y="1921344"/>
                  <a:pt x="11638452" y="1917603"/>
                </a:cubicBezTo>
                <a:cubicBezTo>
                  <a:pt x="11640168" y="1917168"/>
                  <a:pt x="11641054" y="1917345"/>
                  <a:pt x="11641258" y="1919158"/>
                </a:cubicBezTo>
                <a:cubicBezTo>
                  <a:pt x="11642538" y="1926218"/>
                  <a:pt x="11647727" y="1928959"/>
                  <a:pt x="11653789" y="1930529"/>
                </a:cubicBezTo>
                <a:cubicBezTo>
                  <a:pt x="11656540" y="1931294"/>
                  <a:pt x="11658270" y="1932208"/>
                  <a:pt x="11658120" y="1935792"/>
                </a:cubicBezTo>
                <a:cubicBezTo>
                  <a:pt x="11657561" y="1940357"/>
                  <a:pt x="11660842" y="1943070"/>
                  <a:pt x="11664629" y="1945035"/>
                </a:cubicBezTo>
                <a:cubicBezTo>
                  <a:pt x="11667763" y="1946726"/>
                  <a:pt x="11671359" y="1948227"/>
                  <a:pt x="11674491" y="1949918"/>
                </a:cubicBezTo>
                <a:cubicBezTo>
                  <a:pt x="11675942" y="1950811"/>
                  <a:pt x="11676963" y="1951813"/>
                  <a:pt x="11677167" y="1952882"/>
                </a:cubicBezTo>
                <a:cubicBezTo>
                  <a:pt x="11677368" y="1953949"/>
                  <a:pt x="11676751" y="1955084"/>
                  <a:pt x="11674926" y="1956241"/>
                </a:cubicBezTo>
                <a:cubicBezTo>
                  <a:pt x="11674000" y="1956622"/>
                  <a:pt x="11673169" y="1957235"/>
                  <a:pt x="11672433" y="1958079"/>
                </a:cubicBezTo>
                <a:cubicBezTo>
                  <a:pt x="11671465" y="1959019"/>
                  <a:pt x="11669612" y="1959781"/>
                  <a:pt x="11670048" y="1961498"/>
                </a:cubicBezTo>
                <a:cubicBezTo>
                  <a:pt x="11670621" y="1962889"/>
                  <a:pt x="11672159" y="1963340"/>
                  <a:pt x="11673372" y="1963654"/>
                </a:cubicBezTo>
                <a:cubicBezTo>
                  <a:pt x="11678739" y="1965510"/>
                  <a:pt x="11679079" y="1966995"/>
                  <a:pt x="11675073" y="1971081"/>
                </a:cubicBezTo>
                <a:cubicBezTo>
                  <a:pt x="11674106" y="1972021"/>
                  <a:pt x="11673275" y="1972633"/>
                  <a:pt x="11672635" y="1973710"/>
                </a:cubicBezTo>
                <a:cubicBezTo>
                  <a:pt x="11671627" y="1975209"/>
                  <a:pt x="11670850" y="1976612"/>
                  <a:pt x="11672729" y="1978548"/>
                </a:cubicBezTo>
                <a:cubicBezTo>
                  <a:pt x="11674745" y="1980157"/>
                  <a:pt x="11675671" y="1979776"/>
                  <a:pt x="11677333" y="1978551"/>
                </a:cubicBezTo>
                <a:lnTo>
                  <a:pt x="11680676" y="1976719"/>
                </a:lnTo>
                <a:lnTo>
                  <a:pt x="11670115" y="2002238"/>
                </a:lnTo>
                <a:lnTo>
                  <a:pt x="11668216" y="2001807"/>
                </a:lnTo>
                <a:cubicBezTo>
                  <a:pt x="11665941" y="2002201"/>
                  <a:pt x="11664838" y="2003468"/>
                  <a:pt x="11664674" y="2005702"/>
                </a:cubicBezTo>
                <a:cubicBezTo>
                  <a:pt x="11664551" y="2007378"/>
                  <a:pt x="11664660" y="2008959"/>
                  <a:pt x="11664538" y="2010636"/>
                </a:cubicBezTo>
                <a:cubicBezTo>
                  <a:pt x="11664332" y="2013428"/>
                  <a:pt x="11663093" y="2015023"/>
                  <a:pt x="11660122" y="2015702"/>
                </a:cubicBezTo>
                <a:cubicBezTo>
                  <a:pt x="11651214" y="2017742"/>
                  <a:pt x="11646662" y="2023136"/>
                  <a:pt x="11646008" y="2032075"/>
                </a:cubicBezTo>
                <a:cubicBezTo>
                  <a:pt x="11645789" y="2033520"/>
                  <a:pt x="11647069" y="2035972"/>
                  <a:pt x="11644794" y="2036368"/>
                </a:cubicBezTo>
                <a:lnTo>
                  <a:pt x="11641345" y="2033918"/>
                </a:lnTo>
                <a:lnTo>
                  <a:pt x="11759425" y="2181713"/>
                </a:lnTo>
                <a:cubicBezTo>
                  <a:pt x="11806400" y="2247370"/>
                  <a:pt x="11858890" y="2306342"/>
                  <a:pt x="11893033" y="2379406"/>
                </a:cubicBezTo>
                <a:cubicBezTo>
                  <a:pt x="11896178" y="2386492"/>
                  <a:pt x="11902869" y="2392003"/>
                  <a:pt x="11897593" y="2401132"/>
                </a:cubicBezTo>
                <a:cubicBezTo>
                  <a:pt x="11890741" y="2406719"/>
                  <a:pt x="11886493" y="2400975"/>
                  <a:pt x="11884919" y="2397431"/>
                </a:cubicBezTo>
                <a:cubicBezTo>
                  <a:pt x="11850987" y="2342517"/>
                  <a:pt x="11814571" y="2289767"/>
                  <a:pt x="11776200" y="2238705"/>
                </a:cubicBezTo>
                <a:lnTo>
                  <a:pt x="11679996" y="2120016"/>
                </a:lnTo>
                <a:lnTo>
                  <a:pt x="11683055" y="2127452"/>
                </a:lnTo>
                <a:cubicBezTo>
                  <a:pt x="11680402" y="2131701"/>
                  <a:pt x="11683161" y="2136879"/>
                  <a:pt x="11682029" y="2141765"/>
                </a:cubicBezTo>
                <a:cubicBezTo>
                  <a:pt x="11680895" y="2146651"/>
                  <a:pt x="11680077" y="2150775"/>
                  <a:pt x="11675683" y="2153846"/>
                </a:cubicBezTo>
                <a:lnTo>
                  <a:pt x="11671114" y="2158355"/>
                </a:lnTo>
                <a:lnTo>
                  <a:pt x="11709599" y="2207766"/>
                </a:lnTo>
                <a:cubicBezTo>
                  <a:pt x="11855415" y="2410751"/>
                  <a:pt x="11968920" y="2636253"/>
                  <a:pt x="12044337" y="2888221"/>
                </a:cubicBezTo>
                <a:cubicBezTo>
                  <a:pt x="12045910" y="2891765"/>
                  <a:pt x="12048821" y="2896411"/>
                  <a:pt x="12047954" y="2900188"/>
                </a:cubicBezTo>
                <a:cubicBezTo>
                  <a:pt x="12048188" y="2902628"/>
                  <a:pt x="12045985" y="2905301"/>
                  <a:pt x="12042913" y="2911756"/>
                </a:cubicBezTo>
                <a:cubicBezTo>
                  <a:pt x="12027416" y="2878772"/>
                  <a:pt x="12012388" y="2850670"/>
                  <a:pt x="12000667" y="2818540"/>
                </a:cubicBezTo>
                <a:cubicBezTo>
                  <a:pt x="11956502" y="2699031"/>
                  <a:pt x="11899444" y="2586308"/>
                  <a:pt x="11836079" y="2476812"/>
                </a:cubicBezTo>
                <a:lnTo>
                  <a:pt x="11817182" y="2446720"/>
                </a:lnTo>
                <a:lnTo>
                  <a:pt x="11814121" y="2450446"/>
                </a:lnTo>
                <a:cubicBezTo>
                  <a:pt x="11812657" y="2451710"/>
                  <a:pt x="11810844" y="2452125"/>
                  <a:pt x="11810128" y="2454406"/>
                </a:cubicBezTo>
                <a:cubicBezTo>
                  <a:pt x="11809414" y="2456687"/>
                  <a:pt x="11807600" y="2457102"/>
                  <a:pt x="11805436" y="2456667"/>
                </a:cubicBezTo>
                <a:cubicBezTo>
                  <a:pt x="11804072" y="2456566"/>
                  <a:pt x="11802193" y="2456016"/>
                  <a:pt x="11801411" y="2457331"/>
                </a:cubicBezTo>
                <a:cubicBezTo>
                  <a:pt x="11799181" y="2461558"/>
                  <a:pt x="11796751" y="2462890"/>
                  <a:pt x="11793191" y="2459055"/>
                </a:cubicBezTo>
                <a:cubicBezTo>
                  <a:pt x="11792441" y="2458039"/>
                  <a:pt x="11790628" y="2458454"/>
                  <a:pt x="11790246" y="2459936"/>
                </a:cubicBezTo>
                <a:cubicBezTo>
                  <a:pt x="11788648" y="2464898"/>
                  <a:pt x="11785603" y="2461514"/>
                  <a:pt x="11783107" y="2461879"/>
                </a:cubicBezTo>
                <a:cubicBezTo>
                  <a:pt x="11774656" y="2463038"/>
                  <a:pt x="11773306" y="2453328"/>
                  <a:pt x="11766251" y="2452256"/>
                </a:cubicBezTo>
                <a:cubicBezTo>
                  <a:pt x="11763805" y="2451938"/>
                  <a:pt x="11763006" y="2445976"/>
                  <a:pt x="11762240" y="2443310"/>
                </a:cubicBezTo>
                <a:cubicBezTo>
                  <a:pt x="11760642" y="2437014"/>
                  <a:pt x="11754052" y="2431446"/>
                  <a:pt x="11758860" y="2423838"/>
                </a:cubicBezTo>
                <a:cubicBezTo>
                  <a:pt x="11759643" y="2422523"/>
                  <a:pt x="11760357" y="2420243"/>
                  <a:pt x="11759425" y="2417977"/>
                </a:cubicBezTo>
                <a:cubicBezTo>
                  <a:pt x="11757862" y="2414978"/>
                  <a:pt x="11758860" y="2412581"/>
                  <a:pt x="11761737" y="2410734"/>
                </a:cubicBezTo>
                <a:cubicBezTo>
                  <a:pt x="11763484" y="2409354"/>
                  <a:pt x="11764033" y="2407472"/>
                  <a:pt x="11764865" y="2405474"/>
                </a:cubicBezTo>
                <a:cubicBezTo>
                  <a:pt x="11766746" y="2400396"/>
                  <a:pt x="11770005" y="2397068"/>
                  <a:pt x="11775679" y="2396390"/>
                </a:cubicBezTo>
                <a:lnTo>
                  <a:pt x="11781944" y="2390608"/>
                </a:lnTo>
                <a:lnTo>
                  <a:pt x="11651297" y="2182563"/>
                </a:lnTo>
                <a:lnTo>
                  <a:pt x="11645806" y="2195811"/>
                </a:lnTo>
                <a:cubicBezTo>
                  <a:pt x="11639356" y="2198466"/>
                  <a:pt x="11632904" y="2201118"/>
                  <a:pt x="11626453" y="2203772"/>
                </a:cubicBezTo>
                <a:cubicBezTo>
                  <a:pt x="11623508" y="2201196"/>
                  <a:pt x="11620691" y="2200460"/>
                  <a:pt x="11616262" y="2200389"/>
                </a:cubicBezTo>
                <a:cubicBezTo>
                  <a:pt x="11611072" y="2199997"/>
                  <a:pt x="11605847" y="2196465"/>
                  <a:pt x="11603848" y="2191605"/>
                </a:cubicBezTo>
                <a:cubicBezTo>
                  <a:pt x="11601850" y="2186744"/>
                  <a:pt x="11598998" y="2182867"/>
                  <a:pt x="11595923" y="2178449"/>
                </a:cubicBezTo>
                <a:cubicBezTo>
                  <a:pt x="11595723" y="2170323"/>
                  <a:pt x="11596820" y="2162295"/>
                  <a:pt x="11604310" y="2156057"/>
                </a:cubicBezTo>
                <a:cubicBezTo>
                  <a:pt x="11605701" y="2154854"/>
                  <a:pt x="11605444" y="2151172"/>
                  <a:pt x="11608892" y="2150384"/>
                </a:cubicBezTo>
                <a:cubicBezTo>
                  <a:pt x="11613524" y="2149425"/>
                  <a:pt x="11615848" y="2147049"/>
                  <a:pt x="11616936" y="2144155"/>
                </a:cubicBezTo>
                <a:lnTo>
                  <a:pt x="11617549" y="2135149"/>
                </a:lnTo>
                <a:lnTo>
                  <a:pt x="11605959" y="2121248"/>
                </a:lnTo>
                <a:cubicBezTo>
                  <a:pt x="11595887" y="2110983"/>
                  <a:pt x="11585400" y="2101219"/>
                  <a:pt x="11575798" y="2091064"/>
                </a:cubicBezTo>
                <a:cubicBezTo>
                  <a:pt x="11570447" y="2086654"/>
                  <a:pt x="11565727" y="2076026"/>
                  <a:pt x="11556673" y="2084291"/>
                </a:cubicBezTo>
                <a:cubicBezTo>
                  <a:pt x="11549823" y="2089877"/>
                  <a:pt x="11551867" y="2098297"/>
                  <a:pt x="11553910" y="2106722"/>
                </a:cubicBezTo>
                <a:cubicBezTo>
                  <a:pt x="11557293" y="2116249"/>
                  <a:pt x="11560912" y="2128214"/>
                  <a:pt x="11561852" y="2137978"/>
                </a:cubicBezTo>
                <a:lnTo>
                  <a:pt x="11526995" y="2101679"/>
                </a:lnTo>
                <a:lnTo>
                  <a:pt x="11572568" y="2156388"/>
                </a:lnTo>
                <a:cubicBezTo>
                  <a:pt x="11667237" y="2284665"/>
                  <a:pt x="11746677" y="2419562"/>
                  <a:pt x="11811444" y="2561214"/>
                </a:cubicBezTo>
                <a:lnTo>
                  <a:pt x="11827093" y="2600710"/>
                </a:lnTo>
                <a:lnTo>
                  <a:pt x="11856432" y="2656661"/>
                </a:lnTo>
                <a:lnTo>
                  <a:pt x="11913259" y="2795418"/>
                </a:lnTo>
                <a:lnTo>
                  <a:pt x="11920909" y="2796228"/>
                </a:lnTo>
                <a:cubicBezTo>
                  <a:pt x="11926320" y="2797159"/>
                  <a:pt x="11932268" y="2797868"/>
                  <a:pt x="11937867" y="2796197"/>
                </a:cubicBezTo>
                <a:cubicBezTo>
                  <a:pt x="11943149" y="2795287"/>
                  <a:pt x="11946633" y="2797641"/>
                  <a:pt x="11950876" y="2800317"/>
                </a:cubicBezTo>
                <a:cubicBezTo>
                  <a:pt x="11955118" y="2802991"/>
                  <a:pt x="11956802" y="2808612"/>
                  <a:pt x="11961675" y="2809763"/>
                </a:cubicBezTo>
                <a:cubicBezTo>
                  <a:pt x="11963231" y="2813544"/>
                  <a:pt x="11964563" y="2816783"/>
                  <a:pt x="11966119" y="2820564"/>
                </a:cubicBezTo>
                <a:cubicBezTo>
                  <a:pt x="11964505" y="2821227"/>
                  <a:pt x="11964191" y="2821989"/>
                  <a:pt x="11964634" y="2823068"/>
                </a:cubicBezTo>
                <a:cubicBezTo>
                  <a:pt x="11967966" y="2831168"/>
                  <a:pt x="11964367" y="2837700"/>
                  <a:pt x="11959027" y="2843054"/>
                </a:cubicBezTo>
                <a:cubicBezTo>
                  <a:pt x="11954225" y="2848187"/>
                  <a:pt x="11950182" y="2853638"/>
                  <a:pt x="11942749" y="2855432"/>
                </a:cubicBezTo>
                <a:lnTo>
                  <a:pt x="11938248" y="2856435"/>
                </a:lnTo>
                <a:lnTo>
                  <a:pt x="11944132" y="2870803"/>
                </a:lnTo>
                <a:cubicBezTo>
                  <a:pt x="11945940" y="2876787"/>
                  <a:pt x="11945073" y="2880564"/>
                  <a:pt x="11943339" y="2888120"/>
                </a:cubicBezTo>
                <a:lnTo>
                  <a:pt x="11929616" y="2858036"/>
                </a:lnTo>
                <a:lnTo>
                  <a:pt x="11919817" y="2856910"/>
                </a:lnTo>
                <a:lnTo>
                  <a:pt x="11962271" y="3006579"/>
                </a:lnTo>
                <a:cubicBezTo>
                  <a:pt x="11986770" y="3116074"/>
                  <a:pt x="12022799" y="3223907"/>
                  <a:pt x="12023845" y="3338182"/>
                </a:cubicBezTo>
                <a:cubicBezTo>
                  <a:pt x="12024878" y="3629753"/>
                  <a:pt x="12019608" y="3921272"/>
                  <a:pt x="11953952" y="4207696"/>
                </a:cubicBezTo>
                <a:lnTo>
                  <a:pt x="11934023" y="4284231"/>
                </a:lnTo>
                <a:lnTo>
                  <a:pt x="11933135" y="4307813"/>
                </a:lnTo>
                <a:cubicBezTo>
                  <a:pt x="11931360" y="4318144"/>
                  <a:pt x="11928308" y="4327984"/>
                  <a:pt x="11924251" y="4336996"/>
                </a:cubicBezTo>
                <a:cubicBezTo>
                  <a:pt x="11893406" y="4419410"/>
                  <a:pt x="11869205" y="4506032"/>
                  <a:pt x="11830989" y="4587425"/>
                </a:cubicBezTo>
                <a:lnTo>
                  <a:pt x="11819214" y="4608817"/>
                </a:lnTo>
                <a:lnTo>
                  <a:pt x="11805268" y="4644467"/>
                </a:lnTo>
                <a:lnTo>
                  <a:pt x="11795293" y="4666396"/>
                </a:lnTo>
                <a:lnTo>
                  <a:pt x="11799584" y="4666217"/>
                </a:lnTo>
                <a:cubicBezTo>
                  <a:pt x="11810260" y="4662588"/>
                  <a:pt x="11817274" y="4651521"/>
                  <a:pt x="11830087" y="4650282"/>
                </a:cubicBezTo>
                <a:cubicBezTo>
                  <a:pt x="11820549" y="4691845"/>
                  <a:pt x="11801881" y="4728132"/>
                  <a:pt x="11781876" y="4763315"/>
                </a:cubicBezTo>
                <a:cubicBezTo>
                  <a:pt x="11646721" y="5009129"/>
                  <a:pt x="11491496" y="5238408"/>
                  <a:pt x="11287239" y="5431777"/>
                </a:cubicBezTo>
                <a:cubicBezTo>
                  <a:pt x="11142591" y="5566436"/>
                  <a:pt x="10986532" y="5684954"/>
                  <a:pt x="10813244" y="5778041"/>
                </a:cubicBezTo>
                <a:cubicBezTo>
                  <a:pt x="10760572" y="5806526"/>
                  <a:pt x="10702708" y="5819502"/>
                  <a:pt x="10657433" y="5860819"/>
                </a:cubicBezTo>
                <a:cubicBezTo>
                  <a:pt x="10646171" y="5871760"/>
                  <a:pt x="10627356" y="5880965"/>
                  <a:pt x="10642780" y="5900413"/>
                </a:cubicBezTo>
                <a:cubicBezTo>
                  <a:pt x="10657099" y="5921199"/>
                  <a:pt x="10668755" y="5901600"/>
                  <a:pt x="10682928" y="5895305"/>
                </a:cubicBezTo>
                <a:cubicBezTo>
                  <a:pt x="10697967" y="5885233"/>
                  <a:pt x="10714973" y="5870043"/>
                  <a:pt x="10740319" y="5877450"/>
                </a:cubicBezTo>
                <a:cubicBezTo>
                  <a:pt x="10661499" y="5954026"/>
                  <a:pt x="10562929" y="5991869"/>
                  <a:pt x="10471286" y="6037664"/>
                </a:cubicBezTo>
                <a:cubicBezTo>
                  <a:pt x="10413263" y="6061739"/>
                  <a:pt x="10351387" y="6071406"/>
                  <a:pt x="10296509" y="6102567"/>
                </a:cubicBezTo>
                <a:cubicBezTo>
                  <a:pt x="10358621" y="6095339"/>
                  <a:pt x="10412866" y="6070398"/>
                  <a:pt x="10471126" y="6048764"/>
                </a:cubicBezTo>
                <a:cubicBezTo>
                  <a:pt x="10512458" y="6036768"/>
                  <a:pt x="10552097" y="6020009"/>
                  <a:pt x="10590892" y="6000868"/>
                </a:cubicBezTo>
                <a:lnTo>
                  <a:pt x="10677168" y="5954092"/>
                </a:lnTo>
                <a:lnTo>
                  <a:pt x="10677220" y="5951483"/>
                </a:lnTo>
                <a:cubicBezTo>
                  <a:pt x="10676049" y="5944954"/>
                  <a:pt x="10678992" y="5940293"/>
                  <a:pt x="10682652" y="5936148"/>
                </a:cubicBezTo>
                <a:cubicBezTo>
                  <a:pt x="10686189" y="5935192"/>
                  <a:pt x="10689371" y="5934421"/>
                  <a:pt x="10692540" y="5932765"/>
                </a:cubicBezTo>
                <a:cubicBezTo>
                  <a:pt x="10695710" y="5931109"/>
                  <a:pt x="10699977" y="5931556"/>
                  <a:pt x="10702851" y="5933625"/>
                </a:cubicBezTo>
                <a:lnTo>
                  <a:pt x="10709600" y="5936307"/>
                </a:lnTo>
                <a:lnTo>
                  <a:pt x="10858800" y="5847941"/>
                </a:lnTo>
                <a:cubicBezTo>
                  <a:pt x="11010070" y="5754190"/>
                  <a:pt x="11155042" y="5650828"/>
                  <a:pt x="11289571" y="5532541"/>
                </a:cubicBezTo>
                <a:cubicBezTo>
                  <a:pt x="11310988" y="5512000"/>
                  <a:pt x="11337523" y="5493428"/>
                  <a:pt x="11353353" y="5466036"/>
                </a:cubicBezTo>
                <a:cubicBezTo>
                  <a:pt x="11338636" y="5453910"/>
                  <a:pt x="11331390" y="5468157"/>
                  <a:pt x="11323437" y="5475082"/>
                </a:cubicBezTo>
                <a:cubicBezTo>
                  <a:pt x="11175246" y="5611315"/>
                  <a:pt x="11014542" y="5732743"/>
                  <a:pt x="10838417" y="5834725"/>
                </a:cubicBezTo>
                <a:cubicBezTo>
                  <a:pt x="10829126" y="5840549"/>
                  <a:pt x="10817234" y="5857707"/>
                  <a:pt x="10807163" y="5842670"/>
                </a:cubicBezTo>
                <a:cubicBezTo>
                  <a:pt x="10797090" y="5827632"/>
                  <a:pt x="10813231" y="5816221"/>
                  <a:pt x="10824962" y="5810163"/>
                </a:cubicBezTo>
                <a:cubicBezTo>
                  <a:pt x="10879604" y="5776562"/>
                  <a:pt x="10938495" y="5748707"/>
                  <a:pt x="10991328" y="5709123"/>
                </a:cubicBezTo>
                <a:cubicBezTo>
                  <a:pt x="11218563" y="5536933"/>
                  <a:pt x="11433523" y="5352382"/>
                  <a:pt x="11598039" y="5117280"/>
                </a:cubicBezTo>
                <a:cubicBezTo>
                  <a:pt x="11725777" y="4934993"/>
                  <a:pt x="11824787" y="4735773"/>
                  <a:pt x="11907111" y="4529543"/>
                </a:cubicBezTo>
                <a:cubicBezTo>
                  <a:pt x="11923970" y="4487274"/>
                  <a:pt x="11941930" y="4443666"/>
                  <a:pt x="11965243" y="4404469"/>
                </a:cubicBezTo>
                <a:cubicBezTo>
                  <a:pt x="11868553" y="4742631"/>
                  <a:pt x="11707322" y="5050077"/>
                  <a:pt x="11478874" y="5324603"/>
                </a:cubicBezTo>
                <a:cubicBezTo>
                  <a:pt x="11502646" y="5328466"/>
                  <a:pt x="11509187" y="5306898"/>
                  <a:pt x="11534223" y="5298323"/>
                </a:cubicBezTo>
                <a:cubicBezTo>
                  <a:pt x="11494533" y="5346492"/>
                  <a:pt x="11460358" y="5387971"/>
                  <a:pt x="11423269" y="5424802"/>
                </a:cubicBezTo>
                <a:lnTo>
                  <a:pt x="11274561" y="5569510"/>
                </a:lnTo>
                <a:lnTo>
                  <a:pt x="11281575" y="5570095"/>
                </a:lnTo>
                <a:cubicBezTo>
                  <a:pt x="11284867" y="5572772"/>
                  <a:pt x="11287388" y="5573969"/>
                  <a:pt x="11291136" y="5573895"/>
                </a:cubicBezTo>
                <a:lnTo>
                  <a:pt x="11293328" y="5578089"/>
                </a:lnTo>
                <a:lnTo>
                  <a:pt x="11376956" y="5509633"/>
                </a:lnTo>
                <a:cubicBezTo>
                  <a:pt x="11413570" y="5477465"/>
                  <a:pt x="11447784" y="5442757"/>
                  <a:pt x="11476411" y="5401199"/>
                </a:cubicBezTo>
                <a:cubicBezTo>
                  <a:pt x="11488068" y="5381600"/>
                  <a:pt x="11512867" y="5370585"/>
                  <a:pt x="11530978" y="5354057"/>
                </a:cubicBezTo>
                <a:cubicBezTo>
                  <a:pt x="11608301" y="5287477"/>
                  <a:pt x="11655087" y="5197983"/>
                  <a:pt x="11711003" y="5113764"/>
                </a:cubicBezTo>
                <a:cubicBezTo>
                  <a:pt x="11833154" y="4924625"/>
                  <a:pt x="11937279" y="4727376"/>
                  <a:pt x="12019368" y="4518706"/>
                </a:cubicBezTo>
                <a:lnTo>
                  <a:pt x="12025524" y="4498888"/>
                </a:lnTo>
                <a:lnTo>
                  <a:pt x="12017498" y="4495324"/>
                </a:lnTo>
                <a:cubicBezTo>
                  <a:pt x="12015330" y="4493022"/>
                  <a:pt x="12013328" y="4490453"/>
                  <a:pt x="12009967" y="4489942"/>
                </a:cubicBezTo>
                <a:cubicBezTo>
                  <a:pt x="12007635" y="4489639"/>
                  <a:pt x="12006875" y="4483957"/>
                  <a:pt x="12006145" y="4481417"/>
                </a:cubicBezTo>
                <a:cubicBezTo>
                  <a:pt x="12004621" y="4475417"/>
                  <a:pt x="11998343" y="4470112"/>
                  <a:pt x="12002923" y="4462862"/>
                </a:cubicBezTo>
                <a:cubicBezTo>
                  <a:pt x="12003669" y="4461609"/>
                  <a:pt x="12004350" y="4459436"/>
                  <a:pt x="12003462" y="4457276"/>
                </a:cubicBezTo>
                <a:cubicBezTo>
                  <a:pt x="12001971" y="4454419"/>
                  <a:pt x="12002923" y="4452134"/>
                  <a:pt x="12005665" y="4450375"/>
                </a:cubicBezTo>
                <a:cubicBezTo>
                  <a:pt x="12007330" y="4449059"/>
                  <a:pt x="12007853" y="4447266"/>
                  <a:pt x="12008645" y="4445362"/>
                </a:cubicBezTo>
                <a:cubicBezTo>
                  <a:pt x="12010436" y="4440523"/>
                  <a:pt x="12013544" y="4437351"/>
                  <a:pt x="12018951" y="4436704"/>
                </a:cubicBezTo>
                <a:cubicBezTo>
                  <a:pt x="12021979" y="4436406"/>
                  <a:pt x="12024611" y="4434377"/>
                  <a:pt x="12025118" y="4431012"/>
                </a:cubicBezTo>
                <a:cubicBezTo>
                  <a:pt x="12026196" y="4430569"/>
                  <a:pt x="12027274" y="4430125"/>
                  <a:pt x="12028353" y="4429682"/>
                </a:cubicBezTo>
                <a:cubicBezTo>
                  <a:pt x="12030699" y="4431556"/>
                  <a:pt x="12032762" y="4431970"/>
                  <a:pt x="12036155" y="4430259"/>
                </a:cubicBezTo>
                <a:lnTo>
                  <a:pt x="12046047" y="4432826"/>
                </a:lnTo>
                <a:lnTo>
                  <a:pt x="12081389" y="4319055"/>
                </a:lnTo>
                <a:cubicBezTo>
                  <a:pt x="12098246" y="4251230"/>
                  <a:pt x="12113184" y="4182667"/>
                  <a:pt x="12131900" y="4114972"/>
                </a:cubicBezTo>
                <a:cubicBezTo>
                  <a:pt x="12135839" y="4104740"/>
                  <a:pt x="12139542" y="4092066"/>
                  <a:pt x="12144114" y="4075615"/>
                </a:cubicBezTo>
                <a:cubicBezTo>
                  <a:pt x="12162448" y="4099707"/>
                  <a:pt x="12166141" y="4125214"/>
                  <a:pt x="12157159" y="4147017"/>
                </a:cubicBezTo>
                <a:cubicBezTo>
                  <a:pt x="12112022" y="4253595"/>
                  <a:pt x="12101123" y="4370413"/>
                  <a:pt x="12064879" y="4479827"/>
                </a:cubicBezTo>
                <a:cubicBezTo>
                  <a:pt x="11945829" y="4828770"/>
                  <a:pt x="11765312" y="5140541"/>
                  <a:pt x="11515768" y="5413410"/>
                </a:cubicBezTo>
                <a:cubicBezTo>
                  <a:pt x="11463915" y="5469525"/>
                  <a:pt x="11407478" y="5519618"/>
                  <a:pt x="11349475" y="5567860"/>
                </a:cubicBezTo>
                <a:lnTo>
                  <a:pt x="11295133" y="5612203"/>
                </a:lnTo>
                <a:lnTo>
                  <a:pt x="11294956" y="5624687"/>
                </a:lnTo>
                <a:cubicBezTo>
                  <a:pt x="11294541" y="5629932"/>
                  <a:pt x="11294383" y="5635671"/>
                  <a:pt x="11296467" y="5640865"/>
                </a:cubicBezTo>
                <a:cubicBezTo>
                  <a:pt x="11297798" y="5645827"/>
                  <a:pt x="11295855" y="5649356"/>
                  <a:pt x="11293673" y="5653637"/>
                </a:cubicBezTo>
                <a:cubicBezTo>
                  <a:pt x="11291492" y="5657920"/>
                  <a:pt x="11286276" y="5660018"/>
                  <a:pt x="11285604" y="5664768"/>
                </a:cubicBezTo>
                <a:cubicBezTo>
                  <a:pt x="11282133" y="5666582"/>
                  <a:pt x="11279157" y="5668138"/>
                  <a:pt x="11275686" y="5669952"/>
                </a:cubicBezTo>
                <a:cubicBezTo>
                  <a:pt x="11274913" y="5668471"/>
                  <a:pt x="11274159" y="5668236"/>
                  <a:pt x="11273167" y="5668755"/>
                </a:cubicBezTo>
                <a:cubicBezTo>
                  <a:pt x="11265729" y="5672642"/>
                  <a:pt x="11259182" y="5669779"/>
                  <a:pt x="11253608" y="5665151"/>
                </a:cubicBezTo>
                <a:lnTo>
                  <a:pt x="11243616" y="5654241"/>
                </a:lnTo>
                <a:lnTo>
                  <a:pt x="11173799" y="5711211"/>
                </a:lnTo>
                <a:cubicBezTo>
                  <a:pt x="11027107" y="5837445"/>
                  <a:pt x="10867197" y="5941556"/>
                  <a:pt x="10688009" y="6011813"/>
                </a:cubicBezTo>
                <a:cubicBezTo>
                  <a:pt x="10671399" y="6018345"/>
                  <a:pt x="10657697" y="6029518"/>
                  <a:pt x="10640068" y="6012747"/>
                </a:cubicBezTo>
                <a:cubicBezTo>
                  <a:pt x="10635819" y="6007000"/>
                  <a:pt x="10627395" y="6009044"/>
                  <a:pt x="10621649" y="6013295"/>
                </a:cubicBezTo>
                <a:cubicBezTo>
                  <a:pt x="10516936" y="6064045"/>
                  <a:pt x="10407504" y="6104168"/>
                  <a:pt x="10295159" y="6139645"/>
                </a:cubicBezTo>
                <a:cubicBezTo>
                  <a:pt x="10292721" y="6139881"/>
                  <a:pt x="10290514" y="6142557"/>
                  <a:pt x="10287207" y="6146570"/>
                </a:cubicBezTo>
                <a:cubicBezTo>
                  <a:pt x="10299087" y="6167592"/>
                  <a:pt x="10313098" y="6172398"/>
                  <a:pt x="10338133" y="6163823"/>
                </a:cubicBezTo>
                <a:cubicBezTo>
                  <a:pt x="10510075" y="6107811"/>
                  <a:pt x="10683587" y="6055345"/>
                  <a:pt x="10845617" y="5973197"/>
                </a:cubicBezTo>
                <a:cubicBezTo>
                  <a:pt x="11109683" y="5838094"/>
                  <a:pt x="11339991" y="5659450"/>
                  <a:pt x="11533866" y="5435061"/>
                </a:cubicBezTo>
                <a:cubicBezTo>
                  <a:pt x="11642380" y="5308817"/>
                  <a:pt x="11750893" y="5182576"/>
                  <a:pt x="11835560" y="5038928"/>
                </a:cubicBezTo>
                <a:cubicBezTo>
                  <a:pt x="11866987" y="4981705"/>
                  <a:pt x="11915569" y="4936374"/>
                  <a:pt x="11956362" y="4886869"/>
                </a:cubicBezTo>
                <a:cubicBezTo>
                  <a:pt x="11852396" y="5073019"/>
                  <a:pt x="11735287" y="5250585"/>
                  <a:pt x="11599683" y="5415160"/>
                </a:cubicBezTo>
                <a:cubicBezTo>
                  <a:pt x="11461638" y="5579970"/>
                  <a:pt x="11308169" y="5725332"/>
                  <a:pt x="11131722" y="5849513"/>
                </a:cubicBezTo>
                <a:cubicBezTo>
                  <a:pt x="11298086" y="5748473"/>
                  <a:pt x="11442969" y="5616256"/>
                  <a:pt x="11593912" y="5495768"/>
                </a:cubicBezTo>
                <a:cubicBezTo>
                  <a:pt x="11596587" y="5497973"/>
                  <a:pt x="11598160" y="5501517"/>
                  <a:pt x="11599499" y="5502619"/>
                </a:cubicBezTo>
                <a:cubicBezTo>
                  <a:pt x="11561307" y="5540790"/>
                  <a:pt x="11523117" y="5578960"/>
                  <a:pt x="11482487" y="5617368"/>
                </a:cubicBezTo>
                <a:cubicBezTo>
                  <a:pt x="11378967" y="5713186"/>
                  <a:pt x="11270306" y="5800602"/>
                  <a:pt x="11156750" y="5879815"/>
                </a:cubicBezTo>
                <a:lnTo>
                  <a:pt x="11129441" y="5897504"/>
                </a:lnTo>
                <a:lnTo>
                  <a:pt x="11129875" y="5898335"/>
                </a:lnTo>
                <a:cubicBezTo>
                  <a:pt x="11128330" y="5900682"/>
                  <a:pt x="11128118" y="5902637"/>
                  <a:pt x="11130004" y="5905652"/>
                </a:cubicBezTo>
                <a:cubicBezTo>
                  <a:pt x="11132518" y="5909877"/>
                  <a:pt x="11132351" y="5914272"/>
                  <a:pt x="11128016" y="5917769"/>
                </a:cubicBezTo>
                <a:cubicBezTo>
                  <a:pt x="11125965" y="5919149"/>
                  <a:pt x="11127333" y="5920587"/>
                  <a:pt x="11128091" y="5922037"/>
                </a:cubicBezTo>
                <a:cubicBezTo>
                  <a:pt x="11129355" y="5924454"/>
                  <a:pt x="11128639" y="5925444"/>
                  <a:pt x="11125819" y="5924763"/>
                </a:cubicBezTo>
                <a:cubicBezTo>
                  <a:pt x="11121651" y="5923865"/>
                  <a:pt x="11119716" y="5924876"/>
                  <a:pt x="11121137" y="5929364"/>
                </a:cubicBezTo>
                <a:cubicBezTo>
                  <a:pt x="11121401" y="5930458"/>
                  <a:pt x="11121306" y="5932045"/>
                  <a:pt x="11119706" y="5931343"/>
                </a:cubicBezTo>
                <a:cubicBezTo>
                  <a:pt x="11114918" y="5929845"/>
                  <a:pt x="11113750" y="5932917"/>
                  <a:pt x="11112467" y="5936356"/>
                </a:cubicBezTo>
                <a:cubicBezTo>
                  <a:pt x="11112478" y="5936966"/>
                  <a:pt x="11111510" y="5937473"/>
                  <a:pt x="11111027" y="5937726"/>
                </a:cubicBezTo>
                <a:cubicBezTo>
                  <a:pt x="11103450" y="5937378"/>
                  <a:pt x="11095864" y="5936420"/>
                  <a:pt x="11088160" y="5935829"/>
                </a:cubicBezTo>
                <a:lnTo>
                  <a:pt x="11079426" y="5929902"/>
                </a:lnTo>
                <a:lnTo>
                  <a:pt x="10982775" y="5992509"/>
                </a:lnTo>
                <a:lnTo>
                  <a:pt x="10886476" y="6045961"/>
                </a:lnTo>
                <a:lnTo>
                  <a:pt x="10890708" y="6051358"/>
                </a:lnTo>
                <a:cubicBezTo>
                  <a:pt x="10890389" y="6053296"/>
                  <a:pt x="10892692" y="6054308"/>
                  <a:pt x="10894116" y="6055335"/>
                </a:cubicBezTo>
                <a:cubicBezTo>
                  <a:pt x="10896601" y="6056695"/>
                  <a:pt x="10898041" y="6058600"/>
                  <a:pt x="10896860" y="6061433"/>
                </a:cubicBezTo>
                <a:cubicBezTo>
                  <a:pt x="10895679" y="6064264"/>
                  <a:pt x="10897118" y="6066170"/>
                  <a:pt x="10897513" y="6068622"/>
                </a:cubicBezTo>
                <a:cubicBezTo>
                  <a:pt x="10898498" y="6074752"/>
                  <a:pt x="10899864" y="6082456"/>
                  <a:pt x="10897303" y="6086895"/>
                </a:cubicBezTo>
                <a:cubicBezTo>
                  <a:pt x="10891671" y="6096484"/>
                  <a:pt x="10886567" y="6106238"/>
                  <a:pt x="10880751" y="6115480"/>
                </a:cubicBezTo>
                <a:cubicBezTo>
                  <a:pt x="10880054" y="6115845"/>
                  <a:pt x="10878661" y="6116573"/>
                  <a:pt x="10877948" y="6116059"/>
                </a:cubicBezTo>
                <a:cubicBezTo>
                  <a:pt x="10872828" y="6114748"/>
                  <a:pt x="10868238" y="6113603"/>
                  <a:pt x="10866073" y="6120494"/>
                </a:cubicBezTo>
                <a:cubicBezTo>
                  <a:pt x="10865588" y="6122962"/>
                  <a:pt x="10863633" y="6121768"/>
                  <a:pt x="10862558" y="6120559"/>
                </a:cubicBezTo>
                <a:cubicBezTo>
                  <a:pt x="10858421" y="6115189"/>
                  <a:pt x="10855634" y="6116646"/>
                  <a:pt x="10853272" y="6122312"/>
                </a:cubicBezTo>
                <a:cubicBezTo>
                  <a:pt x="10851757" y="6126204"/>
                  <a:pt x="10850000" y="6126236"/>
                  <a:pt x="10848182" y="6122756"/>
                </a:cubicBezTo>
                <a:cubicBezTo>
                  <a:pt x="10847090" y="6120669"/>
                  <a:pt x="10846515" y="6117869"/>
                  <a:pt x="10843196" y="6119160"/>
                </a:cubicBezTo>
                <a:cubicBezTo>
                  <a:pt x="10835502" y="6121410"/>
                  <a:pt x="10830169" y="6117995"/>
                  <a:pt x="10827244" y="6111550"/>
                </a:cubicBezTo>
                <a:cubicBezTo>
                  <a:pt x="10825227" y="6106845"/>
                  <a:pt x="10822743" y="6105485"/>
                  <a:pt x="10818698" y="6105383"/>
                </a:cubicBezTo>
                <a:cubicBezTo>
                  <a:pt x="10817970" y="6103992"/>
                  <a:pt x="10817243" y="6102600"/>
                  <a:pt x="10816515" y="6101208"/>
                </a:cubicBezTo>
                <a:cubicBezTo>
                  <a:pt x="10818908" y="6097300"/>
                  <a:pt x="10817953" y="6092925"/>
                  <a:pt x="10815089" y="6089993"/>
                </a:cubicBezTo>
                <a:lnTo>
                  <a:pt x="10814387" y="6085976"/>
                </a:lnTo>
                <a:lnTo>
                  <a:pt x="10801639" y="6093051"/>
                </a:lnTo>
                <a:lnTo>
                  <a:pt x="10697774" y="6142780"/>
                </a:lnTo>
                <a:lnTo>
                  <a:pt x="10702049" y="6150961"/>
                </a:lnTo>
                <a:cubicBezTo>
                  <a:pt x="10705899" y="6152938"/>
                  <a:pt x="10709293" y="6155387"/>
                  <a:pt x="10711596" y="6159346"/>
                </a:cubicBezTo>
                <a:cubicBezTo>
                  <a:pt x="10713321" y="6162198"/>
                  <a:pt x="10712039" y="6163338"/>
                  <a:pt x="10709160" y="6163668"/>
                </a:cubicBezTo>
                <a:cubicBezTo>
                  <a:pt x="10707212" y="6163984"/>
                  <a:pt x="10705423" y="6162807"/>
                  <a:pt x="10703652" y="6162560"/>
                </a:cubicBezTo>
                <a:cubicBezTo>
                  <a:pt x="10701598" y="6162225"/>
                  <a:pt x="10698799" y="6161810"/>
                  <a:pt x="10698094" y="6164056"/>
                </a:cubicBezTo>
                <a:cubicBezTo>
                  <a:pt x="10697398" y="6166766"/>
                  <a:pt x="10699477" y="6168495"/>
                  <a:pt x="10702002" y="6169287"/>
                </a:cubicBezTo>
                <a:cubicBezTo>
                  <a:pt x="10703125" y="6169639"/>
                  <a:pt x="10704617" y="6169798"/>
                  <a:pt x="10705835" y="6170334"/>
                </a:cubicBezTo>
                <a:cubicBezTo>
                  <a:pt x="10707239" y="6170774"/>
                  <a:pt x="10708556" y="6171493"/>
                  <a:pt x="10708122" y="6173362"/>
                </a:cubicBezTo>
                <a:cubicBezTo>
                  <a:pt x="10707778" y="6174949"/>
                  <a:pt x="10706383" y="6174975"/>
                  <a:pt x="10704795" y="6174632"/>
                </a:cubicBezTo>
                <a:cubicBezTo>
                  <a:pt x="10703304" y="6174472"/>
                  <a:pt x="10701716" y="6174129"/>
                  <a:pt x="10700320" y="6174155"/>
                </a:cubicBezTo>
                <a:cubicBezTo>
                  <a:pt x="10698083" y="6173916"/>
                  <a:pt x="10696528" y="6175433"/>
                  <a:pt x="10695816" y="6177214"/>
                </a:cubicBezTo>
                <a:cubicBezTo>
                  <a:pt x="10695103" y="6178993"/>
                  <a:pt x="10696707" y="6180267"/>
                  <a:pt x="10697934" y="6181268"/>
                </a:cubicBezTo>
                <a:cubicBezTo>
                  <a:pt x="10704071" y="6186272"/>
                  <a:pt x="10714735" y="6184218"/>
                  <a:pt x="10718983" y="6177072"/>
                </a:cubicBezTo>
                <a:cubicBezTo>
                  <a:pt x="10720970" y="6173686"/>
                  <a:pt x="10722365" y="6173662"/>
                  <a:pt x="10724274" y="6176417"/>
                </a:cubicBezTo>
                <a:cubicBezTo>
                  <a:pt x="10727331" y="6180920"/>
                  <a:pt x="10731181" y="6182896"/>
                  <a:pt x="10736842" y="6182049"/>
                </a:cubicBezTo>
                <a:cubicBezTo>
                  <a:pt x="10738327" y="6181743"/>
                  <a:pt x="10740835" y="6181605"/>
                  <a:pt x="10741342" y="6183921"/>
                </a:cubicBezTo>
                <a:cubicBezTo>
                  <a:pt x="10742643" y="6189106"/>
                  <a:pt x="10746510" y="6192013"/>
                  <a:pt x="10750833" y="6194446"/>
                </a:cubicBezTo>
                <a:cubicBezTo>
                  <a:pt x="10754122" y="6196247"/>
                  <a:pt x="10756024" y="6198538"/>
                  <a:pt x="10755730" y="6202915"/>
                </a:cubicBezTo>
                <a:cubicBezTo>
                  <a:pt x="10755348" y="6207574"/>
                  <a:pt x="10757697" y="6208926"/>
                  <a:pt x="10762508" y="6207351"/>
                </a:cubicBezTo>
                <a:cubicBezTo>
                  <a:pt x="10762692" y="6207254"/>
                  <a:pt x="10762876" y="6207158"/>
                  <a:pt x="10763061" y="6207061"/>
                </a:cubicBezTo>
                <a:cubicBezTo>
                  <a:pt x="10764816" y="6206378"/>
                  <a:pt x="10766668" y="6205880"/>
                  <a:pt x="10767720" y="6207442"/>
                </a:cubicBezTo>
                <a:cubicBezTo>
                  <a:pt x="10768955" y="6208907"/>
                  <a:pt x="10766831" y="6209783"/>
                  <a:pt x="10766198" y="6210819"/>
                </a:cubicBezTo>
                <a:cubicBezTo>
                  <a:pt x="10761839" y="6216851"/>
                  <a:pt x="10761849" y="6222710"/>
                  <a:pt x="10766423" y="6228767"/>
                </a:cubicBezTo>
                <a:cubicBezTo>
                  <a:pt x="10767948" y="6230786"/>
                  <a:pt x="10767884" y="6232461"/>
                  <a:pt x="10766523" y="6234346"/>
                </a:cubicBezTo>
                <a:cubicBezTo>
                  <a:pt x="10765705" y="6235478"/>
                  <a:pt x="10764792" y="6236425"/>
                  <a:pt x="10763974" y="6237555"/>
                </a:cubicBezTo>
                <a:cubicBezTo>
                  <a:pt x="10762884" y="6239063"/>
                  <a:pt x="10762910" y="6240458"/>
                  <a:pt x="10764144" y="6241924"/>
                </a:cubicBezTo>
                <a:lnTo>
                  <a:pt x="10765582" y="6242665"/>
                </a:lnTo>
                <a:lnTo>
                  <a:pt x="10758661" y="6264528"/>
                </a:lnTo>
                <a:lnTo>
                  <a:pt x="10757515" y="6261579"/>
                </a:lnTo>
                <a:cubicBezTo>
                  <a:pt x="10757113" y="6259912"/>
                  <a:pt x="10756728" y="6259175"/>
                  <a:pt x="10754587" y="6259121"/>
                </a:cubicBezTo>
                <a:cubicBezTo>
                  <a:pt x="10752358" y="6259347"/>
                  <a:pt x="10752102" y="6260654"/>
                  <a:pt x="10751942" y="6262145"/>
                </a:cubicBezTo>
                <a:cubicBezTo>
                  <a:pt x="10751774" y="6263171"/>
                  <a:pt x="10751976" y="6264004"/>
                  <a:pt x="10752087" y="6265120"/>
                </a:cubicBezTo>
                <a:cubicBezTo>
                  <a:pt x="10752451" y="6269857"/>
                  <a:pt x="10751442" y="6270619"/>
                  <a:pt x="10747038" y="6268932"/>
                </a:cubicBezTo>
                <a:cubicBezTo>
                  <a:pt x="10746100" y="6268483"/>
                  <a:pt x="10744880" y="6267948"/>
                  <a:pt x="10743774" y="6268526"/>
                </a:cubicBezTo>
                <a:cubicBezTo>
                  <a:pt x="10742579" y="6269384"/>
                  <a:pt x="10743350" y="6270859"/>
                  <a:pt x="10743463" y="6271973"/>
                </a:cubicBezTo>
                <a:cubicBezTo>
                  <a:pt x="10743480" y="6272903"/>
                  <a:pt x="10743681" y="6273737"/>
                  <a:pt x="10744065" y="6274473"/>
                </a:cubicBezTo>
                <a:cubicBezTo>
                  <a:pt x="10744607" y="6276185"/>
                  <a:pt x="10744395" y="6277236"/>
                  <a:pt x="10743694" y="6277806"/>
                </a:cubicBezTo>
                <a:cubicBezTo>
                  <a:pt x="10742995" y="6278376"/>
                  <a:pt x="10741810" y="6278468"/>
                  <a:pt x="10740411" y="6278261"/>
                </a:cubicBezTo>
                <a:cubicBezTo>
                  <a:pt x="10737516" y="6277663"/>
                  <a:pt x="10734428" y="6276695"/>
                  <a:pt x="10731534" y="6276097"/>
                </a:cubicBezTo>
                <a:cubicBezTo>
                  <a:pt x="10728076" y="6275322"/>
                  <a:pt x="10724540" y="6275293"/>
                  <a:pt x="10722456" y="6278494"/>
                </a:cubicBezTo>
                <a:cubicBezTo>
                  <a:pt x="10720638" y="6280852"/>
                  <a:pt x="10719049" y="6280509"/>
                  <a:pt x="10716893" y="6279525"/>
                </a:cubicBezTo>
                <a:cubicBezTo>
                  <a:pt x="10712201" y="6277285"/>
                  <a:pt x="10707436" y="6276255"/>
                  <a:pt x="10702851" y="6280059"/>
                </a:cubicBezTo>
                <a:cubicBezTo>
                  <a:pt x="10701754" y="6281102"/>
                  <a:pt x="10701096" y="6280742"/>
                  <a:pt x="10700237" y="6279548"/>
                </a:cubicBezTo>
                <a:cubicBezTo>
                  <a:pt x="10694780" y="6270903"/>
                  <a:pt x="10686863" y="6265187"/>
                  <a:pt x="10678039" y="6260882"/>
                </a:cubicBezTo>
                <a:cubicBezTo>
                  <a:pt x="10675883" y="6259898"/>
                  <a:pt x="10675673" y="6258599"/>
                  <a:pt x="10675543" y="6256555"/>
                </a:cubicBezTo>
                <a:cubicBezTo>
                  <a:pt x="10675654" y="6252274"/>
                  <a:pt x="10675755" y="6247529"/>
                  <a:pt x="10672538" y="6244518"/>
                </a:cubicBezTo>
                <a:cubicBezTo>
                  <a:pt x="10669321" y="6241506"/>
                  <a:pt x="10668895" y="6238444"/>
                  <a:pt x="10669197" y="6234532"/>
                </a:cubicBezTo>
                <a:cubicBezTo>
                  <a:pt x="10669270" y="6233321"/>
                  <a:pt x="10669156" y="6232206"/>
                  <a:pt x="10669131" y="6230812"/>
                </a:cubicBezTo>
                <a:cubicBezTo>
                  <a:pt x="10668735" y="6224214"/>
                  <a:pt x="10668900" y="6217794"/>
                  <a:pt x="10673268" y="6212225"/>
                </a:cubicBezTo>
                <a:cubicBezTo>
                  <a:pt x="10674181" y="6211279"/>
                  <a:pt x="10673797" y="6210542"/>
                  <a:pt x="10673315" y="6209620"/>
                </a:cubicBezTo>
                <a:cubicBezTo>
                  <a:pt x="10671686" y="6206953"/>
                  <a:pt x="10663240" y="6202920"/>
                  <a:pt x="10660274" y="6203532"/>
                </a:cubicBezTo>
                <a:cubicBezTo>
                  <a:pt x="10655736" y="6204731"/>
                  <a:pt x="10651172" y="6204534"/>
                  <a:pt x="10646770" y="6202847"/>
                </a:cubicBezTo>
                <a:cubicBezTo>
                  <a:pt x="10640779" y="6200816"/>
                  <a:pt x="10635244" y="6198312"/>
                  <a:pt x="10629340" y="6196000"/>
                </a:cubicBezTo>
                <a:cubicBezTo>
                  <a:pt x="10627657" y="6195473"/>
                  <a:pt x="10627824" y="6194447"/>
                  <a:pt x="10628080" y="6193140"/>
                </a:cubicBezTo>
                <a:cubicBezTo>
                  <a:pt x="10629281" y="6187351"/>
                  <a:pt x="10629281" y="6187351"/>
                  <a:pt x="10623779" y="6186706"/>
                </a:cubicBezTo>
                <a:cubicBezTo>
                  <a:pt x="10618646" y="6185869"/>
                  <a:pt x="10617498" y="6184123"/>
                  <a:pt x="10618987" y="6178886"/>
                </a:cubicBezTo>
                <a:lnTo>
                  <a:pt x="10618951" y="6178460"/>
                </a:lnTo>
                <a:lnTo>
                  <a:pt x="10497392" y="6229022"/>
                </a:lnTo>
                <a:lnTo>
                  <a:pt x="10388605" y="6267890"/>
                </a:lnTo>
                <a:lnTo>
                  <a:pt x="10398358" y="6270428"/>
                </a:lnTo>
                <a:cubicBezTo>
                  <a:pt x="10401921" y="6271499"/>
                  <a:pt x="10405075" y="6273377"/>
                  <a:pt x="10406714" y="6278068"/>
                </a:cubicBezTo>
                <a:cubicBezTo>
                  <a:pt x="10407314" y="6279648"/>
                  <a:pt x="10408795" y="6281834"/>
                  <a:pt x="10411394" y="6282584"/>
                </a:cubicBezTo>
                <a:cubicBezTo>
                  <a:pt x="10415062" y="6283291"/>
                  <a:pt x="10416450" y="6285800"/>
                  <a:pt x="10416069" y="6289558"/>
                </a:cubicBezTo>
                <a:cubicBezTo>
                  <a:pt x="10416064" y="6292017"/>
                  <a:pt x="10417313" y="6293784"/>
                  <a:pt x="10418470" y="6295876"/>
                </a:cubicBezTo>
                <a:cubicBezTo>
                  <a:pt x="10421570" y="6300989"/>
                  <a:pt x="10422209" y="6306096"/>
                  <a:pt x="10418898" y="6311467"/>
                </a:cubicBezTo>
                <a:cubicBezTo>
                  <a:pt x="10416986" y="6314432"/>
                  <a:pt x="10416931" y="6318283"/>
                  <a:pt x="10419619" y="6321168"/>
                </a:cubicBezTo>
                <a:cubicBezTo>
                  <a:pt x="10419243" y="6322466"/>
                  <a:pt x="10418868" y="6323764"/>
                  <a:pt x="10418494" y="6325062"/>
                </a:cubicBezTo>
                <a:cubicBezTo>
                  <a:pt x="10415101" y="6325840"/>
                  <a:pt x="10413239" y="6327413"/>
                  <a:pt x="10412346" y="6331725"/>
                </a:cubicBezTo>
                <a:cubicBezTo>
                  <a:pt x="10410985" y="6337660"/>
                  <a:pt x="10407074" y="6341454"/>
                  <a:pt x="10400201" y="6340877"/>
                </a:cubicBezTo>
                <a:cubicBezTo>
                  <a:pt x="10397183" y="6340356"/>
                  <a:pt x="10397177" y="6342816"/>
                  <a:pt x="10396616" y="6344763"/>
                </a:cubicBezTo>
                <a:cubicBezTo>
                  <a:pt x="10395679" y="6348008"/>
                  <a:pt x="10394192" y="6348282"/>
                  <a:pt x="10392248" y="6345260"/>
                </a:cubicBezTo>
                <a:cubicBezTo>
                  <a:pt x="10389286" y="6340890"/>
                  <a:pt x="10386685" y="6340140"/>
                  <a:pt x="10384119" y="6345374"/>
                </a:cubicBezTo>
                <a:cubicBezTo>
                  <a:pt x="10383419" y="6346579"/>
                  <a:pt x="10381975" y="6347920"/>
                  <a:pt x="10381144" y="6345922"/>
                </a:cubicBezTo>
                <a:cubicBezTo>
                  <a:pt x="10378138" y="6340485"/>
                  <a:pt x="10374464" y="6342237"/>
                  <a:pt x="10370371" y="6344219"/>
                </a:cubicBezTo>
                <a:cubicBezTo>
                  <a:pt x="10369860" y="6344774"/>
                  <a:pt x="10368560" y="6344399"/>
                  <a:pt x="10367909" y="6344212"/>
                </a:cubicBezTo>
                <a:cubicBezTo>
                  <a:pt x="10361423" y="6337418"/>
                  <a:pt x="10355447" y="6330068"/>
                  <a:pt x="10349055" y="6322949"/>
                </a:cubicBezTo>
                <a:cubicBezTo>
                  <a:pt x="10346136" y="6319646"/>
                  <a:pt x="10345966" y="6312917"/>
                  <a:pt x="10345746" y="6307580"/>
                </a:cubicBezTo>
                <a:cubicBezTo>
                  <a:pt x="10345659" y="6305445"/>
                  <a:pt x="10346546" y="6303592"/>
                  <a:pt x="10345064" y="6301406"/>
                </a:cubicBezTo>
                <a:cubicBezTo>
                  <a:pt x="10343582" y="6299222"/>
                  <a:pt x="10344469" y="6297369"/>
                  <a:pt x="10346331" y="6295796"/>
                </a:cubicBezTo>
                <a:cubicBezTo>
                  <a:pt x="10347357" y="6294686"/>
                  <a:pt x="10349124" y="6293438"/>
                  <a:pt x="10348524" y="6291858"/>
                </a:cubicBezTo>
                <a:cubicBezTo>
                  <a:pt x="10346398" y="6287027"/>
                  <a:pt x="10346916" y="6284011"/>
                  <a:pt x="10352677" y="6283565"/>
                </a:cubicBezTo>
                <a:cubicBezTo>
                  <a:pt x="10354071" y="6283616"/>
                  <a:pt x="10354958" y="6281762"/>
                  <a:pt x="10353940" y="6280413"/>
                </a:cubicBezTo>
                <a:lnTo>
                  <a:pt x="10354009" y="6280250"/>
                </a:lnTo>
                <a:lnTo>
                  <a:pt x="10338807" y="6285682"/>
                </a:lnTo>
                <a:cubicBezTo>
                  <a:pt x="10082232" y="6370799"/>
                  <a:pt x="9817643" y="6411122"/>
                  <a:pt x="9547170" y="6390436"/>
                </a:cubicBezTo>
                <a:cubicBezTo>
                  <a:pt x="9443025" y="6383250"/>
                  <a:pt x="9339426" y="6394483"/>
                  <a:pt x="9235048" y="6384855"/>
                </a:cubicBezTo>
                <a:cubicBezTo>
                  <a:pt x="9186401" y="6378467"/>
                  <a:pt x="9137519" y="6369640"/>
                  <a:pt x="9090371" y="6353255"/>
                </a:cubicBezTo>
                <a:cubicBezTo>
                  <a:pt x="9001190" y="6322456"/>
                  <a:pt x="8909409" y="6302989"/>
                  <a:pt x="8817627" y="6283525"/>
                </a:cubicBezTo>
                <a:cubicBezTo>
                  <a:pt x="8829037" y="6299665"/>
                  <a:pt x="8891374" y="6333057"/>
                  <a:pt x="8924275" y="6342196"/>
                </a:cubicBezTo>
                <a:cubicBezTo>
                  <a:pt x="8879085" y="6358875"/>
                  <a:pt x="8606268" y="6275604"/>
                  <a:pt x="8530949" y="6222529"/>
                </a:cubicBezTo>
                <a:cubicBezTo>
                  <a:pt x="8550868" y="6211986"/>
                  <a:pt x="8571967" y="6213644"/>
                  <a:pt x="8594795" y="6207745"/>
                </a:cubicBezTo>
                <a:cubicBezTo>
                  <a:pt x="8561112" y="6177745"/>
                  <a:pt x="8520888" y="6169312"/>
                  <a:pt x="8483973" y="6156866"/>
                </a:cubicBezTo>
                <a:cubicBezTo>
                  <a:pt x="8476416" y="6155133"/>
                  <a:pt x="8470435" y="6156942"/>
                  <a:pt x="8470037" y="6165601"/>
                </a:cubicBezTo>
                <a:cubicBezTo>
                  <a:pt x="8467351" y="6201575"/>
                  <a:pt x="8445547" y="6192595"/>
                  <a:pt x="8426184" y="6183382"/>
                </a:cubicBezTo>
                <a:cubicBezTo>
                  <a:pt x="8332050" y="6139513"/>
                  <a:pt x="8239017" y="6094306"/>
                  <a:pt x="8147953" y="6043983"/>
                </a:cubicBezTo>
                <a:cubicBezTo>
                  <a:pt x="8108993" y="6023113"/>
                  <a:pt x="8071687" y="6000237"/>
                  <a:pt x="8035867" y="5975215"/>
                </a:cubicBezTo>
                <a:lnTo>
                  <a:pt x="8031316" y="5971612"/>
                </a:lnTo>
                <a:lnTo>
                  <a:pt x="8018132" y="5979863"/>
                </a:lnTo>
                <a:cubicBezTo>
                  <a:pt x="8014414" y="5983585"/>
                  <a:pt x="8011120" y="5987975"/>
                  <a:pt x="8007278" y="5992241"/>
                </a:cubicBezTo>
                <a:cubicBezTo>
                  <a:pt x="8003561" y="5995964"/>
                  <a:pt x="7999720" y="6000230"/>
                  <a:pt x="7997937" y="6005535"/>
                </a:cubicBezTo>
                <a:cubicBezTo>
                  <a:pt x="7995732" y="6010175"/>
                  <a:pt x="7991964" y="6011601"/>
                  <a:pt x="7987527" y="6013446"/>
                </a:cubicBezTo>
                <a:cubicBezTo>
                  <a:pt x="7983089" y="6015292"/>
                  <a:pt x="7977758" y="6013505"/>
                  <a:pt x="7974165" y="6016685"/>
                </a:cubicBezTo>
                <a:cubicBezTo>
                  <a:pt x="7970347" y="6015815"/>
                  <a:pt x="7967074" y="6015069"/>
                  <a:pt x="7963255" y="6014199"/>
                </a:cubicBezTo>
                <a:cubicBezTo>
                  <a:pt x="7963627" y="6012570"/>
                  <a:pt x="7963204" y="6011902"/>
                  <a:pt x="7962113" y="6011653"/>
                </a:cubicBezTo>
                <a:cubicBezTo>
                  <a:pt x="7953932" y="6009789"/>
                  <a:pt x="7950805" y="6003364"/>
                  <a:pt x="7949562" y="5996226"/>
                </a:cubicBezTo>
                <a:cubicBezTo>
                  <a:pt x="7948196" y="5989632"/>
                  <a:pt x="7946161" y="5983455"/>
                  <a:pt x="7948860" y="5976645"/>
                </a:cubicBezTo>
                <a:cubicBezTo>
                  <a:pt x="7952229" y="5969414"/>
                  <a:pt x="7953540" y="5961145"/>
                  <a:pt x="7961447" y="5956663"/>
                </a:cubicBezTo>
                <a:cubicBezTo>
                  <a:pt x="7964124" y="5954988"/>
                  <a:pt x="7966677" y="5953856"/>
                  <a:pt x="7970743" y="5953640"/>
                </a:cubicBezTo>
                <a:cubicBezTo>
                  <a:pt x="7976569" y="5953254"/>
                  <a:pt x="7983733" y="5952031"/>
                  <a:pt x="7984076" y="5942969"/>
                </a:cubicBezTo>
                <a:lnTo>
                  <a:pt x="7988629" y="5937833"/>
                </a:lnTo>
                <a:lnTo>
                  <a:pt x="7932700" y="5893576"/>
                </a:lnTo>
                <a:cubicBezTo>
                  <a:pt x="7928450" y="5887830"/>
                  <a:pt x="7923099" y="5883420"/>
                  <a:pt x="7917747" y="5879010"/>
                </a:cubicBezTo>
                <a:cubicBezTo>
                  <a:pt x="7910823" y="5871056"/>
                  <a:pt x="7905236" y="5864208"/>
                  <a:pt x="7911615" y="5853740"/>
                </a:cubicBezTo>
                <a:cubicBezTo>
                  <a:pt x="7919096" y="5841932"/>
                  <a:pt x="7929329" y="5845872"/>
                  <a:pt x="7938458" y="5851148"/>
                </a:cubicBezTo>
                <a:cubicBezTo>
                  <a:pt x="7959395" y="5863905"/>
                  <a:pt x="7979228" y="5878002"/>
                  <a:pt x="8000162" y="5890758"/>
                </a:cubicBezTo>
                <a:cubicBezTo>
                  <a:pt x="8007955" y="5894933"/>
                  <a:pt x="8016850" y="5897769"/>
                  <a:pt x="8026847" y="5899266"/>
                </a:cubicBezTo>
                <a:cubicBezTo>
                  <a:pt x="8011820" y="5871160"/>
                  <a:pt x="7987973" y="5853757"/>
                  <a:pt x="7961922" y="5839030"/>
                </a:cubicBezTo>
                <a:lnTo>
                  <a:pt x="7859328" y="5774142"/>
                </a:lnTo>
                <a:lnTo>
                  <a:pt x="7796908" y="5826606"/>
                </a:lnTo>
                <a:cubicBezTo>
                  <a:pt x="7751434" y="5862794"/>
                  <a:pt x="7704817" y="5897655"/>
                  <a:pt x="7656674" y="5930748"/>
                </a:cubicBezTo>
                <a:cubicBezTo>
                  <a:pt x="7606483" y="5964683"/>
                  <a:pt x="7555698" y="5996931"/>
                  <a:pt x="7504317" y="6027505"/>
                </a:cubicBezTo>
                <a:lnTo>
                  <a:pt x="7412996" y="6078278"/>
                </a:lnTo>
                <a:lnTo>
                  <a:pt x="7411442" y="6080646"/>
                </a:lnTo>
                <a:cubicBezTo>
                  <a:pt x="7409446" y="6083211"/>
                  <a:pt x="7407250" y="6085328"/>
                  <a:pt x="7404837" y="6086187"/>
                </a:cubicBezTo>
                <a:lnTo>
                  <a:pt x="7388133" y="6092102"/>
                </a:lnTo>
                <a:lnTo>
                  <a:pt x="7348375" y="6114207"/>
                </a:lnTo>
                <a:cubicBezTo>
                  <a:pt x="7032893" y="6277596"/>
                  <a:pt x="6695758" y="6381016"/>
                  <a:pt x="6336067" y="6426635"/>
                </a:cubicBezTo>
                <a:cubicBezTo>
                  <a:pt x="6245120" y="6438461"/>
                  <a:pt x="6157918" y="6459396"/>
                  <a:pt x="6066457" y="6454405"/>
                </a:cubicBezTo>
                <a:cubicBezTo>
                  <a:pt x="6057678" y="6453754"/>
                  <a:pt x="6048570" y="6457498"/>
                  <a:pt x="6042256" y="6447317"/>
                </a:cubicBezTo>
                <a:cubicBezTo>
                  <a:pt x="6040334" y="6437461"/>
                  <a:pt x="6048365" y="6436289"/>
                  <a:pt x="6052760" y="6436612"/>
                </a:cubicBezTo>
                <a:cubicBezTo>
                  <a:pt x="6345499" y="6418502"/>
                  <a:pt x="6624902" y="6342002"/>
                  <a:pt x="6903130" y="6257467"/>
                </a:cubicBezTo>
                <a:cubicBezTo>
                  <a:pt x="7049370" y="6214400"/>
                  <a:pt x="7183630" y="6142189"/>
                  <a:pt x="7320884" y="6077265"/>
                </a:cubicBezTo>
                <a:lnTo>
                  <a:pt x="7339645" y="6068760"/>
                </a:lnTo>
                <a:lnTo>
                  <a:pt x="7335518" y="6059520"/>
                </a:lnTo>
                <a:cubicBezTo>
                  <a:pt x="7337035" y="6054632"/>
                  <a:pt x="7336026" y="6051985"/>
                  <a:pt x="7333012" y="6049285"/>
                </a:cubicBezTo>
                <a:cubicBezTo>
                  <a:pt x="7333360" y="6047754"/>
                  <a:pt x="7333710" y="6046223"/>
                  <a:pt x="7334059" y="6044691"/>
                </a:cubicBezTo>
                <a:lnTo>
                  <a:pt x="7336570" y="6040851"/>
                </a:lnTo>
                <a:lnTo>
                  <a:pt x="7222909" y="6097617"/>
                </a:lnTo>
                <a:lnTo>
                  <a:pt x="7213203" y="6109304"/>
                </a:lnTo>
                <a:cubicBezTo>
                  <a:pt x="7213054" y="6111830"/>
                  <a:pt x="7211920" y="6113064"/>
                  <a:pt x="7209660" y="6113616"/>
                </a:cubicBezTo>
                <a:cubicBezTo>
                  <a:pt x="7208304" y="6113947"/>
                  <a:pt x="7206995" y="6114075"/>
                  <a:pt x="7205640" y="6114405"/>
                </a:cubicBezTo>
                <a:cubicBezTo>
                  <a:pt x="7203831" y="6114847"/>
                  <a:pt x="7202946" y="6115925"/>
                  <a:pt x="7202936" y="6117841"/>
                </a:cubicBezTo>
                <a:lnTo>
                  <a:pt x="7203550" y="6119337"/>
                </a:lnTo>
                <a:lnTo>
                  <a:pt x="7184103" y="6131492"/>
                </a:lnTo>
                <a:lnTo>
                  <a:pt x="7185143" y="6128503"/>
                </a:lnTo>
                <a:cubicBezTo>
                  <a:pt x="7185918" y="6126974"/>
                  <a:pt x="7186103" y="6126163"/>
                  <a:pt x="7184509" y="6124733"/>
                </a:cubicBezTo>
                <a:cubicBezTo>
                  <a:pt x="7182665" y="6123460"/>
                  <a:pt x="7181622" y="6124289"/>
                  <a:pt x="7180534" y="6125320"/>
                </a:cubicBezTo>
                <a:cubicBezTo>
                  <a:pt x="7179740" y="6125993"/>
                  <a:pt x="7179352" y="6126757"/>
                  <a:pt x="7178716" y="6127679"/>
                </a:cubicBezTo>
                <a:cubicBezTo>
                  <a:pt x="7175920" y="6131521"/>
                  <a:pt x="7174657" y="6131446"/>
                  <a:pt x="7172399" y="6127305"/>
                </a:cubicBezTo>
                <a:cubicBezTo>
                  <a:pt x="7171975" y="6126356"/>
                  <a:pt x="7171395" y="6125157"/>
                  <a:pt x="7170178" y="6124880"/>
                </a:cubicBezTo>
                <a:cubicBezTo>
                  <a:pt x="7168712" y="6124759"/>
                  <a:pt x="7168342" y="6126381"/>
                  <a:pt x="7167706" y="6127302"/>
                </a:cubicBezTo>
                <a:cubicBezTo>
                  <a:pt x="7167115" y="6128021"/>
                  <a:pt x="7166727" y="6128786"/>
                  <a:pt x="7166543" y="6129597"/>
                </a:cubicBezTo>
                <a:cubicBezTo>
                  <a:pt x="7165845" y="6131251"/>
                  <a:pt x="7165002" y="6131912"/>
                  <a:pt x="7164099" y="6131893"/>
                </a:cubicBezTo>
                <a:cubicBezTo>
                  <a:pt x="7163197" y="6131874"/>
                  <a:pt x="7162236" y="6131175"/>
                  <a:pt x="7161305" y="6130109"/>
                </a:cubicBezTo>
                <a:lnTo>
                  <a:pt x="7160055" y="6128381"/>
                </a:lnTo>
                <a:lnTo>
                  <a:pt x="6961547" y="6207513"/>
                </a:lnTo>
                <a:cubicBezTo>
                  <a:pt x="6481845" y="6381397"/>
                  <a:pt x="5988133" y="6437356"/>
                  <a:pt x="5475866" y="6333050"/>
                </a:cubicBezTo>
                <a:cubicBezTo>
                  <a:pt x="5471472" y="6332724"/>
                  <a:pt x="5465261" y="6333149"/>
                  <a:pt x="5461944" y="6330254"/>
                </a:cubicBezTo>
                <a:cubicBezTo>
                  <a:pt x="5459375" y="6329181"/>
                  <a:pt x="5457878" y="6325539"/>
                  <a:pt x="5453061" y="6319001"/>
                </a:cubicBezTo>
                <a:cubicBezTo>
                  <a:pt x="5494402" y="6321173"/>
                  <a:pt x="5530600" y="6321198"/>
                  <a:pt x="5569045" y="6326687"/>
                </a:cubicBezTo>
                <a:cubicBezTo>
                  <a:pt x="5855726" y="6366417"/>
                  <a:pt x="6142891" y="6339947"/>
                  <a:pt x="6430830" y="6315299"/>
                </a:cubicBezTo>
                <a:cubicBezTo>
                  <a:pt x="6463713" y="6312428"/>
                  <a:pt x="6494679" y="6299703"/>
                  <a:pt x="6525320" y="6291370"/>
                </a:cubicBezTo>
                <a:cubicBezTo>
                  <a:pt x="6532604" y="6288375"/>
                  <a:pt x="6545779" y="6289350"/>
                  <a:pt x="6542358" y="6275850"/>
                </a:cubicBezTo>
                <a:cubicBezTo>
                  <a:pt x="6540438" y="6265993"/>
                  <a:pt x="6530907" y="6263524"/>
                  <a:pt x="6521376" y="6261052"/>
                </a:cubicBezTo>
                <a:cubicBezTo>
                  <a:pt x="6510022" y="6259331"/>
                  <a:pt x="6496099" y="6256537"/>
                  <a:pt x="6485820" y="6252245"/>
                </a:cubicBezTo>
                <a:lnTo>
                  <a:pt x="6540860" y="6236804"/>
                </a:lnTo>
                <a:lnTo>
                  <a:pt x="6461633" y="6253101"/>
                </a:lnTo>
                <a:cubicBezTo>
                  <a:pt x="6282401" y="6279103"/>
                  <a:pt x="6104722" y="6286311"/>
                  <a:pt x="5928161" y="6275201"/>
                </a:cubicBezTo>
                <a:lnTo>
                  <a:pt x="5880223" y="6269693"/>
                </a:lnTo>
                <a:lnTo>
                  <a:pt x="5808464" y="6269066"/>
                </a:lnTo>
                <a:cubicBezTo>
                  <a:pt x="5721494" y="6264159"/>
                  <a:pt x="5634374" y="6255125"/>
                  <a:pt x="5547045" y="6242048"/>
                </a:cubicBezTo>
                <a:cubicBezTo>
                  <a:pt x="5540076" y="6240651"/>
                  <a:pt x="5536765" y="6237756"/>
                  <a:pt x="5530128" y="6231967"/>
                </a:cubicBezTo>
                <a:lnTo>
                  <a:pt x="5636074" y="6238728"/>
                </a:lnTo>
                <a:lnTo>
                  <a:pt x="5401349" y="6187392"/>
                </a:lnTo>
                <a:cubicBezTo>
                  <a:pt x="5355312" y="6174574"/>
                  <a:pt x="5308636" y="6163504"/>
                  <a:pt x="5262211" y="6151496"/>
                </a:cubicBezTo>
                <a:lnTo>
                  <a:pt x="5249410" y="6147635"/>
                </a:lnTo>
                <a:lnTo>
                  <a:pt x="5249474" y="6153116"/>
                </a:lnTo>
                <a:cubicBezTo>
                  <a:pt x="5251270" y="6155811"/>
                  <a:pt x="5250568" y="6158198"/>
                  <a:pt x="5248019" y="6160253"/>
                </a:cubicBezTo>
                <a:cubicBezTo>
                  <a:pt x="5246493" y="6161748"/>
                  <a:pt x="5246166" y="6163597"/>
                  <a:pt x="5245581" y="6165585"/>
                </a:cubicBezTo>
                <a:cubicBezTo>
                  <a:pt x="5244311" y="6170615"/>
                  <a:pt x="5241544" y="6174121"/>
                  <a:pt x="5236208" y="6175350"/>
                </a:cubicBezTo>
                <a:cubicBezTo>
                  <a:pt x="5233208" y="6175976"/>
                  <a:pt x="5230796" y="6178289"/>
                  <a:pt x="5230651" y="6181706"/>
                </a:cubicBezTo>
                <a:cubicBezTo>
                  <a:pt x="5229618" y="6182266"/>
                  <a:pt x="5228584" y="6182825"/>
                  <a:pt x="5227555" y="6183384"/>
                </a:cubicBezTo>
                <a:cubicBezTo>
                  <a:pt x="5225010" y="6181764"/>
                  <a:pt x="5222906" y="6181572"/>
                  <a:pt x="5219694" y="6183649"/>
                </a:cubicBezTo>
                <a:cubicBezTo>
                  <a:pt x="5215197" y="6186424"/>
                  <a:pt x="5210476" y="6186321"/>
                  <a:pt x="5206650" y="6181724"/>
                </a:cubicBezTo>
                <a:cubicBezTo>
                  <a:pt x="5205124" y="6179544"/>
                  <a:pt x="5203603" y="6181039"/>
                  <a:pt x="5202058" y="6181878"/>
                </a:cubicBezTo>
                <a:cubicBezTo>
                  <a:pt x="5199484" y="6183277"/>
                  <a:pt x="5198408" y="6182525"/>
                  <a:pt x="5199091" y="6179484"/>
                </a:cubicBezTo>
                <a:cubicBezTo>
                  <a:pt x="5199980" y="6174990"/>
                  <a:pt x="5198864" y="6172928"/>
                  <a:pt x="5194070" y="6174533"/>
                </a:cubicBezTo>
                <a:cubicBezTo>
                  <a:pt x="5192894" y="6174835"/>
                  <a:pt x="5191193" y="6174761"/>
                  <a:pt x="5191923" y="6173031"/>
                </a:cubicBezTo>
                <a:cubicBezTo>
                  <a:pt x="5193448" y="6167860"/>
                  <a:pt x="5190128" y="6166658"/>
                  <a:pt x="5186411" y="6165340"/>
                </a:cubicBezTo>
                <a:cubicBezTo>
                  <a:pt x="5185760" y="6165361"/>
                  <a:pt x="5185192" y="6164330"/>
                  <a:pt x="5184919" y="6163814"/>
                </a:cubicBezTo>
                <a:cubicBezTo>
                  <a:pt x="5185157" y="6155668"/>
                  <a:pt x="5186062" y="6147500"/>
                  <a:pt x="5186555" y="6139213"/>
                </a:cubicBezTo>
                <a:lnTo>
                  <a:pt x="5192317" y="6130414"/>
                </a:lnTo>
                <a:lnTo>
                  <a:pt x="5124569" y="6109979"/>
                </a:lnTo>
                <a:lnTo>
                  <a:pt x="5119902" y="6107931"/>
                </a:lnTo>
                <a:lnTo>
                  <a:pt x="5114111" y="6111988"/>
                </a:lnTo>
                <a:cubicBezTo>
                  <a:pt x="5088245" y="6128437"/>
                  <a:pt x="5061464" y="6143567"/>
                  <a:pt x="5033293" y="6156713"/>
                </a:cubicBezTo>
                <a:cubicBezTo>
                  <a:pt x="4961204" y="6189852"/>
                  <a:pt x="4888940" y="6222598"/>
                  <a:pt x="4816214" y="6254081"/>
                </a:cubicBezTo>
                <a:lnTo>
                  <a:pt x="4710048" y="6297422"/>
                </a:lnTo>
                <a:lnTo>
                  <a:pt x="4708599" y="6298932"/>
                </a:lnTo>
                <a:cubicBezTo>
                  <a:pt x="4704583" y="6299770"/>
                  <a:pt x="4701352" y="6302869"/>
                  <a:pt x="4701156" y="6307448"/>
                </a:cubicBezTo>
                <a:cubicBezTo>
                  <a:pt x="4699779" y="6308198"/>
                  <a:pt x="4698399" y="6308947"/>
                  <a:pt x="4697017" y="6309697"/>
                </a:cubicBezTo>
                <a:cubicBezTo>
                  <a:pt x="4693606" y="6307525"/>
                  <a:pt x="4690786" y="6307269"/>
                  <a:pt x="4686486" y="6310051"/>
                </a:cubicBezTo>
                <a:cubicBezTo>
                  <a:pt x="4683475" y="6311910"/>
                  <a:pt x="4680389" y="6312805"/>
                  <a:pt x="4677410" y="6312466"/>
                </a:cubicBezTo>
                <a:lnTo>
                  <a:pt x="4675693" y="6311446"/>
                </a:lnTo>
                <a:lnTo>
                  <a:pt x="4596300" y="6343857"/>
                </a:lnTo>
                <a:cubicBezTo>
                  <a:pt x="4448325" y="6400015"/>
                  <a:pt x="4297235" y="6447625"/>
                  <a:pt x="4140645" y="6479712"/>
                </a:cubicBezTo>
                <a:lnTo>
                  <a:pt x="4055861" y="6494497"/>
                </a:lnTo>
                <a:lnTo>
                  <a:pt x="4032110" y="6504253"/>
                </a:lnTo>
                <a:cubicBezTo>
                  <a:pt x="4021077" y="6507157"/>
                  <a:pt x="4009956" y="6508570"/>
                  <a:pt x="3999198" y="6508618"/>
                </a:cubicBezTo>
                <a:cubicBezTo>
                  <a:pt x="3951435" y="6511931"/>
                  <a:pt x="3903380" y="6517365"/>
                  <a:pt x="3855035" y="6521828"/>
                </a:cubicBezTo>
                <a:lnTo>
                  <a:pt x="3786789" y="6525283"/>
                </a:lnTo>
                <a:lnTo>
                  <a:pt x="3784056" y="6527055"/>
                </a:lnTo>
                <a:cubicBezTo>
                  <a:pt x="3778764" y="6530421"/>
                  <a:pt x="3772866" y="6531886"/>
                  <a:pt x="3766635" y="6531526"/>
                </a:cubicBezTo>
                <a:cubicBezTo>
                  <a:pt x="3762604" y="6531515"/>
                  <a:pt x="3752667" y="6539008"/>
                  <a:pt x="3751251" y="6542917"/>
                </a:cubicBezTo>
                <a:cubicBezTo>
                  <a:pt x="3750867" y="6544246"/>
                  <a:pt x="3750559" y="6545309"/>
                  <a:pt x="3752002" y="6546301"/>
                </a:cubicBezTo>
                <a:cubicBezTo>
                  <a:pt x="3759169" y="6552400"/>
                  <a:pt x="3761086" y="6560726"/>
                  <a:pt x="3762318" y="6569429"/>
                </a:cubicBezTo>
                <a:cubicBezTo>
                  <a:pt x="3762656" y="6571253"/>
                  <a:pt x="3762803" y="6572735"/>
                  <a:pt x="3763218" y="6574294"/>
                </a:cubicBezTo>
                <a:lnTo>
                  <a:pt x="3762579" y="6579478"/>
                </a:lnTo>
                <a:lnTo>
                  <a:pt x="3800787" y="6578493"/>
                </a:lnTo>
                <a:cubicBezTo>
                  <a:pt x="3850248" y="6576122"/>
                  <a:pt x="3901538" y="6574240"/>
                  <a:pt x="3950871" y="6579646"/>
                </a:cubicBezTo>
                <a:lnTo>
                  <a:pt x="3761062" y="6598346"/>
                </a:lnTo>
                <a:lnTo>
                  <a:pt x="3760783" y="6604679"/>
                </a:lnTo>
                <a:cubicBezTo>
                  <a:pt x="3761157" y="6607378"/>
                  <a:pt x="3761228" y="6609126"/>
                  <a:pt x="3758677" y="6610980"/>
                </a:cubicBezTo>
                <a:cubicBezTo>
                  <a:pt x="3748320" y="6618929"/>
                  <a:pt x="3739515" y="6628479"/>
                  <a:pt x="3734695" y="6641191"/>
                </a:cubicBezTo>
                <a:cubicBezTo>
                  <a:pt x="3733890" y="6642975"/>
                  <a:pt x="3733130" y="6643619"/>
                  <a:pt x="3731422" y="6642550"/>
                </a:cubicBezTo>
                <a:cubicBezTo>
                  <a:pt x="3724436" y="6638807"/>
                  <a:pt x="3718503" y="6641411"/>
                  <a:pt x="3712981" y="6645575"/>
                </a:cubicBezTo>
                <a:cubicBezTo>
                  <a:pt x="3710429" y="6647429"/>
                  <a:pt x="3708450" y="6648297"/>
                  <a:pt x="3705455" y="6645705"/>
                </a:cubicBezTo>
                <a:cubicBezTo>
                  <a:pt x="3701893" y="6642086"/>
                  <a:pt x="3697291" y="6643061"/>
                  <a:pt x="3692991" y="6644986"/>
                </a:cubicBezTo>
                <a:cubicBezTo>
                  <a:pt x="3689377" y="6646534"/>
                  <a:pt x="3685608" y="6648612"/>
                  <a:pt x="3681993" y="6650159"/>
                </a:cubicBezTo>
                <a:cubicBezTo>
                  <a:pt x="3680226" y="6650801"/>
                  <a:pt x="3678656" y="6650996"/>
                  <a:pt x="3677595" y="6650437"/>
                </a:cubicBezTo>
                <a:cubicBezTo>
                  <a:pt x="3676530" y="6649878"/>
                  <a:pt x="3675974" y="6648566"/>
                  <a:pt x="3676226" y="6646192"/>
                </a:cubicBezTo>
                <a:cubicBezTo>
                  <a:pt x="3676533" y="6645130"/>
                  <a:pt x="3676576" y="6643990"/>
                  <a:pt x="3676350" y="6642773"/>
                </a:cubicBezTo>
                <a:cubicBezTo>
                  <a:pt x="3676200" y="6641292"/>
                  <a:pt x="3676816" y="6639166"/>
                  <a:pt x="3675029" y="6638362"/>
                </a:cubicBezTo>
                <a:cubicBezTo>
                  <a:pt x="3673437" y="6637903"/>
                  <a:pt x="3671990" y="6638924"/>
                  <a:pt x="3670884" y="6639757"/>
                </a:cubicBezTo>
                <a:cubicBezTo>
                  <a:pt x="3665595" y="6643123"/>
                  <a:pt x="3664075" y="6642396"/>
                  <a:pt x="3663294" y="6636126"/>
                </a:cubicBezTo>
                <a:cubicBezTo>
                  <a:pt x="3663146" y="6634644"/>
                  <a:pt x="3663185" y="6633505"/>
                  <a:pt x="3662695" y="6632211"/>
                </a:cubicBezTo>
                <a:cubicBezTo>
                  <a:pt x="3662091" y="6630310"/>
                  <a:pt x="3661409" y="6628675"/>
                  <a:pt x="3658446" y="6628970"/>
                </a:cubicBezTo>
                <a:cubicBezTo>
                  <a:pt x="3655671" y="6629609"/>
                  <a:pt x="3655363" y="6630671"/>
                  <a:pt x="3655282" y="6632951"/>
                </a:cubicBezTo>
                <a:lnTo>
                  <a:pt x="3654569" y="6637099"/>
                </a:lnTo>
                <a:lnTo>
                  <a:pt x="3639753" y="6610436"/>
                </a:lnTo>
                <a:lnTo>
                  <a:pt x="3641433" y="6609091"/>
                </a:lnTo>
                <a:lnTo>
                  <a:pt x="3641164" y="6607444"/>
                </a:lnTo>
                <a:lnTo>
                  <a:pt x="3384236" y="6606026"/>
                </a:lnTo>
                <a:cubicBezTo>
                  <a:pt x="3242882" y="6597812"/>
                  <a:pt x="3101782" y="6578404"/>
                  <a:pt x="2960986" y="6547613"/>
                </a:cubicBezTo>
                <a:lnTo>
                  <a:pt x="2960621" y="6547523"/>
                </a:lnTo>
                <a:lnTo>
                  <a:pt x="2960658" y="6548866"/>
                </a:lnTo>
                <a:cubicBezTo>
                  <a:pt x="2958747" y="6551830"/>
                  <a:pt x="2958692" y="6555681"/>
                  <a:pt x="2961377" y="6558566"/>
                </a:cubicBezTo>
                <a:cubicBezTo>
                  <a:pt x="2961005" y="6559864"/>
                  <a:pt x="2960629" y="6561162"/>
                  <a:pt x="2960254" y="6562460"/>
                </a:cubicBezTo>
                <a:cubicBezTo>
                  <a:pt x="2956863" y="6563239"/>
                  <a:pt x="2955001" y="6564810"/>
                  <a:pt x="2954106" y="6569124"/>
                </a:cubicBezTo>
                <a:cubicBezTo>
                  <a:pt x="2952746" y="6575059"/>
                  <a:pt x="2948836" y="6578852"/>
                  <a:pt x="2941962" y="6578274"/>
                </a:cubicBezTo>
                <a:cubicBezTo>
                  <a:pt x="2938942" y="6577754"/>
                  <a:pt x="2938939" y="6580214"/>
                  <a:pt x="2938376" y="6582161"/>
                </a:cubicBezTo>
                <a:cubicBezTo>
                  <a:pt x="2937441" y="6585407"/>
                  <a:pt x="2935953" y="6585680"/>
                  <a:pt x="2934006" y="6582658"/>
                </a:cubicBezTo>
                <a:cubicBezTo>
                  <a:pt x="2931047" y="6578288"/>
                  <a:pt x="2928448" y="6577537"/>
                  <a:pt x="2925880" y="6582772"/>
                </a:cubicBezTo>
                <a:cubicBezTo>
                  <a:pt x="2925181" y="6583977"/>
                  <a:pt x="2923738" y="6585318"/>
                  <a:pt x="2922905" y="6583321"/>
                </a:cubicBezTo>
                <a:cubicBezTo>
                  <a:pt x="2919899" y="6577883"/>
                  <a:pt x="2916225" y="6579635"/>
                  <a:pt x="2912133" y="6581618"/>
                </a:cubicBezTo>
                <a:cubicBezTo>
                  <a:pt x="2911621" y="6582173"/>
                  <a:pt x="2910319" y="6581797"/>
                  <a:pt x="2909673" y="6581610"/>
                </a:cubicBezTo>
                <a:cubicBezTo>
                  <a:pt x="2903184" y="6574816"/>
                  <a:pt x="2897211" y="6567466"/>
                  <a:pt x="2890817" y="6560347"/>
                </a:cubicBezTo>
                <a:cubicBezTo>
                  <a:pt x="2887896" y="6557044"/>
                  <a:pt x="2887727" y="6550315"/>
                  <a:pt x="2887508" y="6544978"/>
                </a:cubicBezTo>
                <a:cubicBezTo>
                  <a:pt x="2887419" y="6542843"/>
                  <a:pt x="2888307" y="6540990"/>
                  <a:pt x="2886827" y="6538805"/>
                </a:cubicBezTo>
                <a:cubicBezTo>
                  <a:pt x="2885344" y="6536620"/>
                  <a:pt x="2886232" y="6534766"/>
                  <a:pt x="2888092" y="6533194"/>
                </a:cubicBezTo>
                <a:lnTo>
                  <a:pt x="2889810" y="6530111"/>
                </a:lnTo>
                <a:lnTo>
                  <a:pt x="2820292" y="6513018"/>
                </a:lnTo>
                <a:cubicBezTo>
                  <a:pt x="2827192" y="6538302"/>
                  <a:pt x="2851502" y="6535051"/>
                  <a:pt x="2871284" y="6555976"/>
                </a:cubicBezTo>
                <a:cubicBezTo>
                  <a:pt x="2805679" y="6538398"/>
                  <a:pt x="2749189" y="6523263"/>
                  <a:pt x="2695986" y="6503147"/>
                </a:cubicBezTo>
                <a:lnTo>
                  <a:pt x="2536934" y="6441155"/>
                </a:lnTo>
                <a:lnTo>
                  <a:pt x="2526786" y="6443760"/>
                </a:lnTo>
                <a:cubicBezTo>
                  <a:pt x="2522757" y="6443749"/>
                  <a:pt x="2512817" y="6451243"/>
                  <a:pt x="2511401" y="6455151"/>
                </a:cubicBezTo>
                <a:lnTo>
                  <a:pt x="2511692" y="6456460"/>
                </a:lnTo>
                <a:lnTo>
                  <a:pt x="2591088" y="6495545"/>
                </a:lnTo>
                <a:cubicBezTo>
                  <a:pt x="2639460" y="6517295"/>
                  <a:pt x="2689262" y="6535523"/>
                  <a:pt x="2743330" y="6545127"/>
                </a:cubicBezTo>
                <a:cubicBezTo>
                  <a:pt x="2767997" y="6547830"/>
                  <a:pt x="2790091" y="6567422"/>
                  <a:pt x="2814627" y="6577902"/>
                </a:cubicBezTo>
                <a:cubicBezTo>
                  <a:pt x="2915440" y="6624444"/>
                  <a:pt x="3025166" y="6630409"/>
                  <a:pt x="3133792" y="6647797"/>
                </a:cubicBezTo>
                <a:cubicBezTo>
                  <a:pt x="3194390" y="6656711"/>
                  <a:pt x="3254984" y="6664281"/>
                  <a:pt x="3315594" y="6670421"/>
                </a:cubicBezTo>
                <a:lnTo>
                  <a:pt x="3406809" y="6677463"/>
                </a:lnTo>
                <a:lnTo>
                  <a:pt x="3413963" y="6667422"/>
                </a:lnTo>
                <a:cubicBezTo>
                  <a:pt x="3416230" y="6666179"/>
                  <a:pt x="3418368" y="6665373"/>
                  <a:pt x="3421702" y="6665386"/>
                </a:cubicBezTo>
                <a:cubicBezTo>
                  <a:pt x="3426480" y="6665341"/>
                  <a:pt x="3432393" y="6664675"/>
                  <a:pt x="3433093" y="6657287"/>
                </a:cubicBezTo>
                <a:cubicBezTo>
                  <a:pt x="3433413" y="6654531"/>
                  <a:pt x="3436305" y="6654418"/>
                  <a:pt x="3437125" y="6653231"/>
                </a:cubicBezTo>
                <a:cubicBezTo>
                  <a:pt x="3441347" y="6646858"/>
                  <a:pt x="3447511" y="6645316"/>
                  <a:pt x="3453863" y="6644777"/>
                </a:cubicBezTo>
                <a:cubicBezTo>
                  <a:pt x="3457570" y="6646796"/>
                  <a:pt x="3460836" y="6648688"/>
                  <a:pt x="3464793" y="6649831"/>
                </a:cubicBezTo>
                <a:cubicBezTo>
                  <a:pt x="3468757" y="6650973"/>
                  <a:pt x="3471955" y="6654744"/>
                  <a:pt x="3472704" y="6658756"/>
                </a:cubicBezTo>
                <a:cubicBezTo>
                  <a:pt x="3473139" y="6662203"/>
                  <a:pt x="3473952" y="6664335"/>
                  <a:pt x="3476214" y="6666412"/>
                </a:cubicBezTo>
                <a:cubicBezTo>
                  <a:pt x="3474696" y="6671667"/>
                  <a:pt x="3473180" y="6676923"/>
                  <a:pt x="3471663" y="6682180"/>
                </a:cubicBezTo>
                <a:lnTo>
                  <a:pt x="3471197" y="6682435"/>
                </a:lnTo>
                <a:lnTo>
                  <a:pt x="3497495" y="6684466"/>
                </a:lnTo>
                <a:lnTo>
                  <a:pt x="3638852" y="6688311"/>
                </a:lnTo>
                <a:lnTo>
                  <a:pt x="3638763" y="6687484"/>
                </a:lnTo>
                <a:cubicBezTo>
                  <a:pt x="3637281" y="6685298"/>
                  <a:pt x="3638169" y="6683445"/>
                  <a:pt x="3640029" y="6681873"/>
                </a:cubicBezTo>
                <a:cubicBezTo>
                  <a:pt x="3641053" y="6680763"/>
                  <a:pt x="3642821" y="6679516"/>
                  <a:pt x="3642222" y="6677936"/>
                </a:cubicBezTo>
                <a:cubicBezTo>
                  <a:pt x="3640096" y="6673103"/>
                  <a:pt x="3640615" y="6670089"/>
                  <a:pt x="3646377" y="6669642"/>
                </a:cubicBezTo>
                <a:cubicBezTo>
                  <a:pt x="3647768" y="6669693"/>
                  <a:pt x="3648655" y="6667840"/>
                  <a:pt x="3647636" y="6666491"/>
                </a:cubicBezTo>
                <a:cubicBezTo>
                  <a:pt x="3644443" y="6661702"/>
                  <a:pt x="3649461" y="6661393"/>
                  <a:pt x="3650860" y="6658984"/>
                </a:cubicBezTo>
                <a:cubicBezTo>
                  <a:pt x="3655664" y="6650877"/>
                  <a:pt x="3664988" y="6656382"/>
                  <a:pt x="3670762" y="6651017"/>
                </a:cubicBezTo>
                <a:cubicBezTo>
                  <a:pt x="3672715" y="6649121"/>
                  <a:pt x="3678421" y="6652525"/>
                  <a:pt x="3681250" y="6653693"/>
                </a:cubicBezTo>
                <a:cubicBezTo>
                  <a:pt x="3687793" y="6656636"/>
                  <a:pt x="3697136" y="6654762"/>
                  <a:pt x="3700413" y="6664145"/>
                </a:cubicBezTo>
                <a:cubicBezTo>
                  <a:pt x="3701012" y="6665725"/>
                  <a:pt x="3702490" y="6667910"/>
                  <a:pt x="3705092" y="6668660"/>
                </a:cubicBezTo>
                <a:cubicBezTo>
                  <a:pt x="3708760" y="6669367"/>
                  <a:pt x="3710147" y="6671877"/>
                  <a:pt x="3709765" y="6675635"/>
                </a:cubicBezTo>
                <a:cubicBezTo>
                  <a:pt x="3709761" y="6678094"/>
                  <a:pt x="3711011" y="6679862"/>
                  <a:pt x="3712166" y="6681952"/>
                </a:cubicBezTo>
                <a:lnTo>
                  <a:pt x="3712349" y="6688587"/>
                </a:lnTo>
                <a:lnTo>
                  <a:pt x="3862152" y="6684772"/>
                </a:lnTo>
                <a:cubicBezTo>
                  <a:pt x="3938172" y="6681705"/>
                  <a:pt x="4013076" y="6670039"/>
                  <a:pt x="4087841" y="6656140"/>
                </a:cubicBezTo>
                <a:lnTo>
                  <a:pt x="4130686" y="6648133"/>
                </a:lnTo>
                <a:lnTo>
                  <a:pt x="4130668" y="6648113"/>
                </a:lnTo>
                <a:cubicBezTo>
                  <a:pt x="4127748" y="6644810"/>
                  <a:pt x="4127578" y="6638082"/>
                  <a:pt x="4127358" y="6632745"/>
                </a:cubicBezTo>
                <a:cubicBezTo>
                  <a:pt x="4127271" y="6630610"/>
                  <a:pt x="4128159" y="6628757"/>
                  <a:pt x="4126676" y="6626571"/>
                </a:cubicBezTo>
                <a:cubicBezTo>
                  <a:pt x="4125194" y="6624385"/>
                  <a:pt x="4126081" y="6622532"/>
                  <a:pt x="4127943" y="6620960"/>
                </a:cubicBezTo>
                <a:cubicBezTo>
                  <a:pt x="4128967" y="6619850"/>
                  <a:pt x="4130737" y="6618603"/>
                  <a:pt x="4130137" y="6617023"/>
                </a:cubicBezTo>
                <a:cubicBezTo>
                  <a:pt x="4128012" y="6612190"/>
                  <a:pt x="4128531" y="6609176"/>
                  <a:pt x="4134290" y="6608729"/>
                </a:cubicBezTo>
                <a:cubicBezTo>
                  <a:pt x="4135685" y="6608780"/>
                  <a:pt x="4136572" y="6606927"/>
                  <a:pt x="4135552" y="6605578"/>
                </a:cubicBezTo>
                <a:cubicBezTo>
                  <a:pt x="4132359" y="6600789"/>
                  <a:pt x="4137376" y="6600479"/>
                  <a:pt x="4138775" y="6598071"/>
                </a:cubicBezTo>
                <a:cubicBezTo>
                  <a:pt x="4143580" y="6589965"/>
                  <a:pt x="4152903" y="6595469"/>
                  <a:pt x="4158676" y="6590104"/>
                </a:cubicBezTo>
                <a:cubicBezTo>
                  <a:pt x="4160629" y="6588207"/>
                  <a:pt x="4166335" y="6591612"/>
                  <a:pt x="4169167" y="6592781"/>
                </a:cubicBezTo>
                <a:cubicBezTo>
                  <a:pt x="4175709" y="6595723"/>
                  <a:pt x="4185051" y="6593849"/>
                  <a:pt x="4188326" y="6603232"/>
                </a:cubicBezTo>
                <a:cubicBezTo>
                  <a:pt x="4188929" y="6604812"/>
                  <a:pt x="4190410" y="6606997"/>
                  <a:pt x="4193007" y="6607747"/>
                </a:cubicBezTo>
                <a:cubicBezTo>
                  <a:pt x="4196653" y="6608455"/>
                  <a:pt x="4198041" y="6610964"/>
                  <a:pt x="4197662" y="6614722"/>
                </a:cubicBezTo>
                <a:cubicBezTo>
                  <a:pt x="4197653" y="6617181"/>
                  <a:pt x="4198905" y="6618948"/>
                  <a:pt x="4200063" y="6621040"/>
                </a:cubicBezTo>
                <a:lnTo>
                  <a:pt x="4200444" y="6635089"/>
                </a:lnTo>
                <a:lnTo>
                  <a:pt x="4312688" y="6614111"/>
                </a:lnTo>
                <a:cubicBezTo>
                  <a:pt x="4324596" y="6613397"/>
                  <a:pt x="4338819" y="6611348"/>
                  <a:pt x="4357172" y="6608455"/>
                </a:cubicBezTo>
                <a:cubicBezTo>
                  <a:pt x="4341577" y="6637477"/>
                  <a:pt x="4317984" y="6652638"/>
                  <a:pt x="4292346" y="6653579"/>
                </a:cubicBezTo>
                <a:cubicBezTo>
                  <a:pt x="4260871" y="6654422"/>
                  <a:pt x="4229733" y="6657672"/>
                  <a:pt x="4198774" y="6662285"/>
                </a:cubicBezTo>
                <a:lnTo>
                  <a:pt x="4182963" y="6665174"/>
                </a:lnTo>
                <a:lnTo>
                  <a:pt x="4181814" y="6666040"/>
                </a:lnTo>
                <a:cubicBezTo>
                  <a:pt x="4178797" y="6665521"/>
                  <a:pt x="4178790" y="6667980"/>
                  <a:pt x="4178229" y="6669927"/>
                </a:cubicBezTo>
                <a:cubicBezTo>
                  <a:pt x="4177291" y="6673172"/>
                  <a:pt x="4175804" y="6673446"/>
                  <a:pt x="4173859" y="6670424"/>
                </a:cubicBezTo>
                <a:lnTo>
                  <a:pt x="4170356" y="6667475"/>
                </a:lnTo>
                <a:lnTo>
                  <a:pt x="4168682" y="6667781"/>
                </a:lnTo>
                <a:lnTo>
                  <a:pt x="4165729" y="6670539"/>
                </a:lnTo>
                <a:cubicBezTo>
                  <a:pt x="4165032" y="6671743"/>
                  <a:pt x="4163587" y="6673084"/>
                  <a:pt x="4162756" y="6671087"/>
                </a:cubicBezTo>
                <a:lnTo>
                  <a:pt x="4160318" y="6669308"/>
                </a:lnTo>
                <a:lnTo>
                  <a:pt x="4106331" y="6679159"/>
                </a:lnTo>
                <a:cubicBezTo>
                  <a:pt x="4044860" y="6691738"/>
                  <a:pt x="3983534" y="6705577"/>
                  <a:pt x="3921185" y="6712306"/>
                </a:cubicBezTo>
                <a:lnTo>
                  <a:pt x="3698517" y="6723473"/>
                </a:lnTo>
                <a:lnTo>
                  <a:pt x="3693898" y="6726953"/>
                </a:lnTo>
                <a:cubicBezTo>
                  <a:pt x="3690881" y="6726434"/>
                  <a:pt x="3690876" y="6728892"/>
                  <a:pt x="3690314" y="6730840"/>
                </a:cubicBezTo>
                <a:cubicBezTo>
                  <a:pt x="3689377" y="6734085"/>
                  <a:pt x="3687890" y="6734360"/>
                  <a:pt x="3685944" y="6731337"/>
                </a:cubicBezTo>
                <a:cubicBezTo>
                  <a:pt x="3682982" y="6726967"/>
                  <a:pt x="3680382" y="6726216"/>
                  <a:pt x="3677817" y="6731452"/>
                </a:cubicBezTo>
                <a:cubicBezTo>
                  <a:pt x="3677117" y="6732657"/>
                  <a:pt x="3675674" y="6733998"/>
                  <a:pt x="3674842" y="6732000"/>
                </a:cubicBezTo>
                <a:cubicBezTo>
                  <a:pt x="3671835" y="6726561"/>
                  <a:pt x="3668161" y="6728313"/>
                  <a:pt x="3664070" y="6730296"/>
                </a:cubicBezTo>
                <a:cubicBezTo>
                  <a:pt x="3663557" y="6730852"/>
                  <a:pt x="3662258" y="6730477"/>
                  <a:pt x="3661609" y="6730289"/>
                </a:cubicBezTo>
                <a:lnTo>
                  <a:pt x="3657395" y="6725536"/>
                </a:lnTo>
                <a:lnTo>
                  <a:pt x="3623421" y="6727240"/>
                </a:lnTo>
                <a:cubicBezTo>
                  <a:pt x="3327313" y="6727359"/>
                  <a:pt x="3036075" y="6682646"/>
                  <a:pt x="2748989" y="6589609"/>
                </a:cubicBezTo>
                <a:cubicBezTo>
                  <a:pt x="2709511" y="6576590"/>
                  <a:pt x="2671004" y="6561756"/>
                  <a:pt x="2633126" y="6545716"/>
                </a:cubicBezTo>
                <a:lnTo>
                  <a:pt x="2522306" y="6495176"/>
                </a:lnTo>
                <a:lnTo>
                  <a:pt x="2521662" y="6500428"/>
                </a:lnTo>
                <a:cubicBezTo>
                  <a:pt x="2518265" y="6505205"/>
                  <a:pt x="2519656" y="6511364"/>
                  <a:pt x="2520934" y="6516914"/>
                </a:cubicBezTo>
                <a:cubicBezTo>
                  <a:pt x="2521307" y="6519612"/>
                  <a:pt x="2521379" y="6521360"/>
                  <a:pt x="2518827" y="6523214"/>
                </a:cubicBezTo>
                <a:lnTo>
                  <a:pt x="2507197" y="6537863"/>
                </a:lnTo>
                <a:lnTo>
                  <a:pt x="2508865" y="6538633"/>
                </a:lnTo>
                <a:cubicBezTo>
                  <a:pt x="2582685" y="6568362"/>
                  <a:pt x="2658298" y="6594602"/>
                  <a:pt x="2735710" y="6617298"/>
                </a:cubicBezTo>
                <a:cubicBezTo>
                  <a:pt x="2822693" y="6642558"/>
                  <a:pt x="2909678" y="6667817"/>
                  <a:pt x="2997465" y="6689144"/>
                </a:cubicBezTo>
                <a:lnTo>
                  <a:pt x="3119702" y="6715502"/>
                </a:lnTo>
                <a:lnTo>
                  <a:pt x="3120297" y="6715191"/>
                </a:lnTo>
                <a:cubicBezTo>
                  <a:pt x="3123693" y="6714905"/>
                  <a:pt x="3127206" y="6714937"/>
                  <a:pt x="3129892" y="6712441"/>
                </a:cubicBezTo>
                <a:cubicBezTo>
                  <a:pt x="3131713" y="6710676"/>
                  <a:pt x="3137022" y="6713845"/>
                  <a:pt x="3139656" y="6714932"/>
                </a:cubicBezTo>
                <a:cubicBezTo>
                  <a:pt x="3142702" y="6716301"/>
                  <a:pt x="3146396" y="6716550"/>
                  <a:pt x="3149711" y="6717548"/>
                </a:cubicBezTo>
                <a:lnTo>
                  <a:pt x="3153694" y="6721190"/>
                </a:lnTo>
                <a:lnTo>
                  <a:pt x="3264080" y="6737391"/>
                </a:lnTo>
                <a:cubicBezTo>
                  <a:pt x="3334925" y="6742702"/>
                  <a:pt x="3401733" y="6770368"/>
                  <a:pt x="3469151" y="6788436"/>
                </a:cubicBezTo>
                <a:cubicBezTo>
                  <a:pt x="3411343" y="6783687"/>
                  <a:pt x="3353693" y="6777882"/>
                  <a:pt x="3296235" y="6770909"/>
                </a:cubicBezTo>
                <a:lnTo>
                  <a:pt x="3168741" y="6752692"/>
                </a:lnTo>
                <a:lnTo>
                  <a:pt x="3168825" y="6755740"/>
                </a:lnTo>
                <a:cubicBezTo>
                  <a:pt x="3167046" y="6758497"/>
                  <a:pt x="3166993" y="6762082"/>
                  <a:pt x="3169495" y="6764766"/>
                </a:cubicBezTo>
                <a:cubicBezTo>
                  <a:pt x="3169145" y="6765974"/>
                  <a:pt x="3168797" y="6767182"/>
                  <a:pt x="3168451" y="6768391"/>
                </a:cubicBezTo>
                <a:cubicBezTo>
                  <a:pt x="3165291" y="6769115"/>
                  <a:pt x="3163559" y="6770577"/>
                  <a:pt x="3162727" y="6774591"/>
                </a:cubicBezTo>
                <a:cubicBezTo>
                  <a:pt x="3161461" y="6780114"/>
                  <a:pt x="3157824" y="6783644"/>
                  <a:pt x="3151426" y="6783106"/>
                </a:cubicBezTo>
                <a:cubicBezTo>
                  <a:pt x="3148618" y="6782623"/>
                  <a:pt x="3148611" y="6784911"/>
                  <a:pt x="3148090" y="6786723"/>
                </a:cubicBezTo>
                <a:cubicBezTo>
                  <a:pt x="3147216" y="6789742"/>
                  <a:pt x="3145834" y="6789998"/>
                  <a:pt x="3144025" y="6787185"/>
                </a:cubicBezTo>
                <a:cubicBezTo>
                  <a:pt x="3141269" y="6783119"/>
                  <a:pt x="3138849" y="6782421"/>
                  <a:pt x="3136461" y="6787292"/>
                </a:cubicBezTo>
                <a:cubicBezTo>
                  <a:pt x="3135809" y="6788412"/>
                  <a:pt x="3134466" y="6789662"/>
                  <a:pt x="3133691" y="6787802"/>
                </a:cubicBezTo>
                <a:cubicBezTo>
                  <a:pt x="3130895" y="6782742"/>
                  <a:pt x="3127474" y="6784372"/>
                  <a:pt x="3123668" y="6786217"/>
                </a:cubicBezTo>
                <a:cubicBezTo>
                  <a:pt x="3123191" y="6786734"/>
                  <a:pt x="3121982" y="6786385"/>
                  <a:pt x="3121375" y="6786210"/>
                </a:cubicBezTo>
                <a:cubicBezTo>
                  <a:pt x="3115338" y="6779887"/>
                  <a:pt x="3109780" y="6773048"/>
                  <a:pt x="3103829" y="6766423"/>
                </a:cubicBezTo>
                <a:cubicBezTo>
                  <a:pt x="3101115" y="6763350"/>
                  <a:pt x="3100956" y="6757087"/>
                  <a:pt x="3100750" y="6752122"/>
                </a:cubicBezTo>
                <a:cubicBezTo>
                  <a:pt x="3100668" y="6750135"/>
                  <a:pt x="3101494" y="6748410"/>
                  <a:pt x="3100116" y="6746377"/>
                </a:cubicBezTo>
                <a:lnTo>
                  <a:pt x="3101115" y="6741949"/>
                </a:lnTo>
                <a:lnTo>
                  <a:pt x="3077372" y="6737457"/>
                </a:lnTo>
                <a:lnTo>
                  <a:pt x="3079124" y="6742065"/>
                </a:lnTo>
                <a:cubicBezTo>
                  <a:pt x="3082008" y="6746824"/>
                  <a:pt x="3082603" y="6751575"/>
                  <a:pt x="3079523" y="6756574"/>
                </a:cubicBezTo>
                <a:cubicBezTo>
                  <a:pt x="3077743" y="6759333"/>
                  <a:pt x="3077691" y="6762916"/>
                  <a:pt x="3080192" y="6765601"/>
                </a:cubicBezTo>
                <a:cubicBezTo>
                  <a:pt x="3079842" y="6766809"/>
                  <a:pt x="3079494" y="6768018"/>
                  <a:pt x="3079146" y="6769226"/>
                </a:cubicBezTo>
                <a:cubicBezTo>
                  <a:pt x="3075988" y="6769950"/>
                  <a:pt x="3074255" y="6771412"/>
                  <a:pt x="3073425" y="6775426"/>
                </a:cubicBezTo>
                <a:cubicBezTo>
                  <a:pt x="3072159" y="6780948"/>
                  <a:pt x="3068519" y="6784478"/>
                  <a:pt x="3062123" y="6783940"/>
                </a:cubicBezTo>
                <a:cubicBezTo>
                  <a:pt x="3059314" y="6783457"/>
                  <a:pt x="3059309" y="6785746"/>
                  <a:pt x="3058786" y="6787558"/>
                </a:cubicBezTo>
                <a:cubicBezTo>
                  <a:pt x="3057914" y="6790578"/>
                  <a:pt x="3056530" y="6790833"/>
                  <a:pt x="3054721" y="6788021"/>
                </a:cubicBezTo>
                <a:cubicBezTo>
                  <a:pt x="3051965" y="6783953"/>
                  <a:pt x="3049546" y="6783255"/>
                  <a:pt x="3047156" y="6788127"/>
                </a:cubicBezTo>
                <a:cubicBezTo>
                  <a:pt x="3046506" y="6789248"/>
                  <a:pt x="3045162" y="6790497"/>
                  <a:pt x="3044388" y="6788636"/>
                </a:cubicBezTo>
                <a:cubicBezTo>
                  <a:pt x="3041591" y="6783576"/>
                  <a:pt x="3038173" y="6785206"/>
                  <a:pt x="3034363" y="6787052"/>
                </a:cubicBezTo>
                <a:cubicBezTo>
                  <a:pt x="3033887" y="6787568"/>
                  <a:pt x="3032678" y="6787220"/>
                  <a:pt x="3032073" y="6787045"/>
                </a:cubicBezTo>
                <a:cubicBezTo>
                  <a:pt x="3026036" y="6780723"/>
                  <a:pt x="3020478" y="6773883"/>
                  <a:pt x="3014528" y="6767259"/>
                </a:cubicBezTo>
                <a:cubicBezTo>
                  <a:pt x="3011811" y="6764184"/>
                  <a:pt x="3011652" y="6757923"/>
                  <a:pt x="3011450" y="6752956"/>
                </a:cubicBezTo>
                <a:cubicBezTo>
                  <a:pt x="3011367" y="6750970"/>
                  <a:pt x="3012194" y="6749245"/>
                  <a:pt x="3010815" y="6747212"/>
                </a:cubicBezTo>
                <a:cubicBezTo>
                  <a:pt x="3009434" y="6745178"/>
                  <a:pt x="3010259" y="6743453"/>
                  <a:pt x="3011994" y="6741990"/>
                </a:cubicBezTo>
                <a:cubicBezTo>
                  <a:pt x="3012949" y="6740958"/>
                  <a:pt x="3014592" y="6739796"/>
                  <a:pt x="3014032" y="6738326"/>
                </a:cubicBezTo>
                <a:cubicBezTo>
                  <a:pt x="3012057" y="6733830"/>
                  <a:pt x="3012538" y="6731024"/>
                  <a:pt x="3017899" y="6730608"/>
                </a:cubicBezTo>
                <a:cubicBezTo>
                  <a:pt x="3019195" y="6730656"/>
                  <a:pt x="3020020" y="6728931"/>
                  <a:pt x="3019073" y="6727676"/>
                </a:cubicBezTo>
                <a:lnTo>
                  <a:pt x="3019568" y="6726522"/>
                </a:lnTo>
                <a:lnTo>
                  <a:pt x="2954030" y="6714123"/>
                </a:lnTo>
                <a:cubicBezTo>
                  <a:pt x="2897462" y="6702017"/>
                  <a:pt x="2841142" y="6688513"/>
                  <a:pt x="2785106" y="6673498"/>
                </a:cubicBezTo>
                <a:cubicBezTo>
                  <a:pt x="2672368" y="6642315"/>
                  <a:pt x="2562704" y="6605119"/>
                  <a:pt x="2455908" y="6560878"/>
                </a:cubicBezTo>
                <a:lnTo>
                  <a:pt x="2450543" y="6558442"/>
                </a:lnTo>
                <a:lnTo>
                  <a:pt x="2442141" y="6562394"/>
                </a:lnTo>
                <a:cubicBezTo>
                  <a:pt x="2440373" y="6563034"/>
                  <a:pt x="2438804" y="6563230"/>
                  <a:pt x="2437742" y="6562671"/>
                </a:cubicBezTo>
                <a:cubicBezTo>
                  <a:pt x="2436680" y="6562112"/>
                  <a:pt x="2436122" y="6560800"/>
                  <a:pt x="2436376" y="6558426"/>
                </a:cubicBezTo>
                <a:cubicBezTo>
                  <a:pt x="2436683" y="6557364"/>
                  <a:pt x="2436723" y="6556224"/>
                  <a:pt x="2436498" y="6555008"/>
                </a:cubicBezTo>
                <a:lnTo>
                  <a:pt x="2435480" y="6551603"/>
                </a:lnTo>
                <a:lnTo>
                  <a:pt x="2434077" y="6550966"/>
                </a:lnTo>
                <a:lnTo>
                  <a:pt x="2431033" y="6551990"/>
                </a:lnTo>
                <a:cubicBezTo>
                  <a:pt x="2425743" y="6555358"/>
                  <a:pt x="2424223" y="6554631"/>
                  <a:pt x="2423440" y="6548361"/>
                </a:cubicBezTo>
                <a:lnTo>
                  <a:pt x="2423076" y="6545971"/>
                </a:lnTo>
                <a:lnTo>
                  <a:pt x="2416998" y="6543212"/>
                </a:lnTo>
                <a:lnTo>
                  <a:pt x="2415429" y="6545184"/>
                </a:lnTo>
                <a:lnTo>
                  <a:pt x="2414718" y="6549332"/>
                </a:lnTo>
                <a:lnTo>
                  <a:pt x="2409399" y="6539761"/>
                </a:lnTo>
                <a:lnTo>
                  <a:pt x="2297832" y="6489105"/>
                </a:lnTo>
                <a:cubicBezTo>
                  <a:pt x="2245837" y="6463334"/>
                  <a:pt x="2194535" y="6435672"/>
                  <a:pt x="2143893" y="6405991"/>
                </a:cubicBezTo>
                <a:cubicBezTo>
                  <a:pt x="2231443" y="6465580"/>
                  <a:pt x="2324291" y="6516335"/>
                  <a:pt x="2418673" y="6564084"/>
                </a:cubicBezTo>
                <a:lnTo>
                  <a:pt x="2422102" y="6565775"/>
                </a:lnTo>
                <a:lnTo>
                  <a:pt x="2430910" y="6563250"/>
                </a:lnTo>
                <a:cubicBezTo>
                  <a:pt x="2432864" y="6561354"/>
                  <a:pt x="2438570" y="6564758"/>
                  <a:pt x="2441401" y="6565927"/>
                </a:cubicBezTo>
                <a:cubicBezTo>
                  <a:pt x="2447944" y="6568870"/>
                  <a:pt x="2457285" y="6566996"/>
                  <a:pt x="2460561" y="6576380"/>
                </a:cubicBezTo>
                <a:cubicBezTo>
                  <a:pt x="2461161" y="6577958"/>
                  <a:pt x="2462642" y="6580144"/>
                  <a:pt x="2465241" y="6580894"/>
                </a:cubicBezTo>
                <a:cubicBezTo>
                  <a:pt x="2468909" y="6581601"/>
                  <a:pt x="2470297" y="6584111"/>
                  <a:pt x="2469917" y="6587868"/>
                </a:cubicBezTo>
                <a:lnTo>
                  <a:pt x="2470611" y="6589698"/>
                </a:lnTo>
                <a:lnTo>
                  <a:pt x="2702676" y="6704143"/>
                </a:lnTo>
                <a:cubicBezTo>
                  <a:pt x="2701699" y="6707787"/>
                  <a:pt x="2698902" y="6710943"/>
                  <a:pt x="2698411" y="6712765"/>
                </a:cubicBezTo>
                <a:cubicBezTo>
                  <a:pt x="2643387" y="6692162"/>
                  <a:pt x="2588360" y="6671559"/>
                  <a:pt x="2532002" y="6648645"/>
                </a:cubicBezTo>
                <a:lnTo>
                  <a:pt x="2472765" y="6621906"/>
                </a:lnTo>
                <a:lnTo>
                  <a:pt x="2472340" y="6623374"/>
                </a:lnTo>
                <a:cubicBezTo>
                  <a:pt x="2468947" y="6624152"/>
                  <a:pt x="2467087" y="6625723"/>
                  <a:pt x="2466194" y="6630037"/>
                </a:cubicBezTo>
                <a:cubicBezTo>
                  <a:pt x="2464831" y="6635972"/>
                  <a:pt x="2460920" y="6639765"/>
                  <a:pt x="2454049" y="6639187"/>
                </a:cubicBezTo>
                <a:cubicBezTo>
                  <a:pt x="2451029" y="6638668"/>
                  <a:pt x="2451026" y="6641127"/>
                  <a:pt x="2450463" y="6643075"/>
                </a:cubicBezTo>
                <a:cubicBezTo>
                  <a:pt x="2449526" y="6646320"/>
                  <a:pt x="2448039" y="6646593"/>
                  <a:pt x="2446095" y="6643571"/>
                </a:cubicBezTo>
                <a:cubicBezTo>
                  <a:pt x="2443133" y="6639201"/>
                  <a:pt x="2440533" y="6638450"/>
                  <a:pt x="2437965" y="6643685"/>
                </a:cubicBezTo>
                <a:cubicBezTo>
                  <a:pt x="2437267" y="6644890"/>
                  <a:pt x="2435823" y="6646231"/>
                  <a:pt x="2434991" y="6644234"/>
                </a:cubicBezTo>
                <a:cubicBezTo>
                  <a:pt x="2431986" y="6638795"/>
                  <a:pt x="2428310" y="6640548"/>
                  <a:pt x="2424219" y="6642531"/>
                </a:cubicBezTo>
                <a:cubicBezTo>
                  <a:pt x="2423705" y="6643086"/>
                  <a:pt x="2422407" y="6642711"/>
                  <a:pt x="2421756" y="6642524"/>
                </a:cubicBezTo>
                <a:cubicBezTo>
                  <a:pt x="2415269" y="6635729"/>
                  <a:pt x="2409294" y="6628380"/>
                  <a:pt x="2402902" y="6621260"/>
                </a:cubicBezTo>
                <a:cubicBezTo>
                  <a:pt x="2399982" y="6617956"/>
                  <a:pt x="2399813" y="6611229"/>
                  <a:pt x="2399594" y="6605891"/>
                </a:cubicBezTo>
                <a:cubicBezTo>
                  <a:pt x="2399505" y="6603757"/>
                  <a:pt x="2400390" y="6601903"/>
                  <a:pt x="2398912" y="6599718"/>
                </a:cubicBezTo>
                <a:cubicBezTo>
                  <a:pt x="2397428" y="6597533"/>
                  <a:pt x="2398316" y="6595679"/>
                  <a:pt x="2400178" y="6594107"/>
                </a:cubicBezTo>
                <a:cubicBezTo>
                  <a:pt x="2401203" y="6592997"/>
                  <a:pt x="2402970" y="6591749"/>
                  <a:pt x="2402370" y="6590170"/>
                </a:cubicBezTo>
                <a:lnTo>
                  <a:pt x="2402387" y="6590136"/>
                </a:lnTo>
                <a:lnTo>
                  <a:pt x="2364974" y="6573247"/>
                </a:lnTo>
                <a:cubicBezTo>
                  <a:pt x="2282897" y="6533438"/>
                  <a:pt x="2202968" y="6490479"/>
                  <a:pt x="2125168" y="6444444"/>
                </a:cubicBezTo>
                <a:lnTo>
                  <a:pt x="1986745" y="6354661"/>
                </a:lnTo>
                <a:lnTo>
                  <a:pt x="1986124" y="6356810"/>
                </a:lnTo>
                <a:cubicBezTo>
                  <a:pt x="1982732" y="6357589"/>
                  <a:pt x="1980869" y="6359161"/>
                  <a:pt x="1979977" y="6363473"/>
                </a:cubicBezTo>
                <a:cubicBezTo>
                  <a:pt x="1978616" y="6369408"/>
                  <a:pt x="1974705" y="6373201"/>
                  <a:pt x="1967831" y="6372624"/>
                </a:cubicBezTo>
                <a:cubicBezTo>
                  <a:pt x="1964813" y="6372104"/>
                  <a:pt x="1964807" y="6374563"/>
                  <a:pt x="1964245" y="6376511"/>
                </a:cubicBezTo>
                <a:cubicBezTo>
                  <a:pt x="1963309" y="6379756"/>
                  <a:pt x="1961822" y="6380030"/>
                  <a:pt x="1959877" y="6377009"/>
                </a:cubicBezTo>
                <a:cubicBezTo>
                  <a:pt x="1956915" y="6372637"/>
                  <a:pt x="1954315" y="6371887"/>
                  <a:pt x="1951748" y="6377123"/>
                </a:cubicBezTo>
                <a:cubicBezTo>
                  <a:pt x="1951049" y="6378327"/>
                  <a:pt x="1949606" y="6379669"/>
                  <a:pt x="1948775" y="6377671"/>
                </a:cubicBezTo>
                <a:cubicBezTo>
                  <a:pt x="1945768" y="6372233"/>
                  <a:pt x="1942094" y="6373984"/>
                  <a:pt x="1938002" y="6375967"/>
                </a:cubicBezTo>
                <a:cubicBezTo>
                  <a:pt x="1937490" y="6376522"/>
                  <a:pt x="1936189" y="6376148"/>
                  <a:pt x="1935540" y="6375960"/>
                </a:cubicBezTo>
                <a:cubicBezTo>
                  <a:pt x="1929053" y="6369166"/>
                  <a:pt x="1923078" y="6361816"/>
                  <a:pt x="1916684" y="6354697"/>
                </a:cubicBezTo>
                <a:cubicBezTo>
                  <a:pt x="1913765" y="6351394"/>
                  <a:pt x="1913596" y="6344665"/>
                  <a:pt x="1913376" y="6339328"/>
                </a:cubicBezTo>
                <a:cubicBezTo>
                  <a:pt x="1913288" y="6337194"/>
                  <a:pt x="1914176" y="6335340"/>
                  <a:pt x="1912694" y="6333154"/>
                </a:cubicBezTo>
                <a:cubicBezTo>
                  <a:pt x="1911213" y="6330970"/>
                  <a:pt x="1912100" y="6329116"/>
                  <a:pt x="1913961" y="6327545"/>
                </a:cubicBezTo>
                <a:cubicBezTo>
                  <a:pt x="1914986" y="6326433"/>
                  <a:pt x="1916754" y="6325186"/>
                  <a:pt x="1916154" y="6323607"/>
                </a:cubicBezTo>
                <a:cubicBezTo>
                  <a:pt x="1914029" y="6318774"/>
                  <a:pt x="1914548" y="6315759"/>
                  <a:pt x="1920307" y="6315314"/>
                </a:cubicBezTo>
                <a:lnTo>
                  <a:pt x="1921499" y="6312337"/>
                </a:lnTo>
                <a:lnTo>
                  <a:pt x="1898129" y="6297178"/>
                </a:lnTo>
                <a:lnTo>
                  <a:pt x="1853097" y="6263408"/>
                </a:lnTo>
                <a:lnTo>
                  <a:pt x="1853066" y="6263665"/>
                </a:lnTo>
                <a:cubicBezTo>
                  <a:pt x="1853722" y="6264852"/>
                  <a:pt x="1854838" y="6266172"/>
                  <a:pt x="1855428" y="6267589"/>
                </a:cubicBezTo>
                <a:cubicBezTo>
                  <a:pt x="1856246" y="6269074"/>
                  <a:pt x="1856769" y="6270722"/>
                  <a:pt x="1854922" y="6271934"/>
                </a:cubicBezTo>
                <a:cubicBezTo>
                  <a:pt x="1853371" y="6272983"/>
                  <a:pt x="1852188" y="6271894"/>
                  <a:pt x="1851138" y="6270343"/>
                </a:cubicBezTo>
                <a:cubicBezTo>
                  <a:pt x="1850022" y="6269023"/>
                  <a:pt x="1848972" y="6267473"/>
                  <a:pt x="1847789" y="6266382"/>
                </a:cubicBezTo>
                <a:cubicBezTo>
                  <a:pt x="1846115" y="6264402"/>
                  <a:pt x="1843611" y="6264429"/>
                  <a:pt x="1841599" y="6265345"/>
                </a:cubicBezTo>
                <a:cubicBezTo>
                  <a:pt x="1839587" y="6266261"/>
                  <a:pt x="1839911" y="6268599"/>
                  <a:pt x="1840137" y="6270410"/>
                </a:cubicBezTo>
                <a:cubicBezTo>
                  <a:pt x="1841267" y="6279469"/>
                  <a:pt x="1851789" y="6286248"/>
                  <a:pt x="1861018" y="6283672"/>
                </a:cubicBezTo>
                <a:cubicBezTo>
                  <a:pt x="1865369" y="6282434"/>
                  <a:pt x="1866553" y="6283524"/>
                  <a:pt x="1865950" y="6287341"/>
                </a:cubicBezTo>
                <a:cubicBezTo>
                  <a:pt x="1864912" y="6293528"/>
                  <a:pt x="1866548" y="6298241"/>
                  <a:pt x="1871940" y="6302042"/>
                </a:cubicBezTo>
                <a:cubicBezTo>
                  <a:pt x="1873420" y="6302968"/>
                  <a:pt x="1875622" y="6304851"/>
                  <a:pt x="1874200" y="6307184"/>
                </a:cubicBezTo>
                <a:cubicBezTo>
                  <a:pt x="1871155" y="6312542"/>
                  <a:pt x="1872064" y="6318044"/>
                  <a:pt x="1873729" y="6323513"/>
                </a:cubicBezTo>
                <a:cubicBezTo>
                  <a:pt x="1875037" y="6327633"/>
                  <a:pt x="1874797" y="6331057"/>
                  <a:pt x="1871066" y="6334470"/>
                </a:cubicBezTo>
                <a:cubicBezTo>
                  <a:pt x="1867039" y="6338048"/>
                  <a:pt x="1867920" y="6341046"/>
                  <a:pt x="1873184" y="6343563"/>
                </a:cubicBezTo>
                <a:cubicBezTo>
                  <a:pt x="1873414" y="6343629"/>
                  <a:pt x="1873645" y="6343696"/>
                  <a:pt x="1873875" y="6343762"/>
                </a:cubicBezTo>
                <a:cubicBezTo>
                  <a:pt x="1875883" y="6344591"/>
                  <a:pt x="1877823" y="6345650"/>
                  <a:pt x="1877455" y="6347789"/>
                </a:cubicBezTo>
                <a:cubicBezTo>
                  <a:pt x="1877318" y="6349995"/>
                  <a:pt x="1874849" y="6349033"/>
                  <a:pt x="1873499" y="6349392"/>
                </a:cubicBezTo>
                <a:cubicBezTo>
                  <a:pt x="1865062" y="6350947"/>
                  <a:pt x="1860406" y="6355840"/>
                  <a:pt x="1859395" y="6364530"/>
                </a:cubicBezTo>
                <a:cubicBezTo>
                  <a:pt x="1859058" y="6367426"/>
                  <a:pt x="1857671" y="6368772"/>
                  <a:pt x="1855035" y="6369258"/>
                </a:cubicBezTo>
                <a:cubicBezTo>
                  <a:pt x="1853453" y="6369551"/>
                  <a:pt x="1851938" y="6369612"/>
                  <a:pt x="1850356" y="6369904"/>
                </a:cubicBezTo>
                <a:cubicBezTo>
                  <a:pt x="1848247" y="6370293"/>
                  <a:pt x="1847156" y="6371475"/>
                  <a:pt x="1847019" y="6373680"/>
                </a:cubicBezTo>
                <a:lnTo>
                  <a:pt x="1847628" y="6375441"/>
                </a:lnTo>
                <a:lnTo>
                  <a:pt x="1824452" y="6388152"/>
                </a:lnTo>
                <a:lnTo>
                  <a:pt x="1825845" y="6384782"/>
                </a:lnTo>
                <a:cubicBezTo>
                  <a:pt x="1826837" y="6383072"/>
                  <a:pt x="1827103" y="6382151"/>
                  <a:pt x="1825362" y="6380401"/>
                </a:cubicBezTo>
                <a:cubicBezTo>
                  <a:pt x="1823324" y="6378815"/>
                  <a:pt x="1822070" y="6379701"/>
                  <a:pt x="1820749" y="6380817"/>
                </a:cubicBezTo>
                <a:cubicBezTo>
                  <a:pt x="1819793" y="6381538"/>
                  <a:pt x="1819296" y="6382393"/>
                  <a:pt x="1818504" y="6383411"/>
                </a:cubicBezTo>
                <a:cubicBezTo>
                  <a:pt x="1815034" y="6387648"/>
                  <a:pt x="1813585" y="6387480"/>
                  <a:pt x="1811259" y="6382567"/>
                </a:cubicBezTo>
                <a:cubicBezTo>
                  <a:pt x="1810833" y="6381446"/>
                  <a:pt x="1810244" y="6380029"/>
                  <a:pt x="1808862" y="6379630"/>
                </a:cubicBezTo>
                <a:cubicBezTo>
                  <a:pt x="1807183" y="6379395"/>
                  <a:pt x="1806651" y="6381237"/>
                  <a:pt x="1805858" y="6382256"/>
                </a:cubicBezTo>
                <a:cubicBezTo>
                  <a:pt x="1805131" y="6383044"/>
                  <a:pt x="1804634" y="6383898"/>
                  <a:pt x="1804369" y="6384819"/>
                </a:cubicBezTo>
                <a:cubicBezTo>
                  <a:pt x="1803459" y="6386677"/>
                  <a:pt x="1802444" y="6387382"/>
                  <a:pt x="1801406" y="6387301"/>
                </a:cubicBezTo>
                <a:cubicBezTo>
                  <a:pt x="1800369" y="6387219"/>
                  <a:pt x="1799309" y="6386353"/>
                  <a:pt x="1798307" y="6385065"/>
                </a:cubicBezTo>
                <a:cubicBezTo>
                  <a:pt x="1796372" y="6382262"/>
                  <a:pt x="1794568" y="6378997"/>
                  <a:pt x="1792633" y="6376194"/>
                </a:cubicBezTo>
                <a:cubicBezTo>
                  <a:pt x="1790369" y="6372795"/>
                  <a:pt x="1787444" y="6369956"/>
                  <a:pt x="1783160" y="6370964"/>
                </a:cubicBezTo>
                <a:cubicBezTo>
                  <a:pt x="1779766" y="6371481"/>
                  <a:pt x="1778716" y="6369932"/>
                  <a:pt x="1777701" y="6367393"/>
                </a:cubicBezTo>
                <a:cubicBezTo>
                  <a:pt x="1775575" y="6361789"/>
                  <a:pt x="1772425" y="6357139"/>
                  <a:pt x="1765575" y="6356658"/>
                </a:cubicBezTo>
                <a:cubicBezTo>
                  <a:pt x="1763828" y="6356653"/>
                  <a:pt x="1763567" y="6355830"/>
                  <a:pt x="1763802" y="6354151"/>
                </a:cubicBezTo>
                <a:cubicBezTo>
                  <a:pt x="1766137" y="6342602"/>
                  <a:pt x="1764090" y="6331534"/>
                  <a:pt x="1760165" y="6320920"/>
                </a:cubicBezTo>
                <a:cubicBezTo>
                  <a:pt x="1759151" y="6318382"/>
                  <a:pt x="1760010" y="6317134"/>
                  <a:pt x="1761530" y="6315327"/>
                </a:cubicBezTo>
                <a:cubicBezTo>
                  <a:pt x="1765030" y="6311847"/>
                  <a:pt x="1768895" y="6307973"/>
                  <a:pt x="1768611" y="6302901"/>
                </a:cubicBezTo>
                <a:cubicBezTo>
                  <a:pt x="1768327" y="6297831"/>
                  <a:pt x="1770409" y="6294939"/>
                  <a:pt x="1773777" y="6291920"/>
                </a:cubicBezTo>
                <a:cubicBezTo>
                  <a:pt x="1774801" y="6290967"/>
                  <a:pt x="1775594" y="6289950"/>
                  <a:pt x="1776684" y="6288767"/>
                </a:cubicBezTo>
                <a:cubicBezTo>
                  <a:pt x="1781607" y="6282954"/>
                  <a:pt x="1786857" y="6277733"/>
                  <a:pt x="1794929" y="6276572"/>
                </a:cubicBezTo>
                <a:cubicBezTo>
                  <a:pt x="1796446" y="6276510"/>
                  <a:pt x="1796711" y="6275589"/>
                  <a:pt x="1797043" y="6274437"/>
                </a:cubicBezTo>
                <a:cubicBezTo>
                  <a:pt x="1797810" y="6270916"/>
                  <a:pt x="1793982" y="6260831"/>
                  <a:pt x="1791023" y="6258979"/>
                </a:cubicBezTo>
                <a:cubicBezTo>
                  <a:pt x="1786286" y="6256364"/>
                  <a:pt x="1782639" y="6252567"/>
                  <a:pt x="1780314" y="6247655"/>
                </a:cubicBezTo>
                <a:cubicBezTo>
                  <a:pt x="1776938" y="6241193"/>
                  <a:pt x="1774320" y="6234699"/>
                  <a:pt x="1771240" y="6228073"/>
                </a:cubicBezTo>
                <a:cubicBezTo>
                  <a:pt x="1770256" y="6226293"/>
                  <a:pt x="1771213" y="6225570"/>
                  <a:pt x="1772468" y="6224685"/>
                </a:cubicBezTo>
                <a:cubicBezTo>
                  <a:pt x="1778077" y="6220816"/>
                  <a:pt x="1778077" y="6220816"/>
                  <a:pt x="1774005" y="6215899"/>
                </a:cubicBezTo>
                <a:lnTo>
                  <a:pt x="1776200" y="6205743"/>
                </a:lnTo>
                <a:lnTo>
                  <a:pt x="1753818" y="6188958"/>
                </a:lnTo>
                <a:cubicBezTo>
                  <a:pt x="1612308" y="6076774"/>
                  <a:pt x="1479188" y="5952762"/>
                  <a:pt x="1354299" y="5817500"/>
                </a:cubicBezTo>
                <a:cubicBezTo>
                  <a:pt x="1154284" y="5601806"/>
                  <a:pt x="995011" y="5357972"/>
                  <a:pt x="893501" y="5080792"/>
                </a:cubicBezTo>
                <a:cubicBezTo>
                  <a:pt x="853644" y="4974416"/>
                  <a:pt x="795793" y="4876889"/>
                  <a:pt x="758247" y="4769179"/>
                </a:cubicBezTo>
                <a:lnTo>
                  <a:pt x="754716" y="4752800"/>
                </a:lnTo>
                <a:lnTo>
                  <a:pt x="753992" y="4758541"/>
                </a:lnTo>
                <a:cubicBezTo>
                  <a:pt x="754102" y="4759607"/>
                  <a:pt x="754010" y="4760803"/>
                  <a:pt x="752871" y="4761245"/>
                </a:cubicBezTo>
                <a:cubicBezTo>
                  <a:pt x="746785" y="4762850"/>
                  <a:pt x="746218" y="4767760"/>
                  <a:pt x="745449" y="4772799"/>
                </a:cubicBezTo>
                <a:cubicBezTo>
                  <a:pt x="745284" y="4774325"/>
                  <a:pt x="745046" y="4776182"/>
                  <a:pt x="742969" y="4776939"/>
                </a:cubicBezTo>
                <a:cubicBezTo>
                  <a:pt x="737141" y="4778948"/>
                  <a:pt x="732269" y="4782907"/>
                  <a:pt x="726957" y="4785725"/>
                </a:cubicBezTo>
                <a:cubicBezTo>
                  <a:pt x="722582" y="4788230"/>
                  <a:pt x="718078" y="4790532"/>
                  <a:pt x="712561" y="4790355"/>
                </a:cubicBezTo>
                <a:cubicBezTo>
                  <a:pt x="710170" y="4790174"/>
                  <a:pt x="709214" y="4791351"/>
                  <a:pt x="708903" y="4793539"/>
                </a:cubicBezTo>
                <a:cubicBezTo>
                  <a:pt x="708941" y="4794936"/>
                  <a:pt x="708850" y="4796132"/>
                  <a:pt x="708556" y="4797456"/>
                </a:cubicBezTo>
                <a:cubicBezTo>
                  <a:pt x="708262" y="4798780"/>
                  <a:pt x="707362" y="4800491"/>
                  <a:pt x="705837" y="4800327"/>
                </a:cubicBezTo>
                <a:cubicBezTo>
                  <a:pt x="704107" y="4800292"/>
                  <a:pt x="703481" y="4798417"/>
                  <a:pt x="703315" y="4796817"/>
                </a:cubicBezTo>
                <a:cubicBezTo>
                  <a:pt x="703130" y="4796082"/>
                  <a:pt x="703277" y="4795420"/>
                  <a:pt x="703295" y="4794556"/>
                </a:cubicBezTo>
                <a:cubicBezTo>
                  <a:pt x="703567" y="4787845"/>
                  <a:pt x="700420" y="4785587"/>
                  <a:pt x="694574" y="4788462"/>
                </a:cubicBezTo>
                <a:cubicBezTo>
                  <a:pt x="693436" y="4788904"/>
                  <a:pt x="692424" y="4789549"/>
                  <a:pt x="691487" y="4789863"/>
                </a:cubicBezTo>
                <a:cubicBezTo>
                  <a:pt x="689813" y="4790360"/>
                  <a:pt x="688453" y="4791796"/>
                  <a:pt x="686632" y="4789831"/>
                </a:cubicBezTo>
                <a:cubicBezTo>
                  <a:pt x="685197" y="4788472"/>
                  <a:pt x="685490" y="4787148"/>
                  <a:pt x="686187" y="4785565"/>
                </a:cubicBezTo>
                <a:cubicBezTo>
                  <a:pt x="687381" y="4782531"/>
                  <a:pt x="686277" y="4781245"/>
                  <a:pt x="682893" y="4780844"/>
                </a:cubicBezTo>
                <a:cubicBezTo>
                  <a:pt x="678645" y="4780426"/>
                  <a:pt x="674213" y="4779272"/>
                  <a:pt x="671837" y="4775101"/>
                </a:cubicBezTo>
                <a:cubicBezTo>
                  <a:pt x="669978" y="4771739"/>
                  <a:pt x="668139" y="4770637"/>
                  <a:pt x="665014" y="4773766"/>
                </a:cubicBezTo>
                <a:cubicBezTo>
                  <a:pt x="664335" y="4774484"/>
                  <a:pt x="663195" y="4774926"/>
                  <a:pt x="662017" y="4773972"/>
                </a:cubicBezTo>
                <a:cubicBezTo>
                  <a:pt x="660969" y="4773219"/>
                  <a:pt x="661593" y="4771968"/>
                  <a:pt x="661813" y="4770974"/>
                </a:cubicBezTo>
                <a:cubicBezTo>
                  <a:pt x="662327" y="4768657"/>
                  <a:pt x="663042" y="4766212"/>
                  <a:pt x="663022" y="4763950"/>
                </a:cubicBezTo>
                <a:cubicBezTo>
                  <a:pt x="663552" y="4757643"/>
                  <a:pt x="661804" y="4755347"/>
                  <a:pt x="655936" y="4752834"/>
                </a:cubicBezTo>
                <a:cubicBezTo>
                  <a:pt x="651319" y="4750946"/>
                  <a:pt x="647181" y="4748469"/>
                  <a:pt x="644143" y="4744151"/>
                </a:cubicBezTo>
                <a:cubicBezTo>
                  <a:pt x="641880" y="4741046"/>
                  <a:pt x="643240" y="4739611"/>
                  <a:pt x="646512" y="4738945"/>
                </a:cubicBezTo>
                <a:cubicBezTo>
                  <a:pt x="648719" y="4738391"/>
                  <a:pt x="650889" y="4739566"/>
                  <a:pt x="652950" y="4739674"/>
                </a:cubicBezTo>
                <a:cubicBezTo>
                  <a:pt x="655340" y="4739855"/>
                  <a:pt x="658596" y="4740054"/>
                  <a:pt x="659182" y="4737406"/>
                </a:cubicBezTo>
                <a:cubicBezTo>
                  <a:pt x="659713" y="4734225"/>
                  <a:pt x="657156" y="4732444"/>
                  <a:pt x="654177" y="4731785"/>
                </a:cubicBezTo>
                <a:cubicBezTo>
                  <a:pt x="652852" y="4731493"/>
                  <a:pt x="651124" y="4731458"/>
                  <a:pt x="649671" y="4730963"/>
                </a:cubicBezTo>
                <a:cubicBezTo>
                  <a:pt x="648015" y="4730597"/>
                  <a:pt x="646433" y="4729900"/>
                  <a:pt x="646745" y="4727712"/>
                </a:cubicBezTo>
                <a:cubicBezTo>
                  <a:pt x="646983" y="4725854"/>
                  <a:pt x="648582" y="4725687"/>
                  <a:pt x="650440" y="4725924"/>
                </a:cubicBezTo>
                <a:cubicBezTo>
                  <a:pt x="652169" y="4725959"/>
                  <a:pt x="654027" y="4726196"/>
                  <a:pt x="655626" y="4726029"/>
                </a:cubicBezTo>
                <a:cubicBezTo>
                  <a:pt x="658219" y="4726082"/>
                  <a:pt x="659854" y="4724187"/>
                  <a:pt x="660496" y="4722071"/>
                </a:cubicBezTo>
                <a:cubicBezTo>
                  <a:pt x="661140" y="4719956"/>
                  <a:pt x="659171" y="4718653"/>
                  <a:pt x="657662" y="4717624"/>
                </a:cubicBezTo>
                <a:cubicBezTo>
                  <a:pt x="650120" y="4712484"/>
                  <a:pt x="638076" y="4715899"/>
                  <a:pt x="633908" y="4724527"/>
                </a:cubicBezTo>
                <a:cubicBezTo>
                  <a:pt x="631960" y="4728610"/>
                  <a:pt x="630361" y="4728777"/>
                  <a:pt x="627894" y="4725801"/>
                </a:cubicBezTo>
                <a:cubicBezTo>
                  <a:pt x="623938" y="4720933"/>
                  <a:pt x="619321" y="4719044"/>
                  <a:pt x="612905" y="4720577"/>
                </a:cubicBezTo>
                <a:cubicBezTo>
                  <a:pt x="611231" y="4721075"/>
                  <a:pt x="608363" y="4721482"/>
                  <a:pt x="607552" y="4718872"/>
                </a:cubicBezTo>
                <a:cubicBezTo>
                  <a:pt x="605545" y="4713047"/>
                  <a:pt x="600816" y="4710092"/>
                  <a:pt x="595611" y="4707725"/>
                </a:cubicBezTo>
                <a:cubicBezTo>
                  <a:pt x="591656" y="4705983"/>
                  <a:pt x="589246" y="4703540"/>
                  <a:pt x="589151" y="4698485"/>
                </a:cubicBezTo>
                <a:cubicBezTo>
                  <a:pt x="589129" y="4693098"/>
                  <a:pt x="586296" y="4691776"/>
                  <a:pt x="580928" y="4694062"/>
                </a:cubicBezTo>
                <a:cubicBezTo>
                  <a:pt x="580726" y="4694191"/>
                  <a:pt x="580523" y="4694320"/>
                  <a:pt x="580322" y="4694449"/>
                </a:cubicBezTo>
                <a:cubicBezTo>
                  <a:pt x="578373" y="4695407"/>
                  <a:pt x="576295" y="4696163"/>
                  <a:pt x="574934" y="4694473"/>
                </a:cubicBezTo>
                <a:cubicBezTo>
                  <a:pt x="573369" y="4692912"/>
                  <a:pt x="575722" y="4691697"/>
                  <a:pt x="576347" y="4690446"/>
                </a:cubicBezTo>
                <a:cubicBezTo>
                  <a:pt x="580756" y="4683087"/>
                  <a:pt x="580164" y="4676357"/>
                  <a:pt x="574312" y="4669856"/>
                </a:cubicBezTo>
                <a:cubicBezTo>
                  <a:pt x="572361" y="4667688"/>
                  <a:pt x="572268" y="4665758"/>
                  <a:pt x="573646" y="4663458"/>
                </a:cubicBezTo>
                <a:cubicBezTo>
                  <a:pt x="574473" y="4662078"/>
                  <a:pt x="575428" y="4660901"/>
                  <a:pt x="576255" y="4659521"/>
                </a:cubicBezTo>
                <a:cubicBezTo>
                  <a:pt x="577357" y="4657681"/>
                  <a:pt x="577190" y="4656083"/>
                  <a:pt x="575627" y="4654520"/>
                </a:cubicBezTo>
                <a:lnTo>
                  <a:pt x="573903" y="4653814"/>
                </a:lnTo>
                <a:lnTo>
                  <a:pt x="579687" y="4628020"/>
                </a:lnTo>
                <a:lnTo>
                  <a:pt x="581296" y="4631294"/>
                </a:lnTo>
                <a:cubicBezTo>
                  <a:pt x="581921" y="4633169"/>
                  <a:pt x="582437" y="4633977"/>
                  <a:pt x="584901" y="4633828"/>
                </a:cubicBezTo>
                <a:cubicBezTo>
                  <a:pt x="587439" y="4633347"/>
                  <a:pt x="587603" y="4631821"/>
                  <a:pt x="587640" y="4630093"/>
                </a:cubicBezTo>
                <a:cubicBezTo>
                  <a:pt x="587730" y="4628897"/>
                  <a:pt x="587417" y="4627960"/>
                  <a:pt x="587177" y="4626692"/>
                </a:cubicBezTo>
                <a:cubicBezTo>
                  <a:pt x="586291" y="4621287"/>
                  <a:pt x="587376" y="4620311"/>
                  <a:pt x="592598" y="4621813"/>
                </a:cubicBezTo>
                <a:cubicBezTo>
                  <a:pt x="593721" y="4622235"/>
                  <a:pt x="595174" y="4622730"/>
                  <a:pt x="596388" y="4621957"/>
                </a:cubicBezTo>
                <a:cubicBezTo>
                  <a:pt x="597674" y="4620853"/>
                  <a:pt x="596643" y="4619236"/>
                  <a:pt x="596404" y="4617967"/>
                </a:cubicBezTo>
                <a:cubicBezTo>
                  <a:pt x="596292" y="4616901"/>
                  <a:pt x="595979" y="4615964"/>
                  <a:pt x="595463" y="4615155"/>
                </a:cubicBezTo>
                <a:cubicBezTo>
                  <a:pt x="594672" y="4613244"/>
                  <a:pt x="594814" y="4612016"/>
                  <a:pt x="595560" y="4611291"/>
                </a:cubicBezTo>
                <a:cubicBezTo>
                  <a:pt x="596307" y="4610567"/>
                  <a:pt x="597658" y="4610345"/>
                  <a:pt x="599286" y="4610445"/>
                </a:cubicBezTo>
                <a:cubicBezTo>
                  <a:pt x="602670" y="4610845"/>
                  <a:pt x="606311" y="4611651"/>
                  <a:pt x="609695" y="4612052"/>
                </a:cubicBezTo>
                <a:cubicBezTo>
                  <a:pt x="613741" y="4612599"/>
                  <a:pt x="617805" y="4612281"/>
                  <a:pt x="619881" y="4608400"/>
                </a:cubicBezTo>
                <a:cubicBezTo>
                  <a:pt x="621736" y="4605511"/>
                  <a:pt x="623594" y="4605750"/>
                  <a:pt x="626169" y="4606665"/>
                </a:cubicBezTo>
                <a:cubicBezTo>
                  <a:pt x="631778" y="4608774"/>
                  <a:pt x="637351" y="4609485"/>
                  <a:pt x="642240" y="4604662"/>
                </a:cubicBezTo>
                <a:cubicBezTo>
                  <a:pt x="643397" y="4603356"/>
                  <a:pt x="644188" y="4603705"/>
                  <a:pt x="645292" y="4604991"/>
                </a:cubicBezTo>
                <a:cubicBezTo>
                  <a:pt x="652415" y="4614379"/>
                  <a:pt x="662073" y="4620159"/>
                  <a:pt x="672631" y="4624230"/>
                </a:cubicBezTo>
                <a:cubicBezTo>
                  <a:pt x="675206" y="4625147"/>
                  <a:pt x="675574" y="4626617"/>
                  <a:pt x="675926" y="4628951"/>
                </a:cubicBezTo>
                <a:cubicBezTo>
                  <a:pt x="676222" y="4633878"/>
                  <a:pt x="676575" y="4639338"/>
                  <a:pt x="680567" y="4642478"/>
                </a:cubicBezTo>
                <a:cubicBezTo>
                  <a:pt x="684560" y="4645618"/>
                  <a:pt x="685353" y="4649091"/>
                  <a:pt x="685392" y="4653614"/>
                </a:cubicBezTo>
                <a:cubicBezTo>
                  <a:pt x="685430" y="4655012"/>
                  <a:pt x="685670" y="4656280"/>
                  <a:pt x="685835" y="4657880"/>
                </a:cubicBezTo>
                <a:cubicBezTo>
                  <a:pt x="686944" y="4665417"/>
                  <a:pt x="687389" y="4672807"/>
                  <a:pt x="682925" y="4679632"/>
                </a:cubicBezTo>
                <a:cubicBezTo>
                  <a:pt x="681969" y="4680810"/>
                  <a:pt x="682485" y="4681618"/>
                  <a:pt x="683129" y="4682629"/>
                </a:cubicBezTo>
                <a:cubicBezTo>
                  <a:pt x="685264" y="4685532"/>
                  <a:pt x="695361" y="4689327"/>
                  <a:pt x="698708" y="4688330"/>
                </a:cubicBezTo>
                <a:cubicBezTo>
                  <a:pt x="703801" y="4686505"/>
                  <a:pt x="709060" y="4686279"/>
                  <a:pt x="714283" y="4687781"/>
                </a:cubicBezTo>
                <a:cubicBezTo>
                  <a:pt x="721364" y="4689520"/>
                  <a:pt x="727968" y="4691848"/>
                  <a:pt x="734975" y="4693918"/>
                </a:cubicBezTo>
                <a:cubicBezTo>
                  <a:pt x="736961" y="4694357"/>
                  <a:pt x="736870" y="4695552"/>
                  <a:pt x="736706" y="4697079"/>
                </a:cubicBezTo>
                <a:cubicBezTo>
                  <a:pt x="735900" y="4703845"/>
                  <a:pt x="735900" y="4703845"/>
                  <a:pt x="742281" y="4704041"/>
                </a:cubicBezTo>
                <a:lnTo>
                  <a:pt x="744998" y="4707722"/>
                </a:lnTo>
                <a:lnTo>
                  <a:pt x="724286" y="4611654"/>
                </a:lnTo>
                <a:cubicBezTo>
                  <a:pt x="714563" y="4509447"/>
                  <a:pt x="692443" y="4409776"/>
                  <a:pt x="670320" y="4310105"/>
                </a:cubicBezTo>
                <a:cubicBezTo>
                  <a:pt x="659482" y="4328685"/>
                  <a:pt x="654531" y="4405478"/>
                  <a:pt x="660321" y="4442180"/>
                </a:cubicBezTo>
                <a:cubicBezTo>
                  <a:pt x="637259" y="4418914"/>
                  <a:pt x="612755" y="4289981"/>
                  <a:pt x="602159" y="4172499"/>
                </a:cubicBezTo>
                <a:lnTo>
                  <a:pt x="601758" y="4166530"/>
                </a:lnTo>
                <a:lnTo>
                  <a:pt x="598443" y="4166555"/>
                </a:lnTo>
                <a:cubicBezTo>
                  <a:pt x="593631" y="4167542"/>
                  <a:pt x="588847" y="4168043"/>
                  <a:pt x="584226" y="4163745"/>
                </a:cubicBezTo>
                <a:cubicBezTo>
                  <a:pt x="581515" y="4161179"/>
                  <a:pt x="574950" y="4162681"/>
                  <a:pt x="577240" y="4155318"/>
                </a:cubicBezTo>
                <a:cubicBezTo>
                  <a:pt x="578039" y="4153198"/>
                  <a:pt x="576198" y="4151153"/>
                  <a:pt x="574426" y="4151746"/>
                </a:cubicBezTo>
                <a:cubicBezTo>
                  <a:pt x="566853" y="4153353"/>
                  <a:pt x="565046" y="4149675"/>
                  <a:pt x="565948" y="4142661"/>
                </a:cubicBezTo>
                <a:cubicBezTo>
                  <a:pt x="566120" y="4140403"/>
                  <a:pt x="563375" y="4139470"/>
                  <a:pt x="561639" y="4138431"/>
                </a:cubicBezTo>
                <a:cubicBezTo>
                  <a:pt x="558651" y="4137116"/>
                  <a:pt x="556809" y="4135070"/>
                  <a:pt x="557885" y="4131700"/>
                </a:cubicBezTo>
                <a:cubicBezTo>
                  <a:pt x="558962" y="4128331"/>
                  <a:pt x="557119" y="4126285"/>
                  <a:pt x="556424" y="4123508"/>
                </a:cubicBezTo>
                <a:cubicBezTo>
                  <a:pt x="554686" y="4116566"/>
                  <a:pt x="552356" y="4107855"/>
                  <a:pt x="554856" y="4102505"/>
                </a:cubicBezTo>
                <a:cubicBezTo>
                  <a:pt x="560377" y="4090936"/>
                  <a:pt x="565272" y="4079228"/>
                  <a:pt x="571036" y="4068040"/>
                </a:cubicBezTo>
                <a:cubicBezTo>
                  <a:pt x="571800" y="4067552"/>
                  <a:pt x="573328" y="4066579"/>
                  <a:pt x="574197" y="4067098"/>
                </a:cubicBezTo>
                <a:cubicBezTo>
                  <a:pt x="580207" y="4068096"/>
                  <a:pt x="585591" y="4068957"/>
                  <a:pt x="587397" y="4060829"/>
                </a:cubicBezTo>
                <a:cubicBezTo>
                  <a:pt x="587709" y="4057947"/>
                  <a:pt x="590070" y="4059125"/>
                  <a:pt x="591426" y="4060408"/>
                </a:cubicBezTo>
                <a:lnTo>
                  <a:pt x="597255" y="4063332"/>
                </a:lnTo>
                <a:lnTo>
                  <a:pt x="597100" y="4044514"/>
                </a:lnTo>
                <a:cubicBezTo>
                  <a:pt x="597696" y="4026597"/>
                  <a:pt x="599095" y="4011012"/>
                  <a:pt x="601419" y="3998696"/>
                </a:cubicBezTo>
                <a:cubicBezTo>
                  <a:pt x="620845" y="4013667"/>
                  <a:pt x="628719" y="4035307"/>
                  <a:pt x="644857" y="4055255"/>
                </a:cubicBezTo>
                <a:cubicBezTo>
                  <a:pt x="659373" y="4008367"/>
                  <a:pt x="649583" y="3964730"/>
                  <a:pt x="645257" y="3922558"/>
                </a:cubicBezTo>
                <a:cubicBezTo>
                  <a:pt x="643565" y="3914294"/>
                  <a:pt x="639076" y="3909186"/>
                  <a:pt x="630321" y="3912698"/>
                </a:cubicBezTo>
                <a:cubicBezTo>
                  <a:pt x="593485" y="3926262"/>
                  <a:pt x="592544" y="3900621"/>
                  <a:pt x="592934" y="3877290"/>
                </a:cubicBezTo>
                <a:lnTo>
                  <a:pt x="601361" y="3650094"/>
                </a:lnTo>
                <a:lnTo>
                  <a:pt x="595373" y="3653691"/>
                </a:lnTo>
                <a:cubicBezTo>
                  <a:pt x="592178" y="3656265"/>
                  <a:pt x="586135" y="3662801"/>
                  <a:pt x="582904" y="3661104"/>
                </a:cubicBezTo>
                <a:cubicBezTo>
                  <a:pt x="573453" y="3656395"/>
                  <a:pt x="563556" y="3666999"/>
                  <a:pt x="554313" y="3658402"/>
                </a:cubicBezTo>
                <a:cubicBezTo>
                  <a:pt x="551602" y="3655836"/>
                  <a:pt x="545038" y="3657338"/>
                  <a:pt x="547329" y="3649974"/>
                </a:cubicBezTo>
                <a:cubicBezTo>
                  <a:pt x="548127" y="3647854"/>
                  <a:pt x="546285" y="3645809"/>
                  <a:pt x="544514" y="3646402"/>
                </a:cubicBezTo>
                <a:cubicBezTo>
                  <a:pt x="536941" y="3648010"/>
                  <a:pt x="535133" y="3644333"/>
                  <a:pt x="536035" y="3637317"/>
                </a:cubicBezTo>
                <a:cubicBezTo>
                  <a:pt x="536208" y="3635061"/>
                  <a:pt x="533464" y="3634127"/>
                  <a:pt x="531727" y="3633087"/>
                </a:cubicBezTo>
                <a:cubicBezTo>
                  <a:pt x="528739" y="3631772"/>
                  <a:pt x="526897" y="3629726"/>
                  <a:pt x="527973" y="3626357"/>
                </a:cubicBezTo>
                <a:cubicBezTo>
                  <a:pt x="529049" y="3622987"/>
                  <a:pt x="527208" y="3620944"/>
                  <a:pt x="526512" y="3618166"/>
                </a:cubicBezTo>
                <a:cubicBezTo>
                  <a:pt x="524774" y="3611225"/>
                  <a:pt x="522444" y="3602512"/>
                  <a:pt x="524944" y="3597164"/>
                </a:cubicBezTo>
                <a:cubicBezTo>
                  <a:pt x="530464" y="3585593"/>
                  <a:pt x="535360" y="3573886"/>
                  <a:pt x="541124" y="3562714"/>
                </a:cubicBezTo>
                <a:cubicBezTo>
                  <a:pt x="541887" y="3562230"/>
                  <a:pt x="543416" y="3561256"/>
                  <a:pt x="544285" y="3561774"/>
                </a:cubicBezTo>
                <a:cubicBezTo>
                  <a:pt x="550294" y="3562772"/>
                  <a:pt x="555679" y="3563635"/>
                  <a:pt x="557484" y="3555506"/>
                </a:cubicBezTo>
                <a:cubicBezTo>
                  <a:pt x="557796" y="3552621"/>
                  <a:pt x="560158" y="3553799"/>
                  <a:pt x="561514" y="3555083"/>
                </a:cubicBezTo>
                <a:cubicBezTo>
                  <a:pt x="566795" y="3560842"/>
                  <a:pt x="569852" y="3558891"/>
                  <a:pt x="572004" y="3552151"/>
                </a:cubicBezTo>
                <a:cubicBezTo>
                  <a:pt x="573358" y="3547531"/>
                  <a:pt x="575373" y="3547318"/>
                  <a:pt x="577805" y="3551137"/>
                </a:cubicBezTo>
                <a:cubicBezTo>
                  <a:pt x="579265" y="3553425"/>
                  <a:pt x="580203" y="3556587"/>
                  <a:pt x="583885" y="3554775"/>
                </a:cubicBezTo>
                <a:cubicBezTo>
                  <a:pt x="592500" y="3551429"/>
                  <a:pt x="598962" y="3554821"/>
                  <a:pt x="602959" y="3561935"/>
                </a:cubicBezTo>
                <a:lnTo>
                  <a:pt x="604595" y="3562912"/>
                </a:lnTo>
                <a:lnTo>
                  <a:pt x="605485" y="3538904"/>
                </a:lnTo>
                <a:cubicBezTo>
                  <a:pt x="611676" y="3442930"/>
                  <a:pt x="628798" y="3349890"/>
                  <a:pt x="657343" y="3257940"/>
                </a:cubicBezTo>
                <a:cubicBezTo>
                  <a:pt x="661118" y="3251140"/>
                  <a:pt x="663070" y="3243851"/>
                  <a:pt x="665024" y="3236565"/>
                </a:cubicBezTo>
                <a:cubicBezTo>
                  <a:pt x="667401" y="3231341"/>
                  <a:pt x="669654" y="3226575"/>
                  <a:pt x="672969" y="3223312"/>
                </a:cubicBezTo>
                <a:lnTo>
                  <a:pt x="676691" y="3222213"/>
                </a:lnTo>
                <a:lnTo>
                  <a:pt x="670256" y="3222657"/>
                </a:lnTo>
                <a:cubicBezTo>
                  <a:pt x="667887" y="3224327"/>
                  <a:pt x="667209" y="3221777"/>
                  <a:pt x="667276" y="3219909"/>
                </a:cubicBezTo>
                <a:cubicBezTo>
                  <a:pt x="668103" y="3212145"/>
                  <a:pt x="664620" y="3211140"/>
                  <a:pt x="658142" y="3213980"/>
                </a:cubicBezTo>
                <a:cubicBezTo>
                  <a:pt x="653780" y="3216018"/>
                  <a:pt x="652289" y="3214645"/>
                  <a:pt x="653545" y="3210298"/>
                </a:cubicBezTo>
                <a:cubicBezTo>
                  <a:pt x="654298" y="3207690"/>
                  <a:pt x="656047" y="3204899"/>
                  <a:pt x="652254" y="3203333"/>
                </a:cubicBezTo>
                <a:cubicBezTo>
                  <a:pt x="644050" y="3199078"/>
                  <a:pt x="642324" y="3191986"/>
                  <a:pt x="645018" y="3184281"/>
                </a:cubicBezTo>
                <a:cubicBezTo>
                  <a:pt x="647085" y="3178758"/>
                  <a:pt x="646097" y="3175645"/>
                  <a:pt x="642806" y="3172342"/>
                </a:cubicBezTo>
                <a:cubicBezTo>
                  <a:pt x="643308" y="3170603"/>
                  <a:pt x="643810" y="3168861"/>
                  <a:pt x="644312" y="3167122"/>
                </a:cubicBezTo>
                <a:cubicBezTo>
                  <a:pt x="649419" y="3165770"/>
                  <a:pt x="652105" y="3161363"/>
                  <a:pt x="652054" y="3156638"/>
                </a:cubicBezTo>
                <a:cubicBezTo>
                  <a:pt x="652136" y="3148184"/>
                  <a:pt x="656505" y="3142851"/>
                  <a:pt x="663670" y="3139269"/>
                </a:cubicBezTo>
                <a:cubicBezTo>
                  <a:pt x="666474" y="3137724"/>
                  <a:pt x="669153" y="3136612"/>
                  <a:pt x="670901" y="3133820"/>
                </a:cubicBezTo>
                <a:cubicBezTo>
                  <a:pt x="673153" y="3129291"/>
                  <a:pt x="676518" y="3127435"/>
                  <a:pt x="681180" y="3129252"/>
                </a:cubicBezTo>
                <a:cubicBezTo>
                  <a:pt x="684664" y="3130257"/>
                  <a:pt x="687903" y="3128837"/>
                  <a:pt x="689711" y="3127474"/>
                </a:cubicBezTo>
                <a:cubicBezTo>
                  <a:pt x="700124" y="3119174"/>
                  <a:pt x="709376" y="3127970"/>
                  <a:pt x="718894" y="3129305"/>
                </a:cubicBezTo>
                <a:cubicBezTo>
                  <a:pt x="722938" y="3130000"/>
                  <a:pt x="731837" y="3130215"/>
                  <a:pt x="732700" y="3133759"/>
                </a:cubicBezTo>
                <a:lnTo>
                  <a:pt x="740935" y="3142970"/>
                </a:lnTo>
                <a:lnTo>
                  <a:pt x="756929" y="3026576"/>
                </a:lnTo>
                <a:lnTo>
                  <a:pt x="789321" y="2896426"/>
                </a:lnTo>
                <a:lnTo>
                  <a:pt x="779838" y="2885732"/>
                </a:lnTo>
                <a:cubicBezTo>
                  <a:pt x="777122" y="2882658"/>
                  <a:pt x="776963" y="2876397"/>
                  <a:pt x="776760" y="2871430"/>
                </a:cubicBezTo>
                <a:cubicBezTo>
                  <a:pt x="776678" y="2869443"/>
                  <a:pt x="777503" y="2867718"/>
                  <a:pt x="776124" y="2865684"/>
                </a:cubicBezTo>
                <a:cubicBezTo>
                  <a:pt x="774746" y="2863651"/>
                  <a:pt x="775572" y="2861926"/>
                  <a:pt x="777304" y="2860463"/>
                </a:cubicBezTo>
                <a:cubicBezTo>
                  <a:pt x="778258" y="2859429"/>
                  <a:pt x="779903" y="2858270"/>
                  <a:pt x="779344" y="2856801"/>
                </a:cubicBezTo>
                <a:cubicBezTo>
                  <a:pt x="777367" y="2852303"/>
                  <a:pt x="777849" y="2849499"/>
                  <a:pt x="783209" y="2849084"/>
                </a:cubicBezTo>
                <a:cubicBezTo>
                  <a:pt x="784506" y="2849129"/>
                  <a:pt x="785331" y="2847404"/>
                  <a:pt x="784384" y="2846151"/>
                </a:cubicBezTo>
                <a:cubicBezTo>
                  <a:pt x="781411" y="2841693"/>
                  <a:pt x="786081" y="2841405"/>
                  <a:pt x="787383" y="2839164"/>
                </a:cubicBezTo>
                <a:cubicBezTo>
                  <a:pt x="789617" y="2835392"/>
                  <a:pt x="792904" y="2834788"/>
                  <a:pt x="796304" y="2834500"/>
                </a:cubicBezTo>
                <a:lnTo>
                  <a:pt x="805382" y="2831897"/>
                </a:lnTo>
                <a:lnTo>
                  <a:pt x="814287" y="2796114"/>
                </a:lnTo>
                <a:cubicBezTo>
                  <a:pt x="872840" y="2606740"/>
                  <a:pt x="975846" y="2440987"/>
                  <a:pt x="1086140" y="2277190"/>
                </a:cubicBezTo>
                <a:cubicBezTo>
                  <a:pt x="1276656" y="1996245"/>
                  <a:pt x="1493754" y="1739990"/>
                  <a:pt x="1767180" y="1535930"/>
                </a:cubicBezTo>
                <a:cubicBezTo>
                  <a:pt x="2083663" y="1302393"/>
                  <a:pt x="2432764" y="1143996"/>
                  <a:pt x="2815911" y="1055268"/>
                </a:cubicBezTo>
                <a:cubicBezTo>
                  <a:pt x="2950961" y="1025044"/>
                  <a:pt x="3083961" y="980608"/>
                  <a:pt x="3224930" y="979323"/>
                </a:cubicBezTo>
                <a:cubicBezTo>
                  <a:pt x="3314862" y="979007"/>
                  <a:pt x="3404787" y="979176"/>
                  <a:pt x="3494594" y="980875"/>
                </a:cubicBezTo>
                <a:lnTo>
                  <a:pt x="3497819" y="981003"/>
                </a:lnTo>
                <a:lnTo>
                  <a:pt x="3489499" y="979729"/>
                </a:lnTo>
                <a:cubicBezTo>
                  <a:pt x="3486286" y="979729"/>
                  <a:pt x="3483072" y="977596"/>
                  <a:pt x="3481643" y="974751"/>
                </a:cubicBezTo>
                <a:cubicBezTo>
                  <a:pt x="3480572" y="972262"/>
                  <a:pt x="3479501" y="970841"/>
                  <a:pt x="3477358" y="969773"/>
                </a:cubicBezTo>
                <a:cubicBezTo>
                  <a:pt x="3477358" y="965507"/>
                  <a:pt x="3477358" y="961241"/>
                  <a:pt x="3477357" y="956974"/>
                </a:cubicBezTo>
                <a:cubicBezTo>
                  <a:pt x="3480929" y="955195"/>
                  <a:pt x="3483785" y="952351"/>
                  <a:pt x="3485214" y="949150"/>
                </a:cubicBezTo>
                <a:cubicBezTo>
                  <a:pt x="3487000" y="946306"/>
                  <a:pt x="3488428" y="943106"/>
                  <a:pt x="3490215" y="939906"/>
                </a:cubicBezTo>
                <a:cubicBezTo>
                  <a:pt x="3492000" y="937062"/>
                  <a:pt x="3493784" y="933861"/>
                  <a:pt x="3494144" y="930305"/>
                </a:cubicBezTo>
                <a:cubicBezTo>
                  <a:pt x="3494856" y="927106"/>
                  <a:pt x="3497000" y="925683"/>
                  <a:pt x="3499499" y="923905"/>
                </a:cubicBezTo>
                <a:cubicBezTo>
                  <a:pt x="3502000" y="922128"/>
                  <a:pt x="3505570" y="922484"/>
                  <a:pt x="3507358" y="919993"/>
                </a:cubicBezTo>
                <a:cubicBezTo>
                  <a:pt x="3509855" y="919994"/>
                  <a:pt x="3511999" y="919994"/>
                  <a:pt x="3514500" y="919994"/>
                </a:cubicBezTo>
                <a:cubicBezTo>
                  <a:pt x="3514500" y="921061"/>
                  <a:pt x="3514857" y="921417"/>
                  <a:pt x="3515572" y="921416"/>
                </a:cubicBezTo>
                <a:cubicBezTo>
                  <a:pt x="3520927" y="921416"/>
                  <a:pt x="3523787" y="924972"/>
                  <a:pt x="3525570" y="929238"/>
                </a:cubicBezTo>
                <a:cubicBezTo>
                  <a:pt x="3527356" y="933150"/>
                  <a:pt x="3529500" y="936706"/>
                  <a:pt x="3528786" y="941329"/>
                </a:cubicBezTo>
                <a:cubicBezTo>
                  <a:pt x="3527714" y="946306"/>
                  <a:pt x="3528071" y="951640"/>
                  <a:pt x="3523787" y="955551"/>
                </a:cubicBezTo>
                <a:cubicBezTo>
                  <a:pt x="3522355" y="956973"/>
                  <a:pt x="3520928" y="958040"/>
                  <a:pt x="3518427" y="958751"/>
                </a:cubicBezTo>
                <a:cubicBezTo>
                  <a:pt x="3514857" y="959817"/>
                  <a:pt x="3510571" y="961596"/>
                  <a:pt x="3511643" y="967285"/>
                </a:cubicBezTo>
                <a:cubicBezTo>
                  <a:pt x="3511999" y="969418"/>
                  <a:pt x="3509856" y="970129"/>
                  <a:pt x="3509500" y="971196"/>
                </a:cubicBezTo>
                <a:lnTo>
                  <a:pt x="3498899" y="981047"/>
                </a:lnTo>
                <a:lnTo>
                  <a:pt x="3533107" y="982410"/>
                </a:lnTo>
                <a:lnTo>
                  <a:pt x="3537928" y="976449"/>
                </a:lnTo>
                <a:cubicBezTo>
                  <a:pt x="3568996" y="941757"/>
                  <a:pt x="3592755" y="912541"/>
                  <a:pt x="3604814" y="910353"/>
                </a:cubicBezTo>
                <a:cubicBezTo>
                  <a:pt x="3604814" y="910353"/>
                  <a:pt x="3604814" y="910353"/>
                  <a:pt x="3608834" y="909626"/>
                </a:cubicBezTo>
                <a:cubicBezTo>
                  <a:pt x="3608834" y="909626"/>
                  <a:pt x="3608834" y="909626"/>
                  <a:pt x="3612123" y="904878"/>
                </a:cubicBezTo>
                <a:cubicBezTo>
                  <a:pt x="3611395" y="900859"/>
                  <a:pt x="3615414" y="900129"/>
                  <a:pt x="3619433" y="899401"/>
                </a:cubicBezTo>
                <a:cubicBezTo>
                  <a:pt x="3619433" y="899401"/>
                  <a:pt x="3619433" y="899401"/>
                  <a:pt x="3616141" y="904148"/>
                </a:cubicBezTo>
                <a:cubicBezTo>
                  <a:pt x="3616141" y="904148"/>
                  <a:pt x="3616141" y="904148"/>
                  <a:pt x="3612852" y="908897"/>
                </a:cubicBezTo>
                <a:cubicBezTo>
                  <a:pt x="3627470" y="897943"/>
                  <a:pt x="3641362" y="882969"/>
                  <a:pt x="3651961" y="872745"/>
                </a:cubicBezTo>
                <a:cubicBezTo>
                  <a:pt x="3656710" y="876035"/>
                  <a:pt x="3671328" y="865081"/>
                  <a:pt x="3672787" y="873118"/>
                </a:cubicBezTo>
                <a:cubicBezTo>
                  <a:pt x="3722409" y="820533"/>
                  <a:pt x="3768940" y="789521"/>
                  <a:pt x="3805766" y="753267"/>
                </a:cubicBezTo>
                <a:lnTo>
                  <a:pt x="3816255" y="740998"/>
                </a:lnTo>
                <a:lnTo>
                  <a:pt x="3809960" y="740685"/>
                </a:lnTo>
                <a:cubicBezTo>
                  <a:pt x="3805163" y="739064"/>
                  <a:pt x="3800731" y="737064"/>
                  <a:pt x="3796002" y="735218"/>
                </a:cubicBezTo>
                <a:cubicBezTo>
                  <a:pt x="3794653" y="734797"/>
                  <a:pt x="3794787" y="733975"/>
                  <a:pt x="3794989" y="732930"/>
                </a:cubicBezTo>
                <a:cubicBezTo>
                  <a:pt x="3795949" y="728295"/>
                  <a:pt x="3795949" y="728295"/>
                  <a:pt x="3791542" y="727783"/>
                </a:cubicBezTo>
                <a:cubicBezTo>
                  <a:pt x="3787433" y="727117"/>
                  <a:pt x="3786511" y="725719"/>
                  <a:pt x="3787700" y="721527"/>
                </a:cubicBezTo>
                <a:cubicBezTo>
                  <a:pt x="3788262" y="719729"/>
                  <a:pt x="3788747" y="717783"/>
                  <a:pt x="3787224" y="715952"/>
                </a:cubicBezTo>
                <a:cubicBezTo>
                  <a:pt x="3783192" y="711486"/>
                  <a:pt x="3782869" y="706205"/>
                  <a:pt x="3784254" y="700594"/>
                </a:cubicBezTo>
                <a:cubicBezTo>
                  <a:pt x="3785152" y="696928"/>
                  <a:pt x="3786573" y="693177"/>
                  <a:pt x="3786651" y="689379"/>
                </a:cubicBezTo>
                <a:cubicBezTo>
                  <a:pt x="3786637" y="688634"/>
                  <a:pt x="3786771" y="687812"/>
                  <a:pt x="3787585" y="687573"/>
                </a:cubicBezTo>
                <a:cubicBezTo>
                  <a:pt x="3791893" y="686820"/>
                  <a:pt x="3792573" y="683456"/>
                  <a:pt x="3793404" y="680015"/>
                </a:cubicBezTo>
                <a:cubicBezTo>
                  <a:pt x="3793607" y="678969"/>
                  <a:pt x="3793883" y="677698"/>
                  <a:pt x="3795361" y="677297"/>
                </a:cubicBezTo>
                <a:cubicBezTo>
                  <a:pt x="3799517" y="676249"/>
                  <a:pt x="3803121" y="673798"/>
                  <a:pt x="3806963" y="672160"/>
                </a:cubicBezTo>
                <a:cubicBezTo>
                  <a:pt x="3810138" y="670685"/>
                  <a:pt x="3813390" y="669356"/>
                  <a:pt x="3817197" y="669805"/>
                </a:cubicBezTo>
                <a:cubicBezTo>
                  <a:pt x="3818840" y="670070"/>
                  <a:pt x="3819572" y="669312"/>
                  <a:pt x="3819916" y="667817"/>
                </a:cubicBezTo>
                <a:cubicBezTo>
                  <a:pt x="3819973" y="666847"/>
                  <a:pt x="3820107" y="666025"/>
                  <a:pt x="3820387" y="665126"/>
                </a:cubicBezTo>
                <a:cubicBezTo>
                  <a:pt x="3820667" y="664228"/>
                  <a:pt x="3821391" y="663096"/>
                  <a:pt x="3822438" y="663301"/>
                </a:cubicBezTo>
                <a:cubicBezTo>
                  <a:pt x="3823634" y="663426"/>
                  <a:pt x="3823954" y="664760"/>
                  <a:pt x="3823977" y="665877"/>
                </a:cubicBezTo>
                <a:cubicBezTo>
                  <a:pt x="3824062" y="666396"/>
                  <a:pt x="3823921" y="666846"/>
                  <a:pt x="3823857" y="667443"/>
                </a:cubicBezTo>
                <a:cubicBezTo>
                  <a:pt x="3823272" y="672071"/>
                  <a:pt x="3825316" y="673819"/>
                  <a:pt x="3829532" y="672174"/>
                </a:cubicBezTo>
                <a:cubicBezTo>
                  <a:pt x="3830347" y="671935"/>
                  <a:pt x="3831084" y="671549"/>
                  <a:pt x="3831751" y="671387"/>
                </a:cubicBezTo>
                <a:cubicBezTo>
                  <a:pt x="3832939" y="671141"/>
                  <a:pt x="3833965" y="670228"/>
                  <a:pt x="3835110" y="671695"/>
                </a:cubicBezTo>
                <a:cubicBezTo>
                  <a:pt x="3836023" y="672721"/>
                  <a:pt x="3835740" y="673619"/>
                  <a:pt x="3835165" y="674673"/>
                </a:cubicBezTo>
                <a:cubicBezTo>
                  <a:pt x="3834162" y="676702"/>
                  <a:pt x="3834847" y="677658"/>
                  <a:pt x="3837168" y="678135"/>
                </a:cubicBezTo>
                <a:cubicBezTo>
                  <a:pt x="3840082" y="678674"/>
                  <a:pt x="3843082" y="679734"/>
                  <a:pt x="3844479" y="682760"/>
                </a:cubicBezTo>
                <a:cubicBezTo>
                  <a:pt x="3845566" y="685197"/>
                  <a:pt x="3846776" y="686067"/>
                  <a:pt x="3849123" y="684086"/>
                </a:cubicBezTo>
                <a:cubicBezTo>
                  <a:pt x="3849636" y="683630"/>
                  <a:pt x="3850450" y="683390"/>
                  <a:pt x="3851209" y="684120"/>
                </a:cubicBezTo>
                <a:cubicBezTo>
                  <a:pt x="3851889" y="684703"/>
                  <a:pt x="3851383" y="685533"/>
                  <a:pt x="3851173" y="686206"/>
                </a:cubicBezTo>
                <a:cubicBezTo>
                  <a:pt x="3850680" y="687780"/>
                  <a:pt x="3850042" y="689430"/>
                  <a:pt x="3849922" y="690997"/>
                </a:cubicBezTo>
                <a:cubicBezTo>
                  <a:pt x="3849185" y="695329"/>
                  <a:pt x="3850258" y="697021"/>
                  <a:pt x="3854170" y="699105"/>
                </a:cubicBezTo>
                <a:lnTo>
                  <a:pt x="3858072" y="702525"/>
                </a:lnTo>
                <a:lnTo>
                  <a:pt x="3873165" y="693176"/>
                </a:lnTo>
                <a:cubicBezTo>
                  <a:pt x="3889441" y="684192"/>
                  <a:pt x="3904842" y="676827"/>
                  <a:pt x="3920526" y="667804"/>
                </a:cubicBezTo>
                <a:lnTo>
                  <a:pt x="3944641" y="650445"/>
                </a:lnTo>
                <a:lnTo>
                  <a:pt x="3944611" y="650209"/>
                </a:lnTo>
                <a:cubicBezTo>
                  <a:pt x="3940592" y="645928"/>
                  <a:pt x="3940222" y="641154"/>
                  <a:pt x="3942097" y="635914"/>
                </a:cubicBezTo>
                <a:cubicBezTo>
                  <a:pt x="3942759" y="633792"/>
                  <a:pt x="3943571" y="631949"/>
                  <a:pt x="3943106" y="629707"/>
                </a:cubicBezTo>
                <a:cubicBezTo>
                  <a:pt x="3942060" y="626353"/>
                  <a:pt x="3942857" y="623807"/>
                  <a:pt x="3946070" y="622479"/>
                </a:cubicBezTo>
                <a:cubicBezTo>
                  <a:pt x="3948299" y="621310"/>
                  <a:pt x="3949242" y="619042"/>
                  <a:pt x="3949495" y="617490"/>
                </a:cubicBezTo>
                <a:cubicBezTo>
                  <a:pt x="3950734" y="608326"/>
                  <a:pt x="3959599" y="608294"/>
                  <a:pt x="3965014" y="604392"/>
                </a:cubicBezTo>
                <a:cubicBezTo>
                  <a:pt x="3967378" y="602799"/>
                  <a:pt x="3971945" y="598632"/>
                  <a:pt x="3974080" y="599997"/>
                </a:cubicBezTo>
                <a:cubicBezTo>
                  <a:pt x="3980343" y="603812"/>
                  <a:pt x="3987817" y="597059"/>
                  <a:pt x="3993707" y="603553"/>
                </a:cubicBezTo>
                <a:cubicBezTo>
                  <a:pt x="3995430" y="605488"/>
                  <a:pt x="4000062" y="604835"/>
                  <a:pt x="3998044" y="609796"/>
                </a:cubicBezTo>
                <a:lnTo>
                  <a:pt x="3999693" y="612301"/>
                </a:lnTo>
                <a:lnTo>
                  <a:pt x="4025276" y="593333"/>
                </a:lnTo>
                <a:cubicBezTo>
                  <a:pt x="4038572" y="583657"/>
                  <a:pt x="4052369" y="573891"/>
                  <a:pt x="4065343" y="565311"/>
                </a:cubicBezTo>
                <a:cubicBezTo>
                  <a:pt x="4091291" y="548151"/>
                  <a:pt x="4121988" y="534281"/>
                  <a:pt x="4138071" y="531364"/>
                </a:cubicBezTo>
                <a:cubicBezTo>
                  <a:pt x="4135508" y="540132"/>
                  <a:pt x="4120885" y="551086"/>
                  <a:pt x="4102244" y="562767"/>
                </a:cubicBezTo>
                <a:cubicBezTo>
                  <a:pt x="4082878" y="570432"/>
                  <a:pt x="4064239" y="582115"/>
                  <a:pt x="4057658" y="591610"/>
                </a:cubicBezTo>
                <a:cubicBezTo>
                  <a:pt x="4046327" y="597816"/>
                  <a:pt x="4038290" y="599274"/>
                  <a:pt x="4026229" y="601461"/>
                </a:cubicBezTo>
                <a:lnTo>
                  <a:pt x="4003987" y="617789"/>
                </a:lnTo>
                <a:lnTo>
                  <a:pt x="4005112" y="619220"/>
                </a:lnTo>
                <a:cubicBezTo>
                  <a:pt x="4004859" y="620772"/>
                  <a:pt x="4006703" y="621580"/>
                  <a:pt x="4007845" y="622402"/>
                </a:cubicBezTo>
                <a:cubicBezTo>
                  <a:pt x="4009834" y="623488"/>
                  <a:pt x="4010988" y="625012"/>
                  <a:pt x="4010045" y="627280"/>
                </a:cubicBezTo>
                <a:cubicBezTo>
                  <a:pt x="4009102" y="629549"/>
                  <a:pt x="4010257" y="631073"/>
                  <a:pt x="4010574" y="633035"/>
                </a:cubicBezTo>
                <a:cubicBezTo>
                  <a:pt x="4011367" y="637942"/>
                  <a:pt x="4012466" y="644107"/>
                  <a:pt x="4010422" y="647663"/>
                </a:cubicBezTo>
                <a:cubicBezTo>
                  <a:pt x="4005919" y="655343"/>
                  <a:pt x="4001842" y="663156"/>
                  <a:pt x="3997193" y="670559"/>
                </a:cubicBezTo>
                <a:cubicBezTo>
                  <a:pt x="3996637" y="670851"/>
                  <a:pt x="3995521" y="671436"/>
                  <a:pt x="3994950" y="671024"/>
                </a:cubicBezTo>
                <a:cubicBezTo>
                  <a:pt x="3990850" y="669979"/>
                  <a:pt x="3987175" y="669066"/>
                  <a:pt x="3985447" y="674584"/>
                </a:cubicBezTo>
                <a:cubicBezTo>
                  <a:pt x="3985061" y="676561"/>
                  <a:pt x="3983496" y="675606"/>
                  <a:pt x="3982634" y="674639"/>
                </a:cubicBezTo>
                <a:cubicBezTo>
                  <a:pt x="3979317" y="670344"/>
                  <a:pt x="3977088" y="671513"/>
                  <a:pt x="3975201" y="676049"/>
                </a:cubicBezTo>
                <a:cubicBezTo>
                  <a:pt x="3973993" y="679166"/>
                  <a:pt x="3972586" y="679193"/>
                  <a:pt x="3971126" y="676410"/>
                </a:cubicBezTo>
                <a:cubicBezTo>
                  <a:pt x="3970252" y="674739"/>
                  <a:pt x="3969789" y="672499"/>
                  <a:pt x="3967134" y="673534"/>
                </a:cubicBezTo>
                <a:cubicBezTo>
                  <a:pt x="3960976" y="675342"/>
                  <a:pt x="3956702" y="672613"/>
                  <a:pt x="3954358" y="667456"/>
                </a:cubicBezTo>
                <a:cubicBezTo>
                  <a:pt x="3952739" y="663690"/>
                  <a:pt x="3950750" y="662604"/>
                  <a:pt x="3947511" y="662527"/>
                </a:cubicBezTo>
                <a:cubicBezTo>
                  <a:pt x="3946928" y="661413"/>
                  <a:pt x="3946344" y="660299"/>
                  <a:pt x="3945761" y="659185"/>
                </a:cubicBezTo>
                <a:lnTo>
                  <a:pt x="3945691" y="658645"/>
                </a:lnTo>
                <a:lnTo>
                  <a:pt x="3930473" y="668642"/>
                </a:lnTo>
                <a:cubicBezTo>
                  <a:pt x="3927180" y="673390"/>
                  <a:pt x="3917310" y="687633"/>
                  <a:pt x="3931929" y="676680"/>
                </a:cubicBezTo>
                <a:cubicBezTo>
                  <a:pt x="3919318" y="687270"/>
                  <a:pt x="3904882" y="699229"/>
                  <a:pt x="3889029" y="711962"/>
                </a:cubicBezTo>
                <a:lnTo>
                  <a:pt x="3876671" y="721562"/>
                </a:lnTo>
                <a:lnTo>
                  <a:pt x="3882048" y="723964"/>
                </a:lnTo>
                <a:cubicBezTo>
                  <a:pt x="3883234" y="723719"/>
                  <a:pt x="3885245" y="723605"/>
                  <a:pt x="3885651" y="725459"/>
                </a:cubicBezTo>
                <a:cubicBezTo>
                  <a:pt x="3886699" y="729609"/>
                  <a:pt x="3889795" y="731933"/>
                  <a:pt x="3893260" y="733877"/>
                </a:cubicBezTo>
                <a:cubicBezTo>
                  <a:pt x="3895891" y="735316"/>
                  <a:pt x="3897417" y="737149"/>
                  <a:pt x="3897185" y="740653"/>
                </a:cubicBezTo>
                <a:cubicBezTo>
                  <a:pt x="3896882" y="744382"/>
                  <a:pt x="3898763" y="745463"/>
                  <a:pt x="3902614" y="744197"/>
                </a:cubicBezTo>
                <a:cubicBezTo>
                  <a:pt x="3902761" y="744120"/>
                  <a:pt x="3902909" y="744043"/>
                  <a:pt x="3903057" y="743966"/>
                </a:cubicBezTo>
                <a:cubicBezTo>
                  <a:pt x="3904462" y="743417"/>
                  <a:pt x="3905944" y="743017"/>
                  <a:pt x="3906786" y="744267"/>
                </a:cubicBezTo>
                <a:cubicBezTo>
                  <a:pt x="3907778" y="745439"/>
                  <a:pt x="3906077" y="746142"/>
                  <a:pt x="3905572" y="746970"/>
                </a:cubicBezTo>
                <a:cubicBezTo>
                  <a:pt x="3902086" y="751803"/>
                  <a:pt x="3902099" y="756494"/>
                  <a:pt x="3905765" y="761339"/>
                </a:cubicBezTo>
                <a:cubicBezTo>
                  <a:pt x="3906987" y="762954"/>
                  <a:pt x="3906939" y="764295"/>
                  <a:pt x="3905849" y="765805"/>
                </a:cubicBezTo>
                <a:cubicBezTo>
                  <a:pt x="3905197" y="766711"/>
                  <a:pt x="3904466" y="767470"/>
                  <a:pt x="3903812" y="768376"/>
                </a:cubicBezTo>
                <a:cubicBezTo>
                  <a:pt x="3902941" y="769584"/>
                  <a:pt x="3902961" y="770700"/>
                  <a:pt x="3903952" y="771873"/>
                </a:cubicBezTo>
                <a:lnTo>
                  <a:pt x="3905103" y="772465"/>
                </a:lnTo>
                <a:lnTo>
                  <a:pt x="3899579" y="789972"/>
                </a:lnTo>
                <a:lnTo>
                  <a:pt x="3898661" y="787612"/>
                </a:lnTo>
                <a:cubicBezTo>
                  <a:pt x="3898336" y="786278"/>
                  <a:pt x="3898029" y="785688"/>
                  <a:pt x="3896314" y="785647"/>
                </a:cubicBezTo>
                <a:cubicBezTo>
                  <a:pt x="3894531" y="785829"/>
                  <a:pt x="3894326" y="786876"/>
                  <a:pt x="3894199" y="788070"/>
                </a:cubicBezTo>
                <a:cubicBezTo>
                  <a:pt x="3894066" y="788892"/>
                  <a:pt x="3894228" y="789559"/>
                  <a:pt x="3894318" y="790451"/>
                </a:cubicBezTo>
                <a:cubicBezTo>
                  <a:pt x="3894613" y="794243"/>
                  <a:pt x="3893805" y="794854"/>
                  <a:pt x="3890280" y="793506"/>
                </a:cubicBezTo>
                <a:cubicBezTo>
                  <a:pt x="3889529" y="793148"/>
                  <a:pt x="3888551" y="792720"/>
                  <a:pt x="3887666" y="793184"/>
                </a:cubicBezTo>
                <a:cubicBezTo>
                  <a:pt x="3886709" y="793873"/>
                  <a:pt x="3887329" y="795052"/>
                  <a:pt x="3887419" y="795944"/>
                </a:cubicBezTo>
                <a:cubicBezTo>
                  <a:pt x="3887433" y="796689"/>
                  <a:pt x="3887595" y="797355"/>
                  <a:pt x="3887904" y="797945"/>
                </a:cubicBezTo>
                <a:cubicBezTo>
                  <a:pt x="3888338" y="799314"/>
                  <a:pt x="3888168" y="800155"/>
                  <a:pt x="3887609" y="800613"/>
                </a:cubicBezTo>
                <a:cubicBezTo>
                  <a:pt x="3887051" y="801071"/>
                  <a:pt x="3886102" y="801145"/>
                  <a:pt x="3884983" y="800980"/>
                </a:cubicBezTo>
                <a:cubicBezTo>
                  <a:pt x="3882664" y="800503"/>
                  <a:pt x="3880191" y="799731"/>
                  <a:pt x="3877872" y="799255"/>
                </a:cubicBezTo>
                <a:cubicBezTo>
                  <a:pt x="3875104" y="798637"/>
                  <a:pt x="3872273" y="798617"/>
                  <a:pt x="3870609" y="801181"/>
                </a:cubicBezTo>
                <a:cubicBezTo>
                  <a:pt x="3869155" y="803070"/>
                  <a:pt x="3867883" y="802797"/>
                  <a:pt x="3866155" y="802010"/>
                </a:cubicBezTo>
                <a:cubicBezTo>
                  <a:pt x="3862397" y="800221"/>
                  <a:pt x="3858583" y="799401"/>
                  <a:pt x="3854917" y="802449"/>
                </a:cubicBezTo>
                <a:cubicBezTo>
                  <a:pt x="3854037" y="803285"/>
                  <a:pt x="3853511" y="802997"/>
                  <a:pt x="3852822" y="802042"/>
                </a:cubicBezTo>
                <a:cubicBezTo>
                  <a:pt x="3848448" y="795126"/>
                  <a:pt x="3842104" y="790556"/>
                  <a:pt x="3835038" y="787117"/>
                </a:cubicBezTo>
                <a:cubicBezTo>
                  <a:pt x="3833311" y="786332"/>
                  <a:pt x="3833142" y="785292"/>
                  <a:pt x="3833038" y="783656"/>
                </a:cubicBezTo>
                <a:cubicBezTo>
                  <a:pt x="3833121" y="780229"/>
                  <a:pt x="3833199" y="776430"/>
                  <a:pt x="3830623" y="774022"/>
                </a:cubicBezTo>
                <a:cubicBezTo>
                  <a:pt x="3828045" y="771614"/>
                  <a:pt x="3827701" y="769163"/>
                  <a:pt x="3827939" y="766031"/>
                </a:cubicBezTo>
                <a:cubicBezTo>
                  <a:pt x="3827996" y="765062"/>
                  <a:pt x="3827905" y="764170"/>
                  <a:pt x="3827884" y="763054"/>
                </a:cubicBezTo>
                <a:lnTo>
                  <a:pt x="3828883" y="758548"/>
                </a:lnTo>
                <a:lnTo>
                  <a:pt x="3786547" y="790738"/>
                </a:lnTo>
                <a:cubicBezTo>
                  <a:pt x="3769368" y="804750"/>
                  <a:pt x="3752277" y="819265"/>
                  <a:pt x="3736011" y="832593"/>
                </a:cubicBezTo>
                <a:cubicBezTo>
                  <a:pt x="3736011" y="832593"/>
                  <a:pt x="3728702" y="838071"/>
                  <a:pt x="3727244" y="830032"/>
                </a:cubicBezTo>
                <a:cubicBezTo>
                  <a:pt x="3688134" y="866183"/>
                  <a:pt x="3666206" y="882614"/>
                  <a:pt x="3654501" y="909642"/>
                </a:cubicBezTo>
                <a:cubicBezTo>
                  <a:pt x="3632574" y="926072"/>
                  <a:pt x="3622705" y="940315"/>
                  <a:pt x="3608086" y="951270"/>
                </a:cubicBezTo>
                <a:cubicBezTo>
                  <a:pt x="3601504" y="960765"/>
                  <a:pt x="3612102" y="950541"/>
                  <a:pt x="3612834" y="954559"/>
                </a:cubicBezTo>
                <a:lnTo>
                  <a:pt x="3585074" y="984481"/>
                </a:lnTo>
                <a:lnTo>
                  <a:pt x="3763620" y="991597"/>
                </a:lnTo>
                <a:cubicBezTo>
                  <a:pt x="3853135" y="997394"/>
                  <a:pt x="3942448" y="1005762"/>
                  <a:pt x="4031465" y="1017743"/>
                </a:cubicBezTo>
                <a:lnTo>
                  <a:pt x="4096608" y="1029452"/>
                </a:lnTo>
                <a:lnTo>
                  <a:pt x="4112058" y="1014839"/>
                </a:lnTo>
                <a:cubicBezTo>
                  <a:pt x="4117845" y="1008201"/>
                  <a:pt x="4119242" y="1001241"/>
                  <a:pt x="4110781" y="996200"/>
                </a:cubicBezTo>
                <a:cubicBezTo>
                  <a:pt x="4076201" y="974216"/>
                  <a:pt x="4096884" y="957199"/>
                  <a:pt x="4116497" y="942750"/>
                </a:cubicBezTo>
                <a:lnTo>
                  <a:pt x="4195706" y="886832"/>
                </a:lnTo>
                <a:lnTo>
                  <a:pt x="4196782" y="884457"/>
                </a:lnTo>
                <a:cubicBezTo>
                  <a:pt x="4196848" y="882698"/>
                  <a:pt x="4201031" y="881737"/>
                  <a:pt x="4202876" y="881017"/>
                </a:cubicBezTo>
                <a:lnTo>
                  <a:pt x="4207952" y="878186"/>
                </a:lnTo>
                <a:lnTo>
                  <a:pt x="4405262" y="738895"/>
                </a:lnTo>
                <a:cubicBezTo>
                  <a:pt x="4488853" y="683252"/>
                  <a:pt x="4576936" y="638538"/>
                  <a:pt x="4671331" y="604005"/>
                </a:cubicBezTo>
                <a:cubicBezTo>
                  <a:pt x="4679363" y="602832"/>
                  <a:pt x="4686653" y="599838"/>
                  <a:pt x="4693938" y="596844"/>
                </a:cubicBezTo>
                <a:cubicBezTo>
                  <a:pt x="4705615" y="594175"/>
                  <a:pt x="4715474" y="592253"/>
                  <a:pt x="4722531" y="604255"/>
                </a:cubicBezTo>
                <a:cubicBezTo>
                  <a:pt x="4730341" y="618079"/>
                  <a:pt x="4720914" y="626213"/>
                  <a:pt x="4710731" y="632526"/>
                </a:cubicBezTo>
                <a:cubicBezTo>
                  <a:pt x="4686726" y="646650"/>
                  <a:pt x="4661978" y="658950"/>
                  <a:pt x="4637974" y="673072"/>
                </a:cubicBezTo>
                <a:cubicBezTo>
                  <a:pt x="4629611" y="678637"/>
                  <a:pt x="4622001" y="686023"/>
                  <a:pt x="4615136" y="695230"/>
                </a:cubicBezTo>
                <a:cubicBezTo>
                  <a:pt x="4651349" y="695256"/>
                  <a:pt x="4681560" y="680709"/>
                  <a:pt x="4710281" y="662519"/>
                </a:cubicBezTo>
                <a:cubicBezTo>
                  <a:pt x="4850965" y="574888"/>
                  <a:pt x="4998001" y="497439"/>
                  <a:pt x="5153994" y="441847"/>
                </a:cubicBezTo>
                <a:cubicBezTo>
                  <a:pt x="5202553" y="424019"/>
                  <a:pt x="5251646" y="409431"/>
                  <a:pt x="5301185" y="397389"/>
                </a:cubicBezTo>
                <a:lnTo>
                  <a:pt x="5341799" y="389478"/>
                </a:lnTo>
                <a:lnTo>
                  <a:pt x="5346175" y="386241"/>
                </a:lnTo>
                <a:cubicBezTo>
                  <a:pt x="5347667" y="385336"/>
                  <a:pt x="5349056" y="384874"/>
                  <a:pt x="5350126" y="385190"/>
                </a:cubicBezTo>
                <a:lnTo>
                  <a:pt x="5351467" y="387595"/>
                </a:lnTo>
                <a:lnTo>
                  <a:pt x="5451055" y="368198"/>
                </a:lnTo>
                <a:cubicBezTo>
                  <a:pt x="5551745" y="352898"/>
                  <a:pt x="5653871" y="344989"/>
                  <a:pt x="5756740" y="338903"/>
                </a:cubicBezTo>
                <a:lnTo>
                  <a:pt x="6020199" y="331824"/>
                </a:lnTo>
                <a:lnTo>
                  <a:pt x="6022744" y="327651"/>
                </a:lnTo>
                <a:cubicBezTo>
                  <a:pt x="6022903" y="322007"/>
                  <a:pt x="6025769" y="317848"/>
                  <a:pt x="6032125" y="317124"/>
                </a:cubicBezTo>
                <a:cubicBezTo>
                  <a:pt x="6034963" y="317048"/>
                  <a:pt x="6034523" y="314811"/>
                  <a:pt x="6034680" y="312938"/>
                </a:cubicBezTo>
                <a:cubicBezTo>
                  <a:pt x="6034942" y="309817"/>
                  <a:pt x="6036244" y="309298"/>
                  <a:pt x="6038560" y="311692"/>
                </a:cubicBezTo>
                <a:cubicBezTo>
                  <a:pt x="6042047" y="315128"/>
                  <a:pt x="6044548" y="315338"/>
                  <a:pt x="6045932" y="310111"/>
                </a:cubicBezTo>
                <a:cubicBezTo>
                  <a:pt x="6046348" y="308888"/>
                  <a:pt x="6047417" y="307407"/>
                  <a:pt x="6048536" y="309072"/>
                </a:cubicBezTo>
                <a:cubicBezTo>
                  <a:pt x="6052256" y="313471"/>
                  <a:pt x="6055280" y="311210"/>
                  <a:pt x="6058641" y="308663"/>
                </a:cubicBezTo>
                <a:cubicBezTo>
                  <a:pt x="6059005" y="308065"/>
                  <a:pt x="6060256" y="308170"/>
                  <a:pt x="6060879" y="308223"/>
                </a:cubicBezTo>
                <a:close/>
                <a:moveTo>
                  <a:pt x="9985735" y="302455"/>
                </a:moveTo>
                <a:cubicBezTo>
                  <a:pt x="9991557" y="304684"/>
                  <a:pt x="9996930" y="307805"/>
                  <a:pt x="9999170" y="314939"/>
                </a:cubicBezTo>
                <a:cubicBezTo>
                  <a:pt x="9999618" y="316276"/>
                  <a:pt x="10002305" y="317168"/>
                  <a:pt x="10001858" y="319843"/>
                </a:cubicBezTo>
                <a:cubicBezTo>
                  <a:pt x="10000513" y="326976"/>
                  <a:pt x="10005889" y="329206"/>
                  <a:pt x="10010366" y="330544"/>
                </a:cubicBezTo>
                <a:cubicBezTo>
                  <a:pt x="10013502" y="331435"/>
                  <a:pt x="10015293" y="332773"/>
                  <a:pt x="10017084" y="334556"/>
                </a:cubicBezTo>
                <a:cubicBezTo>
                  <a:pt x="10022459" y="339460"/>
                  <a:pt x="10022011" y="346148"/>
                  <a:pt x="10023355" y="352390"/>
                </a:cubicBezTo>
                <a:cubicBezTo>
                  <a:pt x="10024250" y="358186"/>
                  <a:pt x="10021564" y="362645"/>
                  <a:pt x="10019325" y="367549"/>
                </a:cubicBezTo>
                <a:cubicBezTo>
                  <a:pt x="10017084" y="372899"/>
                  <a:pt x="10013502" y="377358"/>
                  <a:pt x="10006783" y="377358"/>
                </a:cubicBezTo>
                <a:cubicBezTo>
                  <a:pt x="10005888" y="377358"/>
                  <a:pt x="10005440" y="377803"/>
                  <a:pt x="10005440" y="379141"/>
                </a:cubicBezTo>
                <a:cubicBezTo>
                  <a:pt x="10002305" y="379142"/>
                  <a:pt x="9999619" y="379141"/>
                  <a:pt x="9996483" y="379142"/>
                </a:cubicBezTo>
                <a:cubicBezTo>
                  <a:pt x="9994243" y="376021"/>
                  <a:pt x="9989765" y="376467"/>
                  <a:pt x="9986630" y="374238"/>
                </a:cubicBezTo>
                <a:cubicBezTo>
                  <a:pt x="9983494" y="372007"/>
                  <a:pt x="9980808" y="370224"/>
                  <a:pt x="9979912" y="366211"/>
                </a:cubicBezTo>
                <a:cubicBezTo>
                  <a:pt x="9979465" y="361753"/>
                  <a:pt x="9977224" y="357740"/>
                  <a:pt x="9974985" y="354173"/>
                </a:cubicBezTo>
                <a:cubicBezTo>
                  <a:pt x="9972747" y="350161"/>
                  <a:pt x="9970954" y="346148"/>
                  <a:pt x="9968716" y="342581"/>
                </a:cubicBezTo>
                <a:cubicBezTo>
                  <a:pt x="9966924" y="338568"/>
                  <a:pt x="9963342" y="335002"/>
                  <a:pt x="9958862" y="332773"/>
                </a:cubicBezTo>
                <a:cubicBezTo>
                  <a:pt x="9958862" y="327423"/>
                  <a:pt x="9958863" y="322072"/>
                  <a:pt x="9958862" y="316722"/>
                </a:cubicBezTo>
                <a:cubicBezTo>
                  <a:pt x="9961549" y="315384"/>
                  <a:pt x="9962893" y="313600"/>
                  <a:pt x="9964236" y="310480"/>
                </a:cubicBezTo>
                <a:cubicBezTo>
                  <a:pt x="9966029" y="306913"/>
                  <a:pt x="9970059" y="304238"/>
                  <a:pt x="9974090" y="304238"/>
                </a:cubicBezTo>
                <a:cubicBezTo>
                  <a:pt x="9978121" y="304238"/>
                  <a:pt x="9981703" y="303346"/>
                  <a:pt x="9985735" y="302455"/>
                </a:cubicBezTo>
                <a:close/>
                <a:moveTo>
                  <a:pt x="9441937" y="300993"/>
                </a:moveTo>
                <a:cubicBezTo>
                  <a:pt x="9445969" y="301885"/>
                  <a:pt x="9449552" y="302776"/>
                  <a:pt x="9453583" y="302777"/>
                </a:cubicBezTo>
                <a:cubicBezTo>
                  <a:pt x="9457612" y="302777"/>
                  <a:pt x="9461643" y="305451"/>
                  <a:pt x="9463435" y="309019"/>
                </a:cubicBezTo>
                <a:cubicBezTo>
                  <a:pt x="9464778" y="312140"/>
                  <a:pt x="9466122" y="313922"/>
                  <a:pt x="9468809" y="315260"/>
                </a:cubicBezTo>
                <a:cubicBezTo>
                  <a:pt x="9468809" y="320611"/>
                  <a:pt x="9468809" y="325960"/>
                  <a:pt x="9468809" y="331311"/>
                </a:cubicBezTo>
                <a:cubicBezTo>
                  <a:pt x="9464330" y="333540"/>
                  <a:pt x="9460747" y="337107"/>
                  <a:pt x="9458956" y="341119"/>
                </a:cubicBezTo>
                <a:cubicBezTo>
                  <a:pt x="9456717" y="344687"/>
                  <a:pt x="9454925" y="348700"/>
                  <a:pt x="9452686" y="352712"/>
                </a:cubicBezTo>
                <a:cubicBezTo>
                  <a:pt x="9450448" y="356279"/>
                  <a:pt x="9448207" y="360292"/>
                  <a:pt x="9447760" y="364750"/>
                </a:cubicBezTo>
                <a:cubicBezTo>
                  <a:pt x="9446864" y="368763"/>
                  <a:pt x="9444177" y="370546"/>
                  <a:pt x="9441041" y="372776"/>
                </a:cubicBezTo>
                <a:cubicBezTo>
                  <a:pt x="9437906" y="375004"/>
                  <a:pt x="9433428" y="374559"/>
                  <a:pt x="9431189" y="377680"/>
                </a:cubicBezTo>
                <a:cubicBezTo>
                  <a:pt x="9428053" y="377680"/>
                  <a:pt x="9425367" y="377680"/>
                  <a:pt x="9422232" y="377680"/>
                </a:cubicBezTo>
                <a:cubicBezTo>
                  <a:pt x="9422232" y="376342"/>
                  <a:pt x="9421783" y="375897"/>
                  <a:pt x="9420888" y="375896"/>
                </a:cubicBezTo>
                <a:cubicBezTo>
                  <a:pt x="9414171" y="375896"/>
                  <a:pt x="9410587" y="371438"/>
                  <a:pt x="9408348" y="366088"/>
                </a:cubicBezTo>
                <a:cubicBezTo>
                  <a:pt x="9406108" y="361183"/>
                  <a:pt x="9403422" y="356725"/>
                  <a:pt x="9404318" y="350929"/>
                </a:cubicBezTo>
                <a:cubicBezTo>
                  <a:pt x="9405660" y="344687"/>
                  <a:pt x="9405212" y="337999"/>
                  <a:pt x="9410587" y="333094"/>
                </a:cubicBezTo>
                <a:cubicBezTo>
                  <a:pt x="9412379" y="331311"/>
                  <a:pt x="9414171" y="329973"/>
                  <a:pt x="9417305" y="329081"/>
                </a:cubicBezTo>
                <a:cubicBezTo>
                  <a:pt x="9421783" y="327744"/>
                  <a:pt x="9427158" y="325515"/>
                  <a:pt x="9425814" y="318382"/>
                </a:cubicBezTo>
                <a:cubicBezTo>
                  <a:pt x="9425366" y="315706"/>
                  <a:pt x="9428053" y="314814"/>
                  <a:pt x="9428501" y="313477"/>
                </a:cubicBezTo>
                <a:cubicBezTo>
                  <a:pt x="9430741" y="306343"/>
                  <a:pt x="9436115" y="303222"/>
                  <a:pt x="9441937" y="300993"/>
                </a:cubicBezTo>
                <a:close/>
                <a:moveTo>
                  <a:pt x="8362030" y="300363"/>
                </a:moveTo>
                <a:cubicBezTo>
                  <a:pt x="8362737" y="300363"/>
                  <a:pt x="8364150" y="300363"/>
                  <a:pt x="8364504" y="301069"/>
                </a:cubicBezTo>
                <a:cubicBezTo>
                  <a:pt x="8368038" y="304245"/>
                  <a:pt x="8371219" y="307069"/>
                  <a:pt x="8375814" y="302481"/>
                </a:cubicBezTo>
                <a:cubicBezTo>
                  <a:pt x="8377228" y="300715"/>
                  <a:pt x="8378287" y="302481"/>
                  <a:pt x="8378641" y="303892"/>
                </a:cubicBezTo>
                <a:cubicBezTo>
                  <a:pt x="8379702" y="309893"/>
                  <a:pt x="8382529" y="309893"/>
                  <a:pt x="8386770" y="306363"/>
                </a:cubicBezTo>
                <a:cubicBezTo>
                  <a:pt x="8389596" y="303892"/>
                  <a:pt x="8391011" y="304599"/>
                  <a:pt x="8391011" y="308128"/>
                </a:cubicBezTo>
                <a:cubicBezTo>
                  <a:pt x="8391010" y="310245"/>
                  <a:pt x="8390303" y="312717"/>
                  <a:pt x="8393484" y="313069"/>
                </a:cubicBezTo>
                <a:cubicBezTo>
                  <a:pt x="8400553" y="314481"/>
                  <a:pt x="8403379" y="319423"/>
                  <a:pt x="8403027" y="325776"/>
                </a:cubicBezTo>
                <a:cubicBezTo>
                  <a:pt x="8402673" y="330364"/>
                  <a:pt x="8404086" y="332483"/>
                  <a:pt x="8407268" y="334247"/>
                </a:cubicBezTo>
                <a:cubicBezTo>
                  <a:pt x="8407268" y="335659"/>
                  <a:pt x="8407268" y="337071"/>
                  <a:pt x="8407268" y="338483"/>
                </a:cubicBezTo>
                <a:cubicBezTo>
                  <a:pt x="8403733" y="340601"/>
                  <a:pt x="8402674" y="344483"/>
                  <a:pt x="8403733" y="348013"/>
                </a:cubicBezTo>
                <a:cubicBezTo>
                  <a:pt x="8405501" y="354366"/>
                  <a:pt x="8403379" y="359308"/>
                  <a:pt x="8398786" y="363543"/>
                </a:cubicBezTo>
                <a:cubicBezTo>
                  <a:pt x="8397019" y="365308"/>
                  <a:pt x="8395252" y="366720"/>
                  <a:pt x="8394544" y="369191"/>
                </a:cubicBezTo>
                <a:cubicBezTo>
                  <a:pt x="8393837" y="373073"/>
                  <a:pt x="8391718" y="375191"/>
                  <a:pt x="8387830" y="374839"/>
                </a:cubicBezTo>
                <a:cubicBezTo>
                  <a:pt x="8385002" y="374838"/>
                  <a:pt x="8382882" y="376603"/>
                  <a:pt x="8381822" y="378015"/>
                </a:cubicBezTo>
                <a:cubicBezTo>
                  <a:pt x="8375813" y="386486"/>
                  <a:pt x="8366978" y="381897"/>
                  <a:pt x="8359556" y="382956"/>
                </a:cubicBezTo>
                <a:cubicBezTo>
                  <a:pt x="8356376" y="383309"/>
                  <a:pt x="8349661" y="385074"/>
                  <a:pt x="8348247" y="382603"/>
                </a:cubicBezTo>
                <a:cubicBezTo>
                  <a:pt x="8344005" y="375544"/>
                  <a:pt x="8333051" y="378368"/>
                  <a:pt x="8330576" y="368838"/>
                </a:cubicBezTo>
                <a:cubicBezTo>
                  <a:pt x="8329869" y="366014"/>
                  <a:pt x="8324921" y="364250"/>
                  <a:pt x="8329516" y="360366"/>
                </a:cubicBezTo>
                <a:cubicBezTo>
                  <a:pt x="8330929" y="359308"/>
                  <a:pt x="8330576" y="357190"/>
                  <a:pt x="8329162" y="356837"/>
                </a:cubicBezTo>
                <a:cubicBezTo>
                  <a:pt x="8323507" y="354719"/>
                  <a:pt x="8323861" y="351542"/>
                  <a:pt x="8327395" y="347307"/>
                </a:cubicBezTo>
                <a:cubicBezTo>
                  <a:pt x="8328456" y="345895"/>
                  <a:pt x="8327041" y="344130"/>
                  <a:pt x="8326335" y="342718"/>
                </a:cubicBezTo>
                <a:cubicBezTo>
                  <a:pt x="8324921" y="340601"/>
                  <a:pt x="8324568" y="338483"/>
                  <a:pt x="8326689" y="336718"/>
                </a:cubicBezTo>
                <a:cubicBezTo>
                  <a:pt x="8328809" y="334953"/>
                  <a:pt x="8328456" y="332835"/>
                  <a:pt x="8329162" y="330718"/>
                </a:cubicBezTo>
                <a:cubicBezTo>
                  <a:pt x="8330930" y="325423"/>
                  <a:pt x="8333050" y="318717"/>
                  <a:pt x="8336937" y="316246"/>
                </a:cubicBezTo>
                <a:cubicBezTo>
                  <a:pt x="8345420" y="310951"/>
                  <a:pt x="8353548" y="305304"/>
                  <a:pt x="8362030" y="300363"/>
                </a:cubicBezTo>
                <a:close/>
                <a:moveTo>
                  <a:pt x="2859275" y="295714"/>
                </a:moveTo>
                <a:cubicBezTo>
                  <a:pt x="2867758" y="300656"/>
                  <a:pt x="2875885" y="306304"/>
                  <a:pt x="2884369" y="311598"/>
                </a:cubicBezTo>
                <a:cubicBezTo>
                  <a:pt x="2888257" y="314069"/>
                  <a:pt x="2890374" y="320775"/>
                  <a:pt x="2892143" y="326070"/>
                </a:cubicBezTo>
                <a:cubicBezTo>
                  <a:pt x="2892850" y="328187"/>
                  <a:pt x="2892496" y="330305"/>
                  <a:pt x="2894617" y="332070"/>
                </a:cubicBezTo>
                <a:cubicBezTo>
                  <a:pt x="2896738" y="333835"/>
                  <a:pt x="2896385" y="335952"/>
                  <a:pt x="2894968" y="338070"/>
                </a:cubicBezTo>
                <a:cubicBezTo>
                  <a:pt x="2894263" y="339482"/>
                  <a:pt x="2892849" y="341247"/>
                  <a:pt x="2893910" y="342659"/>
                </a:cubicBezTo>
                <a:cubicBezTo>
                  <a:pt x="2897445" y="346894"/>
                  <a:pt x="2897799" y="350071"/>
                  <a:pt x="2892143" y="352188"/>
                </a:cubicBezTo>
                <a:cubicBezTo>
                  <a:pt x="2890728" y="352542"/>
                  <a:pt x="2890374" y="354660"/>
                  <a:pt x="2891790" y="355718"/>
                </a:cubicBezTo>
                <a:cubicBezTo>
                  <a:pt x="2896384" y="359601"/>
                  <a:pt x="2891433" y="361366"/>
                  <a:pt x="2890728" y="364190"/>
                </a:cubicBezTo>
                <a:cubicBezTo>
                  <a:pt x="2888257" y="373720"/>
                  <a:pt x="2877299" y="370896"/>
                  <a:pt x="2873057" y="377955"/>
                </a:cubicBezTo>
                <a:cubicBezTo>
                  <a:pt x="2871643" y="380426"/>
                  <a:pt x="2864928" y="378662"/>
                  <a:pt x="2861747" y="378308"/>
                </a:cubicBezTo>
                <a:cubicBezTo>
                  <a:pt x="2854326" y="377249"/>
                  <a:pt x="2845490" y="381838"/>
                  <a:pt x="2839483" y="373367"/>
                </a:cubicBezTo>
                <a:cubicBezTo>
                  <a:pt x="2838422" y="371955"/>
                  <a:pt x="2836301" y="370189"/>
                  <a:pt x="2833474" y="370190"/>
                </a:cubicBezTo>
                <a:cubicBezTo>
                  <a:pt x="2829586" y="370543"/>
                  <a:pt x="2827466" y="368425"/>
                  <a:pt x="2826758" y="364543"/>
                </a:cubicBezTo>
                <a:cubicBezTo>
                  <a:pt x="2826053" y="362072"/>
                  <a:pt x="2824283" y="360660"/>
                  <a:pt x="2822518" y="358895"/>
                </a:cubicBezTo>
                <a:cubicBezTo>
                  <a:pt x="2817923" y="354660"/>
                  <a:pt x="2815802" y="349718"/>
                  <a:pt x="2817570" y="343365"/>
                </a:cubicBezTo>
                <a:cubicBezTo>
                  <a:pt x="2818630" y="339835"/>
                  <a:pt x="2817570" y="335953"/>
                  <a:pt x="2814036" y="333835"/>
                </a:cubicBezTo>
                <a:cubicBezTo>
                  <a:pt x="2814036" y="332423"/>
                  <a:pt x="2814036" y="331011"/>
                  <a:pt x="2814036" y="329599"/>
                </a:cubicBezTo>
                <a:cubicBezTo>
                  <a:pt x="2817216" y="327835"/>
                  <a:pt x="2818630" y="325717"/>
                  <a:pt x="2818277" y="321128"/>
                </a:cubicBezTo>
                <a:cubicBezTo>
                  <a:pt x="2817923" y="314775"/>
                  <a:pt x="2820751" y="309833"/>
                  <a:pt x="2827819" y="308422"/>
                </a:cubicBezTo>
                <a:cubicBezTo>
                  <a:pt x="2830999" y="308068"/>
                  <a:pt x="2830293" y="305598"/>
                  <a:pt x="2830293" y="303480"/>
                </a:cubicBezTo>
                <a:cubicBezTo>
                  <a:pt x="2830293" y="299950"/>
                  <a:pt x="2831706" y="299244"/>
                  <a:pt x="2834534" y="301715"/>
                </a:cubicBezTo>
                <a:cubicBezTo>
                  <a:pt x="2838775" y="305245"/>
                  <a:pt x="2841604" y="305244"/>
                  <a:pt x="2842663" y="299244"/>
                </a:cubicBezTo>
                <a:cubicBezTo>
                  <a:pt x="2843016" y="297833"/>
                  <a:pt x="2844076" y="296067"/>
                  <a:pt x="2845491" y="297833"/>
                </a:cubicBezTo>
                <a:cubicBezTo>
                  <a:pt x="2850086" y="302421"/>
                  <a:pt x="2853264" y="299597"/>
                  <a:pt x="2856800" y="296421"/>
                </a:cubicBezTo>
                <a:cubicBezTo>
                  <a:pt x="2857155" y="295715"/>
                  <a:pt x="2858568" y="295715"/>
                  <a:pt x="2859275" y="295714"/>
                </a:cubicBezTo>
                <a:close/>
                <a:moveTo>
                  <a:pt x="10150282" y="250461"/>
                </a:moveTo>
                <a:cubicBezTo>
                  <a:pt x="10152011" y="250078"/>
                  <a:pt x="10152972" y="251230"/>
                  <a:pt x="10153742" y="252191"/>
                </a:cubicBezTo>
                <a:cubicBezTo>
                  <a:pt x="10156432" y="255264"/>
                  <a:pt x="10158931" y="258337"/>
                  <a:pt x="10163734" y="256801"/>
                </a:cubicBezTo>
                <a:cubicBezTo>
                  <a:pt x="10164696" y="256608"/>
                  <a:pt x="10165272" y="257376"/>
                  <a:pt x="10165656" y="258145"/>
                </a:cubicBezTo>
                <a:cubicBezTo>
                  <a:pt x="10167770" y="261986"/>
                  <a:pt x="10171230" y="265060"/>
                  <a:pt x="10174112" y="268325"/>
                </a:cubicBezTo>
                <a:cubicBezTo>
                  <a:pt x="10178532" y="273319"/>
                  <a:pt x="10181030" y="278890"/>
                  <a:pt x="10179302" y="285613"/>
                </a:cubicBezTo>
                <a:cubicBezTo>
                  <a:pt x="10178725" y="288302"/>
                  <a:pt x="10180263" y="290030"/>
                  <a:pt x="10181799" y="291567"/>
                </a:cubicBezTo>
                <a:cubicBezTo>
                  <a:pt x="10185258" y="295217"/>
                  <a:pt x="10185066" y="297137"/>
                  <a:pt x="10181223" y="300018"/>
                </a:cubicBezTo>
                <a:cubicBezTo>
                  <a:pt x="10176996" y="302900"/>
                  <a:pt x="10176996" y="302900"/>
                  <a:pt x="10180454" y="307125"/>
                </a:cubicBezTo>
                <a:cubicBezTo>
                  <a:pt x="10181224" y="308085"/>
                  <a:pt x="10181799" y="308854"/>
                  <a:pt x="10180646" y="310007"/>
                </a:cubicBezTo>
                <a:cubicBezTo>
                  <a:pt x="10176803" y="314424"/>
                  <a:pt x="10173343" y="318842"/>
                  <a:pt x="10169309" y="323068"/>
                </a:cubicBezTo>
                <a:cubicBezTo>
                  <a:pt x="10166425" y="326333"/>
                  <a:pt x="10162773" y="328446"/>
                  <a:pt x="10158547" y="329406"/>
                </a:cubicBezTo>
                <a:cubicBezTo>
                  <a:pt x="10155855" y="330175"/>
                  <a:pt x="10150667" y="337089"/>
                  <a:pt x="10150474" y="339971"/>
                </a:cubicBezTo>
                <a:cubicBezTo>
                  <a:pt x="10150475" y="340931"/>
                  <a:pt x="10150474" y="341699"/>
                  <a:pt x="10151627" y="342084"/>
                </a:cubicBezTo>
                <a:cubicBezTo>
                  <a:pt x="10157585" y="344773"/>
                  <a:pt x="10160467" y="349959"/>
                  <a:pt x="10162966" y="355529"/>
                </a:cubicBezTo>
                <a:cubicBezTo>
                  <a:pt x="10163542" y="356682"/>
                  <a:pt x="10163927" y="357642"/>
                  <a:pt x="10164504" y="358603"/>
                </a:cubicBezTo>
                <a:cubicBezTo>
                  <a:pt x="10166425" y="361675"/>
                  <a:pt x="10167387" y="364365"/>
                  <a:pt x="10166042" y="368206"/>
                </a:cubicBezTo>
                <a:cubicBezTo>
                  <a:pt x="10164696" y="372048"/>
                  <a:pt x="10166810" y="375889"/>
                  <a:pt x="10168731" y="379347"/>
                </a:cubicBezTo>
                <a:cubicBezTo>
                  <a:pt x="10169500" y="381076"/>
                  <a:pt x="10169884" y="382228"/>
                  <a:pt x="10168539" y="383957"/>
                </a:cubicBezTo>
                <a:cubicBezTo>
                  <a:pt x="10163159" y="391256"/>
                  <a:pt x="10159123" y="399323"/>
                  <a:pt x="10158354" y="408735"/>
                </a:cubicBezTo>
                <a:cubicBezTo>
                  <a:pt x="10158162" y="410080"/>
                  <a:pt x="10157777" y="410656"/>
                  <a:pt x="10156432" y="410272"/>
                </a:cubicBezTo>
                <a:cubicBezTo>
                  <a:pt x="10151051" y="409120"/>
                  <a:pt x="10147591" y="412000"/>
                  <a:pt x="10144709" y="415842"/>
                </a:cubicBezTo>
                <a:cubicBezTo>
                  <a:pt x="10143363" y="417571"/>
                  <a:pt x="10142211" y="418531"/>
                  <a:pt x="10139712" y="417379"/>
                </a:cubicBezTo>
                <a:cubicBezTo>
                  <a:pt x="10136637" y="415650"/>
                  <a:pt x="10133756" y="417186"/>
                  <a:pt x="10131256" y="419300"/>
                </a:cubicBezTo>
                <a:cubicBezTo>
                  <a:pt x="10129142" y="421028"/>
                  <a:pt x="10127028" y="423141"/>
                  <a:pt x="10124914" y="424870"/>
                </a:cubicBezTo>
                <a:cubicBezTo>
                  <a:pt x="10123857" y="425638"/>
                  <a:pt x="10122848" y="426070"/>
                  <a:pt x="10122033" y="425902"/>
                </a:cubicBezTo>
                <a:cubicBezTo>
                  <a:pt x="10121216" y="425734"/>
                  <a:pt x="10120591" y="424966"/>
                  <a:pt x="10120302" y="423333"/>
                </a:cubicBezTo>
                <a:cubicBezTo>
                  <a:pt x="10120303" y="422565"/>
                  <a:pt x="10120110" y="421797"/>
                  <a:pt x="10119726" y="421028"/>
                </a:cubicBezTo>
                <a:cubicBezTo>
                  <a:pt x="10119341" y="420068"/>
                  <a:pt x="10119342" y="418531"/>
                  <a:pt x="10117996" y="418339"/>
                </a:cubicBezTo>
                <a:cubicBezTo>
                  <a:pt x="10116843" y="418340"/>
                  <a:pt x="10116074" y="419300"/>
                  <a:pt x="10115499" y="420068"/>
                </a:cubicBezTo>
                <a:cubicBezTo>
                  <a:pt x="10112615" y="423334"/>
                  <a:pt x="10111462" y="423141"/>
                  <a:pt x="10109733" y="419108"/>
                </a:cubicBezTo>
                <a:cubicBezTo>
                  <a:pt x="10109349" y="418147"/>
                  <a:pt x="10109156" y="417378"/>
                  <a:pt x="10108580" y="416610"/>
                </a:cubicBezTo>
                <a:cubicBezTo>
                  <a:pt x="10107811" y="415458"/>
                  <a:pt x="10107042" y="414497"/>
                  <a:pt x="10105120" y="415265"/>
                </a:cubicBezTo>
                <a:cubicBezTo>
                  <a:pt x="10103391" y="416226"/>
                  <a:pt x="10103390" y="416995"/>
                  <a:pt x="10103775" y="418531"/>
                </a:cubicBezTo>
                <a:lnTo>
                  <a:pt x="10104099" y="421436"/>
                </a:lnTo>
                <a:lnTo>
                  <a:pt x="10089078" y="406498"/>
                </a:lnTo>
                <a:lnTo>
                  <a:pt x="10089938" y="405277"/>
                </a:lnTo>
                <a:cubicBezTo>
                  <a:pt x="10090322" y="403549"/>
                  <a:pt x="10089747" y="402396"/>
                  <a:pt x="10088208" y="401628"/>
                </a:cubicBezTo>
                <a:cubicBezTo>
                  <a:pt x="10087055" y="401052"/>
                  <a:pt x="10085903" y="400668"/>
                  <a:pt x="10084750" y="400091"/>
                </a:cubicBezTo>
                <a:cubicBezTo>
                  <a:pt x="10082827" y="399131"/>
                  <a:pt x="10082059" y="397787"/>
                  <a:pt x="10082443" y="395482"/>
                </a:cubicBezTo>
                <a:cubicBezTo>
                  <a:pt x="10083597" y="388566"/>
                  <a:pt x="10081099" y="383765"/>
                  <a:pt x="10074948" y="380691"/>
                </a:cubicBezTo>
                <a:cubicBezTo>
                  <a:pt x="10073987" y="380115"/>
                  <a:pt x="10071874" y="380307"/>
                  <a:pt x="10072258" y="378579"/>
                </a:cubicBezTo>
                <a:cubicBezTo>
                  <a:pt x="10072451" y="376850"/>
                  <a:pt x="10074179" y="376466"/>
                  <a:pt x="10075909" y="376273"/>
                </a:cubicBezTo>
                <a:cubicBezTo>
                  <a:pt x="10076102" y="376273"/>
                  <a:pt x="10076293" y="376273"/>
                  <a:pt x="10076486" y="376274"/>
                </a:cubicBezTo>
                <a:cubicBezTo>
                  <a:pt x="10081098" y="375506"/>
                  <a:pt x="10082443" y="373393"/>
                  <a:pt x="10080137" y="369743"/>
                </a:cubicBezTo>
                <a:cubicBezTo>
                  <a:pt x="10078023" y="366285"/>
                  <a:pt x="10078600" y="363597"/>
                  <a:pt x="10080522" y="360716"/>
                </a:cubicBezTo>
                <a:cubicBezTo>
                  <a:pt x="10083021" y="356874"/>
                  <a:pt x="10084942" y="352840"/>
                  <a:pt x="10083788" y="348038"/>
                </a:cubicBezTo>
                <a:cubicBezTo>
                  <a:pt x="10083212" y="345925"/>
                  <a:pt x="10085326" y="344964"/>
                  <a:pt x="10086672" y="344580"/>
                </a:cubicBezTo>
                <a:cubicBezTo>
                  <a:pt x="10091669" y="342852"/>
                  <a:pt x="10093974" y="339587"/>
                  <a:pt x="10094551" y="334593"/>
                </a:cubicBezTo>
                <a:cubicBezTo>
                  <a:pt x="10094935" y="331519"/>
                  <a:pt x="10096088" y="330943"/>
                  <a:pt x="10099163" y="332864"/>
                </a:cubicBezTo>
                <a:cubicBezTo>
                  <a:pt x="10105697" y="336898"/>
                  <a:pt x="10115307" y="334017"/>
                  <a:pt x="10118188" y="327293"/>
                </a:cubicBezTo>
                <a:cubicBezTo>
                  <a:pt x="10118766" y="325949"/>
                  <a:pt x="10119533" y="324220"/>
                  <a:pt x="10118189" y="323067"/>
                </a:cubicBezTo>
                <a:cubicBezTo>
                  <a:pt x="10116843" y="321915"/>
                  <a:pt x="10114922" y="321339"/>
                  <a:pt x="10113192" y="322491"/>
                </a:cubicBezTo>
                <a:cubicBezTo>
                  <a:pt x="10112039" y="323068"/>
                  <a:pt x="10110886" y="324028"/>
                  <a:pt x="10109732" y="324796"/>
                </a:cubicBezTo>
                <a:cubicBezTo>
                  <a:pt x="10108579" y="325757"/>
                  <a:pt x="10107427" y="326334"/>
                  <a:pt x="10106466" y="325180"/>
                </a:cubicBezTo>
                <a:cubicBezTo>
                  <a:pt x="10105312" y="323836"/>
                  <a:pt x="10106081" y="322683"/>
                  <a:pt x="10107042" y="321723"/>
                </a:cubicBezTo>
                <a:cubicBezTo>
                  <a:pt x="10107811" y="320763"/>
                  <a:pt x="10108964" y="319994"/>
                  <a:pt x="10109732" y="319227"/>
                </a:cubicBezTo>
                <a:cubicBezTo>
                  <a:pt x="10111462" y="317497"/>
                  <a:pt x="10112423" y="315192"/>
                  <a:pt x="10110694" y="313272"/>
                </a:cubicBezTo>
                <a:cubicBezTo>
                  <a:pt x="10109156" y="311735"/>
                  <a:pt x="10107042" y="313272"/>
                  <a:pt x="10105504" y="314424"/>
                </a:cubicBezTo>
                <a:cubicBezTo>
                  <a:pt x="10104159" y="315385"/>
                  <a:pt x="10103198" y="317114"/>
                  <a:pt x="10101469" y="317690"/>
                </a:cubicBezTo>
                <a:cubicBezTo>
                  <a:pt x="10098971" y="318650"/>
                  <a:pt x="10097434" y="318265"/>
                  <a:pt x="10097625" y="315193"/>
                </a:cubicBezTo>
                <a:cubicBezTo>
                  <a:pt x="10097817" y="310967"/>
                  <a:pt x="10099548" y="307510"/>
                  <a:pt x="10101853" y="304244"/>
                </a:cubicBezTo>
                <a:cubicBezTo>
                  <a:pt x="10104736" y="300018"/>
                  <a:pt x="10104928" y="297713"/>
                  <a:pt x="10101853" y="293680"/>
                </a:cubicBezTo>
                <a:cubicBezTo>
                  <a:pt x="10100893" y="292143"/>
                  <a:pt x="10099356" y="290799"/>
                  <a:pt x="10098009" y="289454"/>
                </a:cubicBezTo>
                <a:cubicBezTo>
                  <a:pt x="10097434" y="288877"/>
                  <a:pt x="10096473" y="288301"/>
                  <a:pt x="10096856" y="287341"/>
                </a:cubicBezTo>
                <a:cubicBezTo>
                  <a:pt x="10097241" y="286188"/>
                  <a:pt x="10098202" y="285997"/>
                  <a:pt x="10098970" y="286189"/>
                </a:cubicBezTo>
                <a:cubicBezTo>
                  <a:pt x="10102431" y="286957"/>
                  <a:pt x="10103198" y="285420"/>
                  <a:pt x="10103006" y="282347"/>
                </a:cubicBezTo>
                <a:cubicBezTo>
                  <a:pt x="10102814" y="278505"/>
                  <a:pt x="10105313" y="275816"/>
                  <a:pt x="10108003" y="273703"/>
                </a:cubicBezTo>
                <a:cubicBezTo>
                  <a:pt x="10110117" y="271974"/>
                  <a:pt x="10110309" y="270630"/>
                  <a:pt x="10108195" y="269093"/>
                </a:cubicBezTo>
                <a:cubicBezTo>
                  <a:pt x="10107042" y="268325"/>
                  <a:pt x="10106273" y="267557"/>
                  <a:pt x="10106657" y="266020"/>
                </a:cubicBezTo>
                <a:cubicBezTo>
                  <a:pt x="10107042" y="263908"/>
                  <a:pt x="10108579" y="264291"/>
                  <a:pt x="10109925" y="263907"/>
                </a:cubicBezTo>
                <a:cubicBezTo>
                  <a:pt x="10110694" y="263715"/>
                  <a:pt x="10111654" y="263715"/>
                  <a:pt x="10112616" y="263523"/>
                </a:cubicBezTo>
                <a:cubicBezTo>
                  <a:pt x="10117804" y="262946"/>
                  <a:pt x="10118957" y="260066"/>
                  <a:pt x="10115883" y="255648"/>
                </a:cubicBezTo>
                <a:cubicBezTo>
                  <a:pt x="10115499" y="255072"/>
                  <a:pt x="10115113" y="254687"/>
                  <a:pt x="10114921" y="254111"/>
                </a:cubicBezTo>
                <a:cubicBezTo>
                  <a:pt x="10114345" y="252959"/>
                  <a:pt x="10113960" y="251423"/>
                  <a:pt x="10115114" y="250654"/>
                </a:cubicBezTo>
                <a:cubicBezTo>
                  <a:pt x="10116074" y="249886"/>
                  <a:pt x="10117419" y="250654"/>
                  <a:pt x="10118188" y="251422"/>
                </a:cubicBezTo>
                <a:cubicBezTo>
                  <a:pt x="10118958" y="252190"/>
                  <a:pt x="10119533" y="252959"/>
                  <a:pt x="10120110" y="253919"/>
                </a:cubicBezTo>
                <a:cubicBezTo>
                  <a:pt x="10121264" y="255264"/>
                  <a:pt x="10122417" y="255648"/>
                  <a:pt x="10123954" y="254495"/>
                </a:cubicBezTo>
                <a:cubicBezTo>
                  <a:pt x="10127605" y="251999"/>
                  <a:pt x="10131641" y="251614"/>
                  <a:pt x="10135677" y="251422"/>
                </a:cubicBezTo>
                <a:cubicBezTo>
                  <a:pt x="10140482" y="251038"/>
                  <a:pt x="10145477" y="251614"/>
                  <a:pt x="10150282" y="250461"/>
                </a:cubicBezTo>
                <a:close/>
                <a:moveTo>
                  <a:pt x="3983166" y="248530"/>
                </a:moveTo>
                <a:cubicBezTo>
                  <a:pt x="3989428" y="252346"/>
                  <a:pt x="3996901" y="245592"/>
                  <a:pt x="4002792" y="252086"/>
                </a:cubicBezTo>
                <a:cubicBezTo>
                  <a:pt x="4004516" y="254021"/>
                  <a:pt x="4009148" y="253368"/>
                  <a:pt x="4007129" y="258329"/>
                </a:cubicBezTo>
                <a:cubicBezTo>
                  <a:pt x="4006452" y="259748"/>
                  <a:pt x="4007605" y="261273"/>
                  <a:pt x="4008865" y="260967"/>
                </a:cubicBezTo>
                <a:cubicBezTo>
                  <a:pt x="4014201" y="260301"/>
                  <a:pt x="4015234" y="262952"/>
                  <a:pt x="4014197" y="267753"/>
                </a:cubicBezTo>
                <a:cubicBezTo>
                  <a:pt x="4013945" y="269305"/>
                  <a:pt x="4015789" y="270114"/>
                  <a:pt x="4016929" y="270935"/>
                </a:cubicBezTo>
                <a:cubicBezTo>
                  <a:pt x="4018920" y="272021"/>
                  <a:pt x="4020074" y="273545"/>
                  <a:pt x="4019130" y="275813"/>
                </a:cubicBezTo>
                <a:cubicBezTo>
                  <a:pt x="4018187" y="278082"/>
                  <a:pt x="4019341" y="279606"/>
                  <a:pt x="4019659" y="281568"/>
                </a:cubicBezTo>
                <a:cubicBezTo>
                  <a:pt x="4020453" y="286475"/>
                  <a:pt x="4021551" y="292640"/>
                  <a:pt x="4019507" y="296196"/>
                </a:cubicBezTo>
                <a:cubicBezTo>
                  <a:pt x="4015005" y="303876"/>
                  <a:pt x="4010926" y="311689"/>
                  <a:pt x="4006277" y="319092"/>
                </a:cubicBezTo>
                <a:cubicBezTo>
                  <a:pt x="4005721" y="319385"/>
                  <a:pt x="4004606" y="319969"/>
                  <a:pt x="4004035" y="319558"/>
                </a:cubicBezTo>
                <a:cubicBezTo>
                  <a:pt x="3999934" y="318513"/>
                  <a:pt x="3996260" y="317600"/>
                  <a:pt x="3994532" y="323118"/>
                </a:cubicBezTo>
                <a:cubicBezTo>
                  <a:pt x="3994147" y="325094"/>
                  <a:pt x="3992581" y="324140"/>
                  <a:pt x="3991719" y="323172"/>
                </a:cubicBezTo>
                <a:cubicBezTo>
                  <a:pt x="3988403" y="318878"/>
                  <a:pt x="3986173" y="320046"/>
                  <a:pt x="3984287" y="324582"/>
                </a:cubicBezTo>
                <a:cubicBezTo>
                  <a:pt x="3983077" y="327700"/>
                  <a:pt x="3981671" y="327728"/>
                  <a:pt x="3980212" y="324943"/>
                </a:cubicBezTo>
                <a:cubicBezTo>
                  <a:pt x="3979337" y="323273"/>
                  <a:pt x="3978874" y="321032"/>
                  <a:pt x="3976220" y="322068"/>
                </a:cubicBezTo>
                <a:cubicBezTo>
                  <a:pt x="3970061" y="323875"/>
                  <a:pt x="3965789" y="321146"/>
                  <a:pt x="3963443" y="315989"/>
                </a:cubicBezTo>
                <a:cubicBezTo>
                  <a:pt x="3961825" y="312223"/>
                  <a:pt x="3959835" y="311137"/>
                  <a:pt x="3956597" y="311060"/>
                </a:cubicBezTo>
                <a:cubicBezTo>
                  <a:pt x="3956013" y="309946"/>
                  <a:pt x="3955431" y="308833"/>
                  <a:pt x="3954846" y="307719"/>
                </a:cubicBezTo>
                <a:cubicBezTo>
                  <a:pt x="3956760" y="304588"/>
                  <a:pt x="3955990" y="301087"/>
                  <a:pt x="3953697" y="298742"/>
                </a:cubicBezTo>
                <a:cubicBezTo>
                  <a:pt x="3949677" y="294461"/>
                  <a:pt x="3949307" y="289687"/>
                  <a:pt x="3951181" y="284448"/>
                </a:cubicBezTo>
                <a:cubicBezTo>
                  <a:pt x="3951845" y="282326"/>
                  <a:pt x="3952656" y="280482"/>
                  <a:pt x="3952192" y="278241"/>
                </a:cubicBezTo>
                <a:cubicBezTo>
                  <a:pt x="3951145" y="274886"/>
                  <a:pt x="3951942" y="272340"/>
                  <a:pt x="3955155" y="271012"/>
                </a:cubicBezTo>
                <a:cubicBezTo>
                  <a:pt x="3957384" y="269843"/>
                  <a:pt x="3958327" y="267575"/>
                  <a:pt x="3958581" y="266023"/>
                </a:cubicBezTo>
                <a:cubicBezTo>
                  <a:pt x="3959820" y="256860"/>
                  <a:pt x="3968685" y="256828"/>
                  <a:pt x="3974100" y="252925"/>
                </a:cubicBezTo>
                <a:cubicBezTo>
                  <a:pt x="3976464" y="251332"/>
                  <a:pt x="3981028" y="247166"/>
                  <a:pt x="3983166" y="248530"/>
                </a:cubicBezTo>
                <a:close/>
                <a:moveTo>
                  <a:pt x="4924823" y="233531"/>
                </a:moveTo>
                <a:cubicBezTo>
                  <a:pt x="4931085" y="237346"/>
                  <a:pt x="4938558" y="230592"/>
                  <a:pt x="4944450" y="237086"/>
                </a:cubicBezTo>
                <a:cubicBezTo>
                  <a:pt x="4946174" y="239021"/>
                  <a:pt x="4950805" y="238369"/>
                  <a:pt x="4948789" y="243330"/>
                </a:cubicBezTo>
                <a:cubicBezTo>
                  <a:pt x="4948114" y="244749"/>
                  <a:pt x="4949262" y="246274"/>
                  <a:pt x="4950522" y="245968"/>
                </a:cubicBezTo>
                <a:cubicBezTo>
                  <a:pt x="4955860" y="245301"/>
                  <a:pt x="4956895" y="247953"/>
                  <a:pt x="4955855" y="252754"/>
                </a:cubicBezTo>
                <a:cubicBezTo>
                  <a:pt x="4955604" y="254306"/>
                  <a:pt x="4957447" y="255113"/>
                  <a:pt x="4958589" y="255936"/>
                </a:cubicBezTo>
                <a:cubicBezTo>
                  <a:pt x="4960581" y="257021"/>
                  <a:pt x="4961732" y="258546"/>
                  <a:pt x="4960788" y="260814"/>
                </a:cubicBezTo>
                <a:cubicBezTo>
                  <a:pt x="4959848" y="263082"/>
                  <a:pt x="4961001" y="264607"/>
                  <a:pt x="4961312" y="266569"/>
                </a:cubicBezTo>
                <a:cubicBezTo>
                  <a:pt x="4962107" y="271476"/>
                  <a:pt x="4963209" y="277641"/>
                  <a:pt x="4961163" y="281196"/>
                </a:cubicBezTo>
                <a:cubicBezTo>
                  <a:pt x="4956661" y="288877"/>
                  <a:pt x="4952586" y="296691"/>
                  <a:pt x="4947938" y="304093"/>
                </a:cubicBezTo>
                <a:cubicBezTo>
                  <a:pt x="4947380" y="304385"/>
                  <a:pt x="4946258" y="304969"/>
                  <a:pt x="4945694" y="304559"/>
                </a:cubicBezTo>
                <a:cubicBezTo>
                  <a:pt x="4941594" y="303513"/>
                  <a:pt x="4937915" y="302600"/>
                  <a:pt x="4936188" y="308118"/>
                </a:cubicBezTo>
                <a:cubicBezTo>
                  <a:pt x="4935804" y="310095"/>
                  <a:pt x="4934235" y="309140"/>
                  <a:pt x="4933376" y="308173"/>
                </a:cubicBezTo>
                <a:cubicBezTo>
                  <a:pt x="4930064" y="303879"/>
                  <a:pt x="4927821" y="305046"/>
                  <a:pt x="4925946" y="309584"/>
                </a:cubicBezTo>
                <a:cubicBezTo>
                  <a:pt x="4924735" y="312700"/>
                  <a:pt x="4923324" y="312728"/>
                  <a:pt x="4921866" y="309943"/>
                </a:cubicBezTo>
                <a:cubicBezTo>
                  <a:pt x="4921000" y="308273"/>
                  <a:pt x="4920535" y="306032"/>
                  <a:pt x="4917878" y="307069"/>
                </a:cubicBezTo>
                <a:cubicBezTo>
                  <a:pt x="4911723" y="308875"/>
                  <a:pt x="4907449" y="306146"/>
                  <a:pt x="4905101" y="300989"/>
                </a:cubicBezTo>
                <a:cubicBezTo>
                  <a:pt x="4903485" y="297224"/>
                  <a:pt x="4901494" y="296138"/>
                  <a:pt x="4898255" y="296060"/>
                </a:cubicBezTo>
                <a:cubicBezTo>
                  <a:pt x="4897675" y="294946"/>
                  <a:pt x="4897087" y="293833"/>
                  <a:pt x="4896509" y="292719"/>
                </a:cubicBezTo>
                <a:cubicBezTo>
                  <a:pt x="4898420" y="289589"/>
                  <a:pt x="4897647" y="286088"/>
                  <a:pt x="4895358" y="283742"/>
                </a:cubicBezTo>
                <a:cubicBezTo>
                  <a:pt x="4891337" y="279462"/>
                  <a:pt x="4890964" y="274688"/>
                  <a:pt x="4892839" y="269449"/>
                </a:cubicBezTo>
                <a:cubicBezTo>
                  <a:pt x="4893506" y="267326"/>
                  <a:pt x="4894312" y="265483"/>
                  <a:pt x="4893850" y="263241"/>
                </a:cubicBezTo>
                <a:cubicBezTo>
                  <a:pt x="4892806" y="259887"/>
                  <a:pt x="4893598" y="257341"/>
                  <a:pt x="4896812" y="256013"/>
                </a:cubicBezTo>
                <a:cubicBezTo>
                  <a:pt x="4899042" y="254844"/>
                  <a:pt x="4899987" y="252576"/>
                  <a:pt x="4900240" y="251024"/>
                </a:cubicBezTo>
                <a:cubicBezTo>
                  <a:pt x="4901474" y="241860"/>
                  <a:pt x="4910344" y="241828"/>
                  <a:pt x="4915756" y="237926"/>
                </a:cubicBezTo>
                <a:cubicBezTo>
                  <a:pt x="4918115" y="236333"/>
                  <a:pt x="4922685" y="232166"/>
                  <a:pt x="4924823" y="233531"/>
                </a:cubicBezTo>
                <a:close/>
                <a:moveTo>
                  <a:pt x="4305991" y="232693"/>
                </a:moveTo>
                <a:cubicBezTo>
                  <a:pt x="4309564" y="230822"/>
                  <a:pt x="4314373" y="231321"/>
                  <a:pt x="4317615" y="233650"/>
                </a:cubicBezTo>
                <a:cubicBezTo>
                  <a:pt x="4320254" y="235791"/>
                  <a:pt x="4322273" y="236747"/>
                  <a:pt x="4325271" y="236685"/>
                </a:cubicBezTo>
                <a:cubicBezTo>
                  <a:pt x="4327755" y="241424"/>
                  <a:pt x="4330236" y="246163"/>
                  <a:pt x="4332720" y="250903"/>
                </a:cubicBezTo>
                <a:cubicBezTo>
                  <a:pt x="4329790" y="254956"/>
                  <a:pt x="4328272" y="259778"/>
                  <a:pt x="4328547" y="264163"/>
                </a:cubicBezTo>
                <a:cubicBezTo>
                  <a:pt x="4328218" y="268362"/>
                  <a:pt x="4328496" y="272748"/>
                  <a:pt x="4328372" y="277342"/>
                </a:cubicBezTo>
                <a:cubicBezTo>
                  <a:pt x="4328043" y="281541"/>
                  <a:pt x="4327924" y="286134"/>
                  <a:pt x="4329595" y="290291"/>
                </a:cubicBezTo>
                <a:cubicBezTo>
                  <a:pt x="4330665" y="294262"/>
                  <a:pt x="4329108" y="297088"/>
                  <a:pt x="4327368" y="300518"/>
                </a:cubicBezTo>
                <a:cubicBezTo>
                  <a:pt x="4325624" y="303947"/>
                  <a:pt x="4321453" y="305631"/>
                  <a:pt x="4320912" y="309434"/>
                </a:cubicBezTo>
                <a:cubicBezTo>
                  <a:pt x="4318138" y="310889"/>
                  <a:pt x="4315761" y="312137"/>
                  <a:pt x="4312983" y="313591"/>
                </a:cubicBezTo>
                <a:cubicBezTo>
                  <a:pt x="4312363" y="312406"/>
                  <a:pt x="4311759" y="312219"/>
                  <a:pt x="4310965" y="312635"/>
                </a:cubicBezTo>
                <a:cubicBezTo>
                  <a:pt x="4305015" y="315753"/>
                  <a:pt x="4299770" y="313466"/>
                  <a:pt x="4295305" y="309766"/>
                </a:cubicBezTo>
                <a:cubicBezTo>
                  <a:pt x="4291049" y="306461"/>
                  <a:pt x="4286598" y="303759"/>
                  <a:pt x="4284700" y="298209"/>
                </a:cubicBezTo>
                <a:cubicBezTo>
                  <a:pt x="4282993" y="292057"/>
                  <a:pt x="4279495" y="286340"/>
                  <a:pt x="4281977" y="279502"/>
                </a:cubicBezTo>
                <a:cubicBezTo>
                  <a:pt x="4282737" y="277091"/>
                  <a:pt x="4283703" y="275074"/>
                  <a:pt x="4286065" y="272830"/>
                </a:cubicBezTo>
                <a:cubicBezTo>
                  <a:pt x="4289410" y="269566"/>
                  <a:pt x="4293138" y="265098"/>
                  <a:pt x="4288636" y="259402"/>
                </a:cubicBezTo>
                <a:cubicBezTo>
                  <a:pt x="4286997" y="257240"/>
                  <a:pt x="4288965" y="255204"/>
                  <a:pt x="4288740" y="253811"/>
                </a:cubicBezTo>
                <a:cubicBezTo>
                  <a:pt x="4287414" y="246453"/>
                  <a:pt x="4290728" y="241194"/>
                  <a:pt x="4294847" y="236517"/>
                </a:cubicBezTo>
                <a:cubicBezTo>
                  <a:pt x="4298833" y="235437"/>
                  <a:pt x="4302422" y="234564"/>
                  <a:pt x="4305991" y="232693"/>
                </a:cubicBezTo>
                <a:close/>
                <a:moveTo>
                  <a:pt x="6694336" y="218355"/>
                </a:moveTo>
                <a:lnTo>
                  <a:pt x="6699318" y="220475"/>
                </a:lnTo>
                <a:cubicBezTo>
                  <a:pt x="6695739" y="221947"/>
                  <a:pt x="6695739" y="221947"/>
                  <a:pt x="6695739" y="221947"/>
                </a:cubicBezTo>
                <a:cubicBezTo>
                  <a:pt x="6695739" y="221947"/>
                  <a:pt x="6692161" y="223417"/>
                  <a:pt x="6692161" y="223417"/>
                </a:cubicBezTo>
                <a:cubicBezTo>
                  <a:pt x="6690687" y="219837"/>
                  <a:pt x="6690687" y="219837"/>
                  <a:pt x="6694267" y="218365"/>
                </a:cubicBezTo>
                <a:close/>
                <a:moveTo>
                  <a:pt x="9139815" y="166396"/>
                </a:moveTo>
                <a:cubicBezTo>
                  <a:pt x="9143275" y="166356"/>
                  <a:pt x="9146894" y="167142"/>
                  <a:pt x="9150198" y="166671"/>
                </a:cubicBezTo>
                <a:cubicBezTo>
                  <a:pt x="9153031" y="166356"/>
                  <a:pt x="9159011" y="164785"/>
                  <a:pt x="9160269" y="166985"/>
                </a:cubicBezTo>
                <a:cubicBezTo>
                  <a:pt x="9164046" y="173271"/>
                  <a:pt x="9173800" y="170757"/>
                  <a:pt x="9176003" y="179243"/>
                </a:cubicBezTo>
                <a:cubicBezTo>
                  <a:pt x="9176633" y="181757"/>
                  <a:pt x="9181038" y="183328"/>
                  <a:pt x="9176947" y="186785"/>
                </a:cubicBezTo>
                <a:cubicBezTo>
                  <a:pt x="9175688" y="187728"/>
                  <a:pt x="9176004" y="189614"/>
                  <a:pt x="9177263" y="189928"/>
                </a:cubicBezTo>
                <a:cubicBezTo>
                  <a:pt x="9182298" y="191814"/>
                  <a:pt x="9181983" y="194643"/>
                  <a:pt x="9178835" y="198414"/>
                </a:cubicBezTo>
                <a:cubicBezTo>
                  <a:pt x="9177891" y="199671"/>
                  <a:pt x="9179150" y="201243"/>
                  <a:pt x="9179779" y="202500"/>
                </a:cubicBezTo>
                <a:cubicBezTo>
                  <a:pt x="9181039" y="204386"/>
                  <a:pt x="9181353" y="206272"/>
                  <a:pt x="9179465" y="207842"/>
                </a:cubicBezTo>
                <a:cubicBezTo>
                  <a:pt x="9177577" y="209414"/>
                  <a:pt x="9177891" y="211300"/>
                  <a:pt x="9177262" y="213186"/>
                </a:cubicBezTo>
                <a:cubicBezTo>
                  <a:pt x="9175688" y="217900"/>
                  <a:pt x="9173800" y="223872"/>
                  <a:pt x="9170339" y="226072"/>
                </a:cubicBezTo>
                <a:cubicBezTo>
                  <a:pt x="9162786" y="230786"/>
                  <a:pt x="9155548" y="235815"/>
                  <a:pt x="9147996" y="240215"/>
                </a:cubicBezTo>
                <a:cubicBezTo>
                  <a:pt x="9147367" y="240215"/>
                  <a:pt x="9146107" y="240215"/>
                  <a:pt x="9145794" y="239586"/>
                </a:cubicBezTo>
                <a:cubicBezTo>
                  <a:pt x="9142646" y="236757"/>
                  <a:pt x="9139815" y="234243"/>
                  <a:pt x="9135724" y="238329"/>
                </a:cubicBezTo>
                <a:cubicBezTo>
                  <a:pt x="9134465" y="239901"/>
                  <a:pt x="9133520" y="238329"/>
                  <a:pt x="9133205" y="237071"/>
                </a:cubicBezTo>
                <a:cubicBezTo>
                  <a:pt x="9132262" y="231729"/>
                  <a:pt x="9129744" y="231729"/>
                  <a:pt x="9125968" y="234871"/>
                </a:cubicBezTo>
                <a:cubicBezTo>
                  <a:pt x="9123451" y="237072"/>
                  <a:pt x="9122191" y="236443"/>
                  <a:pt x="9122192" y="233300"/>
                </a:cubicBezTo>
                <a:cubicBezTo>
                  <a:pt x="9122192" y="231414"/>
                  <a:pt x="9122821" y="229214"/>
                  <a:pt x="9119988" y="228900"/>
                </a:cubicBezTo>
                <a:cubicBezTo>
                  <a:pt x="9113694" y="227643"/>
                  <a:pt x="9111177" y="223243"/>
                  <a:pt x="9111492" y="217586"/>
                </a:cubicBezTo>
                <a:cubicBezTo>
                  <a:pt x="9111807" y="213500"/>
                  <a:pt x="9110547" y="211614"/>
                  <a:pt x="9107715" y="210043"/>
                </a:cubicBezTo>
                <a:cubicBezTo>
                  <a:pt x="9107716" y="208785"/>
                  <a:pt x="9107716" y="207529"/>
                  <a:pt x="9107715" y="206271"/>
                </a:cubicBezTo>
                <a:cubicBezTo>
                  <a:pt x="9110863" y="204386"/>
                  <a:pt x="9111806" y="200929"/>
                  <a:pt x="9110863" y="197786"/>
                </a:cubicBezTo>
                <a:cubicBezTo>
                  <a:pt x="9109288" y="192128"/>
                  <a:pt x="9111177" y="187728"/>
                  <a:pt x="9115268" y="183957"/>
                </a:cubicBezTo>
                <a:cubicBezTo>
                  <a:pt x="9116842" y="182385"/>
                  <a:pt x="9118415" y="181128"/>
                  <a:pt x="9119045" y="178928"/>
                </a:cubicBezTo>
                <a:cubicBezTo>
                  <a:pt x="9119673" y="175471"/>
                  <a:pt x="9121561" y="173585"/>
                  <a:pt x="9125023" y="173900"/>
                </a:cubicBezTo>
                <a:cubicBezTo>
                  <a:pt x="9127541" y="173899"/>
                  <a:pt x="9129429" y="172328"/>
                  <a:pt x="9130374" y="171070"/>
                </a:cubicBezTo>
                <a:cubicBezTo>
                  <a:pt x="9133048" y="167300"/>
                  <a:pt x="9136352" y="166435"/>
                  <a:pt x="9139815" y="166396"/>
                </a:cubicBezTo>
                <a:close/>
                <a:moveTo>
                  <a:pt x="5831207" y="160660"/>
                </a:moveTo>
                <a:cubicBezTo>
                  <a:pt x="5837845" y="165311"/>
                  <a:pt x="5844143" y="170519"/>
                  <a:pt x="5850755" y="175462"/>
                </a:cubicBezTo>
                <a:cubicBezTo>
                  <a:pt x="5853784" y="177764"/>
                  <a:pt x="5855064" y="183428"/>
                  <a:pt x="5856154" y="187907"/>
                </a:cubicBezTo>
                <a:cubicBezTo>
                  <a:pt x="5856590" y="189699"/>
                  <a:pt x="5856153" y="191416"/>
                  <a:pt x="5857775" y="193015"/>
                </a:cubicBezTo>
                <a:cubicBezTo>
                  <a:pt x="5859397" y="194614"/>
                  <a:pt x="5858961" y="196332"/>
                  <a:pt x="5857652" y="197976"/>
                </a:cubicBezTo>
                <a:cubicBezTo>
                  <a:pt x="5856971" y="199089"/>
                  <a:pt x="5855688" y="200445"/>
                  <a:pt x="5856462" y="201679"/>
                </a:cubicBezTo>
                <a:cubicBezTo>
                  <a:pt x="5859078" y="205409"/>
                  <a:pt x="5859149" y="208047"/>
                  <a:pt x="5854349" y="209399"/>
                </a:cubicBezTo>
                <a:cubicBezTo>
                  <a:pt x="5853164" y="209592"/>
                  <a:pt x="5852724" y="211310"/>
                  <a:pt x="5853816" y="212279"/>
                </a:cubicBezTo>
                <a:cubicBezTo>
                  <a:pt x="5857328" y="215791"/>
                  <a:pt x="5853137" y="216901"/>
                  <a:pt x="5852359" y="219176"/>
                </a:cubicBezTo>
                <a:cubicBezTo>
                  <a:pt x="5849664" y="226846"/>
                  <a:pt x="5840844" y="223767"/>
                  <a:pt x="5836868" y="229283"/>
                </a:cubicBezTo>
                <a:cubicBezTo>
                  <a:pt x="5835534" y="231218"/>
                  <a:pt x="5830129" y="229302"/>
                  <a:pt x="5827537" y="228791"/>
                </a:cubicBezTo>
                <a:cubicBezTo>
                  <a:pt x="5821503" y="227408"/>
                  <a:pt x="5813918" y="230574"/>
                  <a:pt x="5809556" y="223188"/>
                </a:cubicBezTo>
                <a:cubicBezTo>
                  <a:pt x="5808783" y="221953"/>
                  <a:pt x="5807160" y="220355"/>
                  <a:pt x="5804833" y="220159"/>
                </a:cubicBezTo>
                <a:cubicBezTo>
                  <a:pt x="5801610" y="220181"/>
                  <a:pt x="5800012" y="218292"/>
                  <a:pt x="5799699" y="215049"/>
                </a:cubicBezTo>
                <a:cubicBezTo>
                  <a:pt x="5799289" y="212966"/>
                  <a:pt x="5797931" y="211683"/>
                  <a:pt x="5796598" y="210108"/>
                </a:cubicBezTo>
                <a:cubicBezTo>
                  <a:pt x="5793112" y="206306"/>
                  <a:pt x="5791707" y="202094"/>
                  <a:pt x="5793601" y="196987"/>
                </a:cubicBezTo>
                <a:cubicBezTo>
                  <a:pt x="5794716" y="194157"/>
                  <a:pt x="5794112" y="190889"/>
                  <a:pt x="5791350" y="188902"/>
                </a:cubicBezTo>
                <a:cubicBezTo>
                  <a:pt x="5791448" y="187740"/>
                  <a:pt x="5791546" y="186578"/>
                  <a:pt x="5791641" y="185417"/>
                </a:cubicBezTo>
                <a:cubicBezTo>
                  <a:pt x="5794382" y="184184"/>
                  <a:pt x="5795691" y="182540"/>
                  <a:pt x="5795718" y="178740"/>
                </a:cubicBezTo>
                <a:cubicBezTo>
                  <a:pt x="5795866" y="173487"/>
                  <a:pt x="5798532" y="169616"/>
                  <a:pt x="5804447" y="168942"/>
                </a:cubicBezTo>
                <a:cubicBezTo>
                  <a:pt x="5807090" y="168872"/>
                  <a:pt x="5806679" y="166791"/>
                  <a:pt x="5806824" y="165048"/>
                </a:cubicBezTo>
                <a:cubicBezTo>
                  <a:pt x="5807067" y="162143"/>
                  <a:pt x="5808279" y="161660"/>
                  <a:pt x="5810437" y="163888"/>
                </a:cubicBezTo>
                <a:cubicBezTo>
                  <a:pt x="5813681" y="167085"/>
                  <a:pt x="5816007" y="167281"/>
                  <a:pt x="5817294" y="162417"/>
                </a:cubicBezTo>
                <a:cubicBezTo>
                  <a:pt x="5817685" y="161279"/>
                  <a:pt x="5818677" y="159900"/>
                  <a:pt x="5819718" y="161450"/>
                </a:cubicBezTo>
                <a:cubicBezTo>
                  <a:pt x="5823182" y="165543"/>
                  <a:pt x="5825994" y="163439"/>
                  <a:pt x="5829121" y="161070"/>
                </a:cubicBezTo>
                <a:cubicBezTo>
                  <a:pt x="5829459" y="160513"/>
                  <a:pt x="5830625" y="160611"/>
                  <a:pt x="5831207" y="160660"/>
                </a:cubicBezTo>
                <a:close/>
                <a:moveTo>
                  <a:pt x="6357103" y="130850"/>
                </a:moveTo>
                <a:cubicBezTo>
                  <a:pt x="6362154" y="132959"/>
                  <a:pt x="6370784" y="133600"/>
                  <a:pt x="6379414" y="134241"/>
                </a:cubicBezTo>
                <a:cubicBezTo>
                  <a:pt x="6379414" y="134241"/>
                  <a:pt x="6384464" y="136351"/>
                  <a:pt x="6384464" y="136351"/>
                </a:cubicBezTo>
                <a:cubicBezTo>
                  <a:pt x="6384464" y="136351"/>
                  <a:pt x="6388044" y="134880"/>
                  <a:pt x="6393094" y="136991"/>
                </a:cubicBezTo>
                <a:cubicBezTo>
                  <a:pt x="6393094" y="136991"/>
                  <a:pt x="6396673" y="135521"/>
                  <a:pt x="6398145" y="139102"/>
                </a:cubicBezTo>
                <a:cubicBezTo>
                  <a:pt x="6394566" y="140573"/>
                  <a:pt x="6394566" y="140573"/>
                  <a:pt x="6389516" y="138462"/>
                </a:cubicBezTo>
                <a:cubicBezTo>
                  <a:pt x="6389516" y="138462"/>
                  <a:pt x="6385937" y="139933"/>
                  <a:pt x="6380885" y="137822"/>
                </a:cubicBezTo>
                <a:cubicBezTo>
                  <a:pt x="6390987" y="142044"/>
                  <a:pt x="6399617" y="142683"/>
                  <a:pt x="6406139" y="148377"/>
                </a:cubicBezTo>
                <a:cubicBezTo>
                  <a:pt x="6404033" y="153429"/>
                  <a:pt x="6391824" y="154260"/>
                  <a:pt x="6399820" y="163534"/>
                </a:cubicBezTo>
                <a:lnTo>
                  <a:pt x="6477439" y="167593"/>
                </a:lnTo>
                <a:lnTo>
                  <a:pt x="6478503" y="166108"/>
                </a:lnTo>
                <a:cubicBezTo>
                  <a:pt x="6478921" y="164886"/>
                  <a:pt x="6479989" y="163404"/>
                  <a:pt x="6481108" y="165070"/>
                </a:cubicBezTo>
                <a:cubicBezTo>
                  <a:pt x="6484830" y="169469"/>
                  <a:pt x="6487852" y="167207"/>
                  <a:pt x="6491213" y="164661"/>
                </a:cubicBezTo>
                <a:cubicBezTo>
                  <a:pt x="6491578" y="164063"/>
                  <a:pt x="6492827" y="164168"/>
                  <a:pt x="6493452" y="164220"/>
                </a:cubicBezTo>
                <a:lnTo>
                  <a:pt x="6501170" y="170064"/>
                </a:lnTo>
                <a:lnTo>
                  <a:pt x="6578935" y="182030"/>
                </a:lnTo>
                <a:cubicBezTo>
                  <a:pt x="6582514" y="180559"/>
                  <a:pt x="6582514" y="180559"/>
                  <a:pt x="6587565" y="182670"/>
                </a:cubicBezTo>
                <a:cubicBezTo>
                  <a:pt x="6591143" y="181199"/>
                  <a:pt x="6592616" y="184781"/>
                  <a:pt x="6592616" y="184781"/>
                </a:cubicBezTo>
                <a:cubicBezTo>
                  <a:pt x="6613455" y="184590"/>
                  <a:pt x="6640815" y="190092"/>
                  <a:pt x="6664597" y="197066"/>
                </a:cubicBezTo>
                <a:lnTo>
                  <a:pt x="6682597" y="198204"/>
                </a:lnTo>
                <a:lnTo>
                  <a:pt x="6678219" y="194887"/>
                </a:lnTo>
                <a:cubicBezTo>
                  <a:pt x="6677197" y="191831"/>
                  <a:pt x="6676069" y="190040"/>
                  <a:pt x="6673637" y="188563"/>
                </a:cubicBezTo>
                <a:cubicBezTo>
                  <a:pt x="6674060" y="183509"/>
                  <a:pt x="6674485" y="178454"/>
                  <a:pt x="6674908" y="173399"/>
                </a:cubicBezTo>
                <a:cubicBezTo>
                  <a:pt x="6679316" y="171648"/>
                  <a:pt x="6682984" y="168563"/>
                  <a:pt x="6684995" y="164913"/>
                </a:cubicBezTo>
                <a:cubicBezTo>
                  <a:pt x="6687394" y="161722"/>
                  <a:pt x="6689404" y="158073"/>
                  <a:pt x="6691838" y="154459"/>
                </a:cubicBezTo>
                <a:cubicBezTo>
                  <a:pt x="6694236" y="151267"/>
                  <a:pt x="6696670" y="147653"/>
                  <a:pt x="6697447" y="143477"/>
                </a:cubicBezTo>
                <a:cubicBezTo>
                  <a:pt x="6698611" y="139757"/>
                  <a:pt x="6701292" y="138285"/>
                  <a:pt x="6704430" y="136428"/>
                </a:cubicBezTo>
                <a:cubicBezTo>
                  <a:pt x="6707569" y="134570"/>
                  <a:pt x="6711764" y="135347"/>
                  <a:pt x="6714127" y="132576"/>
                </a:cubicBezTo>
                <a:cubicBezTo>
                  <a:pt x="6717089" y="132824"/>
                  <a:pt x="6719628" y="133037"/>
                  <a:pt x="6722590" y="133286"/>
                </a:cubicBezTo>
                <a:cubicBezTo>
                  <a:pt x="6722484" y="134550"/>
                  <a:pt x="6722872" y="135007"/>
                  <a:pt x="6723718" y="135078"/>
                </a:cubicBezTo>
                <a:cubicBezTo>
                  <a:pt x="6730064" y="135610"/>
                  <a:pt x="6733096" y="140107"/>
                  <a:pt x="6734787" y="145339"/>
                </a:cubicBezTo>
                <a:cubicBezTo>
                  <a:pt x="6736514" y="150150"/>
                  <a:pt x="6738699" y="154575"/>
                  <a:pt x="6737393" y="159980"/>
                </a:cubicBezTo>
                <a:cubicBezTo>
                  <a:pt x="6735628" y="165770"/>
                  <a:pt x="6735521" y="172124"/>
                  <a:pt x="6730055" y="176331"/>
                </a:cubicBezTo>
                <a:cubicBezTo>
                  <a:pt x="6728221" y="177874"/>
                  <a:pt x="6726423" y="178996"/>
                  <a:pt x="6723390" y="179589"/>
                </a:cubicBezTo>
                <a:cubicBezTo>
                  <a:pt x="6719053" y="180498"/>
                  <a:pt x="6713798" y="182178"/>
                  <a:pt x="6714502" y="189024"/>
                </a:cubicBezTo>
                <a:cubicBezTo>
                  <a:pt x="6714714" y="191587"/>
                  <a:pt x="6712104" y="192216"/>
                  <a:pt x="6711575" y="193445"/>
                </a:cubicBezTo>
                <a:lnTo>
                  <a:pt x="6703795" y="199545"/>
                </a:lnTo>
                <a:lnTo>
                  <a:pt x="6704325" y="199579"/>
                </a:lnTo>
                <a:cubicBezTo>
                  <a:pt x="6719795" y="201594"/>
                  <a:pt x="6736896" y="205032"/>
                  <a:pt x="6753838" y="210630"/>
                </a:cubicBezTo>
                <a:cubicBezTo>
                  <a:pt x="6789829" y="216773"/>
                  <a:pt x="6823712" y="227967"/>
                  <a:pt x="6843916" y="236411"/>
                </a:cubicBezTo>
                <a:cubicBezTo>
                  <a:pt x="6886429" y="248247"/>
                  <a:pt x="6933992" y="262192"/>
                  <a:pt x="6976507" y="274027"/>
                </a:cubicBezTo>
                <a:cubicBezTo>
                  <a:pt x="6995975" y="280680"/>
                  <a:pt x="7014548" y="287700"/>
                  <a:pt x="7030883" y="295640"/>
                </a:cubicBezTo>
                <a:lnTo>
                  <a:pt x="7056575" y="312658"/>
                </a:lnTo>
                <a:lnTo>
                  <a:pt x="7058402" y="309661"/>
                </a:lnTo>
                <a:cubicBezTo>
                  <a:pt x="7059787" y="309108"/>
                  <a:pt x="7061154" y="308777"/>
                  <a:pt x="7062539" y="308224"/>
                </a:cubicBezTo>
                <a:cubicBezTo>
                  <a:pt x="7064387" y="307487"/>
                  <a:pt x="7065163" y="306214"/>
                  <a:pt x="7064887" y="304184"/>
                </a:cubicBezTo>
                <a:lnTo>
                  <a:pt x="7064013" y="302694"/>
                </a:lnTo>
                <a:lnTo>
                  <a:pt x="7082777" y="286924"/>
                </a:lnTo>
                <a:lnTo>
                  <a:pt x="7082122" y="290242"/>
                </a:lnTo>
                <a:cubicBezTo>
                  <a:pt x="7081531" y="291977"/>
                  <a:pt x="7081457" y="292862"/>
                  <a:pt x="7083358" y="294137"/>
                </a:cubicBezTo>
                <a:cubicBezTo>
                  <a:pt x="7085499" y="295209"/>
                  <a:pt x="7086478" y="294176"/>
                  <a:pt x="7087476" y="292921"/>
                </a:cubicBezTo>
                <a:cubicBezTo>
                  <a:pt x="7088216" y="292091"/>
                  <a:pt x="7088511" y="291224"/>
                  <a:pt x="7089048" y="290154"/>
                </a:cubicBezTo>
                <a:cubicBezTo>
                  <a:pt x="7091432" y="285671"/>
                  <a:pt x="7092780" y="285561"/>
                  <a:pt x="7095787" y="289605"/>
                </a:cubicBezTo>
                <a:cubicBezTo>
                  <a:pt x="7096378" y="290546"/>
                  <a:pt x="7097172" y="291728"/>
                  <a:pt x="7098501" y="291840"/>
                </a:cubicBezTo>
                <a:cubicBezTo>
                  <a:pt x="7100071" y="291749"/>
                  <a:pt x="7100219" y="289977"/>
                  <a:pt x="7100755" y="288907"/>
                </a:cubicBezTo>
                <a:cubicBezTo>
                  <a:pt x="7101273" y="288058"/>
                  <a:pt x="7101568" y="287191"/>
                  <a:pt x="7101643" y="286305"/>
                </a:cubicBezTo>
                <a:cubicBezTo>
                  <a:pt x="7102134" y="284450"/>
                  <a:pt x="7102927" y="283625"/>
                  <a:pt x="7103886" y="283510"/>
                </a:cubicBezTo>
                <a:cubicBezTo>
                  <a:pt x="7104843" y="283395"/>
                  <a:pt x="7105965" y="283991"/>
                  <a:pt x="7107110" y="284980"/>
                </a:cubicBezTo>
                <a:cubicBezTo>
                  <a:pt x="7109380" y="287177"/>
                  <a:pt x="7111613" y="289818"/>
                  <a:pt x="7113883" y="292016"/>
                </a:cubicBezTo>
                <a:cubicBezTo>
                  <a:pt x="7116558" y="294694"/>
                  <a:pt x="7119734" y="296745"/>
                  <a:pt x="7123446" y="295048"/>
                </a:cubicBezTo>
                <a:cubicBezTo>
                  <a:pt x="7126438" y="293962"/>
                  <a:pt x="7127675" y="295180"/>
                  <a:pt x="7129058" y="297304"/>
                </a:cubicBezTo>
                <a:cubicBezTo>
                  <a:pt x="7132010" y="302012"/>
                  <a:pt x="7135720" y="305669"/>
                  <a:pt x="7142035" y="304861"/>
                </a:cubicBezTo>
                <a:cubicBezTo>
                  <a:pt x="7143624" y="304548"/>
                  <a:pt x="7144011" y="305249"/>
                  <a:pt x="7144102" y="306818"/>
                </a:cubicBezTo>
                <a:cubicBezTo>
                  <a:pt x="7144078" y="317745"/>
                  <a:pt x="7147950" y="327436"/>
                  <a:pt x="7153448" y="336374"/>
                </a:cubicBezTo>
                <a:cubicBezTo>
                  <a:pt x="7154832" y="338497"/>
                  <a:pt x="7154277" y="339788"/>
                  <a:pt x="7153224" y="341707"/>
                </a:cubicBezTo>
                <a:cubicBezTo>
                  <a:pt x="7150673" y="345507"/>
                  <a:pt x="7147863" y="349732"/>
                  <a:pt x="7149043" y="354291"/>
                </a:cubicBezTo>
                <a:lnTo>
                  <a:pt x="7147775" y="359417"/>
                </a:lnTo>
                <a:lnTo>
                  <a:pt x="7169275" y="366458"/>
                </a:lnTo>
                <a:cubicBezTo>
                  <a:pt x="7190316" y="387118"/>
                  <a:pt x="7235773" y="406117"/>
                  <a:pt x="7270495" y="429527"/>
                </a:cubicBezTo>
                <a:cubicBezTo>
                  <a:pt x="7243033" y="413600"/>
                  <a:pt x="7211833" y="401302"/>
                  <a:pt x="7180185" y="389188"/>
                </a:cubicBezTo>
                <a:lnTo>
                  <a:pt x="7140461" y="372428"/>
                </a:lnTo>
                <a:lnTo>
                  <a:pt x="7129896" y="383016"/>
                </a:lnTo>
                <a:cubicBezTo>
                  <a:pt x="7128530" y="383347"/>
                  <a:pt x="7128456" y="384233"/>
                  <a:pt x="7128363" y="385340"/>
                </a:cubicBezTo>
                <a:cubicBezTo>
                  <a:pt x="7128306" y="388681"/>
                  <a:pt x="7133619" y="397156"/>
                  <a:pt x="7136647" y="398302"/>
                </a:cubicBezTo>
                <a:cubicBezTo>
                  <a:pt x="7141428" y="399819"/>
                  <a:pt x="7145433" y="402607"/>
                  <a:pt x="7148441" y="406652"/>
                </a:cubicBezTo>
                <a:cubicBezTo>
                  <a:pt x="7152685" y="411915"/>
                  <a:pt x="7156247" y="417343"/>
                  <a:pt x="7160250" y="422808"/>
                </a:cubicBezTo>
                <a:cubicBezTo>
                  <a:pt x="7161468" y="424249"/>
                  <a:pt x="7160729" y="425080"/>
                  <a:pt x="7159749" y="426112"/>
                </a:cubicBezTo>
                <a:cubicBezTo>
                  <a:pt x="7155352" y="430649"/>
                  <a:pt x="7155352" y="430649"/>
                  <a:pt x="7159948" y="434381"/>
                </a:cubicBezTo>
                <a:cubicBezTo>
                  <a:pt x="7164101" y="438074"/>
                  <a:pt x="7164136" y="440308"/>
                  <a:pt x="7159795" y="444180"/>
                </a:cubicBezTo>
                <a:cubicBezTo>
                  <a:pt x="7157874" y="445803"/>
                  <a:pt x="7155934" y="447648"/>
                  <a:pt x="7156338" y="450804"/>
                </a:cubicBezTo>
                <a:cubicBezTo>
                  <a:pt x="7157682" y="458724"/>
                  <a:pt x="7154262" y="464904"/>
                  <a:pt x="7148683" y="470234"/>
                </a:cubicBezTo>
                <a:cubicBezTo>
                  <a:pt x="7145043" y="473720"/>
                  <a:pt x="7140757" y="476929"/>
                  <a:pt x="7137948" y="481154"/>
                </a:cubicBezTo>
                <a:cubicBezTo>
                  <a:pt x="7137430" y="482002"/>
                  <a:pt x="7136691" y="482832"/>
                  <a:pt x="7135602" y="482517"/>
                </a:cubicBezTo>
                <a:cubicBezTo>
                  <a:pt x="7130212" y="480281"/>
                  <a:pt x="7127034" y="483582"/>
                  <a:pt x="7123634" y="486865"/>
                </a:cubicBezTo>
                <a:cubicBezTo>
                  <a:pt x="7122654" y="487899"/>
                  <a:pt x="7121436" y="489134"/>
                  <a:pt x="7119479" y="488523"/>
                </a:cubicBezTo>
                <a:cubicBezTo>
                  <a:pt x="7114051" y="486730"/>
                  <a:pt x="7108233" y="486911"/>
                  <a:pt x="7102732" y="486003"/>
                </a:cubicBezTo>
                <a:cubicBezTo>
                  <a:pt x="7098097" y="485391"/>
                  <a:pt x="7093481" y="484558"/>
                  <a:pt x="7089513" y="481325"/>
                </a:cubicBezTo>
                <a:cubicBezTo>
                  <a:pt x="7087852" y="479848"/>
                  <a:pt x="7086485" y="480179"/>
                  <a:pt x="7085026" y="481617"/>
                </a:cubicBezTo>
                <a:cubicBezTo>
                  <a:pt x="7084268" y="482669"/>
                  <a:pt x="7083528" y="483499"/>
                  <a:pt x="7082568" y="484310"/>
                </a:cubicBezTo>
                <a:cubicBezTo>
                  <a:pt x="7081608" y="485122"/>
                  <a:pt x="7079982" y="485877"/>
                  <a:pt x="7078949" y="484899"/>
                </a:cubicBezTo>
                <a:cubicBezTo>
                  <a:pt x="7077694" y="483901"/>
                  <a:pt x="7078285" y="482167"/>
                  <a:pt x="7079061" y="480894"/>
                </a:cubicBezTo>
                <a:cubicBezTo>
                  <a:pt x="7079339" y="480248"/>
                  <a:pt x="7079819" y="479843"/>
                  <a:pt x="7080318" y="479215"/>
                </a:cubicBezTo>
                <a:cubicBezTo>
                  <a:pt x="7084291" y="474419"/>
                  <a:pt x="7083241" y="470986"/>
                  <a:pt x="7077314" y="469819"/>
                </a:cubicBezTo>
                <a:cubicBezTo>
                  <a:pt x="7076224" y="469505"/>
                  <a:pt x="7075117" y="469412"/>
                  <a:pt x="7074249" y="469116"/>
                </a:cubicBezTo>
                <a:cubicBezTo>
                  <a:pt x="7072735" y="468543"/>
                  <a:pt x="7070925" y="468837"/>
                  <a:pt x="7070686" y="466364"/>
                </a:cubicBezTo>
                <a:cubicBezTo>
                  <a:pt x="7070392" y="464555"/>
                  <a:pt x="7071353" y="463743"/>
                  <a:pt x="7072757" y="462969"/>
                </a:cubicBezTo>
                <a:cubicBezTo>
                  <a:pt x="7075343" y="461402"/>
                  <a:pt x="7075251" y="459833"/>
                  <a:pt x="7072982" y="457635"/>
                </a:cubicBezTo>
                <a:cubicBezTo>
                  <a:pt x="7070083" y="454938"/>
                  <a:pt x="7067463" y="451596"/>
                  <a:pt x="7068056" y="447185"/>
                </a:cubicBezTo>
                <a:cubicBezTo>
                  <a:pt x="7068576" y="443660"/>
                  <a:pt x="7067838" y="441814"/>
                  <a:pt x="7063776" y="442365"/>
                </a:cubicBezTo>
                <a:cubicBezTo>
                  <a:pt x="7062870" y="442513"/>
                  <a:pt x="7061782" y="442198"/>
                  <a:pt x="7061450" y="440833"/>
                </a:cubicBezTo>
                <a:cubicBezTo>
                  <a:pt x="7061099" y="439688"/>
                  <a:pt x="7062263" y="439117"/>
                  <a:pt x="7062983" y="438508"/>
                </a:cubicBezTo>
                <a:cubicBezTo>
                  <a:pt x="7064665" y="437087"/>
                  <a:pt x="7066567" y="435687"/>
                  <a:pt x="7067824" y="434008"/>
                </a:cubicBezTo>
                <a:cubicBezTo>
                  <a:pt x="7071760" y="429655"/>
                  <a:pt x="7071762" y="426978"/>
                  <a:pt x="7068846" y="421828"/>
                </a:cubicBezTo>
                <a:cubicBezTo>
                  <a:pt x="7066504" y="417839"/>
                  <a:pt x="7064843" y="413685"/>
                  <a:pt x="7065031" y="408795"/>
                </a:cubicBezTo>
                <a:cubicBezTo>
                  <a:pt x="7065107" y="405233"/>
                  <a:pt x="7066916" y="404938"/>
                  <a:pt x="7069704" y="406287"/>
                </a:cubicBezTo>
                <a:cubicBezTo>
                  <a:pt x="7071642" y="407119"/>
                  <a:pt x="7072583" y="409205"/>
                  <a:pt x="7074042" y="410443"/>
                </a:cubicBezTo>
                <a:cubicBezTo>
                  <a:pt x="7075703" y="411920"/>
                  <a:pt x="7077992" y="413897"/>
                  <a:pt x="7079913" y="412274"/>
                </a:cubicBezTo>
                <a:cubicBezTo>
                  <a:pt x="7082093" y="410227"/>
                  <a:pt x="7081208" y="407476"/>
                  <a:pt x="7079381" y="405315"/>
                </a:cubicBezTo>
                <a:cubicBezTo>
                  <a:pt x="7078569" y="404355"/>
                  <a:pt x="7077314" y="403358"/>
                  <a:pt x="7076521" y="402176"/>
                </a:cubicBezTo>
                <a:cubicBezTo>
                  <a:pt x="7075506" y="400976"/>
                  <a:pt x="7074730" y="399573"/>
                  <a:pt x="7076190" y="398134"/>
                </a:cubicBezTo>
                <a:cubicBezTo>
                  <a:pt x="7077409" y="396899"/>
                  <a:pt x="7078684" y="397674"/>
                  <a:pt x="7079920" y="398893"/>
                </a:cubicBezTo>
                <a:cubicBezTo>
                  <a:pt x="7081175" y="399890"/>
                  <a:pt x="7082412" y="401110"/>
                  <a:pt x="7083685" y="401885"/>
                </a:cubicBezTo>
                <a:cubicBezTo>
                  <a:pt x="7085568" y="403382"/>
                  <a:pt x="7087840" y="402903"/>
                  <a:pt x="7089502" y="401705"/>
                </a:cubicBezTo>
                <a:cubicBezTo>
                  <a:pt x="7091165" y="400506"/>
                  <a:pt x="7090445" y="398438"/>
                  <a:pt x="7089911" y="396832"/>
                </a:cubicBezTo>
                <a:cubicBezTo>
                  <a:pt x="7087238" y="388802"/>
                  <a:pt x="7076438" y="384550"/>
                  <a:pt x="7068514" y="388568"/>
                </a:cubicBezTo>
                <a:cubicBezTo>
                  <a:pt x="7064782" y="390486"/>
                  <a:pt x="7063509" y="389710"/>
                  <a:pt x="7063364" y="386129"/>
                </a:cubicBezTo>
                <a:cubicBezTo>
                  <a:pt x="7063182" y="380315"/>
                  <a:pt x="7060839" y="376327"/>
                  <a:pt x="7055246" y="373850"/>
                </a:cubicBezTo>
                <a:cubicBezTo>
                  <a:pt x="7053731" y="373277"/>
                  <a:pt x="7051387" y="371965"/>
                  <a:pt x="7052257" y="369585"/>
                </a:cubicBezTo>
                <a:cubicBezTo>
                  <a:pt x="7054051" y="364160"/>
                  <a:pt x="7052225" y="359323"/>
                  <a:pt x="7049717" y="354652"/>
                </a:cubicBezTo>
                <a:cubicBezTo>
                  <a:pt x="7047780" y="351144"/>
                  <a:pt x="7047375" y="347988"/>
                  <a:pt x="7050147" y="344206"/>
                </a:cubicBezTo>
                <a:lnTo>
                  <a:pt x="7049251" y="342233"/>
                </a:lnTo>
                <a:lnTo>
                  <a:pt x="7031973" y="333919"/>
                </a:lnTo>
                <a:cubicBezTo>
                  <a:pt x="7024476" y="329673"/>
                  <a:pt x="7018689" y="325772"/>
                  <a:pt x="7012902" y="321870"/>
                </a:cubicBezTo>
                <a:cubicBezTo>
                  <a:pt x="6992699" y="313427"/>
                  <a:pt x="6987013" y="319950"/>
                  <a:pt x="6968282" y="315088"/>
                </a:cubicBezTo>
                <a:cubicBezTo>
                  <a:pt x="6951657" y="305174"/>
                  <a:pt x="6935032" y="295258"/>
                  <a:pt x="6918409" y="285344"/>
                </a:cubicBezTo>
                <a:cubicBezTo>
                  <a:pt x="6918409" y="285344"/>
                  <a:pt x="6918409" y="285344"/>
                  <a:pt x="6922621" y="275239"/>
                </a:cubicBezTo>
                <a:cubicBezTo>
                  <a:pt x="6912521" y="271016"/>
                  <a:pt x="6897368" y="264684"/>
                  <a:pt x="6883688" y="261933"/>
                </a:cubicBezTo>
                <a:cubicBezTo>
                  <a:pt x="6883688" y="261933"/>
                  <a:pt x="6883688" y="261933"/>
                  <a:pt x="6885159" y="265514"/>
                </a:cubicBezTo>
                <a:cubicBezTo>
                  <a:pt x="6888739" y="264044"/>
                  <a:pt x="6893790" y="266155"/>
                  <a:pt x="6890211" y="267625"/>
                </a:cubicBezTo>
                <a:cubicBezTo>
                  <a:pt x="6890211" y="267625"/>
                  <a:pt x="6886632" y="269096"/>
                  <a:pt x="6886632" y="269096"/>
                </a:cubicBezTo>
                <a:cubicBezTo>
                  <a:pt x="6888104" y="272678"/>
                  <a:pt x="6901784" y="275429"/>
                  <a:pt x="6894627" y="278370"/>
                </a:cubicBezTo>
                <a:cubicBezTo>
                  <a:pt x="6877367" y="277091"/>
                  <a:pt x="6879474" y="272038"/>
                  <a:pt x="6865794" y="269287"/>
                </a:cubicBezTo>
                <a:cubicBezTo>
                  <a:pt x="6865794" y="269287"/>
                  <a:pt x="6865794" y="269287"/>
                  <a:pt x="6862214" y="270758"/>
                </a:cubicBezTo>
                <a:cubicBezTo>
                  <a:pt x="6862214" y="270758"/>
                  <a:pt x="6862214" y="270758"/>
                  <a:pt x="6860742" y="267177"/>
                </a:cubicBezTo>
                <a:cubicBezTo>
                  <a:pt x="6857163" y="268648"/>
                  <a:pt x="6852112" y="266536"/>
                  <a:pt x="6852112" y="266536"/>
                </a:cubicBezTo>
                <a:cubicBezTo>
                  <a:pt x="6850641" y="262954"/>
                  <a:pt x="6850641" y="262954"/>
                  <a:pt x="6850641" y="262954"/>
                </a:cubicBezTo>
                <a:cubicBezTo>
                  <a:pt x="6838433" y="263785"/>
                  <a:pt x="6816123" y="260394"/>
                  <a:pt x="6797391" y="255532"/>
                </a:cubicBezTo>
                <a:cubicBezTo>
                  <a:pt x="6777187" y="247088"/>
                  <a:pt x="6762034" y="240755"/>
                  <a:pt x="6759091" y="233591"/>
                </a:cubicBezTo>
                <a:cubicBezTo>
                  <a:pt x="6755512" y="235061"/>
                  <a:pt x="6754039" y="231481"/>
                  <a:pt x="6754039" y="231481"/>
                </a:cubicBezTo>
                <a:cubicBezTo>
                  <a:pt x="6750461" y="232952"/>
                  <a:pt x="6745411" y="230841"/>
                  <a:pt x="6743938" y="227258"/>
                </a:cubicBezTo>
                <a:cubicBezTo>
                  <a:pt x="6743938" y="227258"/>
                  <a:pt x="6743938" y="227258"/>
                  <a:pt x="6747517" y="225787"/>
                </a:cubicBezTo>
                <a:cubicBezTo>
                  <a:pt x="6752569" y="227899"/>
                  <a:pt x="6752569" y="227899"/>
                  <a:pt x="6752569" y="227899"/>
                </a:cubicBezTo>
                <a:cubicBezTo>
                  <a:pt x="6752569" y="227899"/>
                  <a:pt x="6752569" y="227899"/>
                  <a:pt x="6756147" y="226428"/>
                </a:cubicBezTo>
                <a:cubicBezTo>
                  <a:pt x="6737415" y="221567"/>
                  <a:pt x="6738888" y="225148"/>
                  <a:pt x="6725207" y="222396"/>
                </a:cubicBezTo>
                <a:cubicBezTo>
                  <a:pt x="6725207" y="222396"/>
                  <a:pt x="6730257" y="224508"/>
                  <a:pt x="6730257" y="224508"/>
                </a:cubicBezTo>
                <a:cubicBezTo>
                  <a:pt x="6730257" y="224508"/>
                  <a:pt x="6730257" y="224508"/>
                  <a:pt x="6726678" y="225979"/>
                </a:cubicBezTo>
                <a:cubicBezTo>
                  <a:pt x="6726678" y="225979"/>
                  <a:pt x="6726678" y="225979"/>
                  <a:pt x="6723099" y="227450"/>
                </a:cubicBezTo>
                <a:cubicBezTo>
                  <a:pt x="6723099" y="227450"/>
                  <a:pt x="6731731" y="228089"/>
                  <a:pt x="6729623" y="233141"/>
                </a:cubicBezTo>
                <a:cubicBezTo>
                  <a:pt x="6715943" y="230391"/>
                  <a:pt x="6702261" y="227640"/>
                  <a:pt x="6704369" y="222588"/>
                </a:cubicBezTo>
                <a:cubicBezTo>
                  <a:pt x="6704369" y="222588"/>
                  <a:pt x="6700790" y="224059"/>
                  <a:pt x="6699318" y="220475"/>
                </a:cubicBezTo>
                <a:cubicBezTo>
                  <a:pt x="6698582" y="218685"/>
                  <a:pt x="6697319" y="218158"/>
                  <a:pt x="6696241" y="218077"/>
                </a:cubicBezTo>
                <a:lnTo>
                  <a:pt x="6694336" y="218355"/>
                </a:lnTo>
                <a:lnTo>
                  <a:pt x="6650520" y="199711"/>
                </a:lnTo>
                <a:cubicBezTo>
                  <a:pt x="6632236" y="194664"/>
                  <a:pt x="6612083" y="191433"/>
                  <a:pt x="6590509" y="189832"/>
                </a:cubicBezTo>
                <a:cubicBezTo>
                  <a:pt x="6590509" y="189832"/>
                  <a:pt x="6586929" y="191304"/>
                  <a:pt x="6585459" y="187722"/>
                </a:cubicBezTo>
                <a:cubicBezTo>
                  <a:pt x="6581879" y="189193"/>
                  <a:pt x="6576828" y="187083"/>
                  <a:pt x="6576828" y="187083"/>
                </a:cubicBezTo>
                <a:cubicBezTo>
                  <a:pt x="6576828" y="187083"/>
                  <a:pt x="6576828" y="187083"/>
                  <a:pt x="6580406" y="185612"/>
                </a:cubicBezTo>
                <a:cubicBezTo>
                  <a:pt x="6568198" y="186442"/>
                  <a:pt x="6547360" y="186633"/>
                  <a:pt x="6540202" y="189575"/>
                </a:cubicBezTo>
                <a:cubicBezTo>
                  <a:pt x="6543781" y="188105"/>
                  <a:pt x="6543781" y="188105"/>
                  <a:pt x="6548832" y="190215"/>
                </a:cubicBezTo>
                <a:cubicBezTo>
                  <a:pt x="6548832" y="190215"/>
                  <a:pt x="6550305" y="193795"/>
                  <a:pt x="6550305" y="193795"/>
                </a:cubicBezTo>
                <a:cubicBezTo>
                  <a:pt x="6546725" y="195267"/>
                  <a:pt x="6546725" y="195267"/>
                  <a:pt x="6541676" y="193156"/>
                </a:cubicBezTo>
                <a:lnTo>
                  <a:pt x="6540373" y="193691"/>
                </a:lnTo>
                <a:lnTo>
                  <a:pt x="6537992" y="193100"/>
                </a:lnTo>
                <a:cubicBezTo>
                  <a:pt x="6536096" y="192309"/>
                  <a:pt x="6534834" y="191781"/>
                  <a:pt x="6533044" y="192516"/>
                </a:cubicBezTo>
                <a:cubicBezTo>
                  <a:pt x="6536624" y="191045"/>
                  <a:pt x="6538096" y="194627"/>
                  <a:pt x="6538096" y="194627"/>
                </a:cubicBezTo>
                <a:lnTo>
                  <a:pt x="6540373" y="193691"/>
                </a:lnTo>
                <a:lnTo>
                  <a:pt x="6546725" y="195267"/>
                </a:lnTo>
                <a:lnTo>
                  <a:pt x="6520793" y="195174"/>
                </a:lnTo>
                <a:lnTo>
                  <a:pt x="6522004" y="198989"/>
                </a:lnTo>
                <a:cubicBezTo>
                  <a:pt x="6523747" y="200707"/>
                  <a:pt x="6523278" y="202553"/>
                  <a:pt x="6521871" y="204322"/>
                </a:cubicBezTo>
                <a:cubicBezTo>
                  <a:pt x="6521141" y="205517"/>
                  <a:pt x="6519760" y="206973"/>
                  <a:pt x="6520592" y="208300"/>
                </a:cubicBezTo>
                <a:cubicBezTo>
                  <a:pt x="6523403" y="212308"/>
                  <a:pt x="6523480" y="215142"/>
                  <a:pt x="6518324" y="216595"/>
                </a:cubicBezTo>
                <a:cubicBezTo>
                  <a:pt x="6517047" y="216803"/>
                  <a:pt x="6516578" y="218649"/>
                  <a:pt x="6517749" y="219690"/>
                </a:cubicBezTo>
                <a:cubicBezTo>
                  <a:pt x="6521522" y="223465"/>
                  <a:pt x="6517017" y="224658"/>
                  <a:pt x="6516182" y="227102"/>
                </a:cubicBezTo>
                <a:cubicBezTo>
                  <a:pt x="6513287" y="235346"/>
                  <a:pt x="6503809" y="232035"/>
                  <a:pt x="6499535" y="237963"/>
                </a:cubicBezTo>
                <a:cubicBezTo>
                  <a:pt x="6498102" y="240042"/>
                  <a:pt x="6492296" y="237983"/>
                  <a:pt x="6489509" y="237435"/>
                </a:cubicBezTo>
                <a:cubicBezTo>
                  <a:pt x="6483026" y="235949"/>
                  <a:pt x="6474873" y="239350"/>
                  <a:pt x="6470189" y="231413"/>
                </a:cubicBezTo>
                <a:cubicBezTo>
                  <a:pt x="6469356" y="230087"/>
                  <a:pt x="6467613" y="228369"/>
                  <a:pt x="6465113" y="228159"/>
                </a:cubicBezTo>
                <a:cubicBezTo>
                  <a:pt x="6461649" y="228182"/>
                  <a:pt x="6459931" y="226152"/>
                  <a:pt x="6459594" y="222667"/>
                </a:cubicBezTo>
                <a:cubicBezTo>
                  <a:pt x="6459152" y="220429"/>
                  <a:pt x="6457695" y="219049"/>
                  <a:pt x="6456263" y="217358"/>
                </a:cubicBezTo>
                <a:cubicBezTo>
                  <a:pt x="6452516" y="213272"/>
                  <a:pt x="6451007" y="208745"/>
                  <a:pt x="6453041" y="203259"/>
                </a:cubicBezTo>
                <a:cubicBezTo>
                  <a:pt x="6454241" y="200217"/>
                  <a:pt x="6453591" y="196704"/>
                  <a:pt x="6450624" y="194569"/>
                </a:cubicBezTo>
                <a:cubicBezTo>
                  <a:pt x="6450728" y="193321"/>
                  <a:pt x="6450833" y="192072"/>
                  <a:pt x="6450938" y="190824"/>
                </a:cubicBezTo>
                <a:lnTo>
                  <a:pt x="6452001" y="189082"/>
                </a:lnTo>
                <a:lnTo>
                  <a:pt x="6416463" y="184627"/>
                </a:lnTo>
                <a:cubicBezTo>
                  <a:pt x="6401850" y="183110"/>
                  <a:pt x="6387604" y="182162"/>
                  <a:pt x="6374133" y="182465"/>
                </a:cubicBezTo>
                <a:cubicBezTo>
                  <a:pt x="6372661" y="178882"/>
                  <a:pt x="6355401" y="177602"/>
                  <a:pt x="6350350" y="175491"/>
                </a:cubicBezTo>
                <a:cubicBezTo>
                  <a:pt x="6351822" y="179073"/>
                  <a:pt x="6351822" y="179073"/>
                  <a:pt x="6344663" y="182014"/>
                </a:cubicBezTo>
                <a:cubicBezTo>
                  <a:pt x="6344663" y="182014"/>
                  <a:pt x="6343193" y="178433"/>
                  <a:pt x="6339613" y="179903"/>
                </a:cubicBezTo>
                <a:cubicBezTo>
                  <a:pt x="6336034" y="181374"/>
                  <a:pt x="6334562" y="177793"/>
                  <a:pt x="6330985" y="179264"/>
                </a:cubicBezTo>
                <a:cubicBezTo>
                  <a:pt x="6310147" y="179455"/>
                  <a:pt x="6296833" y="177599"/>
                  <a:pt x="6285942" y="175272"/>
                </a:cubicBezTo>
                <a:lnTo>
                  <a:pt x="6258708" y="169184"/>
                </a:lnTo>
                <a:lnTo>
                  <a:pt x="6257397" y="168162"/>
                </a:lnTo>
                <a:cubicBezTo>
                  <a:pt x="6256318" y="168083"/>
                  <a:pt x="6255423" y="168449"/>
                  <a:pt x="6255423" y="168449"/>
                </a:cubicBezTo>
                <a:lnTo>
                  <a:pt x="6258708" y="169184"/>
                </a:lnTo>
                <a:lnTo>
                  <a:pt x="6260474" y="170560"/>
                </a:lnTo>
                <a:cubicBezTo>
                  <a:pt x="6260474" y="170560"/>
                  <a:pt x="6261946" y="174142"/>
                  <a:pt x="6258366" y="175613"/>
                </a:cubicBezTo>
                <a:cubicBezTo>
                  <a:pt x="6258366" y="175613"/>
                  <a:pt x="6253317" y="173503"/>
                  <a:pt x="6253317" y="173503"/>
                </a:cubicBezTo>
                <a:cubicBezTo>
                  <a:pt x="6249737" y="174973"/>
                  <a:pt x="6249737" y="174973"/>
                  <a:pt x="6249737" y="174973"/>
                </a:cubicBezTo>
                <a:cubicBezTo>
                  <a:pt x="6231844" y="182327"/>
                  <a:pt x="6180067" y="178486"/>
                  <a:pt x="6179229" y="166270"/>
                </a:cubicBezTo>
                <a:cubicBezTo>
                  <a:pt x="6151233" y="169402"/>
                  <a:pt x="6107450" y="174836"/>
                  <a:pt x="6080101" y="169334"/>
                </a:cubicBezTo>
                <a:cubicBezTo>
                  <a:pt x="6099454" y="165561"/>
                  <a:pt x="6129557" y="157377"/>
                  <a:pt x="6162606" y="156356"/>
                </a:cubicBezTo>
                <a:cubicBezTo>
                  <a:pt x="6195652" y="155335"/>
                  <a:pt x="6221540" y="157255"/>
                  <a:pt x="6229534" y="166529"/>
                </a:cubicBezTo>
                <a:cubicBezTo>
                  <a:pt x="6228062" y="162947"/>
                  <a:pt x="6228062" y="162947"/>
                  <a:pt x="6231641" y="161476"/>
                </a:cubicBezTo>
                <a:cubicBezTo>
                  <a:pt x="6236692" y="163588"/>
                  <a:pt x="6243851" y="160647"/>
                  <a:pt x="6245322" y="164228"/>
                </a:cubicBezTo>
                <a:cubicBezTo>
                  <a:pt x="6245322" y="164228"/>
                  <a:pt x="6248902" y="162758"/>
                  <a:pt x="6250372" y="166338"/>
                </a:cubicBezTo>
                <a:cubicBezTo>
                  <a:pt x="6250372" y="166338"/>
                  <a:pt x="6250372" y="166338"/>
                  <a:pt x="6248902" y="162758"/>
                </a:cubicBezTo>
                <a:cubicBezTo>
                  <a:pt x="6253114" y="152652"/>
                  <a:pt x="6280476" y="158156"/>
                  <a:pt x="6311415" y="162187"/>
                </a:cubicBezTo>
                <a:cubicBezTo>
                  <a:pt x="6311415" y="162187"/>
                  <a:pt x="6311415" y="162187"/>
                  <a:pt x="6314994" y="160715"/>
                </a:cubicBezTo>
                <a:cubicBezTo>
                  <a:pt x="6313523" y="157132"/>
                  <a:pt x="6313523" y="157132"/>
                  <a:pt x="6318574" y="159244"/>
                </a:cubicBezTo>
                <a:cubicBezTo>
                  <a:pt x="6318574" y="159244"/>
                  <a:pt x="6322152" y="157773"/>
                  <a:pt x="6322152" y="157773"/>
                </a:cubicBezTo>
                <a:cubicBezTo>
                  <a:pt x="6323624" y="161354"/>
                  <a:pt x="6323624" y="161354"/>
                  <a:pt x="6323624" y="161354"/>
                </a:cubicBezTo>
                <a:cubicBezTo>
                  <a:pt x="6323624" y="161354"/>
                  <a:pt x="6323624" y="161354"/>
                  <a:pt x="6325732" y="156303"/>
                </a:cubicBezTo>
                <a:cubicBezTo>
                  <a:pt x="6334361" y="156942"/>
                  <a:pt x="6336467" y="151890"/>
                  <a:pt x="6357306" y="151700"/>
                </a:cubicBezTo>
                <a:cubicBezTo>
                  <a:pt x="6354361" y="144536"/>
                  <a:pt x="6329945" y="146197"/>
                  <a:pt x="6339209" y="138202"/>
                </a:cubicBezTo>
                <a:cubicBezTo>
                  <a:pt x="6343523" y="138523"/>
                  <a:pt x="6345314" y="137788"/>
                  <a:pt x="6347102" y="137053"/>
                </a:cubicBezTo>
                <a:lnTo>
                  <a:pt x="6351049" y="136477"/>
                </a:lnTo>
                <a:lnTo>
                  <a:pt x="6351417" y="137372"/>
                </a:lnTo>
                <a:cubicBezTo>
                  <a:pt x="6354996" y="135902"/>
                  <a:pt x="6354996" y="135902"/>
                  <a:pt x="6354996" y="135902"/>
                </a:cubicBezTo>
                <a:lnTo>
                  <a:pt x="6351049" y="136477"/>
                </a:lnTo>
                <a:lnTo>
                  <a:pt x="6349946" y="133791"/>
                </a:lnTo>
                <a:cubicBezTo>
                  <a:pt x="6349946" y="133791"/>
                  <a:pt x="6353524" y="132319"/>
                  <a:pt x="6353524" y="132319"/>
                </a:cubicBezTo>
                <a:cubicBezTo>
                  <a:pt x="6357103" y="130850"/>
                  <a:pt x="6357103" y="130850"/>
                  <a:pt x="6357103" y="130850"/>
                </a:cubicBezTo>
                <a:close/>
                <a:moveTo>
                  <a:pt x="4601331" y="127244"/>
                </a:moveTo>
                <a:cubicBezTo>
                  <a:pt x="4602391" y="127749"/>
                  <a:pt x="4604184" y="128134"/>
                  <a:pt x="4605849" y="127261"/>
                </a:cubicBezTo>
                <a:cubicBezTo>
                  <a:pt x="4608032" y="125855"/>
                  <a:pt x="4609931" y="126448"/>
                  <a:pt x="4611546" y="128515"/>
                </a:cubicBezTo>
                <a:cubicBezTo>
                  <a:pt x="4612723" y="129752"/>
                  <a:pt x="4614198" y="130038"/>
                  <a:pt x="4615784" y="130533"/>
                </a:cubicBezTo>
                <a:cubicBezTo>
                  <a:pt x="4619795" y="131609"/>
                  <a:pt x="4622569" y="133864"/>
                  <a:pt x="4623485" y="138148"/>
                </a:cubicBezTo>
                <a:cubicBezTo>
                  <a:pt x="4623951" y="140554"/>
                  <a:pt x="4625773" y="142513"/>
                  <a:pt x="4628508" y="142669"/>
                </a:cubicBezTo>
                <a:cubicBezTo>
                  <a:pt x="4628943" y="143501"/>
                  <a:pt x="4629377" y="144332"/>
                  <a:pt x="4629814" y="145163"/>
                </a:cubicBezTo>
                <a:cubicBezTo>
                  <a:pt x="4628483" y="147183"/>
                  <a:pt x="4628308" y="148867"/>
                  <a:pt x="4629927" y="151458"/>
                </a:cubicBezTo>
                <a:cubicBezTo>
                  <a:pt x="4632097" y="155090"/>
                  <a:pt x="4631957" y="158871"/>
                  <a:pt x="4628233" y="161882"/>
                </a:cubicBezTo>
                <a:cubicBezTo>
                  <a:pt x="4626467" y="163071"/>
                  <a:pt x="4627646" y="164308"/>
                  <a:pt x="4628297" y="165555"/>
                </a:cubicBezTo>
                <a:cubicBezTo>
                  <a:pt x="4629386" y="167632"/>
                  <a:pt x="4628774" y="168484"/>
                  <a:pt x="4626345" y="167902"/>
                </a:cubicBezTo>
                <a:cubicBezTo>
                  <a:pt x="4622759" y="167131"/>
                  <a:pt x="4621097" y="168003"/>
                  <a:pt x="4622322" y="171863"/>
                </a:cubicBezTo>
                <a:cubicBezTo>
                  <a:pt x="4622553" y="172804"/>
                  <a:pt x="4622468" y="174170"/>
                  <a:pt x="4621095" y="173567"/>
                </a:cubicBezTo>
                <a:cubicBezTo>
                  <a:pt x="4616972" y="172282"/>
                  <a:pt x="4615971" y="174926"/>
                  <a:pt x="4614871" y="177886"/>
                </a:cubicBezTo>
                <a:cubicBezTo>
                  <a:pt x="4614883" y="178411"/>
                  <a:pt x="4614048" y="178847"/>
                  <a:pt x="4613634" y="179065"/>
                </a:cubicBezTo>
                <a:cubicBezTo>
                  <a:pt x="4607114" y="178771"/>
                  <a:pt x="4600585" y="177953"/>
                  <a:pt x="4593960" y="177454"/>
                </a:cubicBezTo>
                <a:cubicBezTo>
                  <a:pt x="4590909" y="177197"/>
                  <a:pt x="4587592" y="173904"/>
                  <a:pt x="4584917" y="171332"/>
                </a:cubicBezTo>
                <a:cubicBezTo>
                  <a:pt x="4583851" y="170303"/>
                  <a:pt x="4583405" y="168947"/>
                  <a:pt x="4581612" y="168563"/>
                </a:cubicBezTo>
                <a:cubicBezTo>
                  <a:pt x="4579819" y="168177"/>
                  <a:pt x="4579372" y="166821"/>
                  <a:pt x="4579551" y="165138"/>
                </a:cubicBezTo>
                <a:cubicBezTo>
                  <a:pt x="4579532" y="164089"/>
                  <a:pt x="4579823" y="162614"/>
                  <a:pt x="4578762" y="162111"/>
                </a:cubicBezTo>
                <a:cubicBezTo>
                  <a:pt x="4575372" y="160707"/>
                  <a:pt x="4574188" y="158946"/>
                  <a:pt x="4576863" y="155955"/>
                </a:cubicBezTo>
                <a:cubicBezTo>
                  <a:pt x="4577587" y="155310"/>
                  <a:pt x="4577141" y="153955"/>
                  <a:pt x="4575983" y="153768"/>
                </a:cubicBezTo>
                <a:cubicBezTo>
                  <a:pt x="4572078" y="152899"/>
                  <a:pt x="4574448" y="150333"/>
                  <a:pt x="4573994" y="148454"/>
                </a:cubicBezTo>
                <a:cubicBezTo>
                  <a:pt x="4572510" y="142079"/>
                  <a:pt x="4579831" y="140363"/>
                  <a:pt x="4580151" y="134899"/>
                </a:cubicBezTo>
                <a:cubicBezTo>
                  <a:pt x="4580221" y="133009"/>
                  <a:pt x="4584719" y="131976"/>
                  <a:pt x="4586698" y="131203"/>
                </a:cubicBezTo>
                <a:cubicBezTo>
                  <a:pt x="4591394" y="129537"/>
                  <a:pt x="4595183" y="124111"/>
                  <a:pt x="4601331" y="127244"/>
                </a:cubicBezTo>
                <a:close/>
                <a:moveTo>
                  <a:pt x="3331871" y="114564"/>
                </a:moveTo>
                <a:cubicBezTo>
                  <a:pt x="3332576" y="114564"/>
                  <a:pt x="3333990" y="114565"/>
                  <a:pt x="3334345" y="115271"/>
                </a:cubicBezTo>
                <a:cubicBezTo>
                  <a:pt x="3337879" y="118447"/>
                  <a:pt x="3341058" y="121271"/>
                  <a:pt x="3345653" y="116683"/>
                </a:cubicBezTo>
                <a:cubicBezTo>
                  <a:pt x="3347065" y="114918"/>
                  <a:pt x="3348127" y="116683"/>
                  <a:pt x="3348480" y="118094"/>
                </a:cubicBezTo>
                <a:cubicBezTo>
                  <a:pt x="3349540" y="124095"/>
                  <a:pt x="3352367" y="124095"/>
                  <a:pt x="3356610" y="120565"/>
                </a:cubicBezTo>
                <a:cubicBezTo>
                  <a:pt x="3359436" y="118094"/>
                  <a:pt x="3360850" y="118800"/>
                  <a:pt x="3360850" y="122331"/>
                </a:cubicBezTo>
                <a:cubicBezTo>
                  <a:pt x="3360850" y="124448"/>
                  <a:pt x="3360143" y="126918"/>
                  <a:pt x="3363325" y="127272"/>
                </a:cubicBezTo>
                <a:cubicBezTo>
                  <a:pt x="3370394" y="128683"/>
                  <a:pt x="3373220" y="133625"/>
                  <a:pt x="3372868" y="139979"/>
                </a:cubicBezTo>
                <a:cubicBezTo>
                  <a:pt x="3372516" y="144567"/>
                  <a:pt x="3373928" y="146685"/>
                  <a:pt x="3377109" y="148449"/>
                </a:cubicBezTo>
                <a:cubicBezTo>
                  <a:pt x="3377109" y="149861"/>
                  <a:pt x="3377109" y="151273"/>
                  <a:pt x="3377109" y="152685"/>
                </a:cubicBezTo>
                <a:cubicBezTo>
                  <a:pt x="3373575" y="154803"/>
                  <a:pt x="3372515" y="158686"/>
                  <a:pt x="3373575" y="162215"/>
                </a:cubicBezTo>
                <a:cubicBezTo>
                  <a:pt x="3375341" y="168569"/>
                  <a:pt x="3373221" y="173510"/>
                  <a:pt x="3368627" y="177745"/>
                </a:cubicBezTo>
                <a:cubicBezTo>
                  <a:pt x="3366859" y="179511"/>
                  <a:pt x="3365090" y="180923"/>
                  <a:pt x="3364383" y="183393"/>
                </a:cubicBezTo>
                <a:cubicBezTo>
                  <a:pt x="3363678" y="187276"/>
                  <a:pt x="3361556" y="189394"/>
                  <a:pt x="3357668" y="189040"/>
                </a:cubicBezTo>
                <a:cubicBezTo>
                  <a:pt x="3354840" y="189041"/>
                  <a:pt x="3352720" y="190805"/>
                  <a:pt x="3351661" y="192217"/>
                </a:cubicBezTo>
                <a:cubicBezTo>
                  <a:pt x="3345653" y="200688"/>
                  <a:pt x="3336818" y="196100"/>
                  <a:pt x="3329396" y="197159"/>
                </a:cubicBezTo>
                <a:cubicBezTo>
                  <a:pt x="3326216" y="197512"/>
                  <a:pt x="3319499" y="199276"/>
                  <a:pt x="3318086" y="196806"/>
                </a:cubicBezTo>
                <a:cubicBezTo>
                  <a:pt x="3313845" y="189746"/>
                  <a:pt x="3302888" y="192570"/>
                  <a:pt x="3300414" y="183040"/>
                </a:cubicBezTo>
                <a:cubicBezTo>
                  <a:pt x="3299707" y="180216"/>
                  <a:pt x="3294760" y="178451"/>
                  <a:pt x="3299353" y="174569"/>
                </a:cubicBezTo>
                <a:cubicBezTo>
                  <a:pt x="3300769" y="173510"/>
                  <a:pt x="3300413" y="171392"/>
                  <a:pt x="3299001" y="171039"/>
                </a:cubicBezTo>
                <a:cubicBezTo>
                  <a:pt x="3293346" y="168921"/>
                  <a:pt x="3293700" y="165745"/>
                  <a:pt x="3297234" y="161509"/>
                </a:cubicBezTo>
                <a:cubicBezTo>
                  <a:pt x="3298293" y="160097"/>
                  <a:pt x="3296879" y="158333"/>
                  <a:pt x="3296172" y="156921"/>
                </a:cubicBezTo>
                <a:cubicBezTo>
                  <a:pt x="3294760" y="154803"/>
                  <a:pt x="3294406" y="152685"/>
                  <a:pt x="3296527" y="150920"/>
                </a:cubicBezTo>
                <a:cubicBezTo>
                  <a:pt x="3298647" y="149156"/>
                  <a:pt x="3298294" y="147038"/>
                  <a:pt x="3299000" y="144919"/>
                </a:cubicBezTo>
                <a:cubicBezTo>
                  <a:pt x="3300769" y="139625"/>
                  <a:pt x="3302889" y="132919"/>
                  <a:pt x="3306776" y="130448"/>
                </a:cubicBezTo>
                <a:cubicBezTo>
                  <a:pt x="3315260" y="125154"/>
                  <a:pt x="3323387" y="119506"/>
                  <a:pt x="3331871" y="114564"/>
                </a:cubicBezTo>
                <a:close/>
                <a:moveTo>
                  <a:pt x="5553602" y="83367"/>
                </a:moveTo>
                <a:cubicBezTo>
                  <a:pt x="5554441" y="83437"/>
                  <a:pt x="5556115" y="83578"/>
                  <a:pt x="5556463" y="84449"/>
                </a:cubicBezTo>
                <a:cubicBezTo>
                  <a:pt x="5560334" y="88564"/>
                  <a:pt x="5563821" y="92226"/>
                  <a:pt x="5569720" y="87246"/>
                </a:cubicBezTo>
                <a:cubicBezTo>
                  <a:pt x="5571571" y="85296"/>
                  <a:pt x="5572652" y="87493"/>
                  <a:pt x="5572930" y="89200"/>
                </a:cubicBezTo>
                <a:cubicBezTo>
                  <a:pt x="5573588" y="96414"/>
                  <a:pt x="5576938" y="96695"/>
                  <a:pt x="5582313" y="92936"/>
                </a:cubicBezTo>
                <a:cubicBezTo>
                  <a:pt x="5585907" y="90289"/>
                  <a:pt x="5587513" y="91267"/>
                  <a:pt x="5587161" y="95448"/>
                </a:cubicBezTo>
                <a:cubicBezTo>
                  <a:pt x="5586950" y="97956"/>
                  <a:pt x="5585869" y="100813"/>
                  <a:pt x="5589602" y="101548"/>
                </a:cubicBezTo>
                <a:cubicBezTo>
                  <a:pt x="5597834" y="103922"/>
                  <a:pt x="5600693" y="110058"/>
                  <a:pt x="5599642" y="117549"/>
                </a:cubicBezTo>
                <a:cubicBezTo>
                  <a:pt x="5598767" y="122950"/>
                  <a:pt x="5600232" y="125599"/>
                  <a:pt x="5603822" y="128007"/>
                </a:cubicBezTo>
                <a:cubicBezTo>
                  <a:pt x="5603683" y="129679"/>
                  <a:pt x="5603542" y="131351"/>
                  <a:pt x="5603403" y="133024"/>
                </a:cubicBezTo>
                <a:cubicBezTo>
                  <a:pt x="5599004" y="135181"/>
                  <a:pt x="5597363" y="139675"/>
                  <a:pt x="5598268" y="143962"/>
                </a:cubicBezTo>
                <a:cubicBezTo>
                  <a:pt x="5599730" y="151664"/>
                  <a:pt x="5596726" y="157308"/>
                  <a:pt x="5590861" y="161868"/>
                </a:cubicBezTo>
                <a:cubicBezTo>
                  <a:pt x="5588593" y="163783"/>
                  <a:pt x="5586360" y="165280"/>
                  <a:pt x="5585277" y="168136"/>
                </a:cubicBezTo>
                <a:cubicBezTo>
                  <a:pt x="5584053" y="172666"/>
                  <a:pt x="5581330" y="174964"/>
                  <a:pt x="5576761" y="174159"/>
                </a:cubicBezTo>
                <a:cubicBezTo>
                  <a:pt x="5573410" y="173878"/>
                  <a:pt x="5570723" y="175757"/>
                  <a:pt x="5569326" y="177325"/>
                </a:cubicBezTo>
                <a:cubicBezTo>
                  <a:pt x="5561367" y="186762"/>
                  <a:pt x="5551356" y="180448"/>
                  <a:pt x="5542459" y="180965"/>
                </a:cubicBezTo>
                <a:cubicBezTo>
                  <a:pt x="5538657" y="181067"/>
                  <a:pt x="5530525" y="182490"/>
                  <a:pt x="5529097" y="179423"/>
                </a:cubicBezTo>
                <a:cubicBezTo>
                  <a:pt x="5524775" y="170637"/>
                  <a:pt x="5511515" y="172893"/>
                  <a:pt x="5509533" y="161358"/>
                </a:cubicBezTo>
                <a:cubicBezTo>
                  <a:pt x="5508975" y="157942"/>
                  <a:pt x="5503291" y="155360"/>
                  <a:pt x="5509117" y="151217"/>
                </a:cubicBezTo>
                <a:cubicBezTo>
                  <a:pt x="5510899" y="150103"/>
                  <a:pt x="5510691" y="147559"/>
                  <a:pt x="5509051" y="147000"/>
                </a:cubicBezTo>
                <a:cubicBezTo>
                  <a:pt x="5502562" y="143930"/>
                  <a:pt x="5503296" y="140201"/>
                  <a:pt x="5507906" y="135535"/>
                </a:cubicBezTo>
                <a:cubicBezTo>
                  <a:pt x="5509301" y="133968"/>
                  <a:pt x="5507801" y="131736"/>
                  <a:pt x="5507106" y="129994"/>
                </a:cubicBezTo>
                <a:cubicBezTo>
                  <a:pt x="5505641" y="127344"/>
                  <a:pt x="5505432" y="124801"/>
                  <a:pt x="5508121" y="122921"/>
                </a:cubicBezTo>
                <a:cubicBezTo>
                  <a:pt x="5510808" y="121041"/>
                  <a:pt x="5510600" y="118497"/>
                  <a:pt x="5511647" y="116059"/>
                </a:cubicBezTo>
                <a:cubicBezTo>
                  <a:pt x="5514268" y="109962"/>
                  <a:pt x="5517446" y="102229"/>
                  <a:pt x="5522297" y="99688"/>
                </a:cubicBezTo>
                <a:cubicBezTo>
                  <a:pt x="5532873" y="94259"/>
                  <a:pt x="5543064" y="88378"/>
                  <a:pt x="5553602" y="83367"/>
                </a:cubicBezTo>
                <a:close/>
                <a:moveTo>
                  <a:pt x="6247844" y="64951"/>
                </a:moveTo>
                <a:cubicBezTo>
                  <a:pt x="6254977" y="69950"/>
                  <a:pt x="6261744" y="75547"/>
                  <a:pt x="6268852" y="80858"/>
                </a:cubicBezTo>
                <a:cubicBezTo>
                  <a:pt x="6272106" y="83330"/>
                  <a:pt x="6273483" y="89418"/>
                  <a:pt x="6274653" y="94231"/>
                </a:cubicBezTo>
                <a:cubicBezTo>
                  <a:pt x="6275120" y="96156"/>
                  <a:pt x="6274650" y="98002"/>
                  <a:pt x="6276395" y="99720"/>
                </a:cubicBezTo>
                <a:cubicBezTo>
                  <a:pt x="6278139" y="101438"/>
                  <a:pt x="6277669" y="103285"/>
                  <a:pt x="6276261" y="105052"/>
                </a:cubicBezTo>
                <a:cubicBezTo>
                  <a:pt x="6275532" y="106248"/>
                  <a:pt x="6274151" y="107704"/>
                  <a:pt x="6274984" y="109030"/>
                </a:cubicBezTo>
                <a:cubicBezTo>
                  <a:pt x="6277795" y="113038"/>
                  <a:pt x="6277871" y="115874"/>
                  <a:pt x="6272714" y="117327"/>
                </a:cubicBezTo>
                <a:cubicBezTo>
                  <a:pt x="6271437" y="117533"/>
                  <a:pt x="6270968" y="119380"/>
                  <a:pt x="6272139" y="120421"/>
                </a:cubicBezTo>
                <a:cubicBezTo>
                  <a:pt x="6275914" y="124195"/>
                  <a:pt x="6271407" y="125388"/>
                  <a:pt x="6270573" y="127833"/>
                </a:cubicBezTo>
                <a:cubicBezTo>
                  <a:pt x="6267678" y="136076"/>
                  <a:pt x="6258201" y="132767"/>
                  <a:pt x="6253927" y="138694"/>
                </a:cubicBezTo>
                <a:cubicBezTo>
                  <a:pt x="6252494" y="140773"/>
                  <a:pt x="6246687" y="138714"/>
                  <a:pt x="6243901" y="138166"/>
                </a:cubicBezTo>
                <a:cubicBezTo>
                  <a:pt x="6237417" y="136679"/>
                  <a:pt x="6229265" y="140081"/>
                  <a:pt x="6224580" y="132144"/>
                </a:cubicBezTo>
                <a:cubicBezTo>
                  <a:pt x="6223748" y="130817"/>
                  <a:pt x="6222004" y="129099"/>
                  <a:pt x="6219503" y="128889"/>
                </a:cubicBezTo>
                <a:cubicBezTo>
                  <a:pt x="6216040" y="128913"/>
                  <a:pt x="6214322" y="126883"/>
                  <a:pt x="6213985" y="123397"/>
                </a:cubicBezTo>
                <a:cubicBezTo>
                  <a:pt x="6213544" y="121161"/>
                  <a:pt x="6212086" y="119781"/>
                  <a:pt x="6210655" y="118089"/>
                </a:cubicBezTo>
                <a:cubicBezTo>
                  <a:pt x="6206907" y="114002"/>
                  <a:pt x="6205398" y="109475"/>
                  <a:pt x="6207432" y="103989"/>
                </a:cubicBezTo>
                <a:cubicBezTo>
                  <a:pt x="6208632" y="100947"/>
                  <a:pt x="6207983" y="97435"/>
                  <a:pt x="6205014" y="95301"/>
                </a:cubicBezTo>
                <a:cubicBezTo>
                  <a:pt x="6205120" y="94052"/>
                  <a:pt x="6205224" y="92803"/>
                  <a:pt x="6205329" y="91555"/>
                </a:cubicBezTo>
                <a:cubicBezTo>
                  <a:pt x="6208273" y="90230"/>
                  <a:pt x="6209679" y="88463"/>
                  <a:pt x="6209707" y="84379"/>
                </a:cubicBezTo>
                <a:cubicBezTo>
                  <a:pt x="6209867" y="78735"/>
                  <a:pt x="6212734" y="74576"/>
                  <a:pt x="6219088" y="73852"/>
                </a:cubicBezTo>
                <a:cubicBezTo>
                  <a:pt x="6221927" y="73776"/>
                  <a:pt x="6221486" y="71538"/>
                  <a:pt x="6221643" y="69666"/>
                </a:cubicBezTo>
                <a:cubicBezTo>
                  <a:pt x="6221905" y="66545"/>
                  <a:pt x="6223207" y="66026"/>
                  <a:pt x="6225523" y="68420"/>
                </a:cubicBezTo>
                <a:cubicBezTo>
                  <a:pt x="6229011" y="71856"/>
                  <a:pt x="6231512" y="72066"/>
                  <a:pt x="6232895" y="66839"/>
                </a:cubicBezTo>
                <a:cubicBezTo>
                  <a:pt x="6233311" y="65616"/>
                  <a:pt x="6234380" y="64135"/>
                  <a:pt x="6235500" y="65800"/>
                </a:cubicBezTo>
                <a:cubicBezTo>
                  <a:pt x="6239221" y="70199"/>
                  <a:pt x="6242242" y="67938"/>
                  <a:pt x="6245603" y="65391"/>
                </a:cubicBezTo>
                <a:cubicBezTo>
                  <a:pt x="6245968" y="64793"/>
                  <a:pt x="6247218" y="64898"/>
                  <a:pt x="6247844" y="64951"/>
                </a:cubicBezTo>
                <a:close/>
                <a:moveTo>
                  <a:pt x="4865142" y="13187"/>
                </a:moveTo>
                <a:lnTo>
                  <a:pt x="4865119" y="13581"/>
                </a:lnTo>
                <a:lnTo>
                  <a:pt x="4864801" y="13483"/>
                </a:lnTo>
                <a:close/>
                <a:moveTo>
                  <a:pt x="7040995" y="826"/>
                </a:moveTo>
                <a:lnTo>
                  <a:pt x="7048109" y="826"/>
                </a:lnTo>
                <a:lnTo>
                  <a:pt x="7048895" y="1190"/>
                </a:lnTo>
                <a:lnTo>
                  <a:pt x="7049531" y="826"/>
                </a:lnTo>
                <a:lnTo>
                  <a:pt x="7059070" y="826"/>
                </a:lnTo>
                <a:lnTo>
                  <a:pt x="7075105" y="12968"/>
                </a:lnTo>
                <a:cubicBezTo>
                  <a:pt x="7078133" y="15270"/>
                  <a:pt x="7079415" y="20935"/>
                  <a:pt x="7080503" y="25413"/>
                </a:cubicBezTo>
                <a:cubicBezTo>
                  <a:pt x="7080939" y="27204"/>
                  <a:pt x="7080501" y="28923"/>
                  <a:pt x="7082124" y="30521"/>
                </a:cubicBezTo>
                <a:cubicBezTo>
                  <a:pt x="7083747" y="32120"/>
                  <a:pt x="7083310" y="33838"/>
                  <a:pt x="7082001" y="35483"/>
                </a:cubicBezTo>
                <a:cubicBezTo>
                  <a:pt x="7081321" y="36596"/>
                  <a:pt x="7080037" y="37950"/>
                  <a:pt x="7080812" y="39186"/>
                </a:cubicBezTo>
                <a:cubicBezTo>
                  <a:pt x="7083427" y="42914"/>
                  <a:pt x="7083498" y="45553"/>
                  <a:pt x="7078699" y="46905"/>
                </a:cubicBezTo>
                <a:cubicBezTo>
                  <a:pt x="7077512" y="47098"/>
                  <a:pt x="7077074" y="48816"/>
                  <a:pt x="7078164" y="49785"/>
                </a:cubicBezTo>
                <a:cubicBezTo>
                  <a:pt x="7081677" y="53297"/>
                  <a:pt x="7077483" y="54408"/>
                  <a:pt x="7076707" y="56683"/>
                </a:cubicBezTo>
                <a:cubicBezTo>
                  <a:pt x="7074013" y="64353"/>
                  <a:pt x="7065193" y="61273"/>
                  <a:pt x="7061217" y="66788"/>
                </a:cubicBezTo>
                <a:cubicBezTo>
                  <a:pt x="7059882" y="68724"/>
                  <a:pt x="7054478" y="66808"/>
                  <a:pt x="7051886" y="66298"/>
                </a:cubicBezTo>
                <a:cubicBezTo>
                  <a:pt x="7045852" y="64915"/>
                  <a:pt x="7038265" y="68079"/>
                  <a:pt x="7033907" y="60695"/>
                </a:cubicBezTo>
                <a:cubicBezTo>
                  <a:pt x="7033131" y="59459"/>
                  <a:pt x="7031508" y="57860"/>
                  <a:pt x="7029182" y="57666"/>
                </a:cubicBezTo>
                <a:cubicBezTo>
                  <a:pt x="7025959" y="57687"/>
                  <a:pt x="7024361" y="55798"/>
                  <a:pt x="7024047" y="52554"/>
                </a:cubicBezTo>
                <a:cubicBezTo>
                  <a:pt x="7023637" y="50473"/>
                  <a:pt x="7022279" y="49189"/>
                  <a:pt x="7020947" y="47615"/>
                </a:cubicBezTo>
                <a:cubicBezTo>
                  <a:pt x="7017460" y="43812"/>
                  <a:pt x="7016056" y="39600"/>
                  <a:pt x="7017949" y="34494"/>
                </a:cubicBezTo>
                <a:cubicBezTo>
                  <a:pt x="7019065" y="31662"/>
                  <a:pt x="7018461" y="28394"/>
                  <a:pt x="7015699" y="26408"/>
                </a:cubicBezTo>
                <a:cubicBezTo>
                  <a:pt x="7015796" y="25247"/>
                  <a:pt x="7015894" y="24085"/>
                  <a:pt x="7015991" y="22923"/>
                </a:cubicBezTo>
                <a:cubicBezTo>
                  <a:pt x="7018731" y="21691"/>
                  <a:pt x="7020040" y="20045"/>
                  <a:pt x="7020067" y="16245"/>
                </a:cubicBezTo>
                <a:cubicBezTo>
                  <a:pt x="7020215" y="10993"/>
                  <a:pt x="7022882" y="7123"/>
                  <a:pt x="7028796" y="6449"/>
                </a:cubicBezTo>
                <a:cubicBezTo>
                  <a:pt x="7031437" y="6378"/>
                  <a:pt x="7031027" y="4296"/>
                  <a:pt x="7031172" y="2553"/>
                </a:cubicBezTo>
                <a:cubicBezTo>
                  <a:pt x="7031417" y="-351"/>
                  <a:pt x="7032629" y="-834"/>
                  <a:pt x="7034784" y="1394"/>
                </a:cubicBezTo>
                <a:cubicBezTo>
                  <a:pt x="7036407" y="2993"/>
                  <a:pt x="7037800" y="3841"/>
                  <a:pt x="7038948" y="3682"/>
                </a:cubicBezTo>
                <a:close/>
                <a:moveTo>
                  <a:pt x="5922866" y="826"/>
                </a:moveTo>
                <a:lnTo>
                  <a:pt x="5990306" y="826"/>
                </a:lnTo>
                <a:lnTo>
                  <a:pt x="5990219" y="1170"/>
                </a:lnTo>
                <a:cubicBezTo>
                  <a:pt x="5989383" y="2050"/>
                  <a:pt x="5988188" y="2711"/>
                  <a:pt x="5987369" y="3402"/>
                </a:cubicBezTo>
                <a:cubicBezTo>
                  <a:pt x="5985528" y="4958"/>
                  <a:pt x="5984394" y="7144"/>
                  <a:pt x="5985934" y="9174"/>
                </a:cubicBezTo>
                <a:cubicBezTo>
                  <a:pt x="5987316" y="10811"/>
                  <a:pt x="5989520" y="9475"/>
                  <a:pt x="5991128" y="8470"/>
                </a:cubicBezTo>
                <a:cubicBezTo>
                  <a:pt x="5992529" y="7637"/>
                  <a:pt x="5993617" y="6017"/>
                  <a:pt x="5995364" y="5594"/>
                </a:cubicBezTo>
                <a:cubicBezTo>
                  <a:pt x="5997898" y="4856"/>
                  <a:pt x="5999376" y="5361"/>
                  <a:pt x="5998935" y="8364"/>
                </a:cubicBezTo>
                <a:cubicBezTo>
                  <a:pt x="5998398" y="12501"/>
                  <a:pt x="5996413" y="15755"/>
                  <a:pt x="5993876" y="18775"/>
                </a:cubicBezTo>
                <a:cubicBezTo>
                  <a:pt x="5990695" y="22689"/>
                  <a:pt x="5990315" y="24939"/>
                  <a:pt x="5993006" y="29155"/>
                </a:cubicBezTo>
                <a:cubicBezTo>
                  <a:pt x="5993822" y="30745"/>
                  <a:pt x="5995222" y="32193"/>
                  <a:pt x="5996433" y="33625"/>
                </a:cubicBezTo>
                <a:cubicBezTo>
                  <a:pt x="5996952" y="34239"/>
                  <a:pt x="5997849" y="34885"/>
                  <a:pt x="5997393" y="35797"/>
                </a:cubicBezTo>
                <a:cubicBezTo>
                  <a:pt x="5996921" y="36897"/>
                  <a:pt x="5995960" y="37007"/>
                  <a:pt x="5995220" y="36754"/>
                </a:cubicBezTo>
                <a:cubicBezTo>
                  <a:pt x="5991885" y="35715"/>
                  <a:pt x="5991000" y="37161"/>
                  <a:pt x="5990936" y="40197"/>
                </a:cubicBezTo>
                <a:cubicBezTo>
                  <a:pt x="5990809" y="43988"/>
                  <a:pt x="5988132" y="46424"/>
                  <a:pt x="5985312" y="48278"/>
                </a:cubicBezTo>
                <a:cubicBezTo>
                  <a:pt x="5983095" y="49803"/>
                  <a:pt x="5982794" y="51108"/>
                  <a:pt x="5984744" y="52792"/>
                </a:cubicBezTo>
                <a:cubicBezTo>
                  <a:pt x="5985814" y="53643"/>
                  <a:pt x="5986506" y="54461"/>
                  <a:pt x="5986003" y="55939"/>
                </a:cubicBezTo>
                <a:cubicBezTo>
                  <a:pt x="5985450" y="57983"/>
                  <a:pt x="5983970" y="57480"/>
                  <a:pt x="5982618" y="57746"/>
                </a:cubicBezTo>
                <a:cubicBezTo>
                  <a:pt x="5981846" y="57872"/>
                  <a:pt x="5980902" y="57792"/>
                  <a:pt x="5979941" y="57901"/>
                </a:cubicBezTo>
                <a:cubicBezTo>
                  <a:pt x="5974798" y="58040"/>
                  <a:pt x="5973423" y="60776"/>
                  <a:pt x="5976083" y="65371"/>
                </a:cubicBezTo>
                <a:cubicBezTo>
                  <a:pt x="5976414" y="65969"/>
                  <a:pt x="5976759" y="66378"/>
                  <a:pt x="5976900" y="66960"/>
                </a:cubicBezTo>
                <a:cubicBezTo>
                  <a:pt x="5977370" y="68140"/>
                  <a:pt x="5977622" y="69682"/>
                  <a:pt x="5976425" y="70342"/>
                </a:cubicBezTo>
                <a:cubicBezTo>
                  <a:pt x="5975417" y="71018"/>
                  <a:pt x="5974159" y="70152"/>
                  <a:pt x="5973467" y="69333"/>
                </a:cubicBezTo>
                <a:cubicBezTo>
                  <a:pt x="5972775" y="68515"/>
                  <a:pt x="5972271" y="67712"/>
                  <a:pt x="5971785" y="66721"/>
                </a:cubicBezTo>
                <a:cubicBezTo>
                  <a:pt x="5970763" y="65305"/>
                  <a:pt x="5969662" y="64832"/>
                  <a:pt x="5968055" y="65837"/>
                </a:cubicBezTo>
                <a:cubicBezTo>
                  <a:pt x="5964261" y="67990"/>
                  <a:pt x="5960264" y="68035"/>
                  <a:pt x="5956282" y="67890"/>
                </a:cubicBezTo>
                <a:cubicBezTo>
                  <a:pt x="5951529" y="67872"/>
                  <a:pt x="5946668" y="66894"/>
                  <a:pt x="5941851" y="67629"/>
                </a:cubicBezTo>
                <a:cubicBezTo>
                  <a:pt x="5940119" y="67864"/>
                  <a:pt x="5939271" y="66653"/>
                  <a:pt x="5938595" y="65645"/>
                </a:cubicBezTo>
                <a:cubicBezTo>
                  <a:pt x="5936205" y="62404"/>
                  <a:pt x="5934002" y="59177"/>
                  <a:pt x="5929154" y="60292"/>
                </a:cubicBezTo>
                <a:cubicBezTo>
                  <a:pt x="5928195" y="60401"/>
                  <a:pt x="5927692" y="59598"/>
                  <a:pt x="5927377" y="58812"/>
                </a:cubicBezTo>
                <a:cubicBezTo>
                  <a:pt x="5925616" y="54863"/>
                  <a:pt x="5922470" y="51557"/>
                  <a:pt x="5919907" y="48110"/>
                </a:cubicBezTo>
                <a:cubicBezTo>
                  <a:pt x="5915976" y="42838"/>
                  <a:pt x="5913981" y="37158"/>
                  <a:pt x="5916235" y="30695"/>
                </a:cubicBezTo>
                <a:cubicBezTo>
                  <a:pt x="5917022" y="28100"/>
                  <a:pt x="5915654" y="26274"/>
                  <a:pt x="5914270" y="24638"/>
                </a:cubicBezTo>
                <a:cubicBezTo>
                  <a:pt x="5911172" y="20766"/>
                  <a:pt x="5911520" y="18895"/>
                  <a:pt x="5915534" y="16380"/>
                </a:cubicBezTo>
                <a:cubicBezTo>
                  <a:pt x="5919927" y="13898"/>
                  <a:pt x="5919927" y="13898"/>
                  <a:pt x="5916876" y="9459"/>
                </a:cubicBezTo>
                <a:cubicBezTo>
                  <a:pt x="5916200" y="8453"/>
                  <a:pt x="5915697" y="7651"/>
                  <a:pt x="5916924" y="6613"/>
                </a:cubicBezTo>
                <a:close/>
                <a:moveTo>
                  <a:pt x="4891881" y="826"/>
                </a:moveTo>
                <a:lnTo>
                  <a:pt x="4978869" y="826"/>
                </a:lnTo>
                <a:lnTo>
                  <a:pt x="4978468" y="1736"/>
                </a:lnTo>
                <a:cubicBezTo>
                  <a:pt x="4973163" y="3212"/>
                  <a:pt x="4971435" y="7370"/>
                  <a:pt x="4970670" y="12111"/>
                </a:cubicBezTo>
                <a:cubicBezTo>
                  <a:pt x="4970279" y="14267"/>
                  <a:pt x="4969708" y="15652"/>
                  <a:pt x="4966957" y="15790"/>
                </a:cubicBezTo>
                <a:cubicBezTo>
                  <a:pt x="4963431" y="15686"/>
                  <a:pt x="4961585" y="18385"/>
                  <a:pt x="4960358" y="21416"/>
                </a:cubicBezTo>
                <a:cubicBezTo>
                  <a:pt x="4959286" y="23928"/>
                  <a:pt x="4958390" y="26781"/>
                  <a:pt x="4957319" y="29293"/>
                </a:cubicBezTo>
                <a:cubicBezTo>
                  <a:pt x="4956743" y="30464"/>
                  <a:pt x="4956054" y="31316"/>
                  <a:pt x="4955248" y="31546"/>
                </a:cubicBezTo>
                <a:cubicBezTo>
                  <a:pt x="4954448" y="31776"/>
                  <a:pt x="4953538" y="31385"/>
                  <a:pt x="4952524" y="30073"/>
                </a:cubicBezTo>
                <a:cubicBezTo>
                  <a:pt x="4952172" y="29392"/>
                  <a:pt x="4951637" y="28800"/>
                  <a:pt x="4950941" y="28298"/>
                </a:cubicBezTo>
                <a:cubicBezTo>
                  <a:pt x="4950153" y="27626"/>
                  <a:pt x="4949446" y="26265"/>
                  <a:pt x="4948162" y="26719"/>
                </a:cubicBezTo>
                <a:cubicBezTo>
                  <a:pt x="4947143" y="27254"/>
                  <a:pt x="4946909" y="28462"/>
                  <a:pt x="4946751" y="29410"/>
                </a:cubicBezTo>
                <a:cubicBezTo>
                  <a:pt x="4945716" y="33640"/>
                  <a:pt x="4944605" y="34006"/>
                  <a:pt x="4941199" y="31235"/>
                </a:cubicBezTo>
                <a:cubicBezTo>
                  <a:pt x="4940409" y="30562"/>
                  <a:pt x="4939885" y="29971"/>
                  <a:pt x="4939020" y="29558"/>
                </a:cubicBezTo>
                <a:cubicBezTo>
                  <a:pt x="4937805" y="28894"/>
                  <a:pt x="4936671" y="28400"/>
                  <a:pt x="4935334" y="29973"/>
                </a:cubicBezTo>
                <a:cubicBezTo>
                  <a:pt x="4934239" y="31626"/>
                  <a:pt x="4934601" y="32307"/>
                  <a:pt x="4935655" y="33489"/>
                </a:cubicBezTo>
                <a:lnTo>
                  <a:pt x="4937289" y="35912"/>
                </a:lnTo>
                <a:lnTo>
                  <a:pt x="4917059" y="29651"/>
                </a:lnTo>
                <a:lnTo>
                  <a:pt x="4917252" y="28171"/>
                </a:lnTo>
                <a:cubicBezTo>
                  <a:pt x="4916789" y="26461"/>
                  <a:pt x="4915746" y="25707"/>
                  <a:pt x="4914027" y="25741"/>
                </a:cubicBezTo>
                <a:cubicBezTo>
                  <a:pt x="4912735" y="25766"/>
                  <a:pt x="4911535" y="25960"/>
                  <a:pt x="4910246" y="25984"/>
                </a:cubicBezTo>
                <a:cubicBezTo>
                  <a:pt x="4908102" y="26026"/>
                  <a:pt x="4906798" y="25191"/>
                  <a:pt x="4906068" y="22971"/>
                </a:cubicBezTo>
                <a:cubicBezTo>
                  <a:pt x="4903877" y="16312"/>
                  <a:pt x="4899437" y="13217"/>
                  <a:pt x="4892564" y="13349"/>
                </a:cubicBezTo>
                <a:cubicBezTo>
                  <a:pt x="4891446" y="13284"/>
                  <a:pt x="4889661" y="14435"/>
                  <a:pt x="4889200" y="12725"/>
                </a:cubicBezTo>
                <a:cubicBezTo>
                  <a:pt x="4888565" y="11106"/>
                  <a:pt x="4889921" y="9962"/>
                  <a:pt x="4891362" y="8989"/>
                </a:cubicBezTo>
                <a:cubicBezTo>
                  <a:pt x="4891537" y="8901"/>
                  <a:pt x="4891704" y="8811"/>
                  <a:pt x="4891873" y="8722"/>
                </a:cubicBezTo>
                <a:cubicBezTo>
                  <a:pt x="4895604" y="5901"/>
                  <a:pt x="4895816" y="3405"/>
                  <a:pt x="4892077" y="1243"/>
                </a:cubicBezTo>
                <a:close/>
                <a:moveTo>
                  <a:pt x="4762897" y="826"/>
                </a:moveTo>
                <a:lnTo>
                  <a:pt x="4821498" y="826"/>
                </a:lnTo>
                <a:lnTo>
                  <a:pt x="4833729" y="12222"/>
                </a:lnTo>
                <a:cubicBezTo>
                  <a:pt x="4837212" y="16941"/>
                  <a:pt x="4836901" y="22137"/>
                  <a:pt x="4837193" y="27520"/>
                </a:cubicBezTo>
                <a:cubicBezTo>
                  <a:pt x="4837695" y="33300"/>
                  <a:pt x="4836589" y="38912"/>
                  <a:pt x="4830637" y="42029"/>
                </a:cubicBezTo>
                <a:cubicBezTo>
                  <a:pt x="4829844" y="42445"/>
                  <a:pt x="4829653" y="43047"/>
                  <a:pt x="4830277" y="44232"/>
                </a:cubicBezTo>
                <a:cubicBezTo>
                  <a:pt x="4827495" y="45687"/>
                  <a:pt x="4825117" y="46934"/>
                  <a:pt x="4822340" y="48389"/>
                </a:cubicBezTo>
                <a:cubicBezTo>
                  <a:pt x="4818909" y="46664"/>
                  <a:pt x="4815148" y="49137"/>
                  <a:pt x="4811337" y="48617"/>
                </a:cubicBezTo>
                <a:cubicBezTo>
                  <a:pt x="4807524" y="48098"/>
                  <a:pt x="4804315" y="47765"/>
                  <a:pt x="4801662" y="44626"/>
                </a:cubicBezTo>
                <a:cubicBezTo>
                  <a:pt x="4799195" y="40885"/>
                  <a:pt x="4795351" y="38369"/>
                  <a:pt x="4791709" y="36249"/>
                </a:cubicBezTo>
                <a:cubicBezTo>
                  <a:pt x="4787865" y="33734"/>
                  <a:pt x="4784413" y="31011"/>
                  <a:pt x="4780778" y="28890"/>
                </a:cubicBezTo>
                <a:cubicBezTo>
                  <a:pt x="4777328" y="26167"/>
                  <a:pt x="4772497" y="24671"/>
                  <a:pt x="4767497" y="24775"/>
                </a:cubicBezTo>
                <a:cubicBezTo>
                  <a:pt x="4765013" y="20036"/>
                  <a:pt x="4762530" y="15296"/>
                  <a:pt x="4760048" y="10557"/>
                </a:cubicBezTo>
                <a:cubicBezTo>
                  <a:pt x="4761808" y="8125"/>
                  <a:pt x="4762172" y="5921"/>
                  <a:pt x="4761911" y="2534"/>
                </a:cubicBez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2884042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IMAGE AND CONTENTS LAYOUT_22">
    <p:spTree>
      <p:nvGrpSpPr>
        <p:cNvPr id="1" name=""/>
        <p:cNvGrpSpPr/>
        <p:nvPr/>
      </p:nvGrpSpPr>
      <p:grpSpPr>
        <a:xfrm>
          <a:off x="0" y="0"/>
          <a:ext cx="0" cy="0"/>
          <a:chOff x="0" y="0"/>
          <a:chExt cx="0" cy="0"/>
        </a:xfrm>
      </p:grpSpPr>
      <p:sp>
        <p:nvSpPr>
          <p:cNvPr id="14" name="자유형: 도형 13">
            <a:extLst>
              <a:ext uri="{FF2B5EF4-FFF2-40B4-BE49-F238E27FC236}">
                <a16:creationId xmlns:a16="http://schemas.microsoft.com/office/drawing/2014/main" id="{36AA1D92-0DDF-43FB-A699-69EC63AB661D}"/>
              </a:ext>
            </a:extLst>
          </p:cNvPr>
          <p:cNvSpPr>
            <a:spLocks noGrp="1"/>
          </p:cNvSpPr>
          <p:nvPr>
            <p:ph type="pic" sz="quarter" idx="46" hasCustomPrompt="1"/>
          </p:nvPr>
        </p:nvSpPr>
        <p:spPr>
          <a:xfrm>
            <a:off x="215733" y="1148862"/>
            <a:ext cx="11760532" cy="5509311"/>
          </a:xfrm>
          <a:custGeom>
            <a:avLst/>
            <a:gdLst>
              <a:gd name="connsiteX0" fmla="*/ 3069819 w 11760532"/>
              <a:gd name="connsiteY0" fmla="*/ 3916044 h 5509311"/>
              <a:gd name="connsiteX1" fmla="*/ 3056432 w 11760532"/>
              <a:gd name="connsiteY1" fmla="*/ 3920289 h 5509311"/>
              <a:gd name="connsiteX2" fmla="*/ 2999318 w 11760532"/>
              <a:gd name="connsiteY2" fmla="*/ 3929226 h 5509311"/>
              <a:gd name="connsiteX3" fmla="*/ 2964208 w 11760532"/>
              <a:gd name="connsiteY3" fmla="*/ 3918314 h 5509311"/>
              <a:gd name="connsiteX4" fmla="*/ 2928536 w 11760532"/>
              <a:gd name="connsiteY4" fmla="*/ 3919303 h 5509311"/>
              <a:gd name="connsiteX5" fmla="*/ 2926139 w 11760532"/>
              <a:gd name="connsiteY5" fmla="*/ 3923863 h 5509311"/>
              <a:gd name="connsiteX6" fmla="*/ 2911860 w 11760532"/>
              <a:gd name="connsiteY6" fmla="*/ 3938163 h 5509311"/>
              <a:gd name="connsiteX7" fmla="*/ 2892674 w 11760532"/>
              <a:gd name="connsiteY7" fmla="*/ 3933024 h 5509311"/>
              <a:gd name="connsiteX8" fmla="*/ 2892388 w 11760532"/>
              <a:gd name="connsiteY8" fmla="*/ 3920306 h 5509311"/>
              <a:gd name="connsiteX9" fmla="*/ 2847897 w 11760532"/>
              <a:gd name="connsiteY9" fmla="*/ 3921540 h 5509311"/>
              <a:gd name="connsiteX10" fmla="*/ 2616678 w 11760532"/>
              <a:gd name="connsiteY10" fmla="*/ 3924790 h 5509311"/>
              <a:gd name="connsiteX11" fmla="*/ 2508340 w 11760532"/>
              <a:gd name="connsiteY11" fmla="*/ 3918893 h 5509311"/>
              <a:gd name="connsiteX12" fmla="*/ 2422190 w 11760532"/>
              <a:gd name="connsiteY12" fmla="*/ 3924882 h 5509311"/>
              <a:gd name="connsiteX13" fmla="*/ 2431740 w 11760532"/>
              <a:gd name="connsiteY13" fmla="*/ 3945313 h 5509311"/>
              <a:gd name="connsiteX14" fmla="*/ 2549538 w 11760532"/>
              <a:gd name="connsiteY14" fmla="*/ 3986423 h 5509311"/>
              <a:gd name="connsiteX15" fmla="*/ 2587020 w 11760532"/>
              <a:gd name="connsiteY15" fmla="*/ 3979273 h 5509311"/>
              <a:gd name="connsiteX16" fmla="*/ 2599514 w 11760532"/>
              <a:gd name="connsiteY16" fmla="*/ 3989999 h 5509311"/>
              <a:gd name="connsiteX17" fmla="*/ 2622717 w 11760532"/>
              <a:gd name="connsiteY17" fmla="*/ 4006085 h 5509311"/>
              <a:gd name="connsiteX18" fmla="*/ 2711959 w 11760532"/>
              <a:gd name="connsiteY18" fmla="*/ 3997148 h 5509311"/>
              <a:gd name="connsiteX19" fmla="*/ 2842252 w 11760532"/>
              <a:gd name="connsiteY19" fmla="*/ 3952462 h 5509311"/>
              <a:gd name="connsiteX20" fmla="*/ 2844037 w 11760532"/>
              <a:gd name="connsiteY20" fmla="*/ 3956037 h 5509311"/>
              <a:gd name="connsiteX21" fmla="*/ 2836897 w 11760532"/>
              <a:gd name="connsiteY21" fmla="*/ 3973912 h 5509311"/>
              <a:gd name="connsiteX22" fmla="*/ 2852961 w 11760532"/>
              <a:gd name="connsiteY22" fmla="*/ 4000723 h 5509311"/>
              <a:gd name="connsiteX23" fmla="*/ 2879734 w 11760532"/>
              <a:gd name="connsiteY23" fmla="*/ 3981062 h 5509311"/>
              <a:gd name="connsiteX24" fmla="*/ 2886873 w 11760532"/>
              <a:gd name="connsiteY24" fmla="*/ 3964974 h 5509311"/>
              <a:gd name="connsiteX25" fmla="*/ 2906507 w 11760532"/>
              <a:gd name="connsiteY25" fmla="*/ 3991786 h 5509311"/>
              <a:gd name="connsiteX26" fmla="*/ 2913646 w 11760532"/>
              <a:gd name="connsiteY26" fmla="*/ 4009660 h 5509311"/>
              <a:gd name="connsiteX27" fmla="*/ 2981469 w 11760532"/>
              <a:gd name="connsiteY27" fmla="*/ 4043621 h 5509311"/>
              <a:gd name="connsiteX28" fmla="*/ 3038584 w 11760532"/>
              <a:gd name="connsiteY28" fmla="*/ 4043621 h 5509311"/>
              <a:gd name="connsiteX29" fmla="*/ 3060002 w 11760532"/>
              <a:gd name="connsiteY29" fmla="*/ 4036472 h 5509311"/>
              <a:gd name="connsiteX30" fmla="*/ 3102838 w 11760532"/>
              <a:gd name="connsiteY30" fmla="*/ 4041834 h 5509311"/>
              <a:gd name="connsiteX31" fmla="*/ 3126041 w 11760532"/>
              <a:gd name="connsiteY31" fmla="*/ 4059708 h 5509311"/>
              <a:gd name="connsiteX32" fmla="*/ 3145674 w 11760532"/>
              <a:gd name="connsiteY32" fmla="*/ 4070432 h 5509311"/>
              <a:gd name="connsiteX33" fmla="*/ 3174232 w 11760532"/>
              <a:gd name="connsiteY33" fmla="*/ 4065071 h 5509311"/>
              <a:gd name="connsiteX34" fmla="*/ 3211714 w 11760532"/>
              <a:gd name="connsiteY34" fmla="*/ 4025746 h 5509311"/>
              <a:gd name="connsiteX35" fmla="*/ 3215283 w 11760532"/>
              <a:gd name="connsiteY35" fmla="*/ 4004298 h 5509311"/>
              <a:gd name="connsiteX36" fmla="*/ 3300955 w 11760532"/>
              <a:gd name="connsiteY36" fmla="*/ 4074008 h 5509311"/>
              <a:gd name="connsiteX37" fmla="*/ 3331298 w 11760532"/>
              <a:gd name="connsiteY37" fmla="*/ 4065071 h 5509311"/>
              <a:gd name="connsiteX38" fmla="*/ 3340221 w 11760532"/>
              <a:gd name="connsiteY38" fmla="*/ 4038259 h 5509311"/>
              <a:gd name="connsiteX39" fmla="*/ 3320589 w 11760532"/>
              <a:gd name="connsiteY39" fmla="*/ 4034684 h 5509311"/>
              <a:gd name="connsiteX40" fmla="*/ 3304525 w 11760532"/>
              <a:gd name="connsiteY40" fmla="*/ 4027535 h 5509311"/>
              <a:gd name="connsiteX41" fmla="*/ 3313449 w 11760532"/>
              <a:gd name="connsiteY41" fmla="*/ 4007872 h 5509311"/>
              <a:gd name="connsiteX42" fmla="*/ 3336652 w 11760532"/>
              <a:gd name="connsiteY42" fmla="*/ 4002510 h 5509311"/>
              <a:gd name="connsiteX43" fmla="*/ 3359855 w 11760532"/>
              <a:gd name="connsiteY43" fmla="*/ 3995360 h 5509311"/>
              <a:gd name="connsiteX44" fmla="*/ 3324159 w 11760532"/>
              <a:gd name="connsiteY44" fmla="*/ 3977486 h 5509311"/>
              <a:gd name="connsiteX45" fmla="*/ 3218853 w 11760532"/>
              <a:gd name="connsiteY45" fmla="*/ 3948887 h 5509311"/>
              <a:gd name="connsiteX46" fmla="*/ 3149244 w 11760532"/>
              <a:gd name="connsiteY46" fmla="*/ 3954250 h 5509311"/>
              <a:gd name="connsiteX47" fmla="*/ 3127825 w 11760532"/>
              <a:gd name="connsiteY47" fmla="*/ 3950675 h 5509311"/>
              <a:gd name="connsiteX48" fmla="*/ 3083205 w 11760532"/>
              <a:gd name="connsiteY48" fmla="*/ 3918501 h 5509311"/>
              <a:gd name="connsiteX49" fmla="*/ 3069819 w 11760532"/>
              <a:gd name="connsiteY49" fmla="*/ 3916044 h 5509311"/>
              <a:gd name="connsiteX50" fmla="*/ 8790902 w 11760532"/>
              <a:gd name="connsiteY50" fmla="*/ 309425 h 5509311"/>
              <a:gd name="connsiteX51" fmla="*/ 8748735 w 11760532"/>
              <a:gd name="connsiteY51" fmla="*/ 342728 h 5509311"/>
              <a:gd name="connsiteX52" fmla="*/ 8719385 w 11760532"/>
              <a:gd name="connsiteY52" fmla="*/ 335753 h 5509311"/>
              <a:gd name="connsiteX53" fmla="*/ 8601811 w 11760532"/>
              <a:gd name="connsiteY53" fmla="*/ 405946 h 5509311"/>
              <a:gd name="connsiteX54" fmla="*/ 8593088 w 11760532"/>
              <a:gd name="connsiteY54" fmla="*/ 382249 h 5509311"/>
              <a:gd name="connsiteX55" fmla="*/ 8584719 w 11760532"/>
              <a:gd name="connsiteY55" fmla="*/ 385330 h 5509311"/>
              <a:gd name="connsiteX56" fmla="*/ 8432201 w 11760532"/>
              <a:gd name="connsiteY56" fmla="*/ 479798 h 5509311"/>
              <a:gd name="connsiteX57" fmla="*/ 8398509 w 11760532"/>
              <a:gd name="connsiteY57" fmla="*/ 493584 h 5509311"/>
              <a:gd name="connsiteX58" fmla="*/ 8393009 w 11760532"/>
              <a:gd name="connsiteY58" fmla="*/ 511059 h 5509311"/>
              <a:gd name="connsiteX59" fmla="*/ 8380663 w 11760532"/>
              <a:gd name="connsiteY59" fmla="*/ 546540 h 5509311"/>
              <a:gd name="connsiteX60" fmla="*/ 8434283 w 11760532"/>
              <a:gd name="connsiteY60" fmla="*/ 544380 h 5509311"/>
              <a:gd name="connsiteX61" fmla="*/ 8421422 w 11760532"/>
              <a:gd name="connsiteY61" fmla="*/ 558061 h 5509311"/>
              <a:gd name="connsiteX62" fmla="*/ 8435639 w 11760532"/>
              <a:gd name="connsiteY62" fmla="*/ 552109 h 5509311"/>
              <a:gd name="connsiteX63" fmla="*/ 8554171 w 11760532"/>
              <a:gd name="connsiteY63" fmla="*/ 522948 h 5509311"/>
              <a:gd name="connsiteX64" fmla="*/ 8665251 w 11760532"/>
              <a:gd name="connsiteY64" fmla="*/ 482055 h 5509311"/>
              <a:gd name="connsiteX65" fmla="*/ 8682343 w 11760532"/>
              <a:gd name="connsiteY65" fmla="*/ 502671 h 5509311"/>
              <a:gd name="connsiteX66" fmla="*/ 8826307 w 11760532"/>
              <a:gd name="connsiteY66" fmla="*/ 431413 h 5509311"/>
              <a:gd name="connsiteX67" fmla="*/ 8822994 w 11760532"/>
              <a:gd name="connsiteY67" fmla="*/ 396596 h 5509311"/>
              <a:gd name="connsiteX68" fmla="*/ 8756885 w 11760532"/>
              <a:gd name="connsiteY68" fmla="*/ 411803 h 5509311"/>
              <a:gd name="connsiteX69" fmla="*/ 8773591 w 11760532"/>
              <a:gd name="connsiteY69" fmla="*/ 360966 h 5509311"/>
              <a:gd name="connsiteX70" fmla="*/ 8820252 w 11760532"/>
              <a:gd name="connsiteY70" fmla="*/ 316400 h 5509311"/>
              <a:gd name="connsiteX71" fmla="*/ 8790902 w 11760532"/>
              <a:gd name="connsiteY71" fmla="*/ 309425 h 5509311"/>
              <a:gd name="connsiteX72" fmla="*/ 9547630 w 11760532"/>
              <a:gd name="connsiteY72" fmla="*/ 141460 h 5509311"/>
              <a:gd name="connsiteX73" fmla="*/ 9545650 w 11760532"/>
              <a:gd name="connsiteY73" fmla="*/ 145445 h 5509311"/>
              <a:gd name="connsiteX74" fmla="*/ 9542557 w 11760532"/>
              <a:gd name="connsiteY74" fmla="*/ 149661 h 5509311"/>
              <a:gd name="connsiteX75" fmla="*/ 9545266 w 11760532"/>
              <a:gd name="connsiteY75" fmla="*/ 143191 h 5509311"/>
              <a:gd name="connsiteX76" fmla="*/ 9547630 w 11760532"/>
              <a:gd name="connsiteY76" fmla="*/ 141460 h 5509311"/>
              <a:gd name="connsiteX77" fmla="*/ 9361233 w 11760532"/>
              <a:gd name="connsiteY77" fmla="*/ 0 h 5509311"/>
              <a:gd name="connsiteX78" fmla="*/ 9408186 w 11760532"/>
              <a:gd name="connsiteY78" fmla="*/ 54791 h 5509311"/>
              <a:gd name="connsiteX79" fmla="*/ 9396439 w 11760532"/>
              <a:gd name="connsiteY79" fmla="*/ 95633 h 5509311"/>
              <a:gd name="connsiteX80" fmla="*/ 9410926 w 11760532"/>
              <a:gd name="connsiteY80" fmla="*/ 134987 h 5509311"/>
              <a:gd name="connsiteX81" fmla="*/ 9461057 w 11760532"/>
              <a:gd name="connsiteY81" fmla="*/ 125661 h 5509311"/>
              <a:gd name="connsiteX82" fmla="*/ 9481110 w 11760532"/>
              <a:gd name="connsiteY82" fmla="*/ 154317 h 5509311"/>
              <a:gd name="connsiteX83" fmla="*/ 9468447 w 11760532"/>
              <a:gd name="connsiteY83" fmla="*/ 195017 h 5509311"/>
              <a:gd name="connsiteX84" fmla="*/ 9500402 w 11760532"/>
              <a:gd name="connsiteY84" fmla="*/ 183253 h 5509311"/>
              <a:gd name="connsiteX85" fmla="*/ 9532788 w 11760532"/>
              <a:gd name="connsiteY85" fmla="*/ 162981 h 5509311"/>
              <a:gd name="connsiteX86" fmla="*/ 9542557 w 11760532"/>
              <a:gd name="connsiteY86" fmla="*/ 149661 h 5509311"/>
              <a:gd name="connsiteX87" fmla="*/ 9541913 w 11760532"/>
              <a:gd name="connsiteY87" fmla="*/ 151201 h 5509311"/>
              <a:gd name="connsiteX88" fmla="*/ 9487046 w 11760532"/>
              <a:gd name="connsiteY88" fmla="*/ 273699 h 5509311"/>
              <a:gd name="connsiteX89" fmla="*/ 9465561 w 11760532"/>
              <a:gd name="connsiteY89" fmla="*/ 358489 h 5509311"/>
              <a:gd name="connsiteX90" fmla="*/ 9548761 w 11760532"/>
              <a:gd name="connsiteY90" fmla="*/ 363898 h 5509311"/>
              <a:gd name="connsiteX91" fmla="*/ 9544487 w 11760532"/>
              <a:gd name="connsiteY91" fmla="*/ 303005 h 5509311"/>
              <a:gd name="connsiteX92" fmla="*/ 9552096 w 11760532"/>
              <a:gd name="connsiteY92" fmla="*/ 300205 h 5509311"/>
              <a:gd name="connsiteX93" fmla="*/ 9554900 w 11760532"/>
              <a:gd name="connsiteY93" fmla="*/ 307822 h 5509311"/>
              <a:gd name="connsiteX94" fmla="*/ 9620571 w 11760532"/>
              <a:gd name="connsiteY94" fmla="*/ 436926 h 5509311"/>
              <a:gd name="connsiteX95" fmla="*/ 9604594 w 11760532"/>
              <a:gd name="connsiteY95" fmla="*/ 442808 h 5509311"/>
              <a:gd name="connsiteX96" fmla="*/ 9583967 w 11760532"/>
              <a:gd name="connsiteY96" fmla="*/ 459530 h 5509311"/>
              <a:gd name="connsiteX97" fmla="*/ 9592847 w 11760532"/>
              <a:gd name="connsiteY97" fmla="*/ 483650 h 5509311"/>
              <a:gd name="connsiteX98" fmla="*/ 9459942 w 11760532"/>
              <a:gd name="connsiteY98" fmla="*/ 685859 h 5509311"/>
              <a:gd name="connsiteX99" fmla="*/ 9491898 w 11760532"/>
              <a:gd name="connsiteY99" fmla="*/ 674094 h 5509311"/>
              <a:gd name="connsiteX100" fmla="*/ 9616151 w 11760532"/>
              <a:gd name="connsiteY100" fmla="*/ 619703 h 5509311"/>
              <a:gd name="connsiteX101" fmla="*/ 9630639 w 11760532"/>
              <a:gd name="connsiteY101" fmla="*/ 659055 h 5509311"/>
              <a:gd name="connsiteX102" fmla="*/ 9700822 w 11760532"/>
              <a:gd name="connsiteY102" fmla="*/ 678385 h 5509311"/>
              <a:gd name="connsiteX103" fmla="*/ 9852040 w 11760532"/>
              <a:gd name="connsiteY103" fmla="*/ 577550 h 5509311"/>
              <a:gd name="connsiteX104" fmla="*/ 9874000 w 11760532"/>
              <a:gd name="connsiteY104" fmla="*/ 515168 h 5509311"/>
              <a:gd name="connsiteX105" fmla="*/ 9924287 w 11760532"/>
              <a:gd name="connsiteY105" fmla="*/ 506266 h 5509311"/>
              <a:gd name="connsiteX106" fmla="*/ 9923777 w 11760532"/>
              <a:gd name="connsiteY106" fmla="*/ 479065 h 5509311"/>
              <a:gd name="connsiteX107" fmla="*/ 10046542 w 11760532"/>
              <a:gd name="connsiteY107" fmla="*/ 469908 h 5509311"/>
              <a:gd name="connsiteX108" fmla="*/ 10064634 w 11760532"/>
              <a:gd name="connsiteY108" fmla="*/ 643435 h 5509311"/>
              <a:gd name="connsiteX109" fmla="*/ 10032262 w 11760532"/>
              <a:gd name="connsiteY109" fmla="*/ 701002 h 5509311"/>
              <a:gd name="connsiteX110" fmla="*/ 10040987 w 11760532"/>
              <a:gd name="connsiteY110" fmla="*/ 724698 h 5509311"/>
              <a:gd name="connsiteX111" fmla="*/ 10274831 w 11760532"/>
              <a:gd name="connsiteY111" fmla="*/ 674648 h 5509311"/>
              <a:gd name="connsiteX112" fmla="*/ 10346558 w 11760532"/>
              <a:gd name="connsiteY112" fmla="*/ 918766 h 5509311"/>
              <a:gd name="connsiteX113" fmla="*/ 10372885 w 11760532"/>
              <a:gd name="connsiteY113" fmla="*/ 990279 h 5509311"/>
              <a:gd name="connsiteX114" fmla="*/ 10352259 w 11760532"/>
              <a:gd name="connsiteY114" fmla="*/ 1007002 h 5509311"/>
              <a:gd name="connsiteX115" fmla="*/ 10365787 w 11760532"/>
              <a:gd name="connsiteY115" fmla="*/ 1020280 h 5509311"/>
              <a:gd name="connsiteX116" fmla="*/ 10356334 w 11760532"/>
              <a:gd name="connsiteY116" fmla="*/ 1041539 h 5509311"/>
              <a:gd name="connsiteX117" fmla="*/ 10495806 w 11760532"/>
              <a:gd name="connsiteY117" fmla="*/ 981546 h 5509311"/>
              <a:gd name="connsiteX118" fmla="*/ 10589930 w 11760532"/>
              <a:gd name="connsiteY118" fmla="*/ 1018970 h 5509311"/>
              <a:gd name="connsiteX119" fmla="*/ 10690442 w 11760532"/>
              <a:gd name="connsiteY119" fmla="*/ 972838 h 5509311"/>
              <a:gd name="connsiteX120" fmla="*/ 10693402 w 11760532"/>
              <a:gd name="connsiteY120" fmla="*/ 980878 h 5509311"/>
              <a:gd name="connsiteX121" fmla="*/ 10701771 w 11760532"/>
              <a:gd name="connsiteY121" fmla="*/ 977797 h 5509311"/>
              <a:gd name="connsiteX122" fmla="*/ 10732746 w 11760532"/>
              <a:gd name="connsiteY122" fmla="*/ 1038470 h 5509311"/>
              <a:gd name="connsiteX123" fmla="*/ 10753528 w 11760532"/>
              <a:gd name="connsiteY123" fmla="*/ 1022169 h 5509311"/>
              <a:gd name="connsiteX124" fmla="*/ 10757885 w 11760532"/>
              <a:gd name="connsiteY124" fmla="*/ 911972 h 5509311"/>
              <a:gd name="connsiteX125" fmla="*/ 10806172 w 11760532"/>
              <a:gd name="connsiteY125" fmla="*/ 921104 h 5509311"/>
              <a:gd name="connsiteX126" fmla="*/ 10790837 w 11760532"/>
              <a:gd name="connsiteY126" fmla="*/ 830168 h 5509311"/>
              <a:gd name="connsiteX127" fmla="*/ 10834207 w 11760532"/>
              <a:gd name="connsiteY127" fmla="*/ 875227 h 5509311"/>
              <a:gd name="connsiteX128" fmla="*/ 10869321 w 11760532"/>
              <a:gd name="connsiteY128" fmla="*/ 897856 h 5509311"/>
              <a:gd name="connsiteX129" fmla="*/ 10930063 w 11760532"/>
              <a:gd name="connsiteY129" fmla="*/ 919702 h 5509311"/>
              <a:gd name="connsiteX130" fmla="*/ 10946540 w 11760532"/>
              <a:gd name="connsiteY130" fmla="*/ 959764 h 5509311"/>
              <a:gd name="connsiteX131" fmla="*/ 10964143 w 11760532"/>
              <a:gd name="connsiteY131" fmla="*/ 1007581 h 5509311"/>
              <a:gd name="connsiteX132" fmla="*/ 11073752 w 11760532"/>
              <a:gd name="connsiteY132" fmla="*/ 1014317 h 5509311"/>
              <a:gd name="connsiteX133" fmla="*/ 11033381 w 11760532"/>
              <a:gd name="connsiteY133" fmla="*/ 1050743 h 5509311"/>
              <a:gd name="connsiteX134" fmla="*/ 11022270 w 11760532"/>
              <a:gd name="connsiteY134" fmla="*/ 1058633 h 5509311"/>
              <a:gd name="connsiteX135" fmla="*/ 11012511 w 11760532"/>
              <a:gd name="connsiteY135" fmla="*/ 1062991 h 5509311"/>
              <a:gd name="connsiteX136" fmla="*/ 11009793 w 11760532"/>
              <a:gd name="connsiteY136" fmla="*/ 1067571 h 5509311"/>
              <a:gd name="connsiteX137" fmla="*/ 10998078 w 11760532"/>
              <a:gd name="connsiteY137" fmla="*/ 1076293 h 5509311"/>
              <a:gd name="connsiteX138" fmla="*/ 11006446 w 11760532"/>
              <a:gd name="connsiteY138" fmla="*/ 1073212 h 5509311"/>
              <a:gd name="connsiteX139" fmla="*/ 11009793 w 11760532"/>
              <a:gd name="connsiteY139" fmla="*/ 1067571 h 5509311"/>
              <a:gd name="connsiteX140" fmla="*/ 11012064 w 11760532"/>
              <a:gd name="connsiteY140" fmla="*/ 1065881 h 5509311"/>
              <a:gd name="connsiteX141" fmla="*/ 11022270 w 11760532"/>
              <a:gd name="connsiteY141" fmla="*/ 1058633 h 5509311"/>
              <a:gd name="connsiteX142" fmla="*/ 11027073 w 11760532"/>
              <a:gd name="connsiteY142" fmla="*/ 1056489 h 5509311"/>
              <a:gd name="connsiteX143" fmla="*/ 11044519 w 11760532"/>
              <a:gd name="connsiteY143" fmla="*/ 1103883 h 5509311"/>
              <a:gd name="connsiteX144" fmla="*/ 11027009 w 11760532"/>
              <a:gd name="connsiteY144" fmla="*/ 1129068 h 5509311"/>
              <a:gd name="connsiteX145" fmla="*/ 11004957 w 11760532"/>
              <a:gd name="connsiteY145" fmla="*/ 1118447 h 5509311"/>
              <a:gd name="connsiteX146" fmla="*/ 11009578 w 11760532"/>
              <a:gd name="connsiteY146" fmla="*/ 1184977 h 5509311"/>
              <a:gd name="connsiteX147" fmla="*/ 10979077 w 11760532"/>
              <a:gd name="connsiteY147" fmla="*/ 1146714 h 5509311"/>
              <a:gd name="connsiteX148" fmla="*/ 10943370 w 11760532"/>
              <a:gd name="connsiteY148" fmla="*/ 1267972 h 5509311"/>
              <a:gd name="connsiteX149" fmla="*/ 11020725 w 11760532"/>
              <a:gd name="connsiteY149" fmla="*/ 1428813 h 5509311"/>
              <a:gd name="connsiteX150" fmla="*/ 10911489 w 11760532"/>
              <a:gd name="connsiteY150" fmla="*/ 1451249 h 5509311"/>
              <a:gd name="connsiteX151" fmla="*/ 10892819 w 11760532"/>
              <a:gd name="connsiteY151" fmla="*/ 1524912 h 5509311"/>
              <a:gd name="connsiteX152" fmla="*/ 10968280 w 11760532"/>
              <a:gd name="connsiteY152" fmla="*/ 1556234 h 5509311"/>
              <a:gd name="connsiteX153" fmla="*/ 11016212 w 11760532"/>
              <a:gd name="connsiteY153" fmla="*/ 1538587 h 5509311"/>
              <a:gd name="connsiteX154" fmla="*/ 11019173 w 11760532"/>
              <a:gd name="connsiteY154" fmla="*/ 1546628 h 5509311"/>
              <a:gd name="connsiteX155" fmla="*/ 10946477 w 11760532"/>
              <a:gd name="connsiteY155" fmla="*/ 1619038 h 5509311"/>
              <a:gd name="connsiteX156" fmla="*/ 10947436 w 11760532"/>
              <a:gd name="connsiteY156" fmla="*/ 1645112 h 5509311"/>
              <a:gd name="connsiteX157" fmla="*/ 11076474 w 11760532"/>
              <a:gd name="connsiteY157" fmla="*/ 1678813 h 5509311"/>
              <a:gd name="connsiteX158" fmla="*/ 11107251 w 11760532"/>
              <a:gd name="connsiteY158" fmla="*/ 1713132 h 5509311"/>
              <a:gd name="connsiteX159" fmla="*/ 11230370 w 11760532"/>
              <a:gd name="connsiteY159" fmla="*/ 1730752 h 5509311"/>
              <a:gd name="connsiteX160" fmla="*/ 11262553 w 11760532"/>
              <a:gd name="connsiteY160" fmla="*/ 1890924 h 5509311"/>
              <a:gd name="connsiteX161" fmla="*/ 11340408 w 11760532"/>
              <a:gd name="connsiteY161" fmla="*/ 1834873 h 5509311"/>
              <a:gd name="connsiteX162" fmla="*/ 11331529 w 11760532"/>
              <a:gd name="connsiteY162" fmla="*/ 1810755 h 5509311"/>
              <a:gd name="connsiteX163" fmla="*/ 11306828 w 11760532"/>
              <a:gd name="connsiteY163" fmla="*/ 1792939 h 5509311"/>
              <a:gd name="connsiteX164" fmla="*/ 11330413 w 11760532"/>
              <a:gd name="connsiteY164" fmla="*/ 1784256 h 5509311"/>
              <a:gd name="connsiteX165" fmla="*/ 11406007 w 11760532"/>
              <a:gd name="connsiteY165" fmla="*/ 1792466 h 5509311"/>
              <a:gd name="connsiteX166" fmla="*/ 11539116 w 11760532"/>
              <a:gd name="connsiteY166" fmla="*/ 1738658 h 5509311"/>
              <a:gd name="connsiteX167" fmla="*/ 11614743 w 11760532"/>
              <a:gd name="connsiteY167" fmla="*/ 1852565 h 5509311"/>
              <a:gd name="connsiteX168" fmla="*/ 11713132 w 11760532"/>
              <a:gd name="connsiteY168" fmla="*/ 1868719 h 5509311"/>
              <a:gd name="connsiteX169" fmla="*/ 11760532 w 11760532"/>
              <a:gd name="connsiteY169" fmla="*/ 2023290 h 5509311"/>
              <a:gd name="connsiteX170" fmla="*/ 11708757 w 11760532"/>
              <a:gd name="connsiteY170" fmla="*/ 1976520 h 5509311"/>
              <a:gd name="connsiteX171" fmla="*/ 11578184 w 11760532"/>
              <a:gd name="connsiteY171" fmla="*/ 2063030 h 5509311"/>
              <a:gd name="connsiteX172" fmla="*/ 11521246 w 11760532"/>
              <a:gd name="connsiteY172" fmla="*/ 2039785 h 5509311"/>
              <a:gd name="connsiteX173" fmla="*/ 11334906 w 11760532"/>
              <a:gd name="connsiteY173" fmla="*/ 2197758 h 5509311"/>
              <a:gd name="connsiteX174" fmla="*/ 11328214 w 11760532"/>
              <a:gd name="connsiteY174" fmla="*/ 2362631 h 5509311"/>
              <a:gd name="connsiteX175" fmla="*/ 11302180 w 11760532"/>
              <a:gd name="connsiteY175" fmla="*/ 2390474 h 5509311"/>
              <a:gd name="connsiteX176" fmla="*/ 11366517 w 11760532"/>
              <a:gd name="connsiteY176" fmla="*/ 2565237 h 5509311"/>
              <a:gd name="connsiteX177" fmla="*/ 11451407 w 11760532"/>
              <a:gd name="connsiteY177" fmla="*/ 2551765 h 5509311"/>
              <a:gd name="connsiteX178" fmla="*/ 11449717 w 11760532"/>
              <a:gd name="connsiteY178" fmla="*/ 2570646 h 5509311"/>
              <a:gd name="connsiteX179" fmla="*/ 11394250 w 11760532"/>
              <a:gd name="connsiteY179" fmla="*/ 2762605 h 5509311"/>
              <a:gd name="connsiteX180" fmla="*/ 11427612 w 11760532"/>
              <a:gd name="connsiteY180" fmla="*/ 2876696 h 5509311"/>
              <a:gd name="connsiteX181" fmla="*/ 11480485 w 11760532"/>
              <a:gd name="connsiteY181" fmla="*/ 2947566 h 5509311"/>
              <a:gd name="connsiteX182" fmla="*/ 11449645 w 11760532"/>
              <a:gd name="connsiteY182" fmla="*/ 2985827 h 5509311"/>
              <a:gd name="connsiteX183" fmla="*/ 11340471 w 11760532"/>
              <a:gd name="connsiteY183" fmla="*/ 2935684 h 5509311"/>
              <a:gd name="connsiteX184" fmla="*/ 11183199 w 11760532"/>
              <a:gd name="connsiteY184" fmla="*/ 2921507 h 5509311"/>
              <a:gd name="connsiteX185" fmla="*/ 11177435 w 11760532"/>
              <a:gd name="connsiteY185" fmla="*/ 2905850 h 5509311"/>
              <a:gd name="connsiteX186" fmla="*/ 11208630 w 11760532"/>
              <a:gd name="connsiteY186" fmla="*/ 2894367 h 5509311"/>
              <a:gd name="connsiteX187" fmla="*/ 11205669 w 11760532"/>
              <a:gd name="connsiteY187" fmla="*/ 2886326 h 5509311"/>
              <a:gd name="connsiteX188" fmla="*/ 11189691 w 11760532"/>
              <a:gd name="connsiteY188" fmla="*/ 2892208 h 5509311"/>
              <a:gd name="connsiteX189" fmla="*/ 11145479 w 11760532"/>
              <a:gd name="connsiteY189" fmla="*/ 2917614 h 5509311"/>
              <a:gd name="connsiteX190" fmla="*/ 11173140 w 11760532"/>
              <a:gd name="connsiteY190" fmla="*/ 2943469 h 5509311"/>
              <a:gd name="connsiteX191" fmla="*/ 11144146 w 11760532"/>
              <a:gd name="connsiteY191" fmla="*/ 2963272 h 5509311"/>
              <a:gd name="connsiteX192" fmla="*/ 11267047 w 11760532"/>
              <a:gd name="connsiteY192" fmla="*/ 3053049 h 5509311"/>
              <a:gd name="connsiteX193" fmla="*/ 11299293 w 11760532"/>
              <a:gd name="connsiteY193" fmla="*/ 3140642 h 5509311"/>
              <a:gd name="connsiteX194" fmla="*/ 11269568 w 11760532"/>
              <a:gd name="connsiteY194" fmla="*/ 3205402 h 5509311"/>
              <a:gd name="connsiteX195" fmla="*/ 11132098 w 11760532"/>
              <a:gd name="connsiteY195" fmla="*/ 3247361 h 5509311"/>
              <a:gd name="connsiteX196" fmla="*/ 11070283 w 11760532"/>
              <a:gd name="connsiteY196" fmla="*/ 3224950 h 5509311"/>
              <a:gd name="connsiteX197" fmla="*/ 11030469 w 11760532"/>
              <a:gd name="connsiteY197" fmla="*/ 3266996 h 5509311"/>
              <a:gd name="connsiteX198" fmla="*/ 11124408 w 11760532"/>
              <a:gd name="connsiteY198" fmla="*/ 3421251 h 5509311"/>
              <a:gd name="connsiteX199" fmla="*/ 11112505 w 11760532"/>
              <a:gd name="connsiteY199" fmla="*/ 3461671 h 5509311"/>
              <a:gd name="connsiteX200" fmla="*/ 10964215 w 11760532"/>
              <a:gd name="connsiteY200" fmla="*/ 3525872 h 5509311"/>
              <a:gd name="connsiteX201" fmla="*/ 10786442 w 11760532"/>
              <a:gd name="connsiteY201" fmla="*/ 3383260 h 5509311"/>
              <a:gd name="connsiteX202" fmla="*/ 10740063 w 11760532"/>
              <a:gd name="connsiteY202" fmla="*/ 3283091 h 5509311"/>
              <a:gd name="connsiteX203" fmla="*/ 10708869 w 11760532"/>
              <a:gd name="connsiteY203" fmla="*/ 3294575 h 5509311"/>
              <a:gd name="connsiteX204" fmla="*/ 10573441 w 11760532"/>
              <a:gd name="connsiteY204" fmla="*/ 3344431 h 5509311"/>
              <a:gd name="connsiteX205" fmla="*/ 10459264 w 11760532"/>
              <a:gd name="connsiteY205" fmla="*/ 3278350 h 5509311"/>
              <a:gd name="connsiteX206" fmla="*/ 10379023 w 11760532"/>
              <a:gd name="connsiteY206" fmla="*/ 3280981 h 5509311"/>
              <a:gd name="connsiteX207" fmla="*/ 10343536 w 11760532"/>
              <a:gd name="connsiteY207" fmla="*/ 3330084 h 5509311"/>
              <a:gd name="connsiteX208" fmla="*/ 10400837 w 11760532"/>
              <a:gd name="connsiteY208" fmla="*/ 3462270 h 5509311"/>
              <a:gd name="connsiteX209" fmla="*/ 10416377 w 11760532"/>
              <a:gd name="connsiteY209" fmla="*/ 3600700 h 5509311"/>
              <a:gd name="connsiteX210" fmla="*/ 10372322 w 11760532"/>
              <a:gd name="connsiteY210" fmla="*/ 3626529 h 5509311"/>
              <a:gd name="connsiteX211" fmla="*/ 10357814 w 11760532"/>
              <a:gd name="connsiteY211" fmla="*/ 3685685 h 5509311"/>
              <a:gd name="connsiteX212" fmla="*/ 10350206 w 11760532"/>
              <a:gd name="connsiteY212" fmla="*/ 3688487 h 5509311"/>
              <a:gd name="connsiteX213" fmla="*/ 10341326 w 11760532"/>
              <a:gd name="connsiteY213" fmla="*/ 3664367 h 5509311"/>
              <a:gd name="connsiteX214" fmla="*/ 10347975 w 11760532"/>
              <a:gd name="connsiteY214" fmla="*/ 3635491 h 5509311"/>
              <a:gd name="connsiteX215" fmla="*/ 10175298 w 11760532"/>
              <a:gd name="connsiteY215" fmla="*/ 3581818 h 5509311"/>
              <a:gd name="connsiteX216" fmla="*/ 10073003 w 11760532"/>
              <a:gd name="connsiteY216" fmla="*/ 3573828 h 5509311"/>
              <a:gd name="connsiteX217" fmla="*/ 10034711 w 11760532"/>
              <a:gd name="connsiteY217" fmla="*/ 3615314 h 5509311"/>
              <a:gd name="connsiteX218" fmla="*/ 10002247 w 11760532"/>
              <a:gd name="connsiteY218" fmla="*/ 3599876 h 5509311"/>
              <a:gd name="connsiteX219" fmla="*/ 9999224 w 11760532"/>
              <a:gd name="connsiteY219" fmla="*/ 3664415 h 5509311"/>
              <a:gd name="connsiteX220" fmla="*/ 10160509 w 11760532"/>
              <a:gd name="connsiteY220" fmla="*/ 3785710 h 5509311"/>
              <a:gd name="connsiteX221" fmla="*/ 10070950 w 11760532"/>
              <a:gd name="connsiteY221" fmla="*/ 3908533 h 5509311"/>
              <a:gd name="connsiteX222" fmla="*/ 9932207 w 11760532"/>
              <a:gd name="connsiteY222" fmla="*/ 3923572 h 5509311"/>
              <a:gd name="connsiteX223" fmla="*/ 9908559 w 11760532"/>
              <a:gd name="connsiteY223" fmla="*/ 4004835 h 5509311"/>
              <a:gd name="connsiteX224" fmla="*/ 9893187 w 11760532"/>
              <a:gd name="connsiteY224" fmla="*/ 4019187 h 5509311"/>
              <a:gd name="connsiteX225" fmla="*/ 9895036 w 11760532"/>
              <a:gd name="connsiteY225" fmla="*/ 4019491 h 5509311"/>
              <a:gd name="connsiteX226" fmla="*/ 9954828 w 11760532"/>
              <a:gd name="connsiteY226" fmla="*/ 4023959 h 5509311"/>
              <a:gd name="connsiteX227" fmla="*/ 9961967 w 11760532"/>
              <a:gd name="connsiteY227" fmla="*/ 4038259 h 5509311"/>
              <a:gd name="connsiteX228" fmla="*/ 9956612 w 11760532"/>
              <a:gd name="connsiteY228" fmla="*/ 4065071 h 5509311"/>
              <a:gd name="connsiteX229" fmla="*/ 9954382 w 11760532"/>
              <a:gd name="connsiteY229" fmla="*/ 4113096 h 5509311"/>
              <a:gd name="connsiteX230" fmla="*/ 9989902 w 11760532"/>
              <a:gd name="connsiteY230" fmla="*/ 4101848 h 5509311"/>
              <a:gd name="connsiteX231" fmla="*/ 10039069 w 11760532"/>
              <a:gd name="connsiteY231" fmla="*/ 4091811 h 5509311"/>
              <a:gd name="connsiteX232" fmla="*/ 10047792 w 11760532"/>
              <a:gd name="connsiteY232" fmla="*/ 4115508 h 5509311"/>
              <a:gd name="connsiteX233" fmla="*/ 10046176 w 11760532"/>
              <a:gd name="connsiteY233" fmla="*/ 4305901 h 5509311"/>
              <a:gd name="connsiteX234" fmla="*/ 10030199 w 11760532"/>
              <a:gd name="connsiteY234" fmla="*/ 4311784 h 5509311"/>
              <a:gd name="connsiteX235" fmla="*/ 10006103 w 11760532"/>
              <a:gd name="connsiteY235" fmla="*/ 4293265 h 5509311"/>
              <a:gd name="connsiteX236" fmla="*/ 9825347 w 11760532"/>
              <a:gd name="connsiteY236" fmla="*/ 4342029 h 5509311"/>
              <a:gd name="connsiteX237" fmla="*/ 9769809 w 11760532"/>
              <a:gd name="connsiteY237" fmla="*/ 4362476 h 5509311"/>
              <a:gd name="connsiteX238" fmla="*/ 9730989 w 11760532"/>
              <a:gd name="connsiteY238" fmla="*/ 4354423 h 5509311"/>
              <a:gd name="connsiteX239" fmla="*/ 9730614 w 11760532"/>
              <a:gd name="connsiteY239" fmla="*/ 4354346 h 5509311"/>
              <a:gd name="connsiteX240" fmla="*/ 9721014 w 11760532"/>
              <a:gd name="connsiteY240" fmla="*/ 4363571 h 5509311"/>
              <a:gd name="connsiteX241" fmla="*/ 9638912 w 11760532"/>
              <a:gd name="connsiteY241" fmla="*/ 4413618 h 5509311"/>
              <a:gd name="connsiteX242" fmla="*/ 9580012 w 11760532"/>
              <a:gd name="connsiteY242" fmla="*/ 4449367 h 5509311"/>
              <a:gd name="connsiteX243" fmla="*/ 9451504 w 11760532"/>
              <a:gd name="connsiteY243" fmla="*/ 4497628 h 5509311"/>
              <a:gd name="connsiteX244" fmla="*/ 9356907 w 11760532"/>
              <a:gd name="connsiteY244" fmla="*/ 4545888 h 5509311"/>
              <a:gd name="connsiteX245" fmla="*/ 9310502 w 11760532"/>
              <a:gd name="connsiteY245" fmla="*/ 4612023 h 5509311"/>
              <a:gd name="connsiteX246" fmla="*/ 9300821 w 11760532"/>
              <a:gd name="connsiteY246" fmla="*/ 4624255 h 5509311"/>
              <a:gd name="connsiteX247" fmla="*/ 9285128 w 11760532"/>
              <a:gd name="connsiteY247" fmla="*/ 4658148 h 5509311"/>
              <a:gd name="connsiteX248" fmla="*/ 9230704 w 11760532"/>
              <a:gd name="connsiteY248" fmla="*/ 4705092 h 5509311"/>
              <a:gd name="connsiteX249" fmla="*/ 9174339 w 11760532"/>
              <a:gd name="connsiteY249" fmla="*/ 4798399 h 5509311"/>
              <a:gd name="connsiteX250" fmla="*/ 8651713 w 11760532"/>
              <a:gd name="connsiteY250" fmla="*/ 4918241 h 5509311"/>
              <a:gd name="connsiteX251" fmla="*/ 8581757 w 11760532"/>
              <a:gd name="connsiteY251" fmla="*/ 4943994 h 5509311"/>
              <a:gd name="connsiteX252" fmla="*/ 8566224 w 11760532"/>
              <a:gd name="connsiteY252" fmla="*/ 4953422 h 5509311"/>
              <a:gd name="connsiteX253" fmla="*/ 8396665 w 11760532"/>
              <a:gd name="connsiteY253" fmla="*/ 5051730 h 5509311"/>
              <a:gd name="connsiteX254" fmla="*/ 8327056 w 11760532"/>
              <a:gd name="connsiteY254" fmla="*/ 5078541 h 5509311"/>
              <a:gd name="connsiteX255" fmla="*/ 8214611 w 11760532"/>
              <a:gd name="connsiteY255" fmla="*/ 5130377 h 5509311"/>
              <a:gd name="connsiteX256" fmla="*/ 8169991 w 11760532"/>
              <a:gd name="connsiteY256" fmla="*/ 5150038 h 5509311"/>
              <a:gd name="connsiteX257" fmla="*/ 8152142 w 11760532"/>
              <a:gd name="connsiteY257" fmla="*/ 5157188 h 5509311"/>
              <a:gd name="connsiteX258" fmla="*/ 8021849 w 11760532"/>
              <a:gd name="connsiteY258" fmla="*/ 5217961 h 5509311"/>
              <a:gd name="connsiteX259" fmla="*/ 7987937 w 11760532"/>
              <a:gd name="connsiteY259" fmla="*/ 5209024 h 5509311"/>
              <a:gd name="connsiteX260" fmla="*/ 8000431 w 11760532"/>
              <a:gd name="connsiteY260" fmla="*/ 5184000 h 5509311"/>
              <a:gd name="connsiteX261" fmla="*/ 8028988 w 11760532"/>
              <a:gd name="connsiteY261" fmla="*/ 5175063 h 5509311"/>
              <a:gd name="connsiteX262" fmla="*/ 8064686 w 11760532"/>
              <a:gd name="connsiteY262" fmla="*/ 5164338 h 5509311"/>
              <a:gd name="connsiteX263" fmla="*/ 8078964 w 11760532"/>
              <a:gd name="connsiteY263" fmla="*/ 5142888 h 5509311"/>
              <a:gd name="connsiteX264" fmla="*/ 8078964 w 11760532"/>
              <a:gd name="connsiteY264" fmla="*/ 5130377 h 5509311"/>
              <a:gd name="connsiteX265" fmla="*/ 8066470 w 11760532"/>
              <a:gd name="connsiteY265" fmla="*/ 5126802 h 5509311"/>
              <a:gd name="connsiteX266" fmla="*/ 8030773 w 11760532"/>
              <a:gd name="connsiteY266" fmla="*/ 5123227 h 5509311"/>
              <a:gd name="connsiteX267" fmla="*/ 7998646 w 11760532"/>
              <a:gd name="connsiteY267" fmla="*/ 5125014 h 5509311"/>
              <a:gd name="connsiteX268" fmla="*/ 7834442 w 11760532"/>
              <a:gd name="connsiteY268" fmla="*/ 5169700 h 5509311"/>
              <a:gd name="connsiteX269" fmla="*/ 7795175 w 11760532"/>
              <a:gd name="connsiteY269" fmla="*/ 5191150 h 5509311"/>
              <a:gd name="connsiteX270" fmla="*/ 7773757 w 11760532"/>
              <a:gd name="connsiteY270" fmla="*/ 5192937 h 5509311"/>
              <a:gd name="connsiteX271" fmla="*/ 7748769 w 11760532"/>
              <a:gd name="connsiteY271" fmla="*/ 5182212 h 5509311"/>
              <a:gd name="connsiteX272" fmla="*/ 7714858 w 11760532"/>
              <a:gd name="connsiteY272" fmla="*/ 5210811 h 5509311"/>
              <a:gd name="connsiteX273" fmla="*/ 7689869 w 11760532"/>
              <a:gd name="connsiteY273" fmla="*/ 5225110 h 5509311"/>
              <a:gd name="connsiteX274" fmla="*/ 7673807 w 11760532"/>
              <a:gd name="connsiteY274" fmla="*/ 5226898 h 5509311"/>
              <a:gd name="connsiteX275" fmla="*/ 7570285 w 11760532"/>
              <a:gd name="connsiteY275" fmla="*/ 5251922 h 5509311"/>
              <a:gd name="connsiteX276" fmla="*/ 7534589 w 11760532"/>
              <a:gd name="connsiteY276" fmla="*/ 5269796 h 5509311"/>
              <a:gd name="connsiteX277" fmla="*/ 7511386 w 11760532"/>
              <a:gd name="connsiteY277" fmla="*/ 5273371 h 5509311"/>
              <a:gd name="connsiteX278" fmla="*/ 7438208 w 11760532"/>
              <a:gd name="connsiteY278" fmla="*/ 5264434 h 5509311"/>
              <a:gd name="connsiteX279" fmla="*/ 7236521 w 11760532"/>
              <a:gd name="connsiteY279" fmla="*/ 5268009 h 5509311"/>
              <a:gd name="connsiteX280" fmla="*/ 7161558 w 11760532"/>
              <a:gd name="connsiteY280" fmla="*/ 5264434 h 5509311"/>
              <a:gd name="connsiteX281" fmla="*/ 7038404 w 11760532"/>
              <a:gd name="connsiteY281" fmla="*/ 5278733 h 5509311"/>
              <a:gd name="connsiteX282" fmla="*/ 6872414 w 11760532"/>
              <a:gd name="connsiteY282" fmla="*/ 5296607 h 5509311"/>
              <a:gd name="connsiteX283" fmla="*/ 6733197 w 11760532"/>
              <a:gd name="connsiteY283" fmla="*/ 5321632 h 5509311"/>
              <a:gd name="connsiteX284" fmla="*/ 6599335 w 11760532"/>
              <a:gd name="connsiteY284" fmla="*/ 5335931 h 5509311"/>
              <a:gd name="connsiteX285" fmla="*/ 6502952 w 11760532"/>
              <a:gd name="connsiteY285" fmla="*/ 5352018 h 5509311"/>
              <a:gd name="connsiteX286" fmla="*/ 6106719 w 11760532"/>
              <a:gd name="connsiteY286" fmla="*/ 5393129 h 5509311"/>
              <a:gd name="connsiteX287" fmla="*/ 5674788 w 11760532"/>
              <a:gd name="connsiteY287" fmla="*/ 5444964 h 5509311"/>
              <a:gd name="connsiteX288" fmla="*/ 5262491 w 11760532"/>
              <a:gd name="connsiteY288" fmla="*/ 5468201 h 5509311"/>
              <a:gd name="connsiteX289" fmla="*/ 4946575 w 11760532"/>
              <a:gd name="connsiteY289" fmla="*/ 5482500 h 5509311"/>
              <a:gd name="connsiteX290" fmla="*/ 4705623 w 11760532"/>
              <a:gd name="connsiteY290" fmla="*/ 5500374 h 5509311"/>
              <a:gd name="connsiteX291" fmla="*/ 4532493 w 11760532"/>
              <a:gd name="connsiteY291" fmla="*/ 5507524 h 5509311"/>
              <a:gd name="connsiteX292" fmla="*/ 4423618 w 11760532"/>
              <a:gd name="connsiteY292" fmla="*/ 5509311 h 5509311"/>
              <a:gd name="connsiteX293" fmla="*/ 4389706 w 11760532"/>
              <a:gd name="connsiteY293" fmla="*/ 5509311 h 5509311"/>
              <a:gd name="connsiteX294" fmla="*/ 4382566 w 11760532"/>
              <a:gd name="connsiteY294" fmla="*/ 5507524 h 5509311"/>
              <a:gd name="connsiteX295" fmla="*/ 3873888 w 11760532"/>
              <a:gd name="connsiteY295" fmla="*/ 5493224 h 5509311"/>
              <a:gd name="connsiteX296" fmla="*/ 3740025 w 11760532"/>
              <a:gd name="connsiteY296" fmla="*/ 5484287 h 5509311"/>
              <a:gd name="connsiteX297" fmla="*/ 3447312 w 11760532"/>
              <a:gd name="connsiteY297" fmla="*/ 5461051 h 5509311"/>
              <a:gd name="connsiteX298" fmla="*/ 3217067 w 11760532"/>
              <a:gd name="connsiteY298" fmla="*/ 5439602 h 5509311"/>
              <a:gd name="connsiteX299" fmla="*/ 3002887 w 11760532"/>
              <a:gd name="connsiteY299" fmla="*/ 5418152 h 5509311"/>
              <a:gd name="connsiteX300" fmla="*/ 2985039 w 11760532"/>
              <a:gd name="connsiteY300" fmla="*/ 5412791 h 5509311"/>
              <a:gd name="connsiteX301" fmla="*/ 2874379 w 11760532"/>
              <a:gd name="connsiteY301" fmla="*/ 5382404 h 5509311"/>
              <a:gd name="connsiteX302" fmla="*/ 2756580 w 11760532"/>
              <a:gd name="connsiteY302" fmla="*/ 5377042 h 5509311"/>
              <a:gd name="connsiteX303" fmla="*/ 2558463 w 11760532"/>
              <a:gd name="connsiteY303" fmla="*/ 5346655 h 5509311"/>
              <a:gd name="connsiteX304" fmla="*/ 2479930 w 11760532"/>
              <a:gd name="connsiteY304" fmla="*/ 5314482 h 5509311"/>
              <a:gd name="connsiteX305" fmla="*/ 2460297 w 11760532"/>
              <a:gd name="connsiteY305" fmla="*/ 5312695 h 5509311"/>
              <a:gd name="connsiteX306" fmla="*/ 2413892 w 11760532"/>
              <a:gd name="connsiteY306" fmla="*/ 5312695 h 5509311"/>
              <a:gd name="connsiteX307" fmla="*/ 2347851 w 11760532"/>
              <a:gd name="connsiteY307" fmla="*/ 5294820 h 5509311"/>
              <a:gd name="connsiteX308" fmla="*/ 2246116 w 11760532"/>
              <a:gd name="connsiteY308" fmla="*/ 5264434 h 5509311"/>
              <a:gd name="connsiteX309" fmla="*/ 2185432 w 11760532"/>
              <a:gd name="connsiteY309" fmla="*/ 5253709 h 5509311"/>
              <a:gd name="connsiteX310" fmla="*/ 2097974 w 11760532"/>
              <a:gd name="connsiteY310" fmla="*/ 5250134 h 5509311"/>
              <a:gd name="connsiteX311" fmla="*/ 2049784 w 11760532"/>
              <a:gd name="connsiteY311" fmla="*/ 5239410 h 5509311"/>
              <a:gd name="connsiteX312" fmla="*/ 2037290 w 11760532"/>
              <a:gd name="connsiteY312" fmla="*/ 5230473 h 5509311"/>
              <a:gd name="connsiteX313" fmla="*/ 2037290 w 11760532"/>
              <a:gd name="connsiteY313" fmla="*/ 5217961 h 5509311"/>
              <a:gd name="connsiteX314" fmla="*/ 2021227 w 11760532"/>
              <a:gd name="connsiteY314" fmla="*/ 5207236 h 5509311"/>
              <a:gd name="connsiteX315" fmla="*/ 1965897 w 11760532"/>
              <a:gd name="connsiteY315" fmla="*/ 5228686 h 5509311"/>
              <a:gd name="connsiteX316" fmla="*/ 1946264 w 11760532"/>
              <a:gd name="connsiteY316" fmla="*/ 5226898 h 5509311"/>
              <a:gd name="connsiteX317" fmla="*/ 1948048 w 11760532"/>
              <a:gd name="connsiteY317" fmla="*/ 5209024 h 5509311"/>
              <a:gd name="connsiteX318" fmla="*/ 1937339 w 11760532"/>
              <a:gd name="connsiteY318" fmla="*/ 5185787 h 5509311"/>
              <a:gd name="connsiteX319" fmla="*/ 1921275 w 11760532"/>
              <a:gd name="connsiteY319" fmla="*/ 5180424 h 5509311"/>
              <a:gd name="connsiteX320" fmla="*/ 1914137 w 11760532"/>
              <a:gd name="connsiteY320" fmla="*/ 5164338 h 5509311"/>
              <a:gd name="connsiteX321" fmla="*/ 1915921 w 11760532"/>
              <a:gd name="connsiteY321" fmla="*/ 5151826 h 5509311"/>
              <a:gd name="connsiteX322" fmla="*/ 1901643 w 11760532"/>
              <a:gd name="connsiteY322" fmla="*/ 5150038 h 5509311"/>
              <a:gd name="connsiteX323" fmla="*/ 1857022 w 11760532"/>
              <a:gd name="connsiteY323" fmla="*/ 5150038 h 5509311"/>
              <a:gd name="connsiteX324" fmla="*/ 1724943 w 11760532"/>
              <a:gd name="connsiteY324" fmla="*/ 5173275 h 5509311"/>
              <a:gd name="connsiteX325" fmla="*/ 1705310 w 11760532"/>
              <a:gd name="connsiteY325" fmla="*/ 5187574 h 5509311"/>
              <a:gd name="connsiteX326" fmla="*/ 1710665 w 11760532"/>
              <a:gd name="connsiteY326" fmla="*/ 5162551 h 5509311"/>
              <a:gd name="connsiteX327" fmla="*/ 1691031 w 11760532"/>
              <a:gd name="connsiteY327" fmla="*/ 5130377 h 5509311"/>
              <a:gd name="connsiteX328" fmla="*/ 1530396 w 11760532"/>
              <a:gd name="connsiteY328" fmla="*/ 5092841 h 5509311"/>
              <a:gd name="connsiteX329" fmla="*/ 1471497 w 11760532"/>
              <a:gd name="connsiteY329" fmla="*/ 5083904 h 5509311"/>
              <a:gd name="connsiteX330" fmla="*/ 1455433 w 11760532"/>
              <a:gd name="connsiteY330" fmla="*/ 5057092 h 5509311"/>
              <a:gd name="connsiteX331" fmla="*/ 1425092 w 11760532"/>
              <a:gd name="connsiteY331" fmla="*/ 5035643 h 5509311"/>
              <a:gd name="connsiteX332" fmla="*/ 1387610 w 11760532"/>
              <a:gd name="connsiteY332" fmla="*/ 5033856 h 5509311"/>
              <a:gd name="connsiteX333" fmla="*/ 1364407 w 11760532"/>
              <a:gd name="connsiteY333" fmla="*/ 5033856 h 5509311"/>
              <a:gd name="connsiteX334" fmla="*/ 1334064 w 11760532"/>
              <a:gd name="connsiteY334" fmla="*/ 5039218 h 5509311"/>
              <a:gd name="connsiteX335" fmla="*/ 1310861 w 11760532"/>
              <a:gd name="connsiteY335" fmla="*/ 5032068 h 5509311"/>
              <a:gd name="connsiteX336" fmla="*/ 1294798 w 11760532"/>
              <a:gd name="connsiteY336" fmla="*/ 5017769 h 5509311"/>
              <a:gd name="connsiteX337" fmla="*/ 1268025 w 11760532"/>
              <a:gd name="connsiteY337" fmla="*/ 5008832 h 5509311"/>
              <a:gd name="connsiteX338" fmla="*/ 1234113 w 11760532"/>
              <a:gd name="connsiteY338" fmla="*/ 5028493 h 5509311"/>
              <a:gd name="connsiteX339" fmla="*/ 1232328 w 11760532"/>
              <a:gd name="connsiteY339" fmla="*/ 5024919 h 5509311"/>
              <a:gd name="connsiteX340" fmla="*/ 1234113 w 11760532"/>
              <a:gd name="connsiteY340" fmla="*/ 4976658 h 5509311"/>
              <a:gd name="connsiteX341" fmla="*/ 1228759 w 11760532"/>
              <a:gd name="connsiteY341" fmla="*/ 4967721 h 5509311"/>
              <a:gd name="connsiteX342" fmla="*/ 1162720 w 11760532"/>
              <a:gd name="connsiteY342" fmla="*/ 4946272 h 5509311"/>
              <a:gd name="connsiteX343" fmla="*/ 1134163 w 11760532"/>
              <a:gd name="connsiteY343" fmla="*/ 4931973 h 5509311"/>
              <a:gd name="connsiteX344" fmla="*/ 1134163 w 11760532"/>
              <a:gd name="connsiteY344" fmla="*/ 4905161 h 5509311"/>
              <a:gd name="connsiteX345" fmla="*/ 1180568 w 11760532"/>
              <a:gd name="connsiteY345" fmla="*/ 4889074 h 5509311"/>
              <a:gd name="connsiteX346" fmla="*/ 1225189 w 11760532"/>
              <a:gd name="connsiteY346" fmla="*/ 4910523 h 5509311"/>
              <a:gd name="connsiteX347" fmla="*/ 1266240 w 11760532"/>
              <a:gd name="connsiteY347" fmla="*/ 4930185 h 5509311"/>
              <a:gd name="connsiteX348" fmla="*/ 1310861 w 11760532"/>
              <a:gd name="connsiteY348" fmla="*/ 4935547 h 5509311"/>
              <a:gd name="connsiteX349" fmla="*/ 1355482 w 11760532"/>
              <a:gd name="connsiteY349" fmla="*/ 4924823 h 5509311"/>
              <a:gd name="connsiteX350" fmla="*/ 1448293 w 11760532"/>
              <a:gd name="connsiteY350" fmla="*/ 4951634 h 5509311"/>
              <a:gd name="connsiteX351" fmla="*/ 1525042 w 11760532"/>
              <a:gd name="connsiteY351" fmla="*/ 4942697 h 5509311"/>
              <a:gd name="connsiteX352" fmla="*/ 1555384 w 11760532"/>
              <a:gd name="connsiteY352" fmla="*/ 4946272 h 5509311"/>
              <a:gd name="connsiteX353" fmla="*/ 1732083 w 11760532"/>
              <a:gd name="connsiteY353" fmla="*/ 4990958 h 5509311"/>
              <a:gd name="connsiteX354" fmla="*/ 1760641 w 11760532"/>
              <a:gd name="connsiteY354" fmla="*/ 4992745 h 5509311"/>
              <a:gd name="connsiteX355" fmla="*/ 1780273 w 11760532"/>
              <a:gd name="connsiteY355" fmla="*/ 4998107 h 5509311"/>
              <a:gd name="connsiteX356" fmla="*/ 1780273 w 11760532"/>
              <a:gd name="connsiteY356" fmla="*/ 4976658 h 5509311"/>
              <a:gd name="connsiteX357" fmla="*/ 1790983 w 11760532"/>
              <a:gd name="connsiteY357" fmla="*/ 4962359 h 5509311"/>
              <a:gd name="connsiteX358" fmla="*/ 1823110 w 11760532"/>
              <a:gd name="connsiteY358" fmla="*/ 4967721 h 5509311"/>
              <a:gd name="connsiteX359" fmla="*/ 1890934 w 11760532"/>
              <a:gd name="connsiteY359" fmla="*/ 4978446 h 5509311"/>
              <a:gd name="connsiteX360" fmla="*/ 1898073 w 11760532"/>
              <a:gd name="connsiteY360" fmla="*/ 4985595 h 5509311"/>
              <a:gd name="connsiteX361" fmla="*/ 1930200 w 11760532"/>
              <a:gd name="connsiteY361" fmla="*/ 5005256 h 5509311"/>
              <a:gd name="connsiteX362" fmla="*/ 2089050 w 11760532"/>
              <a:gd name="connsiteY362" fmla="*/ 5030281 h 5509311"/>
              <a:gd name="connsiteX363" fmla="*/ 2103329 w 11760532"/>
              <a:gd name="connsiteY363" fmla="*/ 5030281 h 5509311"/>
              <a:gd name="connsiteX364" fmla="*/ 2139026 w 11760532"/>
              <a:gd name="connsiteY364" fmla="*/ 5044581 h 5509311"/>
              <a:gd name="connsiteX365" fmla="*/ 2174723 w 11760532"/>
              <a:gd name="connsiteY365" fmla="*/ 5049942 h 5509311"/>
              <a:gd name="connsiteX366" fmla="*/ 2194356 w 11760532"/>
              <a:gd name="connsiteY366" fmla="*/ 5032068 h 5509311"/>
              <a:gd name="connsiteX367" fmla="*/ 2221128 w 11760532"/>
              <a:gd name="connsiteY367" fmla="*/ 5053518 h 5509311"/>
              <a:gd name="connsiteX368" fmla="*/ 2262179 w 11760532"/>
              <a:gd name="connsiteY368" fmla="*/ 5055305 h 5509311"/>
              <a:gd name="connsiteX369" fmla="*/ 2322864 w 11760532"/>
              <a:gd name="connsiteY369" fmla="*/ 5010619 h 5509311"/>
              <a:gd name="connsiteX370" fmla="*/ 2324649 w 11760532"/>
              <a:gd name="connsiteY370" fmla="*/ 5008832 h 5509311"/>
              <a:gd name="connsiteX371" fmla="*/ 2354991 w 11760532"/>
              <a:gd name="connsiteY371" fmla="*/ 4990958 h 5509311"/>
              <a:gd name="connsiteX372" fmla="*/ 2592375 w 11760532"/>
              <a:gd name="connsiteY372" fmla="*/ 5030281 h 5509311"/>
              <a:gd name="connsiteX373" fmla="*/ 2744086 w 11760532"/>
              <a:gd name="connsiteY373" fmla="*/ 5048155 h 5509311"/>
              <a:gd name="connsiteX374" fmla="*/ 2920785 w 11760532"/>
              <a:gd name="connsiteY374" fmla="*/ 5089266 h 5509311"/>
              <a:gd name="connsiteX375" fmla="*/ 3052863 w 11760532"/>
              <a:gd name="connsiteY375" fmla="*/ 5091054 h 5509311"/>
              <a:gd name="connsiteX376" fmla="*/ 3104623 w 11760532"/>
              <a:gd name="connsiteY376" fmla="*/ 5096415 h 5509311"/>
              <a:gd name="connsiteX377" fmla="*/ 3215283 w 11760532"/>
              <a:gd name="connsiteY377" fmla="*/ 5117865 h 5509311"/>
              <a:gd name="connsiteX378" fmla="*/ 3318804 w 11760532"/>
              <a:gd name="connsiteY378" fmla="*/ 5125014 h 5509311"/>
              <a:gd name="connsiteX379" fmla="*/ 3475869 w 11760532"/>
              <a:gd name="connsiteY379" fmla="*/ 5141101 h 5509311"/>
              <a:gd name="connsiteX380" fmla="*/ 3574035 w 11760532"/>
              <a:gd name="connsiteY380" fmla="*/ 5148251 h 5509311"/>
              <a:gd name="connsiteX381" fmla="*/ 3786431 w 11760532"/>
              <a:gd name="connsiteY381" fmla="*/ 5166125 h 5509311"/>
              <a:gd name="connsiteX382" fmla="*/ 3998827 w 11760532"/>
              <a:gd name="connsiteY382" fmla="*/ 5171488 h 5509311"/>
              <a:gd name="connsiteX383" fmla="*/ 4143398 w 11760532"/>
              <a:gd name="connsiteY383" fmla="*/ 5180424 h 5509311"/>
              <a:gd name="connsiteX384" fmla="*/ 4370073 w 11760532"/>
              <a:gd name="connsiteY384" fmla="*/ 5180424 h 5509311"/>
              <a:gd name="connsiteX385" fmla="*/ 4484302 w 11760532"/>
              <a:gd name="connsiteY385" fmla="*/ 5187574 h 5509311"/>
              <a:gd name="connsiteX386" fmla="*/ 4619949 w 11760532"/>
              <a:gd name="connsiteY386" fmla="*/ 5180424 h 5509311"/>
              <a:gd name="connsiteX387" fmla="*/ 4703838 w 11760532"/>
              <a:gd name="connsiteY387" fmla="*/ 5180424 h 5509311"/>
              <a:gd name="connsiteX388" fmla="*/ 4793079 w 11760532"/>
              <a:gd name="connsiteY388" fmla="*/ 5184000 h 5509311"/>
              <a:gd name="connsiteX389" fmla="*/ 4903739 w 11760532"/>
              <a:gd name="connsiteY389" fmla="*/ 5169700 h 5509311"/>
              <a:gd name="connsiteX390" fmla="*/ 5055449 w 11760532"/>
              <a:gd name="connsiteY390" fmla="*/ 5160763 h 5509311"/>
              <a:gd name="connsiteX391" fmla="*/ 5258922 w 11760532"/>
              <a:gd name="connsiteY391" fmla="*/ 5144677 h 5509311"/>
              <a:gd name="connsiteX392" fmla="*/ 5378506 w 11760532"/>
              <a:gd name="connsiteY392" fmla="*/ 5135739 h 5509311"/>
              <a:gd name="connsiteX393" fmla="*/ 5564129 w 11760532"/>
              <a:gd name="connsiteY393" fmla="*/ 5132164 h 5509311"/>
              <a:gd name="connsiteX394" fmla="*/ 5576623 w 11760532"/>
              <a:gd name="connsiteY394" fmla="*/ 5121440 h 5509311"/>
              <a:gd name="connsiteX395" fmla="*/ 5558774 w 11760532"/>
              <a:gd name="connsiteY395" fmla="*/ 5101778 h 5509311"/>
              <a:gd name="connsiteX396" fmla="*/ 5521293 w 11760532"/>
              <a:gd name="connsiteY396" fmla="*/ 5103565 h 5509311"/>
              <a:gd name="connsiteX397" fmla="*/ 4716330 w 11760532"/>
              <a:gd name="connsiteY397" fmla="*/ 5125014 h 5509311"/>
              <a:gd name="connsiteX398" fmla="*/ 3977408 w 11760532"/>
              <a:gd name="connsiteY398" fmla="*/ 5116078 h 5509311"/>
              <a:gd name="connsiteX399" fmla="*/ 3504426 w 11760532"/>
              <a:gd name="connsiteY399" fmla="*/ 5083904 h 5509311"/>
              <a:gd name="connsiteX400" fmla="*/ 3092129 w 11760532"/>
              <a:gd name="connsiteY400" fmla="*/ 5039218 h 5509311"/>
              <a:gd name="connsiteX401" fmla="*/ 2588805 w 11760532"/>
              <a:gd name="connsiteY401" fmla="*/ 4948059 h 5509311"/>
              <a:gd name="connsiteX402" fmla="*/ 2428170 w 11760532"/>
              <a:gd name="connsiteY402" fmla="*/ 4923036 h 5509311"/>
              <a:gd name="connsiteX403" fmla="*/ 2260395 w 11760532"/>
              <a:gd name="connsiteY403" fmla="*/ 4880137 h 5509311"/>
              <a:gd name="connsiteX404" fmla="*/ 2190786 w 11760532"/>
              <a:gd name="connsiteY404" fmla="*/ 4871200 h 5509311"/>
              <a:gd name="connsiteX405" fmla="*/ 2140811 w 11760532"/>
              <a:gd name="connsiteY405" fmla="*/ 4871200 h 5509311"/>
              <a:gd name="connsiteX406" fmla="*/ 2058708 w 11760532"/>
              <a:gd name="connsiteY406" fmla="*/ 4862263 h 5509311"/>
              <a:gd name="connsiteX407" fmla="*/ 1999808 w 11760532"/>
              <a:gd name="connsiteY407" fmla="*/ 4840814 h 5509311"/>
              <a:gd name="connsiteX408" fmla="*/ 1978390 w 11760532"/>
              <a:gd name="connsiteY408" fmla="*/ 4835451 h 5509311"/>
              <a:gd name="connsiteX409" fmla="*/ 1937339 w 11760532"/>
              <a:gd name="connsiteY409" fmla="*/ 4837239 h 5509311"/>
              <a:gd name="connsiteX410" fmla="*/ 1803476 w 11760532"/>
              <a:gd name="connsiteY410" fmla="*/ 4801490 h 5509311"/>
              <a:gd name="connsiteX411" fmla="*/ 1760641 w 11760532"/>
              <a:gd name="connsiteY411" fmla="*/ 4799703 h 5509311"/>
              <a:gd name="connsiteX412" fmla="*/ 1701740 w 11760532"/>
              <a:gd name="connsiteY412" fmla="*/ 4783616 h 5509311"/>
              <a:gd name="connsiteX413" fmla="*/ 1674969 w 11760532"/>
              <a:gd name="connsiteY413" fmla="*/ 4765742 h 5509311"/>
              <a:gd name="connsiteX414" fmla="*/ 1569663 w 11760532"/>
              <a:gd name="connsiteY414" fmla="*/ 4738931 h 5509311"/>
              <a:gd name="connsiteX415" fmla="*/ 1476851 w 11760532"/>
              <a:gd name="connsiteY415" fmla="*/ 4724631 h 5509311"/>
              <a:gd name="connsiteX416" fmla="*/ 1451863 w 11760532"/>
              <a:gd name="connsiteY416" fmla="*/ 4713906 h 5509311"/>
              <a:gd name="connsiteX417" fmla="*/ 1421521 w 11760532"/>
              <a:gd name="connsiteY417" fmla="*/ 4694245 h 5509311"/>
              <a:gd name="connsiteX418" fmla="*/ 1344773 w 11760532"/>
              <a:gd name="connsiteY418" fmla="*/ 4667433 h 5509311"/>
              <a:gd name="connsiteX419" fmla="*/ 1230544 w 11760532"/>
              <a:gd name="connsiteY419" fmla="*/ 4638835 h 5509311"/>
              <a:gd name="connsiteX420" fmla="*/ 1209125 w 11760532"/>
              <a:gd name="connsiteY420" fmla="*/ 4622747 h 5509311"/>
              <a:gd name="connsiteX421" fmla="*/ 1207341 w 11760532"/>
              <a:gd name="connsiteY421" fmla="*/ 4608448 h 5509311"/>
              <a:gd name="connsiteX422" fmla="*/ 1112744 w 11760532"/>
              <a:gd name="connsiteY422" fmla="*/ 4526227 h 5509311"/>
              <a:gd name="connsiteX423" fmla="*/ 1107390 w 11760532"/>
              <a:gd name="connsiteY423" fmla="*/ 4511927 h 5509311"/>
              <a:gd name="connsiteX424" fmla="*/ 1116314 w 11760532"/>
              <a:gd name="connsiteY424" fmla="*/ 4501203 h 5509311"/>
              <a:gd name="connsiteX425" fmla="*/ 1123453 w 11760532"/>
              <a:gd name="connsiteY425" fmla="*/ 4477966 h 5509311"/>
              <a:gd name="connsiteX426" fmla="*/ 1100251 w 11760532"/>
              <a:gd name="connsiteY426" fmla="*/ 4476178 h 5509311"/>
              <a:gd name="connsiteX427" fmla="*/ 1048490 w 11760532"/>
              <a:gd name="connsiteY427" fmla="*/ 4476178 h 5509311"/>
              <a:gd name="connsiteX428" fmla="*/ 1009224 w 11760532"/>
              <a:gd name="connsiteY428" fmla="*/ 4483328 h 5509311"/>
              <a:gd name="connsiteX429" fmla="*/ 996730 w 11760532"/>
              <a:gd name="connsiteY429" fmla="*/ 4492265 h 5509311"/>
              <a:gd name="connsiteX430" fmla="*/ 978881 w 11760532"/>
              <a:gd name="connsiteY430" fmla="*/ 4492265 h 5509311"/>
              <a:gd name="connsiteX431" fmla="*/ 978881 w 11760532"/>
              <a:gd name="connsiteY431" fmla="*/ 4474391 h 5509311"/>
              <a:gd name="connsiteX432" fmla="*/ 993160 w 11760532"/>
              <a:gd name="connsiteY432" fmla="*/ 4454730 h 5509311"/>
              <a:gd name="connsiteX433" fmla="*/ 998515 w 11760532"/>
              <a:gd name="connsiteY433" fmla="*/ 4445792 h 5509311"/>
              <a:gd name="connsiteX434" fmla="*/ 987806 w 11760532"/>
              <a:gd name="connsiteY434" fmla="*/ 4444005 h 5509311"/>
              <a:gd name="connsiteX435" fmla="*/ 975312 w 11760532"/>
              <a:gd name="connsiteY435" fmla="*/ 4447580 h 5509311"/>
              <a:gd name="connsiteX436" fmla="*/ 964603 w 11760532"/>
              <a:gd name="connsiteY436" fmla="*/ 4447580 h 5509311"/>
              <a:gd name="connsiteX437" fmla="*/ 894995 w 11760532"/>
              <a:gd name="connsiteY437" fmla="*/ 4420768 h 5509311"/>
              <a:gd name="connsiteX438" fmla="*/ 857513 w 11760532"/>
              <a:gd name="connsiteY438" fmla="*/ 4420768 h 5509311"/>
              <a:gd name="connsiteX439" fmla="*/ 836094 w 11760532"/>
              <a:gd name="connsiteY439" fmla="*/ 4411831 h 5509311"/>
              <a:gd name="connsiteX440" fmla="*/ 848588 w 11760532"/>
              <a:gd name="connsiteY440" fmla="*/ 4393957 h 5509311"/>
              <a:gd name="connsiteX441" fmla="*/ 859297 w 11760532"/>
              <a:gd name="connsiteY441" fmla="*/ 4385019 h 5509311"/>
              <a:gd name="connsiteX442" fmla="*/ 868222 w 11760532"/>
              <a:gd name="connsiteY442" fmla="*/ 4370721 h 5509311"/>
              <a:gd name="connsiteX443" fmla="*/ 850373 w 11760532"/>
              <a:gd name="connsiteY443" fmla="*/ 4365358 h 5509311"/>
              <a:gd name="connsiteX444" fmla="*/ 805753 w 11760532"/>
              <a:gd name="connsiteY444" fmla="*/ 4354633 h 5509311"/>
              <a:gd name="connsiteX445" fmla="*/ 736143 w 11760532"/>
              <a:gd name="connsiteY445" fmla="*/ 4381445 h 5509311"/>
              <a:gd name="connsiteX446" fmla="*/ 707587 w 11760532"/>
              <a:gd name="connsiteY446" fmla="*/ 4401107 h 5509311"/>
              <a:gd name="connsiteX447" fmla="*/ 707587 w 11760532"/>
              <a:gd name="connsiteY447" fmla="*/ 4301010 h 5509311"/>
              <a:gd name="connsiteX448" fmla="*/ 730789 w 11760532"/>
              <a:gd name="connsiteY448" fmla="*/ 4274199 h 5509311"/>
              <a:gd name="connsiteX449" fmla="*/ 725435 w 11760532"/>
              <a:gd name="connsiteY449" fmla="*/ 4259900 h 5509311"/>
              <a:gd name="connsiteX450" fmla="*/ 743283 w 11760532"/>
              <a:gd name="connsiteY450" fmla="*/ 4258113 h 5509311"/>
              <a:gd name="connsiteX451" fmla="*/ 755777 w 11760532"/>
              <a:gd name="connsiteY451" fmla="*/ 4261687 h 5509311"/>
              <a:gd name="connsiteX452" fmla="*/ 773625 w 11760532"/>
              <a:gd name="connsiteY452" fmla="*/ 4250963 h 5509311"/>
              <a:gd name="connsiteX453" fmla="*/ 789689 w 11760532"/>
              <a:gd name="connsiteY453" fmla="*/ 4238450 h 5509311"/>
              <a:gd name="connsiteX454" fmla="*/ 827171 w 11760532"/>
              <a:gd name="connsiteY454" fmla="*/ 4245600 h 5509311"/>
              <a:gd name="connsiteX455" fmla="*/ 862867 w 11760532"/>
              <a:gd name="connsiteY455" fmla="*/ 4247388 h 5509311"/>
              <a:gd name="connsiteX456" fmla="*/ 877146 w 11760532"/>
              <a:gd name="connsiteY456" fmla="*/ 4222364 h 5509311"/>
              <a:gd name="connsiteX457" fmla="*/ 884286 w 11760532"/>
              <a:gd name="connsiteY457" fmla="*/ 4211640 h 5509311"/>
              <a:gd name="connsiteX458" fmla="*/ 921767 w 11760532"/>
              <a:gd name="connsiteY458" fmla="*/ 4245600 h 5509311"/>
              <a:gd name="connsiteX459" fmla="*/ 930691 w 11760532"/>
              <a:gd name="connsiteY459" fmla="*/ 4265262 h 5509311"/>
              <a:gd name="connsiteX460" fmla="*/ 969957 w 11760532"/>
              <a:gd name="connsiteY460" fmla="*/ 4270625 h 5509311"/>
              <a:gd name="connsiteX461" fmla="*/ 973527 w 11760532"/>
              <a:gd name="connsiteY461" fmla="*/ 4259900 h 5509311"/>
              <a:gd name="connsiteX462" fmla="*/ 977097 w 11760532"/>
              <a:gd name="connsiteY462" fmla="*/ 4243813 h 5509311"/>
              <a:gd name="connsiteX463" fmla="*/ 994945 w 11760532"/>
              <a:gd name="connsiteY463" fmla="*/ 4236663 h 5509311"/>
              <a:gd name="connsiteX464" fmla="*/ 1046705 w 11760532"/>
              <a:gd name="connsiteY464" fmla="*/ 4256325 h 5509311"/>
              <a:gd name="connsiteX465" fmla="*/ 1077048 w 11760532"/>
              <a:gd name="connsiteY465" fmla="*/ 4268837 h 5509311"/>
              <a:gd name="connsiteX466" fmla="*/ 1162720 w 11760532"/>
              <a:gd name="connsiteY466" fmla="*/ 4259900 h 5509311"/>
              <a:gd name="connsiteX467" fmla="*/ 1187707 w 11760532"/>
              <a:gd name="connsiteY467" fmla="*/ 4256325 h 5509311"/>
              <a:gd name="connsiteX468" fmla="*/ 1264456 w 11760532"/>
              <a:gd name="connsiteY468" fmla="*/ 4286712 h 5509311"/>
              <a:gd name="connsiteX469" fmla="*/ 1309077 w 11760532"/>
              <a:gd name="connsiteY469" fmla="*/ 4288499 h 5509311"/>
              <a:gd name="connsiteX470" fmla="*/ 1369761 w 11760532"/>
              <a:gd name="connsiteY470" fmla="*/ 4259900 h 5509311"/>
              <a:gd name="connsiteX471" fmla="*/ 1373331 w 11760532"/>
              <a:gd name="connsiteY471" fmla="*/ 4292073 h 5509311"/>
              <a:gd name="connsiteX472" fmla="*/ 1403672 w 11760532"/>
              <a:gd name="connsiteY472" fmla="*/ 4311735 h 5509311"/>
              <a:gd name="connsiteX473" fmla="*/ 1410812 w 11760532"/>
              <a:gd name="connsiteY473" fmla="*/ 4290286 h 5509311"/>
              <a:gd name="connsiteX474" fmla="*/ 1430445 w 11760532"/>
              <a:gd name="connsiteY474" fmla="*/ 4277774 h 5509311"/>
              <a:gd name="connsiteX475" fmla="*/ 1473282 w 11760532"/>
              <a:gd name="connsiteY475" fmla="*/ 4283136 h 5509311"/>
              <a:gd name="connsiteX476" fmla="*/ 1530396 w 11760532"/>
              <a:gd name="connsiteY476" fmla="*/ 4292073 h 5509311"/>
              <a:gd name="connsiteX477" fmla="*/ 1560739 w 11760532"/>
              <a:gd name="connsiteY477" fmla="*/ 4290286 h 5509311"/>
              <a:gd name="connsiteX478" fmla="*/ 1575017 w 11760532"/>
              <a:gd name="connsiteY478" fmla="*/ 4275987 h 5509311"/>
              <a:gd name="connsiteX479" fmla="*/ 1600005 w 11760532"/>
              <a:gd name="connsiteY479" fmla="*/ 4259900 h 5509311"/>
              <a:gd name="connsiteX480" fmla="*/ 1608929 w 11760532"/>
              <a:gd name="connsiteY480" fmla="*/ 4284923 h 5509311"/>
              <a:gd name="connsiteX481" fmla="*/ 1621423 w 11760532"/>
              <a:gd name="connsiteY481" fmla="*/ 4292073 h 5509311"/>
              <a:gd name="connsiteX482" fmla="*/ 1630348 w 11760532"/>
              <a:gd name="connsiteY482" fmla="*/ 4284923 h 5509311"/>
              <a:gd name="connsiteX483" fmla="*/ 1653550 w 11760532"/>
              <a:gd name="connsiteY483" fmla="*/ 4258113 h 5509311"/>
              <a:gd name="connsiteX484" fmla="*/ 1660689 w 11760532"/>
              <a:gd name="connsiteY484" fmla="*/ 4236663 h 5509311"/>
              <a:gd name="connsiteX485" fmla="*/ 1648196 w 11760532"/>
              <a:gd name="connsiteY485" fmla="*/ 4229513 h 5509311"/>
              <a:gd name="connsiteX486" fmla="*/ 1500054 w 11760532"/>
              <a:gd name="connsiteY486" fmla="*/ 4191977 h 5509311"/>
              <a:gd name="connsiteX487" fmla="*/ 1387610 w 11760532"/>
              <a:gd name="connsiteY487" fmla="*/ 4150867 h 5509311"/>
              <a:gd name="connsiteX488" fmla="*/ 1341203 w 11760532"/>
              <a:gd name="connsiteY488" fmla="*/ 4090094 h 5509311"/>
              <a:gd name="connsiteX489" fmla="*/ 1301938 w 11760532"/>
              <a:gd name="connsiteY489" fmla="*/ 4095457 h 5509311"/>
              <a:gd name="connsiteX490" fmla="*/ 1294798 w 11760532"/>
              <a:gd name="connsiteY490" fmla="*/ 4072220 h 5509311"/>
              <a:gd name="connsiteX491" fmla="*/ 1271595 w 11760532"/>
              <a:gd name="connsiteY491" fmla="*/ 4048983 h 5509311"/>
              <a:gd name="connsiteX492" fmla="*/ 1248392 w 11760532"/>
              <a:gd name="connsiteY492" fmla="*/ 4063282 h 5509311"/>
              <a:gd name="connsiteX493" fmla="*/ 1234113 w 11760532"/>
              <a:gd name="connsiteY493" fmla="*/ 4093669 h 5509311"/>
              <a:gd name="connsiteX494" fmla="*/ 1214480 w 11760532"/>
              <a:gd name="connsiteY494" fmla="*/ 4063282 h 5509311"/>
              <a:gd name="connsiteX495" fmla="*/ 1189493 w 11760532"/>
              <a:gd name="connsiteY495" fmla="*/ 4041834 h 5509311"/>
              <a:gd name="connsiteX496" fmla="*/ 1207341 w 11760532"/>
              <a:gd name="connsiteY496" fmla="*/ 3986423 h 5509311"/>
              <a:gd name="connsiteX497" fmla="*/ 1234113 w 11760532"/>
              <a:gd name="connsiteY497" fmla="*/ 3977486 h 5509311"/>
              <a:gd name="connsiteX498" fmla="*/ 1244823 w 11760532"/>
              <a:gd name="connsiteY498" fmla="*/ 3995360 h 5509311"/>
              <a:gd name="connsiteX499" fmla="*/ 1255531 w 11760532"/>
              <a:gd name="connsiteY499" fmla="*/ 4006085 h 5509311"/>
              <a:gd name="connsiteX500" fmla="*/ 1301938 w 11760532"/>
              <a:gd name="connsiteY500" fmla="*/ 4027535 h 5509311"/>
              <a:gd name="connsiteX501" fmla="*/ 1341203 w 11760532"/>
              <a:gd name="connsiteY501" fmla="*/ 4029322 h 5509311"/>
              <a:gd name="connsiteX502" fmla="*/ 1351912 w 11760532"/>
              <a:gd name="connsiteY502" fmla="*/ 4034684 h 5509311"/>
              <a:gd name="connsiteX503" fmla="*/ 1362621 w 11760532"/>
              <a:gd name="connsiteY503" fmla="*/ 4047196 h 5509311"/>
              <a:gd name="connsiteX504" fmla="*/ 1455433 w 11760532"/>
              <a:gd name="connsiteY504" fmla="*/ 4047196 h 5509311"/>
              <a:gd name="connsiteX505" fmla="*/ 1503623 w 11760532"/>
              <a:gd name="connsiteY505" fmla="*/ 4043621 h 5509311"/>
              <a:gd name="connsiteX506" fmla="*/ 1541106 w 11760532"/>
              <a:gd name="connsiteY506" fmla="*/ 4065071 h 5509311"/>
              <a:gd name="connsiteX507" fmla="*/ 1558954 w 11760532"/>
              <a:gd name="connsiteY507" fmla="*/ 4072220 h 5509311"/>
              <a:gd name="connsiteX508" fmla="*/ 1566093 w 11760532"/>
              <a:gd name="connsiteY508" fmla="*/ 4050771 h 5509311"/>
              <a:gd name="connsiteX509" fmla="*/ 1562524 w 11760532"/>
              <a:gd name="connsiteY509" fmla="*/ 4031109 h 5509311"/>
              <a:gd name="connsiteX510" fmla="*/ 1535751 w 11760532"/>
              <a:gd name="connsiteY510" fmla="*/ 3998936 h 5509311"/>
              <a:gd name="connsiteX511" fmla="*/ 1444724 w 11760532"/>
              <a:gd name="connsiteY511" fmla="*/ 3972124 h 5509311"/>
              <a:gd name="connsiteX512" fmla="*/ 1437585 w 11760532"/>
              <a:gd name="connsiteY512" fmla="*/ 3939950 h 5509311"/>
              <a:gd name="connsiteX513" fmla="*/ 1439370 w 11760532"/>
              <a:gd name="connsiteY513" fmla="*/ 3936376 h 5509311"/>
              <a:gd name="connsiteX514" fmla="*/ 1467927 w 11760532"/>
              <a:gd name="connsiteY514" fmla="*/ 3898840 h 5509311"/>
              <a:gd name="connsiteX515" fmla="*/ 1482205 w 11760532"/>
              <a:gd name="connsiteY515" fmla="*/ 3902414 h 5509311"/>
              <a:gd name="connsiteX516" fmla="*/ 1462573 w 11760532"/>
              <a:gd name="connsiteY516" fmla="*/ 3927439 h 5509311"/>
              <a:gd name="connsiteX517" fmla="*/ 1480421 w 11760532"/>
              <a:gd name="connsiteY517" fmla="*/ 3943525 h 5509311"/>
              <a:gd name="connsiteX518" fmla="*/ 1489345 w 11760532"/>
              <a:gd name="connsiteY518" fmla="*/ 3931013 h 5509311"/>
              <a:gd name="connsiteX519" fmla="*/ 1530396 w 11760532"/>
              <a:gd name="connsiteY519" fmla="*/ 3900627 h 5509311"/>
              <a:gd name="connsiteX520" fmla="*/ 1607145 w 11760532"/>
              <a:gd name="connsiteY520" fmla="*/ 3900627 h 5509311"/>
              <a:gd name="connsiteX521" fmla="*/ 1642841 w 11760532"/>
              <a:gd name="connsiteY521" fmla="*/ 3936376 h 5509311"/>
              <a:gd name="connsiteX522" fmla="*/ 1642841 w 11760532"/>
              <a:gd name="connsiteY522" fmla="*/ 3941737 h 5509311"/>
              <a:gd name="connsiteX523" fmla="*/ 1644626 w 11760532"/>
              <a:gd name="connsiteY523" fmla="*/ 3957825 h 5509311"/>
              <a:gd name="connsiteX524" fmla="*/ 1667829 w 11760532"/>
              <a:gd name="connsiteY524" fmla="*/ 3952462 h 5509311"/>
              <a:gd name="connsiteX525" fmla="*/ 1676753 w 11760532"/>
              <a:gd name="connsiteY525" fmla="*/ 3932800 h 5509311"/>
              <a:gd name="connsiteX526" fmla="*/ 1701740 w 11760532"/>
              <a:gd name="connsiteY526" fmla="*/ 3927439 h 5509311"/>
              <a:gd name="connsiteX527" fmla="*/ 1703526 w 11760532"/>
              <a:gd name="connsiteY527" fmla="*/ 3948887 h 5509311"/>
              <a:gd name="connsiteX528" fmla="*/ 1698171 w 11760532"/>
              <a:gd name="connsiteY528" fmla="*/ 3957825 h 5509311"/>
              <a:gd name="connsiteX529" fmla="*/ 1698171 w 11760532"/>
              <a:gd name="connsiteY529" fmla="*/ 3970336 h 5509311"/>
              <a:gd name="connsiteX530" fmla="*/ 1708879 w 11760532"/>
              <a:gd name="connsiteY530" fmla="*/ 3966762 h 5509311"/>
              <a:gd name="connsiteX531" fmla="*/ 1724943 w 11760532"/>
              <a:gd name="connsiteY531" fmla="*/ 3945313 h 5509311"/>
              <a:gd name="connsiteX532" fmla="*/ 1771349 w 11760532"/>
              <a:gd name="connsiteY532" fmla="*/ 3931013 h 5509311"/>
              <a:gd name="connsiteX533" fmla="*/ 1803476 w 11760532"/>
              <a:gd name="connsiteY533" fmla="*/ 3948887 h 5509311"/>
              <a:gd name="connsiteX534" fmla="*/ 1826679 w 11760532"/>
              <a:gd name="connsiteY534" fmla="*/ 3945313 h 5509311"/>
              <a:gd name="connsiteX535" fmla="*/ 1858806 w 11760532"/>
              <a:gd name="connsiteY535" fmla="*/ 3923863 h 5509311"/>
              <a:gd name="connsiteX536" fmla="*/ 1885579 w 11760532"/>
              <a:gd name="connsiteY536" fmla="*/ 3929226 h 5509311"/>
              <a:gd name="connsiteX537" fmla="*/ 2035505 w 11760532"/>
              <a:gd name="connsiteY537" fmla="*/ 3964974 h 5509311"/>
              <a:gd name="connsiteX538" fmla="*/ 2058708 w 11760532"/>
              <a:gd name="connsiteY538" fmla="*/ 3970336 h 5509311"/>
              <a:gd name="connsiteX539" fmla="*/ 2115823 w 11760532"/>
              <a:gd name="connsiteY539" fmla="*/ 3984636 h 5509311"/>
              <a:gd name="connsiteX540" fmla="*/ 2199710 w 11760532"/>
              <a:gd name="connsiteY540" fmla="*/ 3954250 h 5509311"/>
              <a:gd name="connsiteX541" fmla="*/ 2238976 w 11760532"/>
              <a:gd name="connsiteY541" fmla="*/ 3941737 h 5509311"/>
              <a:gd name="connsiteX542" fmla="*/ 2378194 w 11760532"/>
              <a:gd name="connsiteY542" fmla="*/ 3975699 h 5509311"/>
              <a:gd name="connsiteX543" fmla="*/ 2403182 w 11760532"/>
              <a:gd name="connsiteY543" fmla="*/ 3972124 h 5509311"/>
              <a:gd name="connsiteX544" fmla="*/ 2413892 w 11760532"/>
              <a:gd name="connsiteY544" fmla="*/ 3963187 h 5509311"/>
              <a:gd name="connsiteX545" fmla="*/ 2419245 w 11760532"/>
              <a:gd name="connsiteY545" fmla="*/ 3952462 h 5509311"/>
              <a:gd name="connsiteX546" fmla="*/ 2397828 w 11760532"/>
              <a:gd name="connsiteY546" fmla="*/ 3936376 h 5509311"/>
              <a:gd name="connsiteX547" fmla="*/ 2384441 w 11760532"/>
              <a:gd name="connsiteY547" fmla="*/ 3929673 h 5509311"/>
              <a:gd name="connsiteX548" fmla="*/ 2383219 w 11760532"/>
              <a:gd name="connsiteY548" fmla="*/ 3922944 h 5509311"/>
              <a:gd name="connsiteX549" fmla="*/ 2383113 w 11760532"/>
              <a:gd name="connsiteY549" fmla="*/ 3922898 h 5509311"/>
              <a:gd name="connsiteX550" fmla="*/ 2269842 w 11760532"/>
              <a:gd name="connsiteY550" fmla="*/ 3904498 h 5509311"/>
              <a:gd name="connsiteX551" fmla="*/ 2152143 w 11760532"/>
              <a:gd name="connsiteY551" fmla="*/ 3911739 h 5509311"/>
              <a:gd name="connsiteX552" fmla="*/ 1951915 w 11760532"/>
              <a:gd name="connsiteY552" fmla="*/ 3902673 h 5509311"/>
              <a:gd name="connsiteX553" fmla="*/ 1870396 w 11760532"/>
              <a:gd name="connsiteY553" fmla="*/ 3879067 h 5509311"/>
              <a:gd name="connsiteX554" fmla="*/ 1850685 w 11760532"/>
              <a:gd name="connsiteY554" fmla="*/ 3879385 h 5509311"/>
              <a:gd name="connsiteX555" fmla="*/ 1804543 w 11760532"/>
              <a:gd name="connsiteY555" fmla="*/ 3884338 h 5509311"/>
              <a:gd name="connsiteX556" fmla="*/ 1736974 w 11760532"/>
              <a:gd name="connsiteY556" fmla="*/ 3873616 h 5509311"/>
              <a:gd name="connsiteX557" fmla="*/ 1632577 w 11760532"/>
              <a:gd name="connsiteY557" fmla="*/ 3854262 h 5509311"/>
              <a:gd name="connsiteX558" fmla="*/ 1571094 w 11760532"/>
              <a:gd name="connsiteY558" fmla="*/ 3850076 h 5509311"/>
              <a:gd name="connsiteX559" fmla="*/ 1483755 w 11760532"/>
              <a:gd name="connsiteY559" fmla="*/ 3855857 h 5509311"/>
              <a:gd name="connsiteX560" fmla="*/ 1434695 w 11760532"/>
              <a:gd name="connsiteY560" fmla="*/ 3850337 h 5509311"/>
              <a:gd name="connsiteX561" fmla="*/ 1421318 w 11760532"/>
              <a:gd name="connsiteY561" fmla="*/ 3842785 h 5509311"/>
              <a:gd name="connsiteX562" fmla="*/ 1419983 w 11760532"/>
              <a:gd name="connsiteY562" fmla="*/ 3830345 h 5509311"/>
              <a:gd name="connsiteX563" fmla="*/ 1402866 w 11760532"/>
              <a:gd name="connsiteY563" fmla="*/ 3821396 h 5509311"/>
              <a:gd name="connsiteX564" fmla="*/ 1350142 w 11760532"/>
              <a:gd name="connsiteY564" fmla="*/ 3848628 h 5509311"/>
              <a:gd name="connsiteX565" fmla="*/ 1330430 w 11760532"/>
              <a:gd name="connsiteY565" fmla="*/ 3848947 h 5509311"/>
              <a:gd name="connsiteX566" fmla="*/ 1330297 w 11760532"/>
              <a:gd name="connsiteY566" fmla="*/ 3830984 h 5509311"/>
              <a:gd name="connsiteX567" fmla="*/ 1317169 w 11760532"/>
              <a:gd name="connsiteY567" fmla="*/ 3809024 h 5509311"/>
              <a:gd name="connsiteX568" fmla="*/ 1300624 w 11760532"/>
              <a:gd name="connsiteY568" fmla="*/ 3805406 h 5509311"/>
              <a:gd name="connsiteX569" fmla="*/ 1291809 w 11760532"/>
              <a:gd name="connsiteY569" fmla="*/ 3790174 h 5509311"/>
              <a:gd name="connsiteX570" fmla="*/ 1292248 w 11760532"/>
              <a:gd name="connsiteY570" fmla="*/ 3777542 h 5509311"/>
              <a:gd name="connsiteX571" fmla="*/ 1277860 w 11760532"/>
              <a:gd name="connsiteY571" fmla="*/ 3777290 h 5509311"/>
              <a:gd name="connsiteX572" fmla="*/ 1233494 w 11760532"/>
              <a:gd name="connsiteY572" fmla="*/ 3782052 h 5509311"/>
              <a:gd name="connsiteX573" fmla="*/ 1104651 w 11760532"/>
              <a:gd name="connsiteY573" fmla="*/ 3819254 h 5509311"/>
              <a:gd name="connsiteX574" fmla="*/ 1086656 w 11760532"/>
              <a:gd name="connsiteY574" fmla="*/ 3835568 h 5509311"/>
              <a:gd name="connsiteX575" fmla="*/ 1089309 w 11760532"/>
              <a:gd name="connsiteY575" fmla="*/ 3810115 h 5509311"/>
              <a:gd name="connsiteX576" fmla="*/ 1066354 w 11760532"/>
              <a:gd name="connsiteY576" fmla="*/ 3780221 h 5509311"/>
              <a:gd name="connsiteX577" fmla="*/ 902629 w 11760532"/>
              <a:gd name="connsiteY577" fmla="*/ 3760045 h 5509311"/>
              <a:gd name="connsiteX578" fmla="*/ 843113 w 11760532"/>
              <a:gd name="connsiteY578" fmla="*/ 3757446 h 5509311"/>
              <a:gd name="connsiteX579" fmla="*/ 824279 w 11760532"/>
              <a:gd name="connsiteY579" fmla="*/ 3732503 h 5509311"/>
              <a:gd name="connsiteX580" fmla="*/ 791821 w 11760532"/>
              <a:gd name="connsiteY580" fmla="*/ 3714415 h 5509311"/>
              <a:gd name="connsiteX581" fmla="*/ 754362 w 11760532"/>
              <a:gd name="connsiteY581" fmla="*/ 3716638 h 5509311"/>
              <a:gd name="connsiteX582" fmla="*/ 731292 w 11760532"/>
              <a:gd name="connsiteY582" fmla="*/ 3719115 h 5509311"/>
              <a:gd name="connsiteX583" fmla="*/ 701696 w 11760532"/>
              <a:gd name="connsiteY583" fmla="*/ 3727686 h 5509311"/>
              <a:gd name="connsiteX584" fmla="*/ 677862 w 11760532"/>
              <a:gd name="connsiteY584" fmla="*/ 3723053 h 5509311"/>
              <a:gd name="connsiteX585" fmla="*/ 660364 w 11760532"/>
              <a:gd name="connsiteY585" fmla="*/ 3710550 h 5509311"/>
              <a:gd name="connsiteX586" fmla="*/ 632790 w 11760532"/>
              <a:gd name="connsiteY586" fmla="*/ 3704522 h 5509311"/>
              <a:gd name="connsiteX587" fmla="*/ 601171 w 11760532"/>
              <a:gd name="connsiteY587" fmla="*/ 3727691 h 5509311"/>
              <a:gd name="connsiteX588" fmla="*/ 599014 w 11760532"/>
              <a:gd name="connsiteY588" fmla="*/ 3724327 h 5509311"/>
              <a:gd name="connsiteX589" fmla="*/ 595638 w 11760532"/>
              <a:gd name="connsiteY589" fmla="*/ 3676151 h 5509311"/>
              <a:gd name="connsiteX590" fmla="*/ 589360 w 11760532"/>
              <a:gd name="connsiteY590" fmla="*/ 3667837 h 5509311"/>
              <a:gd name="connsiteX591" fmla="*/ 521409 w 11760532"/>
              <a:gd name="connsiteY591" fmla="*/ 3653560 h 5509311"/>
              <a:gd name="connsiteX592" fmla="*/ 491489 w 11760532"/>
              <a:gd name="connsiteY592" fmla="*/ 3642390 h 5509311"/>
              <a:gd name="connsiteX593" fmla="*/ 488627 w 11760532"/>
              <a:gd name="connsiteY593" fmla="*/ 3615731 h 5509311"/>
              <a:gd name="connsiteX594" fmla="*/ 533050 w 11760532"/>
              <a:gd name="connsiteY594" fmla="*/ 3594784 h 5509311"/>
              <a:gd name="connsiteX595" fmla="*/ 579706 w 11760532"/>
              <a:gd name="connsiteY595" fmla="*/ 3611347 h 5509311"/>
              <a:gd name="connsiteX596" fmla="*/ 622621 w 11760532"/>
              <a:gd name="connsiteY596" fmla="*/ 3626515 h 5509311"/>
              <a:gd name="connsiteX597" fmla="*/ 667559 w 11760532"/>
              <a:gd name="connsiteY597" fmla="*/ 3627084 h 5509311"/>
              <a:gd name="connsiteX598" fmla="*/ 710781 w 11760532"/>
              <a:gd name="connsiteY598" fmla="*/ 3611657 h 5509311"/>
              <a:gd name="connsiteX599" fmla="*/ 805924 w 11760532"/>
              <a:gd name="connsiteY599" fmla="*/ 3628408 h 5509311"/>
              <a:gd name="connsiteX600" fmla="*/ 881280 w 11760532"/>
              <a:gd name="connsiteY600" fmla="*/ 3611331 h 5509311"/>
              <a:gd name="connsiteX601" fmla="*/ 911830 w 11760532"/>
              <a:gd name="connsiteY601" fmla="*/ 3611646 h 5509311"/>
              <a:gd name="connsiteX602" fmla="*/ 1092289 w 11760532"/>
              <a:gd name="connsiteY602" fmla="*/ 3637216 h 5509311"/>
              <a:gd name="connsiteX603" fmla="*/ 1120874 w 11760532"/>
              <a:gd name="connsiteY603" fmla="*/ 3635944 h 5509311"/>
              <a:gd name="connsiteX604" fmla="*/ 1140968 w 11760532"/>
              <a:gd name="connsiteY604" fmla="*/ 3639181 h 5509311"/>
              <a:gd name="connsiteX605" fmla="*/ 1138678 w 11760532"/>
              <a:gd name="connsiteY605" fmla="*/ 3617854 h 5509311"/>
              <a:gd name="connsiteX606" fmla="*/ 1147799 w 11760532"/>
              <a:gd name="connsiteY606" fmla="*/ 3602493 h 5509311"/>
              <a:gd name="connsiteX607" fmla="*/ 1180315 w 11760532"/>
              <a:gd name="connsiteY607" fmla="*/ 3604396 h 5509311"/>
              <a:gd name="connsiteX608" fmla="*/ 1248897 w 11760532"/>
              <a:gd name="connsiteY608" fmla="*/ 3607820 h 5509311"/>
              <a:gd name="connsiteX609" fmla="*/ 1256758 w 11760532"/>
              <a:gd name="connsiteY609" fmla="*/ 3614166 h 5509311"/>
              <a:gd name="connsiteX610" fmla="*/ 1290800 w 11760532"/>
              <a:gd name="connsiteY610" fmla="*/ 3630287 h 5509311"/>
              <a:gd name="connsiteX611" fmla="*/ 1451414 w 11760532"/>
              <a:gd name="connsiteY611" fmla="*/ 3638211 h 5509311"/>
              <a:gd name="connsiteX612" fmla="*/ 1465611 w 11760532"/>
              <a:gd name="connsiteY612" fmla="*/ 3636688 h 5509311"/>
              <a:gd name="connsiteX613" fmla="*/ 1502631 w 11760532"/>
              <a:gd name="connsiteY613" fmla="*/ 3647095 h 5509311"/>
              <a:gd name="connsiteX614" fmla="*/ 1538696 w 11760532"/>
              <a:gd name="connsiteY614" fmla="*/ 3648616 h 5509311"/>
              <a:gd name="connsiteX615" fmla="*/ 1556309 w 11760532"/>
              <a:gd name="connsiteY615" fmla="*/ 3628749 h 5509311"/>
              <a:gd name="connsiteX616" fmla="*/ 1585218 w 11760532"/>
              <a:gd name="connsiteY616" fmla="*/ 3647218 h 5509311"/>
              <a:gd name="connsiteX617" fmla="*/ 1626226 w 11760532"/>
              <a:gd name="connsiteY617" fmla="*/ 3644613 h 5509311"/>
              <a:gd name="connsiteX618" fmla="*/ 1653958 w 11760532"/>
              <a:gd name="connsiteY618" fmla="*/ 3642451 h 5509311"/>
              <a:gd name="connsiteX619" fmla="*/ 1663302 w 11760532"/>
              <a:gd name="connsiteY619" fmla="*/ 3639280 h 5509311"/>
              <a:gd name="connsiteX620" fmla="*/ 1642423 w 11760532"/>
              <a:gd name="connsiteY620" fmla="*/ 3628380 h 5509311"/>
              <a:gd name="connsiteX621" fmla="*/ 1624993 w 11760532"/>
              <a:gd name="connsiteY621" fmla="*/ 3605702 h 5509311"/>
              <a:gd name="connsiteX622" fmla="*/ 1591081 w 11760532"/>
              <a:gd name="connsiteY622" fmla="*/ 3564590 h 5509311"/>
              <a:gd name="connsiteX623" fmla="*/ 1553599 w 11760532"/>
              <a:gd name="connsiteY623" fmla="*/ 3527054 h 5509311"/>
              <a:gd name="connsiteX624" fmla="*/ 1542890 w 11760532"/>
              <a:gd name="connsiteY624" fmla="*/ 3584253 h 5509311"/>
              <a:gd name="connsiteX625" fmla="*/ 1501839 w 11760532"/>
              <a:gd name="connsiteY625" fmla="*/ 3573527 h 5509311"/>
              <a:gd name="connsiteX626" fmla="*/ 1473282 w 11760532"/>
              <a:gd name="connsiteY626" fmla="*/ 3573527 h 5509311"/>
              <a:gd name="connsiteX627" fmla="*/ 1387610 w 11760532"/>
              <a:gd name="connsiteY627" fmla="*/ 3543141 h 5509311"/>
              <a:gd name="connsiteX628" fmla="*/ 1125238 w 11760532"/>
              <a:gd name="connsiteY628" fmla="*/ 3462707 h 5509311"/>
              <a:gd name="connsiteX629" fmla="*/ 1107390 w 11760532"/>
              <a:gd name="connsiteY629" fmla="*/ 3451983 h 5509311"/>
              <a:gd name="connsiteX630" fmla="*/ 1110960 w 11760532"/>
              <a:gd name="connsiteY630" fmla="*/ 3441705 h 5509311"/>
              <a:gd name="connsiteX631" fmla="*/ 1113146 w 11760532"/>
              <a:gd name="connsiteY631" fmla="*/ 3439843 h 5509311"/>
              <a:gd name="connsiteX632" fmla="*/ 1100269 w 11760532"/>
              <a:gd name="connsiteY632" fmla="*/ 3444006 h 5509311"/>
              <a:gd name="connsiteX633" fmla="*/ 1039988 w 11760532"/>
              <a:gd name="connsiteY633" fmla="*/ 3434297 h 5509311"/>
              <a:gd name="connsiteX634" fmla="*/ 1011461 w 11760532"/>
              <a:gd name="connsiteY634" fmla="*/ 3419384 h 5509311"/>
              <a:gd name="connsiteX635" fmla="*/ 903895 w 11760532"/>
              <a:gd name="connsiteY635" fmla="*/ 3403965 h 5509311"/>
              <a:gd name="connsiteX636" fmla="*/ 810088 w 11760532"/>
              <a:gd name="connsiteY636" fmla="*/ 3399655 h 5509311"/>
              <a:gd name="connsiteX637" fmla="*/ 784098 w 11760532"/>
              <a:gd name="connsiteY637" fmla="*/ 3391658 h 5509311"/>
              <a:gd name="connsiteX638" fmla="*/ 751830 w 11760532"/>
              <a:gd name="connsiteY638" fmla="*/ 3375348 h 5509311"/>
              <a:gd name="connsiteX639" fmla="*/ 672659 w 11760532"/>
              <a:gd name="connsiteY639" fmla="*/ 3356881 h 5509311"/>
              <a:gd name="connsiteX640" fmla="*/ 556029 w 11760532"/>
              <a:gd name="connsiteY640" fmla="*/ 3340639 h 5509311"/>
              <a:gd name="connsiteX641" fmla="*/ 533017 w 11760532"/>
              <a:gd name="connsiteY641" fmla="*/ 3326930 h 5509311"/>
              <a:gd name="connsiteX642" fmla="*/ 529715 w 11760532"/>
              <a:gd name="connsiteY642" fmla="*/ 3312903 h 5509311"/>
              <a:gd name="connsiteX643" fmla="*/ 426883 w 11760532"/>
              <a:gd name="connsiteY643" fmla="*/ 3241248 h 5509311"/>
              <a:gd name="connsiteX644" fmla="*/ 420033 w 11760532"/>
              <a:gd name="connsiteY644" fmla="*/ 3227602 h 5509311"/>
              <a:gd name="connsiteX645" fmla="*/ 427761 w 11760532"/>
              <a:gd name="connsiteY645" fmla="*/ 3215986 h 5509311"/>
              <a:gd name="connsiteX646" fmla="*/ 432379 w 11760532"/>
              <a:gd name="connsiteY646" fmla="*/ 3192120 h 5509311"/>
              <a:gd name="connsiteX647" fmla="*/ 409118 w 11760532"/>
              <a:gd name="connsiteY647" fmla="*/ 3192820 h 5509311"/>
              <a:gd name="connsiteX648" fmla="*/ 357654 w 11760532"/>
              <a:gd name="connsiteY648" fmla="*/ 3198345 h 5509311"/>
              <a:gd name="connsiteX649" fmla="*/ 319375 w 11760532"/>
              <a:gd name="connsiteY649" fmla="*/ 3209645 h 5509311"/>
              <a:gd name="connsiteX650" fmla="*/ 307906 w 11760532"/>
              <a:gd name="connsiteY650" fmla="*/ 3219865 h 5509311"/>
              <a:gd name="connsiteX651" fmla="*/ 290160 w 11760532"/>
              <a:gd name="connsiteY651" fmla="*/ 3221770 h 5509311"/>
              <a:gd name="connsiteX652" fmla="*/ 288252 w 11760532"/>
              <a:gd name="connsiteY652" fmla="*/ 3203997 h 5509311"/>
              <a:gd name="connsiteX653" fmla="*/ 300350 w 11760532"/>
              <a:gd name="connsiteY653" fmla="*/ 3182924 h 5509311"/>
              <a:gd name="connsiteX654" fmla="*/ 304720 w 11760532"/>
              <a:gd name="connsiteY654" fmla="*/ 3173466 h 5509311"/>
              <a:gd name="connsiteX655" fmla="*/ 293882 w 11760532"/>
              <a:gd name="connsiteY655" fmla="*/ 3172832 h 5509311"/>
              <a:gd name="connsiteX656" fmla="*/ 281841 w 11760532"/>
              <a:gd name="connsiteY656" fmla="*/ 3177720 h 5509311"/>
              <a:gd name="connsiteX657" fmla="*/ 271193 w 11760532"/>
              <a:gd name="connsiteY657" fmla="*/ 3178863 h 5509311"/>
              <a:gd name="connsiteX658" fmla="*/ 199120 w 11760532"/>
              <a:gd name="connsiteY658" fmla="*/ 3159635 h 5509311"/>
              <a:gd name="connsiteX659" fmla="*/ 161853 w 11760532"/>
              <a:gd name="connsiteY659" fmla="*/ 3163635 h 5509311"/>
              <a:gd name="connsiteX660" fmla="*/ 139603 w 11760532"/>
              <a:gd name="connsiteY660" fmla="*/ 3157036 h 5509311"/>
              <a:gd name="connsiteX661" fmla="*/ 150118 w 11760532"/>
              <a:gd name="connsiteY661" fmla="*/ 3137930 h 5509311"/>
              <a:gd name="connsiteX662" fmla="*/ 159812 w 11760532"/>
              <a:gd name="connsiteY662" fmla="*/ 3127901 h 5509311"/>
              <a:gd name="connsiteX663" fmla="*/ 167159 w 11760532"/>
              <a:gd name="connsiteY663" fmla="*/ 3112731 h 5509311"/>
              <a:gd name="connsiteX664" fmla="*/ 148840 w 11760532"/>
              <a:gd name="connsiteY664" fmla="*/ 3109304 h 5509311"/>
              <a:gd name="connsiteX665" fmla="*/ 103329 w 11760532"/>
              <a:gd name="connsiteY665" fmla="*/ 3103403 h 5509311"/>
              <a:gd name="connsiteX666" fmla="*/ 36980 w 11760532"/>
              <a:gd name="connsiteY666" fmla="*/ 3137492 h 5509311"/>
              <a:gd name="connsiteX667" fmla="*/ 10684 w 11760532"/>
              <a:gd name="connsiteY667" fmla="*/ 3160090 h 5509311"/>
              <a:gd name="connsiteX668" fmla="*/ 0 w 11760532"/>
              <a:gd name="connsiteY668" fmla="*/ 3060566 h 5509311"/>
              <a:gd name="connsiteX669" fmla="*/ 20209 w 11760532"/>
              <a:gd name="connsiteY669" fmla="*/ 3031431 h 5509311"/>
              <a:gd name="connsiteX670" fmla="*/ 13359 w 11760532"/>
              <a:gd name="connsiteY670" fmla="*/ 3017784 h 5509311"/>
              <a:gd name="connsiteX671" fmla="*/ 30914 w 11760532"/>
              <a:gd name="connsiteY671" fmla="*/ 3014102 h 5509311"/>
              <a:gd name="connsiteX672" fmla="*/ 43719 w 11760532"/>
              <a:gd name="connsiteY672" fmla="*/ 3016323 h 5509311"/>
              <a:gd name="connsiteX673" fmla="*/ 60320 w 11760532"/>
              <a:gd name="connsiteY673" fmla="*/ 3003755 h 5509311"/>
              <a:gd name="connsiteX674" fmla="*/ 74956 w 11760532"/>
              <a:gd name="connsiteY674" fmla="*/ 2989600 h 5509311"/>
              <a:gd name="connsiteX675" fmla="*/ 112987 w 11760532"/>
              <a:gd name="connsiteY675" fmla="*/ 2992707 h 5509311"/>
              <a:gd name="connsiteX676" fmla="*/ 148670 w 11760532"/>
              <a:gd name="connsiteY676" fmla="*/ 2990674 h 5509311"/>
              <a:gd name="connsiteX677" fmla="*/ 160196 w 11760532"/>
              <a:gd name="connsiteY677" fmla="*/ 2964270 h 5509311"/>
              <a:gd name="connsiteX678" fmla="*/ 166150 w 11760532"/>
              <a:gd name="connsiteY678" fmla="*/ 2952844 h 5509311"/>
              <a:gd name="connsiteX679" fmla="*/ 207043 w 11760532"/>
              <a:gd name="connsiteY679" fmla="*/ 2982610 h 5509311"/>
              <a:gd name="connsiteX680" fmla="*/ 218014 w 11760532"/>
              <a:gd name="connsiteY680" fmla="*/ 3001207 h 5509311"/>
              <a:gd name="connsiteX681" fmla="*/ 257629 w 11760532"/>
              <a:gd name="connsiteY681" fmla="*/ 3002347 h 5509311"/>
              <a:gd name="connsiteX682" fmla="*/ 260034 w 11760532"/>
              <a:gd name="connsiteY682" fmla="*/ 2991303 h 5509311"/>
              <a:gd name="connsiteX683" fmla="*/ 261866 w 11760532"/>
              <a:gd name="connsiteY683" fmla="*/ 2974927 h 5509311"/>
              <a:gd name="connsiteX684" fmla="*/ 278849 w 11760532"/>
              <a:gd name="connsiteY684" fmla="*/ 2965914 h 5509311"/>
              <a:gd name="connsiteX685" fmla="*/ 332412 w 11760532"/>
              <a:gd name="connsiteY685" fmla="*/ 2979938 h 5509311"/>
              <a:gd name="connsiteX686" fmla="*/ 363917 w 11760532"/>
              <a:gd name="connsiteY686" fmla="*/ 2989140 h 5509311"/>
              <a:gd name="connsiteX687" fmla="*/ 448145 w 11760532"/>
              <a:gd name="connsiteY687" fmla="*/ 2971109 h 5509311"/>
              <a:gd name="connsiteX688" fmla="*/ 472609 w 11760532"/>
              <a:gd name="connsiteY688" fmla="*/ 2964887 h 5509311"/>
              <a:gd name="connsiteX689" fmla="*/ 552161 w 11760532"/>
              <a:gd name="connsiteY689" fmla="*/ 2986908 h 5509311"/>
              <a:gd name="connsiteX690" fmla="*/ 596719 w 11760532"/>
              <a:gd name="connsiteY690" fmla="*/ 2983922 h 5509311"/>
              <a:gd name="connsiteX691" fmla="*/ 654003 w 11760532"/>
              <a:gd name="connsiteY691" fmla="*/ 2949009 h 5509311"/>
              <a:gd name="connsiteX692" fmla="*/ 660987 w 11760532"/>
              <a:gd name="connsiteY692" fmla="*/ 2980618 h 5509311"/>
              <a:gd name="connsiteX693" fmla="*/ 693255 w 11760532"/>
              <a:gd name="connsiteY693" fmla="*/ 2996929 h 5509311"/>
              <a:gd name="connsiteX694" fmla="*/ 698064 w 11760532"/>
              <a:gd name="connsiteY694" fmla="*/ 2974840 h 5509311"/>
              <a:gd name="connsiteX695" fmla="*/ 716249 w 11760532"/>
              <a:gd name="connsiteY695" fmla="*/ 2960304 h 5509311"/>
              <a:gd name="connsiteX696" fmla="*/ 759413 w 11760532"/>
              <a:gd name="connsiteY696" fmla="*/ 2961063 h 5509311"/>
              <a:gd name="connsiteX697" fmla="*/ 817155 w 11760532"/>
              <a:gd name="connsiteY697" fmla="*/ 2963853 h 5509311"/>
              <a:gd name="connsiteX698" fmla="*/ 847134 w 11760532"/>
              <a:gd name="connsiteY698" fmla="*/ 2958837 h 5509311"/>
              <a:gd name="connsiteX699" fmla="*/ 859804 w 11760532"/>
              <a:gd name="connsiteY699" fmla="*/ 2943095 h 5509311"/>
              <a:gd name="connsiteX700" fmla="*/ 882932 w 11760532"/>
              <a:gd name="connsiteY700" fmla="*/ 2924432 h 5509311"/>
              <a:gd name="connsiteX701" fmla="*/ 894476 w 11760532"/>
              <a:gd name="connsiteY701" fmla="*/ 2948362 h 5509311"/>
              <a:gd name="connsiteX702" fmla="*/ 907662 w 11760532"/>
              <a:gd name="connsiteY702" fmla="*/ 2954136 h 5509311"/>
              <a:gd name="connsiteX703" fmla="*/ 915772 w 11760532"/>
              <a:gd name="connsiteY703" fmla="*/ 2946075 h 5509311"/>
              <a:gd name="connsiteX704" fmla="*/ 917841 w 11760532"/>
              <a:gd name="connsiteY704" fmla="*/ 2925629 h 5509311"/>
              <a:gd name="connsiteX705" fmla="*/ 932848 w 11760532"/>
              <a:gd name="connsiteY705" fmla="*/ 2918441 h 5509311"/>
              <a:gd name="connsiteX706" fmla="*/ 921767 w 11760532"/>
              <a:gd name="connsiteY706" fmla="*/ 2908605 h 5509311"/>
              <a:gd name="connsiteX707" fmla="*/ 915297 w 11760532"/>
              <a:gd name="connsiteY707" fmla="*/ 2896763 h 5509311"/>
              <a:gd name="connsiteX708" fmla="*/ 917496 w 11760532"/>
              <a:gd name="connsiteY708" fmla="*/ 2886768 h 5509311"/>
              <a:gd name="connsiteX709" fmla="*/ 853305 w 11760532"/>
              <a:gd name="connsiteY709" fmla="*/ 2872110 h 5509311"/>
              <a:gd name="connsiteX710" fmla="*/ 776303 w 11760532"/>
              <a:gd name="connsiteY710" fmla="*/ 2867567 h 5509311"/>
              <a:gd name="connsiteX711" fmla="*/ 660112 w 11760532"/>
              <a:gd name="connsiteY711" fmla="*/ 2838694 h 5509311"/>
              <a:gd name="connsiteX712" fmla="*/ 607484 w 11760532"/>
              <a:gd name="connsiteY712" fmla="*/ 2783222 h 5509311"/>
              <a:gd name="connsiteX713" fmla="*/ 569014 w 11760532"/>
              <a:gd name="connsiteY713" fmla="*/ 2792745 h 5509311"/>
              <a:gd name="connsiteX714" fmla="*/ 559436 w 11760532"/>
              <a:gd name="connsiteY714" fmla="*/ 2770403 h 5509311"/>
              <a:gd name="connsiteX715" fmla="*/ 533885 w 11760532"/>
              <a:gd name="connsiteY715" fmla="*/ 2749776 h 5509311"/>
              <a:gd name="connsiteX716" fmla="*/ 512342 w 11760532"/>
              <a:gd name="connsiteY716" fmla="*/ 2766470 h 5509311"/>
              <a:gd name="connsiteX717" fmla="*/ 501388 w 11760532"/>
              <a:gd name="connsiteY717" fmla="*/ 2798207 h 5509311"/>
              <a:gd name="connsiteX718" fmla="*/ 478623 w 11760532"/>
              <a:gd name="connsiteY718" fmla="*/ 2770090 h 5509311"/>
              <a:gd name="connsiteX719" fmla="*/ 451489 w 11760532"/>
              <a:gd name="connsiteY719" fmla="*/ 2751431 h 5509311"/>
              <a:gd name="connsiteX720" fmla="*/ 463321 w 11760532"/>
              <a:gd name="connsiteY720" fmla="*/ 2694432 h 5509311"/>
              <a:gd name="connsiteX721" fmla="*/ 488986 w 11760532"/>
              <a:gd name="connsiteY721" fmla="*/ 2682688 h 5509311"/>
              <a:gd name="connsiteX722" fmla="*/ 501542 w 11760532"/>
              <a:gd name="connsiteY722" fmla="*/ 2699317 h 5509311"/>
              <a:gd name="connsiteX723" fmla="*/ 513334 w 11760532"/>
              <a:gd name="connsiteY723" fmla="*/ 2708837 h 5509311"/>
              <a:gd name="connsiteX724" fmla="*/ 561765 w 11760532"/>
              <a:gd name="connsiteY724" fmla="*/ 2725211 h 5509311"/>
              <a:gd name="connsiteX725" fmla="*/ 600998 w 11760532"/>
              <a:gd name="connsiteY725" fmla="*/ 2722797 h 5509311"/>
              <a:gd name="connsiteX726" fmla="*/ 612218 w 11760532"/>
              <a:gd name="connsiteY726" fmla="*/ 2726985 h 5509311"/>
              <a:gd name="connsiteX727" fmla="*/ 624201 w 11760532"/>
              <a:gd name="connsiteY727" fmla="*/ 2738283 h 5509311"/>
              <a:gd name="connsiteX728" fmla="*/ 716483 w 11760532"/>
              <a:gd name="connsiteY728" fmla="*/ 2728376 h 5509311"/>
              <a:gd name="connsiteX729" fmla="*/ 764016 w 11760532"/>
              <a:gd name="connsiteY729" fmla="*/ 2719678 h 5509311"/>
              <a:gd name="connsiteX730" fmla="*/ 803573 w 11760532"/>
              <a:gd name="connsiteY730" fmla="*/ 2737003 h 5509311"/>
              <a:gd name="connsiteX731" fmla="*/ 822083 w 11760532"/>
              <a:gd name="connsiteY731" fmla="*/ 2742207 h 5509311"/>
              <a:gd name="connsiteX732" fmla="*/ 826892 w 11760532"/>
              <a:gd name="connsiteY732" fmla="*/ 2720119 h 5509311"/>
              <a:gd name="connsiteX733" fmla="*/ 821244 w 11760532"/>
              <a:gd name="connsiteY733" fmla="*/ 2700950 h 5509311"/>
              <a:gd name="connsiteX734" fmla="*/ 791190 w 11760532"/>
              <a:gd name="connsiteY734" fmla="*/ 2671818 h 5509311"/>
              <a:gd name="connsiteX735" fmla="*/ 697822 w 11760532"/>
              <a:gd name="connsiteY735" fmla="*/ 2654876 h 5509311"/>
              <a:gd name="connsiteX736" fmla="*/ 687288 w 11760532"/>
              <a:gd name="connsiteY736" fmla="*/ 2623648 h 5509311"/>
              <a:gd name="connsiteX737" fmla="*/ 688682 w 11760532"/>
              <a:gd name="connsiteY737" fmla="*/ 2619903 h 5509311"/>
              <a:gd name="connsiteX738" fmla="*/ 713069 w 11760532"/>
              <a:gd name="connsiteY738" fmla="*/ 2579533 h 5509311"/>
              <a:gd name="connsiteX739" fmla="*/ 727648 w 11760532"/>
              <a:gd name="connsiteY739" fmla="*/ 2581563 h 5509311"/>
              <a:gd name="connsiteX740" fmla="*/ 710798 w 11760532"/>
              <a:gd name="connsiteY740" fmla="*/ 2608541 h 5509311"/>
              <a:gd name="connsiteX741" fmla="*/ 730261 w 11760532"/>
              <a:gd name="connsiteY741" fmla="*/ 2622630 h 5509311"/>
              <a:gd name="connsiteX742" fmla="*/ 737799 w 11760532"/>
              <a:gd name="connsiteY742" fmla="*/ 2609237 h 5509311"/>
              <a:gd name="connsiteX743" fmla="*/ 775373 w 11760532"/>
              <a:gd name="connsiteY743" fmla="*/ 2574642 h 5509311"/>
              <a:gd name="connsiteX744" fmla="*/ 851682 w 11760532"/>
              <a:gd name="connsiteY744" fmla="*/ 2566450 h 5509311"/>
              <a:gd name="connsiteX745" fmla="*/ 890991 w 11760532"/>
              <a:gd name="connsiteY745" fmla="*/ 2598184 h 5509311"/>
              <a:gd name="connsiteX746" fmla="*/ 891563 w 11760532"/>
              <a:gd name="connsiteY746" fmla="*/ 2603516 h 5509311"/>
              <a:gd name="connsiteX747" fmla="*/ 895055 w 11760532"/>
              <a:gd name="connsiteY747" fmla="*/ 2619321 h 5509311"/>
              <a:gd name="connsiteX748" fmla="*/ 917553 w 11760532"/>
              <a:gd name="connsiteY748" fmla="*/ 2611512 h 5509311"/>
              <a:gd name="connsiteX749" fmla="*/ 924328 w 11760532"/>
              <a:gd name="connsiteY749" fmla="*/ 2591010 h 5509311"/>
              <a:gd name="connsiteX750" fmla="*/ 948600 w 11760532"/>
              <a:gd name="connsiteY750" fmla="*/ 2583011 h 5509311"/>
              <a:gd name="connsiteX751" fmla="*/ 952664 w 11760532"/>
              <a:gd name="connsiteY751" fmla="*/ 2604147 h 5509311"/>
              <a:gd name="connsiteX752" fmla="*/ 948295 w 11760532"/>
              <a:gd name="connsiteY752" fmla="*/ 2613605 h 5509311"/>
              <a:gd name="connsiteX753" fmla="*/ 949629 w 11760532"/>
              <a:gd name="connsiteY753" fmla="*/ 2626046 h 5509311"/>
              <a:gd name="connsiteX754" fmla="*/ 959895 w 11760532"/>
              <a:gd name="connsiteY754" fmla="*/ 2621348 h 5509311"/>
              <a:gd name="connsiteX755" fmla="*/ 973578 w 11760532"/>
              <a:gd name="connsiteY755" fmla="*/ 2598307 h 5509311"/>
              <a:gd name="connsiteX756" fmla="*/ 1018193 w 11760532"/>
              <a:gd name="connsiteY756" fmla="*/ 2579135 h 5509311"/>
              <a:gd name="connsiteX757" fmla="*/ 1052044 w 11760532"/>
              <a:gd name="connsiteY757" fmla="*/ 2593478 h 5509311"/>
              <a:gd name="connsiteX758" fmla="*/ 1074732 w 11760532"/>
              <a:gd name="connsiteY758" fmla="*/ 2587447 h 5509311"/>
              <a:gd name="connsiteX759" fmla="*/ 1104387 w 11760532"/>
              <a:gd name="connsiteY759" fmla="*/ 2562692 h 5509311"/>
              <a:gd name="connsiteX760" fmla="*/ 1131579 w 11760532"/>
              <a:gd name="connsiteY760" fmla="*/ 2565166 h 5509311"/>
              <a:gd name="connsiteX761" fmla="*/ 1284464 w 11760532"/>
              <a:gd name="connsiteY761" fmla="*/ 2584707 h 5509311"/>
              <a:gd name="connsiteX762" fmla="*/ 1308107 w 11760532"/>
              <a:gd name="connsiteY762" fmla="*/ 2587561 h 5509311"/>
              <a:gd name="connsiteX763" fmla="*/ 1366422 w 11760532"/>
              <a:gd name="connsiteY763" fmla="*/ 2595683 h 5509311"/>
              <a:gd name="connsiteX764" fmla="*/ 1446586 w 11760532"/>
              <a:gd name="connsiteY764" fmla="*/ 2556516 h 5509311"/>
              <a:gd name="connsiteX765" fmla="*/ 1484293 w 11760532"/>
              <a:gd name="connsiteY765" fmla="*/ 2539884 h 5509311"/>
              <a:gd name="connsiteX766" fmla="*/ 1626340 w 11760532"/>
              <a:gd name="connsiteY766" fmla="*/ 2558792 h 5509311"/>
              <a:gd name="connsiteX767" fmla="*/ 1650803 w 11760532"/>
              <a:gd name="connsiteY767" fmla="*/ 2552570 h 5509311"/>
              <a:gd name="connsiteX768" fmla="*/ 1660497 w 11760532"/>
              <a:gd name="connsiteY768" fmla="*/ 2542541 h 5509311"/>
              <a:gd name="connsiteX769" fmla="*/ 1664676 w 11760532"/>
              <a:gd name="connsiteY769" fmla="*/ 2531306 h 5509311"/>
              <a:gd name="connsiteX770" fmla="*/ 1641663 w 11760532"/>
              <a:gd name="connsiteY770" fmla="*/ 2517597 h 5509311"/>
              <a:gd name="connsiteX771" fmla="*/ 1623403 w 11760532"/>
              <a:gd name="connsiteY771" fmla="*/ 2497985 h 5509311"/>
              <a:gd name="connsiteX772" fmla="*/ 1642542 w 11760532"/>
              <a:gd name="connsiteY772" fmla="*/ 2492335 h 5509311"/>
              <a:gd name="connsiteX773" fmla="*/ 1676335 w 11760532"/>
              <a:gd name="connsiteY773" fmla="*/ 2522863 h 5509311"/>
              <a:gd name="connsiteX774" fmla="*/ 1797850 w 11760532"/>
              <a:gd name="connsiteY774" fmla="*/ 2551166 h 5509311"/>
              <a:gd name="connsiteX775" fmla="*/ 1834354 w 11760532"/>
              <a:gd name="connsiteY775" fmla="*/ 2540055 h 5509311"/>
              <a:gd name="connsiteX776" fmla="*/ 1847922 w 11760532"/>
              <a:gd name="connsiteY776" fmla="*/ 2549386 h 5509311"/>
              <a:gd name="connsiteX777" fmla="*/ 1872709 w 11760532"/>
              <a:gd name="connsiteY777" fmla="*/ 2562903 h 5509311"/>
              <a:gd name="connsiteX778" fmla="*/ 1960487 w 11760532"/>
              <a:gd name="connsiteY778" fmla="*/ 2544492 h 5509311"/>
              <a:gd name="connsiteX779" fmla="*/ 2085266 w 11760532"/>
              <a:gd name="connsiteY779" fmla="*/ 2486154 h 5509311"/>
              <a:gd name="connsiteX780" fmla="*/ 2087423 w 11760532"/>
              <a:gd name="connsiteY780" fmla="*/ 2489518 h 5509311"/>
              <a:gd name="connsiteX781" fmla="*/ 2082232 w 11760532"/>
              <a:gd name="connsiteY781" fmla="*/ 2508052 h 5509311"/>
              <a:gd name="connsiteX782" fmla="*/ 2101066 w 11760532"/>
              <a:gd name="connsiteY782" fmla="*/ 2532995 h 5509311"/>
              <a:gd name="connsiteX783" fmla="*/ 2125587 w 11760532"/>
              <a:gd name="connsiteY783" fmla="*/ 2510589 h 5509311"/>
              <a:gd name="connsiteX784" fmla="*/ 2130967 w 11760532"/>
              <a:gd name="connsiteY784" fmla="*/ 2493831 h 5509311"/>
              <a:gd name="connsiteX785" fmla="*/ 2153350 w 11760532"/>
              <a:gd name="connsiteY785" fmla="*/ 2518394 h 5509311"/>
              <a:gd name="connsiteX786" fmla="*/ 2162357 w 11760532"/>
              <a:gd name="connsiteY786" fmla="*/ 2535404 h 5509311"/>
              <a:gd name="connsiteX787" fmla="*/ 2233418 w 11760532"/>
              <a:gd name="connsiteY787" fmla="*/ 2561932 h 5509311"/>
              <a:gd name="connsiteX788" fmla="*/ 2290207 w 11760532"/>
              <a:gd name="connsiteY788" fmla="*/ 2555835 h 5509311"/>
              <a:gd name="connsiteX789" fmla="*/ 2310739 w 11760532"/>
              <a:gd name="connsiteY789" fmla="*/ 2546440 h 5509311"/>
              <a:gd name="connsiteX790" fmla="*/ 2353903 w 11760532"/>
              <a:gd name="connsiteY790" fmla="*/ 2547200 h 5509311"/>
              <a:gd name="connsiteX791" fmla="*/ 2378882 w 11760532"/>
              <a:gd name="connsiteY791" fmla="*/ 2562495 h 5509311"/>
              <a:gd name="connsiteX792" fmla="*/ 2399548 w 11760532"/>
              <a:gd name="connsiteY792" fmla="*/ 2571063 h 5509311"/>
              <a:gd name="connsiteX793" fmla="*/ 2427370 w 11760532"/>
              <a:gd name="connsiteY793" fmla="*/ 2562683 h 5509311"/>
              <a:gd name="connsiteX794" fmla="*/ 2460439 w 11760532"/>
              <a:gd name="connsiteY794" fmla="*/ 2519584 h 5509311"/>
              <a:gd name="connsiteX795" fmla="*/ 2461699 w 11760532"/>
              <a:gd name="connsiteY795" fmla="*/ 2497876 h 5509311"/>
              <a:gd name="connsiteX796" fmla="*/ 2554323 w 11760532"/>
              <a:gd name="connsiteY796" fmla="*/ 2558043 h 5509311"/>
              <a:gd name="connsiteX797" fmla="*/ 2583537 w 11760532"/>
              <a:gd name="connsiteY797" fmla="*/ 2545917 h 5509311"/>
              <a:gd name="connsiteX798" fmla="*/ 2589549 w 11760532"/>
              <a:gd name="connsiteY798" fmla="*/ 2518308 h 5509311"/>
              <a:gd name="connsiteX799" fmla="*/ 2569646 w 11760532"/>
              <a:gd name="connsiteY799" fmla="*/ 2516848 h 5509311"/>
              <a:gd name="connsiteX800" fmla="*/ 2552911 w 11760532"/>
              <a:gd name="connsiteY800" fmla="*/ 2511454 h 5509311"/>
              <a:gd name="connsiteX801" fmla="*/ 2559686 w 11760532"/>
              <a:gd name="connsiteY801" fmla="*/ 2490952 h 5509311"/>
              <a:gd name="connsiteX802" fmla="*/ 2582184 w 11760532"/>
              <a:gd name="connsiteY802" fmla="*/ 2483144 h 5509311"/>
              <a:gd name="connsiteX803" fmla="*/ 2604491 w 11760532"/>
              <a:gd name="connsiteY803" fmla="*/ 2473558 h 5509311"/>
              <a:gd name="connsiteX804" fmla="*/ 2567090 w 11760532"/>
              <a:gd name="connsiteY804" fmla="*/ 2459596 h 5509311"/>
              <a:gd name="connsiteX805" fmla="*/ 2459334 w 11760532"/>
              <a:gd name="connsiteY805" fmla="*/ 2442401 h 5509311"/>
              <a:gd name="connsiteX806" fmla="*/ 2390695 w 11760532"/>
              <a:gd name="connsiteY806" fmla="*/ 2455163 h 5509311"/>
              <a:gd name="connsiteX807" fmla="*/ 2369018 w 11760532"/>
              <a:gd name="connsiteY807" fmla="*/ 2453895 h 5509311"/>
              <a:gd name="connsiteX808" fmla="*/ 2321218 w 11760532"/>
              <a:gd name="connsiteY808" fmla="*/ 2426667 h 5509311"/>
              <a:gd name="connsiteX809" fmla="*/ 2294789 w 11760532"/>
              <a:gd name="connsiteY809" fmla="*/ 2431303 h 5509311"/>
              <a:gd name="connsiteX810" fmla="*/ 2238954 w 11760532"/>
              <a:gd name="connsiteY810" fmla="*/ 2446285 h 5509311"/>
              <a:gd name="connsiteX811" fmla="*/ 2185773 w 11760532"/>
              <a:gd name="connsiteY811" fmla="*/ 2435815 h 5509311"/>
              <a:gd name="connsiteX812" fmla="*/ 2165622 w 11760532"/>
              <a:gd name="connsiteY812" fmla="*/ 2448764 h 5509311"/>
              <a:gd name="connsiteX813" fmla="*/ 2152951 w 11760532"/>
              <a:gd name="connsiteY813" fmla="*/ 2464506 h 5509311"/>
              <a:gd name="connsiteX814" fmla="*/ 2130759 w 11760532"/>
              <a:gd name="connsiteY814" fmla="*/ 2441721 h 5509311"/>
              <a:gd name="connsiteX815" fmla="*/ 2104445 w 11760532"/>
              <a:gd name="connsiteY815" fmla="*/ 2413985 h 5509311"/>
              <a:gd name="connsiteX816" fmla="*/ 2058686 w 11760532"/>
              <a:gd name="connsiteY816" fmla="*/ 2422493 h 5509311"/>
              <a:gd name="connsiteX817" fmla="*/ 1992452 w 11760532"/>
              <a:gd name="connsiteY817" fmla="*/ 2424210 h 5509311"/>
              <a:gd name="connsiteX818" fmla="*/ 1971843 w 11760532"/>
              <a:gd name="connsiteY818" fmla="*/ 2399457 h 5509311"/>
              <a:gd name="connsiteX819" fmla="*/ 1951617 w 11760532"/>
              <a:gd name="connsiteY819" fmla="*/ 2378258 h 5509311"/>
              <a:gd name="connsiteX820" fmla="*/ 1825351 w 11760532"/>
              <a:gd name="connsiteY820" fmla="*/ 2355859 h 5509311"/>
              <a:gd name="connsiteX821" fmla="*/ 1759632 w 11760532"/>
              <a:gd name="connsiteY821" fmla="*/ 2379094 h 5509311"/>
              <a:gd name="connsiteX822" fmla="*/ 1756082 w 11760532"/>
              <a:gd name="connsiteY822" fmla="*/ 2379475 h 5509311"/>
              <a:gd name="connsiteX823" fmla="*/ 1744920 w 11760532"/>
              <a:gd name="connsiteY823" fmla="*/ 2359101 h 5509311"/>
              <a:gd name="connsiteX824" fmla="*/ 1725723 w 11760532"/>
              <a:gd name="connsiteY824" fmla="*/ 2380937 h 5509311"/>
              <a:gd name="connsiteX825" fmla="*/ 1721162 w 11760532"/>
              <a:gd name="connsiteY825" fmla="*/ 2388617 h 5509311"/>
              <a:gd name="connsiteX826" fmla="*/ 1709197 w 11760532"/>
              <a:gd name="connsiteY826" fmla="*/ 2427653 h 5509311"/>
              <a:gd name="connsiteX827" fmla="*/ 1690439 w 11760532"/>
              <a:gd name="connsiteY827" fmla="*/ 2436857 h 5509311"/>
              <a:gd name="connsiteX828" fmla="*/ 1679849 w 11760532"/>
              <a:gd name="connsiteY828" fmla="*/ 2421815 h 5509311"/>
              <a:gd name="connsiteX829" fmla="*/ 1672789 w 11760532"/>
              <a:gd name="connsiteY829" fmla="*/ 2356058 h 5509311"/>
              <a:gd name="connsiteX830" fmla="*/ 1654280 w 11760532"/>
              <a:gd name="connsiteY830" fmla="*/ 2350855 h 5509311"/>
              <a:gd name="connsiteX831" fmla="*/ 1597815 w 11760532"/>
              <a:gd name="connsiteY831" fmla="*/ 2376691 h 5509311"/>
              <a:gd name="connsiteX832" fmla="*/ 1583236 w 11760532"/>
              <a:gd name="connsiteY832" fmla="*/ 2374661 h 5509311"/>
              <a:gd name="connsiteX833" fmla="*/ 1530494 w 11760532"/>
              <a:gd name="connsiteY833" fmla="*/ 2351559 h 5509311"/>
              <a:gd name="connsiteX834" fmla="*/ 1483457 w 11760532"/>
              <a:gd name="connsiteY834" fmla="*/ 2331441 h 5509311"/>
              <a:gd name="connsiteX835" fmla="*/ 1466722 w 11760532"/>
              <a:gd name="connsiteY835" fmla="*/ 2326047 h 5509311"/>
              <a:gd name="connsiteX836" fmla="*/ 1376845 w 11760532"/>
              <a:gd name="connsiteY836" fmla="*/ 2324909 h 5509311"/>
              <a:gd name="connsiteX837" fmla="*/ 1348260 w 11760532"/>
              <a:gd name="connsiteY837" fmla="*/ 2326181 h 5509311"/>
              <a:gd name="connsiteX838" fmla="*/ 1278477 w 11760532"/>
              <a:gd name="connsiteY838" fmla="*/ 2328278 h 5509311"/>
              <a:gd name="connsiteX839" fmla="*/ 1260349 w 11760532"/>
              <a:gd name="connsiteY839" fmla="*/ 2326630 h 5509311"/>
              <a:gd name="connsiteX840" fmla="*/ 1159118 w 11760532"/>
              <a:gd name="connsiteY840" fmla="*/ 2303341 h 5509311"/>
              <a:gd name="connsiteX841" fmla="*/ 1112348 w 11760532"/>
              <a:gd name="connsiteY841" fmla="*/ 2319148 h 5509311"/>
              <a:gd name="connsiteX842" fmla="*/ 1038252 w 11760532"/>
              <a:gd name="connsiteY842" fmla="*/ 2314519 h 5509311"/>
              <a:gd name="connsiteX843" fmla="*/ 970607 w 11760532"/>
              <a:gd name="connsiteY843" fmla="*/ 2269647 h 5509311"/>
              <a:gd name="connsiteX844" fmla="*/ 967879 w 11760532"/>
              <a:gd name="connsiteY844" fmla="*/ 2260952 h 5509311"/>
              <a:gd name="connsiteX845" fmla="*/ 947785 w 11760532"/>
              <a:gd name="connsiteY845" fmla="*/ 2257716 h 5509311"/>
              <a:gd name="connsiteX846" fmla="*/ 927004 w 11760532"/>
              <a:gd name="connsiteY846" fmla="*/ 2281519 h 5509311"/>
              <a:gd name="connsiteX847" fmla="*/ 837948 w 11760532"/>
              <a:gd name="connsiteY847" fmla="*/ 2271305 h 5509311"/>
              <a:gd name="connsiteX848" fmla="*/ 799842 w 11760532"/>
              <a:gd name="connsiteY848" fmla="*/ 2234048 h 5509311"/>
              <a:gd name="connsiteX849" fmla="*/ 758568 w 11760532"/>
              <a:gd name="connsiteY849" fmla="*/ 2200728 h 5509311"/>
              <a:gd name="connsiteX850" fmla="*/ 754025 w 11760532"/>
              <a:gd name="connsiteY850" fmla="*/ 2258742 h 5509311"/>
              <a:gd name="connsiteX851" fmla="*/ 712064 w 11760532"/>
              <a:gd name="connsiteY851" fmla="*/ 2252461 h 5509311"/>
              <a:gd name="connsiteX852" fmla="*/ 683670 w 11760532"/>
              <a:gd name="connsiteY852" fmla="*/ 2255509 h 5509311"/>
              <a:gd name="connsiteX853" fmla="*/ 595244 w 11760532"/>
              <a:gd name="connsiteY853" fmla="*/ 2234441 h 5509311"/>
              <a:gd name="connsiteX854" fmla="*/ 325785 w 11760532"/>
              <a:gd name="connsiteY854" fmla="*/ 2182472 h 5509311"/>
              <a:gd name="connsiteX855" fmla="*/ 306894 w 11760532"/>
              <a:gd name="connsiteY855" fmla="*/ 2173713 h 5509311"/>
              <a:gd name="connsiteX856" fmla="*/ 317409 w 11760532"/>
              <a:gd name="connsiteY856" fmla="*/ 2154607 h 5509311"/>
              <a:gd name="connsiteX857" fmla="*/ 324756 w 11760532"/>
              <a:gd name="connsiteY857" fmla="*/ 2139437 h 5509311"/>
              <a:gd name="connsiteX858" fmla="*/ 307257 w 11760532"/>
              <a:gd name="connsiteY858" fmla="*/ 2126933 h 5509311"/>
              <a:gd name="connsiteX859" fmla="*/ 291286 w 11760532"/>
              <a:gd name="connsiteY859" fmla="*/ 2128649 h 5509311"/>
              <a:gd name="connsiteX860" fmla="*/ 247856 w 11760532"/>
              <a:gd name="connsiteY860" fmla="*/ 2091964 h 5509311"/>
              <a:gd name="connsiteX861" fmla="*/ 248544 w 11760532"/>
              <a:gd name="connsiteY861" fmla="*/ 2064925 h 5509311"/>
              <a:gd name="connsiteX862" fmla="*/ 231235 w 11760532"/>
              <a:gd name="connsiteY862" fmla="*/ 2054199 h 5509311"/>
              <a:gd name="connsiteX863" fmla="*/ 209386 w 11760532"/>
              <a:gd name="connsiteY863" fmla="*/ 2101487 h 5509311"/>
              <a:gd name="connsiteX864" fmla="*/ 178378 w 11760532"/>
              <a:gd name="connsiteY864" fmla="*/ 2063469 h 5509311"/>
              <a:gd name="connsiteX865" fmla="*/ 184696 w 11760532"/>
              <a:gd name="connsiteY865" fmla="*/ 2005264 h 5509311"/>
              <a:gd name="connsiteX866" fmla="*/ 229443 w 11760532"/>
              <a:gd name="connsiteY866" fmla="*/ 2004056 h 5509311"/>
              <a:gd name="connsiteX867" fmla="*/ 289914 w 11760532"/>
              <a:gd name="connsiteY867" fmla="*/ 2015541 h 5509311"/>
              <a:gd name="connsiteX868" fmla="*/ 330731 w 11760532"/>
              <a:gd name="connsiteY868" fmla="*/ 2011159 h 5509311"/>
              <a:gd name="connsiteX869" fmla="*/ 497756 w 11760532"/>
              <a:gd name="connsiteY869" fmla="*/ 2045362 h 5509311"/>
              <a:gd name="connsiteX870" fmla="*/ 533879 w 11760532"/>
              <a:gd name="connsiteY870" fmla="*/ 2030697 h 5509311"/>
              <a:gd name="connsiteX871" fmla="*/ 536283 w 11760532"/>
              <a:gd name="connsiteY871" fmla="*/ 2019653 h 5509311"/>
              <a:gd name="connsiteX872" fmla="*/ 547694 w 11760532"/>
              <a:gd name="connsiteY872" fmla="*/ 2025619 h 5509311"/>
              <a:gd name="connsiteX873" fmla="*/ 553972 w 11760532"/>
              <a:gd name="connsiteY873" fmla="*/ 2033933 h 5509311"/>
              <a:gd name="connsiteX874" fmla="*/ 576031 w 11760532"/>
              <a:gd name="connsiteY874" fmla="*/ 2038756 h 5509311"/>
              <a:gd name="connsiteX875" fmla="*/ 567216 w 11760532"/>
              <a:gd name="connsiteY875" fmla="*/ 2023523 h 5509311"/>
              <a:gd name="connsiteX876" fmla="*/ 565059 w 11760532"/>
              <a:gd name="connsiteY876" fmla="*/ 2020159 h 5509311"/>
              <a:gd name="connsiteX877" fmla="*/ 561949 w 11760532"/>
              <a:gd name="connsiteY877" fmla="*/ 2007909 h 5509311"/>
              <a:gd name="connsiteX878" fmla="*/ 574181 w 11760532"/>
              <a:gd name="connsiteY878" fmla="*/ 2004798 h 5509311"/>
              <a:gd name="connsiteX879" fmla="*/ 627477 w 11760532"/>
              <a:gd name="connsiteY879" fmla="*/ 1982898 h 5509311"/>
              <a:gd name="connsiteX880" fmla="*/ 636790 w 11760532"/>
              <a:gd name="connsiteY880" fmla="*/ 1969314 h 5509311"/>
              <a:gd name="connsiteX881" fmla="*/ 595706 w 11760532"/>
              <a:gd name="connsiteY881" fmla="*/ 1937771 h 5509311"/>
              <a:gd name="connsiteX882" fmla="*/ 491251 w 11760532"/>
              <a:gd name="connsiteY882" fmla="*/ 1934602 h 5509311"/>
              <a:gd name="connsiteX883" fmla="*/ 455949 w 11760532"/>
              <a:gd name="connsiteY883" fmla="*/ 1940190 h 5509311"/>
              <a:gd name="connsiteX884" fmla="*/ 440988 w 11760532"/>
              <a:gd name="connsiteY884" fmla="*/ 1934605 h 5509311"/>
              <a:gd name="connsiteX885" fmla="*/ 413281 w 11760532"/>
              <a:gd name="connsiteY885" fmla="*/ 1910615 h 5509311"/>
              <a:gd name="connsiteX886" fmla="*/ 365424 w 11760532"/>
              <a:gd name="connsiteY886" fmla="*/ 1899573 h 5509311"/>
              <a:gd name="connsiteX887" fmla="*/ 344625 w 11760532"/>
              <a:gd name="connsiteY887" fmla="*/ 1873043 h 5509311"/>
              <a:gd name="connsiteX888" fmla="*/ 345446 w 11760532"/>
              <a:gd name="connsiteY888" fmla="*/ 1863966 h 5509311"/>
              <a:gd name="connsiteX889" fmla="*/ 329531 w 11760532"/>
              <a:gd name="connsiteY889" fmla="*/ 1849496 h 5509311"/>
              <a:gd name="connsiteX890" fmla="*/ 323959 w 11760532"/>
              <a:gd name="connsiteY890" fmla="*/ 1864475 h 5509311"/>
              <a:gd name="connsiteX891" fmla="*/ 313254 w 11760532"/>
              <a:gd name="connsiteY891" fmla="*/ 1881804 h 5509311"/>
              <a:gd name="connsiteX892" fmla="*/ 283009 w 11760532"/>
              <a:gd name="connsiteY892" fmla="*/ 1850894 h 5509311"/>
              <a:gd name="connsiteX893" fmla="*/ 281483 w 11760532"/>
              <a:gd name="connsiteY893" fmla="*/ 1836676 h 5509311"/>
              <a:gd name="connsiteX894" fmla="*/ 273372 w 11760532"/>
              <a:gd name="connsiteY894" fmla="*/ 1844738 h 5509311"/>
              <a:gd name="connsiteX895" fmla="*/ 250112 w 11760532"/>
              <a:gd name="connsiteY895" fmla="*/ 1845437 h 5509311"/>
              <a:gd name="connsiteX896" fmla="*/ 207884 w 11760532"/>
              <a:gd name="connsiteY896" fmla="*/ 1803230 h 5509311"/>
              <a:gd name="connsiteX897" fmla="*/ 169644 w 11760532"/>
              <a:gd name="connsiteY897" fmla="*/ 1748012 h 5509311"/>
              <a:gd name="connsiteX898" fmla="*/ 152967 w 11760532"/>
              <a:gd name="connsiteY898" fmla="*/ 1726432 h 5509311"/>
              <a:gd name="connsiteX899" fmla="*/ 64331 w 11760532"/>
              <a:gd name="connsiteY899" fmla="*/ 1653253 h 5509311"/>
              <a:gd name="connsiteX900" fmla="*/ 58111 w 11760532"/>
              <a:gd name="connsiteY900" fmla="*/ 1628754 h 5509311"/>
              <a:gd name="connsiteX901" fmla="*/ 77823 w 11760532"/>
              <a:gd name="connsiteY901" fmla="*/ 1628435 h 5509311"/>
              <a:gd name="connsiteX902" fmla="*/ 109766 w 11760532"/>
              <a:gd name="connsiteY902" fmla="*/ 1625005 h 5509311"/>
              <a:gd name="connsiteX903" fmla="*/ 151022 w 11760532"/>
              <a:gd name="connsiteY903" fmla="*/ 1607993 h 5509311"/>
              <a:gd name="connsiteX904" fmla="*/ 189701 w 11760532"/>
              <a:gd name="connsiteY904" fmla="*/ 1650580 h 5509311"/>
              <a:gd name="connsiteX905" fmla="*/ 188060 w 11760532"/>
              <a:gd name="connsiteY905" fmla="*/ 1668734 h 5509311"/>
              <a:gd name="connsiteX906" fmla="*/ 186666 w 11760532"/>
              <a:gd name="connsiteY906" fmla="*/ 1672479 h 5509311"/>
              <a:gd name="connsiteX907" fmla="*/ 190025 w 11760532"/>
              <a:gd name="connsiteY907" fmla="*/ 1670320 h 5509311"/>
              <a:gd name="connsiteX908" fmla="*/ 209737 w 11760532"/>
              <a:gd name="connsiteY908" fmla="*/ 1670002 h 5509311"/>
              <a:gd name="connsiteX909" fmla="*/ 261507 w 11760532"/>
              <a:gd name="connsiteY909" fmla="*/ 1633883 h 5509311"/>
              <a:gd name="connsiteX910" fmla="*/ 289959 w 11760532"/>
              <a:gd name="connsiteY910" fmla="*/ 1614650 h 5509311"/>
              <a:gd name="connsiteX911" fmla="*/ 318868 w 11760532"/>
              <a:gd name="connsiteY911" fmla="*/ 1633119 h 5509311"/>
              <a:gd name="connsiteX912" fmla="*/ 416624 w 11760532"/>
              <a:gd name="connsiteY912" fmla="*/ 1690937 h 5509311"/>
              <a:gd name="connsiteX913" fmla="*/ 440573 w 11760532"/>
              <a:gd name="connsiteY913" fmla="*/ 1663198 h 5509311"/>
              <a:gd name="connsiteX914" fmla="*/ 452730 w 11760532"/>
              <a:gd name="connsiteY914" fmla="*/ 1625939 h 5509311"/>
              <a:gd name="connsiteX915" fmla="*/ 493622 w 11760532"/>
              <a:gd name="connsiteY915" fmla="*/ 1655705 h 5509311"/>
              <a:gd name="connsiteX916" fmla="*/ 544647 w 11760532"/>
              <a:gd name="connsiteY916" fmla="*/ 1662811 h 5509311"/>
              <a:gd name="connsiteX917" fmla="*/ 548387 w 11760532"/>
              <a:gd name="connsiteY917" fmla="*/ 1664208 h 5509311"/>
              <a:gd name="connsiteX918" fmla="*/ 577145 w 11760532"/>
              <a:gd name="connsiteY918" fmla="*/ 1614380 h 5509311"/>
              <a:gd name="connsiteX919" fmla="*/ 588099 w 11760532"/>
              <a:gd name="connsiteY919" fmla="*/ 1582643 h 5509311"/>
              <a:gd name="connsiteX920" fmla="*/ 595198 w 11760532"/>
              <a:gd name="connsiteY920" fmla="*/ 1581882 h 5509311"/>
              <a:gd name="connsiteX921" fmla="*/ 622331 w 11760532"/>
              <a:gd name="connsiteY921" fmla="*/ 1600541 h 5509311"/>
              <a:gd name="connsiteX922" fmla="*/ 643130 w 11760532"/>
              <a:gd name="connsiteY922" fmla="*/ 1627071 h 5509311"/>
              <a:gd name="connsiteX923" fmla="*/ 666467 w 11760532"/>
              <a:gd name="connsiteY923" fmla="*/ 1660520 h 5509311"/>
              <a:gd name="connsiteX924" fmla="*/ 703163 w 11760532"/>
              <a:gd name="connsiteY924" fmla="*/ 1651188 h 5509311"/>
              <a:gd name="connsiteX925" fmla="*/ 718123 w 11760532"/>
              <a:gd name="connsiteY925" fmla="*/ 1656772 h 5509311"/>
              <a:gd name="connsiteX926" fmla="*/ 743101 w 11760532"/>
              <a:gd name="connsiteY926" fmla="*/ 1672068 h 5509311"/>
              <a:gd name="connsiteX927" fmla="*/ 753559 w 11760532"/>
              <a:gd name="connsiteY927" fmla="*/ 1669148 h 5509311"/>
              <a:gd name="connsiteX928" fmla="*/ 790768 w 11760532"/>
              <a:gd name="connsiteY928" fmla="*/ 1681332 h 5509311"/>
              <a:gd name="connsiteX929" fmla="*/ 834447 w 11760532"/>
              <a:gd name="connsiteY929" fmla="*/ 1703608 h 5509311"/>
              <a:gd name="connsiteX930" fmla="*/ 855800 w 11760532"/>
              <a:gd name="connsiteY930" fmla="*/ 1685137 h 5509311"/>
              <a:gd name="connsiteX931" fmla="*/ 857442 w 11760532"/>
              <a:gd name="connsiteY931" fmla="*/ 1666983 h 5509311"/>
              <a:gd name="connsiteX932" fmla="*/ 851851 w 11760532"/>
              <a:gd name="connsiteY932" fmla="*/ 1631630 h 5509311"/>
              <a:gd name="connsiteX933" fmla="*/ 826283 w 11760532"/>
              <a:gd name="connsiteY933" fmla="*/ 1560669 h 5509311"/>
              <a:gd name="connsiteX934" fmla="*/ 866850 w 11760532"/>
              <a:gd name="connsiteY934" fmla="*/ 1570696 h 5509311"/>
              <a:gd name="connsiteX935" fmla="*/ 916292 w 11760532"/>
              <a:gd name="connsiteY935" fmla="*/ 1579770 h 5509311"/>
              <a:gd name="connsiteX936" fmla="*/ 959589 w 11760532"/>
              <a:gd name="connsiteY936" fmla="*/ 1598492 h 5509311"/>
              <a:gd name="connsiteX937" fmla="*/ 1090053 w 11760532"/>
              <a:gd name="connsiteY937" fmla="*/ 1659989 h 5509311"/>
              <a:gd name="connsiteX938" fmla="*/ 1107227 w 11760532"/>
              <a:gd name="connsiteY938" fmla="*/ 1652752 h 5509311"/>
              <a:gd name="connsiteX939" fmla="*/ 1116921 w 11760532"/>
              <a:gd name="connsiteY939" fmla="*/ 1642723 h 5509311"/>
              <a:gd name="connsiteX940" fmla="*/ 1123579 w 11760532"/>
              <a:gd name="connsiteY940" fmla="*/ 1654592 h 5509311"/>
              <a:gd name="connsiteX941" fmla="*/ 1136136 w 11760532"/>
              <a:gd name="connsiteY941" fmla="*/ 1671221 h 5509311"/>
              <a:gd name="connsiteX942" fmla="*/ 1162125 w 11760532"/>
              <a:gd name="connsiteY942" fmla="*/ 1679217 h 5509311"/>
              <a:gd name="connsiteX943" fmla="*/ 1173288 w 11760532"/>
              <a:gd name="connsiteY943" fmla="*/ 1699591 h 5509311"/>
              <a:gd name="connsiteX944" fmla="*/ 1188572 w 11760532"/>
              <a:gd name="connsiteY944" fmla="*/ 1724916 h 5509311"/>
              <a:gd name="connsiteX945" fmla="*/ 1204983 w 11760532"/>
              <a:gd name="connsiteY945" fmla="*/ 1710570 h 5509311"/>
              <a:gd name="connsiteX946" fmla="*/ 1211319 w 11760532"/>
              <a:gd name="connsiteY946" fmla="*/ 1702700 h 5509311"/>
              <a:gd name="connsiteX947" fmla="*/ 1225019 w 11760532"/>
              <a:gd name="connsiteY947" fmla="*/ 1729992 h 5509311"/>
              <a:gd name="connsiteX948" fmla="*/ 1242326 w 11760532"/>
              <a:gd name="connsiteY948" fmla="*/ 1740718 h 5509311"/>
              <a:gd name="connsiteX949" fmla="*/ 1251448 w 11760532"/>
              <a:gd name="connsiteY949" fmla="*/ 1725356 h 5509311"/>
              <a:gd name="connsiteX950" fmla="*/ 1319190 w 11760532"/>
              <a:gd name="connsiteY950" fmla="*/ 1687523 h 5509311"/>
              <a:gd name="connsiteX951" fmla="*/ 1339856 w 11760532"/>
              <a:gd name="connsiteY951" fmla="*/ 1696091 h 5509311"/>
              <a:gd name="connsiteX952" fmla="*/ 1420535 w 11760532"/>
              <a:gd name="connsiteY952" fmla="*/ 1678441 h 5509311"/>
              <a:gd name="connsiteX953" fmla="*/ 1422119 w 11760532"/>
              <a:gd name="connsiteY953" fmla="*/ 1676474 h 5509311"/>
              <a:gd name="connsiteX954" fmla="*/ 1446964 w 11760532"/>
              <a:gd name="connsiteY954" fmla="*/ 1673806 h 5509311"/>
              <a:gd name="connsiteX955" fmla="*/ 1453433 w 11760532"/>
              <a:gd name="connsiteY955" fmla="*/ 1683898 h 5509311"/>
              <a:gd name="connsiteX956" fmla="*/ 1437023 w 11760532"/>
              <a:gd name="connsiteY956" fmla="*/ 1698244 h 5509311"/>
              <a:gd name="connsiteX957" fmla="*/ 1425362 w 11760532"/>
              <a:gd name="connsiteY957" fmla="*/ 1706686 h 5509311"/>
              <a:gd name="connsiteX958" fmla="*/ 1436964 w 11760532"/>
              <a:gd name="connsiteY958" fmla="*/ 1714429 h 5509311"/>
              <a:gd name="connsiteX959" fmla="*/ 1464538 w 11760532"/>
              <a:gd name="connsiteY959" fmla="*/ 1720458 h 5509311"/>
              <a:gd name="connsiteX960" fmla="*/ 1496806 w 11760532"/>
              <a:gd name="connsiteY960" fmla="*/ 1736768 h 5509311"/>
              <a:gd name="connsiteX961" fmla="*/ 1516708 w 11760532"/>
              <a:gd name="connsiteY961" fmla="*/ 1738227 h 5509311"/>
              <a:gd name="connsiteX962" fmla="*/ 1575405 w 11760532"/>
              <a:gd name="connsiteY962" fmla="*/ 1749903 h 5509311"/>
              <a:gd name="connsiteX963" fmla="*/ 1600516 w 11760532"/>
              <a:gd name="connsiteY963" fmla="*/ 1783161 h 5509311"/>
              <a:gd name="connsiteX964" fmla="*/ 1640836 w 11760532"/>
              <a:gd name="connsiteY964" fmla="*/ 1807596 h 5509311"/>
              <a:gd name="connsiteX965" fmla="*/ 1674421 w 11760532"/>
              <a:gd name="connsiteY965" fmla="*/ 1786013 h 5509311"/>
              <a:gd name="connsiteX966" fmla="*/ 1714094 w 11760532"/>
              <a:gd name="connsiteY966" fmla="*/ 1770968 h 5509311"/>
              <a:gd name="connsiteX967" fmla="*/ 1734186 w 11760532"/>
              <a:gd name="connsiteY967" fmla="*/ 1774204 h 5509311"/>
              <a:gd name="connsiteX968" fmla="*/ 1757199 w 11760532"/>
              <a:gd name="connsiteY968" fmla="*/ 1787913 h 5509311"/>
              <a:gd name="connsiteX969" fmla="*/ 1758153 w 11760532"/>
              <a:gd name="connsiteY969" fmla="*/ 1796799 h 5509311"/>
              <a:gd name="connsiteX970" fmla="*/ 1780975 w 11760532"/>
              <a:gd name="connsiteY970" fmla="*/ 1808731 h 5509311"/>
              <a:gd name="connsiteX971" fmla="*/ 1811584 w 11760532"/>
              <a:gd name="connsiteY971" fmla="*/ 1792861 h 5509311"/>
              <a:gd name="connsiteX972" fmla="*/ 1922202 w 11760532"/>
              <a:gd name="connsiteY972" fmla="*/ 1836714 h 5509311"/>
              <a:gd name="connsiteX973" fmla="*/ 1923613 w 11760532"/>
              <a:gd name="connsiteY973" fmla="*/ 1883302 h 5509311"/>
              <a:gd name="connsiteX974" fmla="*/ 1956395 w 11760532"/>
              <a:gd name="connsiteY974" fmla="*/ 1921130 h 5509311"/>
              <a:gd name="connsiteX975" fmla="*/ 1989293 w 11760532"/>
              <a:gd name="connsiteY975" fmla="*/ 1926587 h 5509311"/>
              <a:gd name="connsiteX976" fmla="*/ 2029977 w 11760532"/>
              <a:gd name="connsiteY976" fmla="*/ 1904243 h 5509311"/>
              <a:gd name="connsiteX977" fmla="*/ 2051081 w 11760532"/>
              <a:gd name="connsiteY977" fmla="*/ 1900179 h 5509311"/>
              <a:gd name="connsiteX978" fmla="*/ 2094303 w 11760532"/>
              <a:gd name="connsiteY978" fmla="*/ 1884753 h 5509311"/>
              <a:gd name="connsiteX979" fmla="*/ 2087071 w 11760532"/>
              <a:gd name="connsiteY979" fmla="*/ 1867552 h 5509311"/>
              <a:gd name="connsiteX980" fmla="*/ 2075793 w 11760532"/>
              <a:gd name="connsiteY980" fmla="*/ 1879549 h 5509311"/>
              <a:gd name="connsiteX981" fmla="*/ 2066099 w 11760532"/>
              <a:gd name="connsiteY981" fmla="*/ 1889578 h 5509311"/>
              <a:gd name="connsiteX982" fmla="*/ 2054115 w 11760532"/>
              <a:gd name="connsiteY982" fmla="*/ 1878281 h 5509311"/>
              <a:gd name="connsiteX983" fmla="*/ 2049403 w 11760532"/>
              <a:gd name="connsiteY983" fmla="*/ 1817665 h 5509311"/>
              <a:gd name="connsiteX984" fmla="*/ 2059421 w 11760532"/>
              <a:gd name="connsiteY984" fmla="*/ 1827376 h 5509311"/>
              <a:gd name="connsiteX985" fmla="*/ 2098216 w 11760532"/>
              <a:gd name="connsiteY985" fmla="*/ 1837593 h 5509311"/>
              <a:gd name="connsiteX986" fmla="*/ 2111077 w 11760532"/>
              <a:gd name="connsiteY986" fmla="*/ 1823629 h 5509311"/>
              <a:gd name="connsiteX987" fmla="*/ 2140673 w 11760532"/>
              <a:gd name="connsiteY987" fmla="*/ 1815058 h 5509311"/>
              <a:gd name="connsiteX988" fmla="*/ 2176739 w 11760532"/>
              <a:gd name="connsiteY988" fmla="*/ 1816579 h 5509311"/>
              <a:gd name="connsiteX989" fmla="*/ 2162847 w 11760532"/>
              <a:gd name="connsiteY989" fmla="*/ 1787510 h 5509311"/>
              <a:gd name="connsiteX990" fmla="*/ 2193837 w 11760532"/>
              <a:gd name="connsiteY990" fmla="*/ 1775195 h 5509311"/>
              <a:gd name="connsiteX991" fmla="*/ 2197005 w 11760532"/>
              <a:gd name="connsiteY991" fmla="*/ 1771259 h 5509311"/>
              <a:gd name="connsiteX992" fmla="*/ 2187807 w 11760532"/>
              <a:gd name="connsiteY992" fmla="*/ 1752472 h 5509311"/>
              <a:gd name="connsiteX993" fmla="*/ 2148823 w 11760532"/>
              <a:gd name="connsiteY993" fmla="*/ 1740477 h 5509311"/>
              <a:gd name="connsiteX994" fmla="*/ 2115868 w 11760532"/>
              <a:gd name="connsiteY994" fmla="*/ 1751206 h 5509311"/>
              <a:gd name="connsiteX995" fmla="*/ 2094762 w 11760532"/>
              <a:gd name="connsiteY995" fmla="*/ 1755270 h 5509311"/>
              <a:gd name="connsiteX996" fmla="*/ 2049367 w 11760532"/>
              <a:gd name="connsiteY996" fmla="*/ 1716998 h 5509311"/>
              <a:gd name="connsiteX997" fmla="*/ 2022366 w 11760532"/>
              <a:gd name="connsiteY997" fmla="*/ 1716302 h 5509311"/>
              <a:gd name="connsiteX998" fmla="*/ 1996700 w 11760532"/>
              <a:gd name="connsiteY998" fmla="*/ 1728045 h 5509311"/>
              <a:gd name="connsiteX999" fmla="*/ 1976855 w 11760532"/>
              <a:gd name="connsiteY999" fmla="*/ 1710401 h 5509311"/>
              <a:gd name="connsiteX1000" fmla="*/ 1940160 w 11760532"/>
              <a:gd name="connsiteY1000" fmla="*/ 1719733 h 5509311"/>
              <a:gd name="connsiteX1001" fmla="*/ 1909419 w 11760532"/>
              <a:gd name="connsiteY1001" fmla="*/ 1717641 h 5509311"/>
              <a:gd name="connsiteX1002" fmla="*/ 1861561 w 11760532"/>
              <a:gd name="connsiteY1002" fmla="*/ 1706599 h 5509311"/>
              <a:gd name="connsiteX1003" fmla="*/ 1835056 w 11760532"/>
              <a:gd name="connsiteY1003" fmla="*/ 1677086 h 5509311"/>
              <a:gd name="connsiteX1004" fmla="*/ 1785176 w 11760532"/>
              <a:gd name="connsiteY1004" fmla="*/ 1680643 h 5509311"/>
              <a:gd name="connsiteX1005" fmla="*/ 1771303 w 11760532"/>
              <a:gd name="connsiteY1005" fmla="*/ 1701907 h 5509311"/>
              <a:gd name="connsiteX1006" fmla="*/ 1756458 w 11760532"/>
              <a:gd name="connsiteY1006" fmla="*/ 1663951 h 5509311"/>
              <a:gd name="connsiteX1007" fmla="*/ 1751897 w 11760532"/>
              <a:gd name="connsiteY1007" fmla="*/ 1671632 h 5509311"/>
              <a:gd name="connsiteX1008" fmla="*/ 1699039 w 11760532"/>
              <a:gd name="connsiteY1008" fmla="*/ 1680902 h 5509311"/>
              <a:gd name="connsiteX1009" fmla="*/ 1686483 w 11760532"/>
              <a:gd name="connsiteY1009" fmla="*/ 1664273 h 5509311"/>
              <a:gd name="connsiteX1010" fmla="*/ 1685148 w 11760532"/>
              <a:gd name="connsiteY1010" fmla="*/ 1651832 h 5509311"/>
              <a:gd name="connsiteX1011" fmla="*/ 1676580 w 11760532"/>
              <a:gd name="connsiteY1011" fmla="*/ 1622191 h 5509311"/>
              <a:gd name="connsiteX1012" fmla="*/ 1581877 w 11760532"/>
              <a:gd name="connsiteY1012" fmla="*/ 1592809 h 5509311"/>
              <a:gd name="connsiteX1013" fmla="*/ 1426892 w 11760532"/>
              <a:gd name="connsiteY1013" fmla="*/ 1553718 h 5509311"/>
              <a:gd name="connsiteX1014" fmla="*/ 1377641 w 11760532"/>
              <a:gd name="connsiteY1014" fmla="*/ 1546421 h 5509311"/>
              <a:gd name="connsiteX1015" fmla="*/ 1340813 w 11760532"/>
              <a:gd name="connsiteY1015" fmla="*/ 1537791 h 5509311"/>
              <a:gd name="connsiteX1016" fmla="*/ 1277423 w 11760532"/>
              <a:gd name="connsiteY1016" fmla="*/ 1515833 h 5509311"/>
              <a:gd name="connsiteX1017" fmla="*/ 1211437 w 11760532"/>
              <a:gd name="connsiteY1017" fmla="*/ 1503142 h 5509311"/>
              <a:gd name="connsiteX1018" fmla="*/ 1156614 w 11760532"/>
              <a:gd name="connsiteY1018" fmla="*/ 1510825 h 5509311"/>
              <a:gd name="connsiteX1019" fmla="*/ 1110397 w 11760532"/>
              <a:gd name="connsiteY1019" fmla="*/ 1481630 h 5509311"/>
              <a:gd name="connsiteX1020" fmla="*/ 1064505 w 11760532"/>
              <a:gd name="connsiteY1020" fmla="*/ 1472175 h 5509311"/>
              <a:gd name="connsiteX1021" fmla="*/ 998386 w 11760532"/>
              <a:gd name="connsiteY1021" fmla="*/ 1441522 h 5509311"/>
              <a:gd name="connsiteX1022" fmla="*/ 872560 w 11760532"/>
              <a:gd name="connsiteY1022" fmla="*/ 1406493 h 5509311"/>
              <a:gd name="connsiteX1023" fmla="*/ 771329 w 11760532"/>
              <a:gd name="connsiteY1023" fmla="*/ 1383203 h 5509311"/>
              <a:gd name="connsiteX1024" fmla="*/ 748316 w 11760532"/>
              <a:gd name="connsiteY1024" fmla="*/ 1369495 h 5509311"/>
              <a:gd name="connsiteX1025" fmla="*/ 691643 w 11760532"/>
              <a:gd name="connsiteY1025" fmla="*/ 1343221 h 5509311"/>
              <a:gd name="connsiteX1026" fmla="*/ 679220 w 11760532"/>
              <a:gd name="connsiteY1026" fmla="*/ 1344554 h 5509311"/>
              <a:gd name="connsiteX1027" fmla="*/ 691948 w 11760532"/>
              <a:gd name="connsiteY1027" fmla="*/ 1312627 h 5509311"/>
              <a:gd name="connsiteX1028" fmla="*/ 728510 w 11760532"/>
              <a:gd name="connsiteY1028" fmla="*/ 1285331 h 5509311"/>
              <a:gd name="connsiteX1029" fmla="*/ 758870 w 11760532"/>
              <a:gd name="connsiteY1029" fmla="*/ 1283870 h 5509311"/>
              <a:gd name="connsiteX1030" fmla="*/ 787398 w 11760532"/>
              <a:gd name="connsiteY1030" fmla="*/ 1298784 h 5509311"/>
              <a:gd name="connsiteX1031" fmla="*/ 789687 w 11760532"/>
              <a:gd name="connsiteY1031" fmla="*/ 1320110 h 5509311"/>
              <a:gd name="connsiteX1032" fmla="*/ 803445 w 11760532"/>
              <a:gd name="connsiteY1032" fmla="*/ 1331217 h 5509311"/>
              <a:gd name="connsiteX1033" fmla="*/ 847487 w 11760532"/>
              <a:gd name="connsiteY1033" fmla="*/ 1306715 h 5509311"/>
              <a:gd name="connsiteX1034" fmla="*/ 857562 w 11760532"/>
              <a:gd name="connsiteY1034" fmla="*/ 1300240 h 5509311"/>
              <a:gd name="connsiteX1035" fmla="*/ 864031 w 11760532"/>
              <a:gd name="connsiteY1035" fmla="*/ 1310332 h 5509311"/>
              <a:gd name="connsiteX1036" fmla="*/ 864985 w 11760532"/>
              <a:gd name="connsiteY1036" fmla="*/ 1319219 h 5509311"/>
              <a:gd name="connsiteX1037" fmla="*/ 882292 w 11760532"/>
              <a:gd name="connsiteY1037" fmla="*/ 1329944 h 5509311"/>
              <a:gd name="connsiteX1038" fmla="*/ 904542 w 11760532"/>
              <a:gd name="connsiteY1038" fmla="*/ 1336544 h 5509311"/>
              <a:gd name="connsiteX1039" fmla="*/ 904866 w 11760532"/>
              <a:gd name="connsiteY1039" fmla="*/ 1356284 h 5509311"/>
              <a:gd name="connsiteX1040" fmla="*/ 883379 w 11760532"/>
              <a:gd name="connsiteY1040" fmla="*/ 1356792 h 5509311"/>
              <a:gd name="connsiteX1041" fmla="*/ 869373 w 11760532"/>
              <a:gd name="connsiteY1041" fmla="*/ 1360094 h 5509311"/>
              <a:gd name="connsiteX1042" fmla="*/ 872864 w 11760532"/>
              <a:gd name="connsiteY1042" fmla="*/ 1375899 h 5509311"/>
              <a:gd name="connsiteX1043" fmla="*/ 915895 w 11760532"/>
              <a:gd name="connsiteY1043" fmla="*/ 1358695 h 5509311"/>
              <a:gd name="connsiteX1044" fmla="*/ 953220 w 11760532"/>
              <a:gd name="connsiteY1044" fmla="*/ 1338509 h 5509311"/>
              <a:gd name="connsiteX1045" fmla="*/ 1054069 w 11760532"/>
              <a:gd name="connsiteY1045" fmla="*/ 1358243 h 5509311"/>
              <a:gd name="connsiteX1046" fmla="*/ 1061301 w 11760532"/>
              <a:gd name="connsiteY1046" fmla="*/ 1375444 h 5509311"/>
              <a:gd name="connsiteX1047" fmla="*/ 1055480 w 11760532"/>
              <a:gd name="connsiteY1047" fmla="*/ 1404832 h 5509311"/>
              <a:gd name="connsiteX1048" fmla="*/ 1071585 w 11760532"/>
              <a:gd name="connsiteY1048" fmla="*/ 1421080 h 5509311"/>
              <a:gd name="connsiteX1049" fmla="*/ 1081470 w 11760532"/>
              <a:gd name="connsiteY1049" fmla="*/ 1412828 h 5509311"/>
              <a:gd name="connsiteX1050" fmla="*/ 1105857 w 11760532"/>
              <a:gd name="connsiteY1050" fmla="*/ 1372458 h 5509311"/>
              <a:gd name="connsiteX1051" fmla="*/ 1108396 w 11760532"/>
              <a:gd name="connsiteY1051" fmla="*/ 1379377 h 5509311"/>
              <a:gd name="connsiteX1052" fmla="*/ 1130836 w 11760532"/>
              <a:gd name="connsiteY1052" fmla="*/ 1387754 h 5509311"/>
              <a:gd name="connsiteX1053" fmla="*/ 1141865 w 11760532"/>
              <a:gd name="connsiteY1053" fmla="*/ 1390165 h 5509311"/>
              <a:gd name="connsiteX1054" fmla="*/ 1171977 w 11760532"/>
              <a:gd name="connsiteY1054" fmla="*/ 1403111 h 5509311"/>
              <a:gd name="connsiteX1055" fmla="*/ 1229777 w 11760532"/>
              <a:gd name="connsiteY1055" fmla="*/ 1389716 h 5509311"/>
              <a:gd name="connsiteX1056" fmla="*/ 1237314 w 11760532"/>
              <a:gd name="connsiteY1056" fmla="*/ 1376323 h 5509311"/>
              <a:gd name="connsiteX1057" fmla="*/ 1243516 w 11760532"/>
              <a:gd name="connsiteY1057" fmla="*/ 1350489 h 5509311"/>
              <a:gd name="connsiteX1058" fmla="*/ 1195658 w 11760532"/>
              <a:gd name="connsiteY1058" fmla="*/ 1339448 h 5509311"/>
              <a:gd name="connsiteX1059" fmla="*/ 1153946 w 11760532"/>
              <a:gd name="connsiteY1059" fmla="*/ 1318758 h 5509311"/>
              <a:gd name="connsiteX1060" fmla="*/ 1211878 w 11760532"/>
              <a:gd name="connsiteY1060" fmla="*/ 1323325 h 5509311"/>
              <a:gd name="connsiteX1061" fmla="*/ 1255481 w 11760532"/>
              <a:gd name="connsiteY1061" fmla="*/ 1311453 h 5509311"/>
              <a:gd name="connsiteX1062" fmla="*/ 1278743 w 11760532"/>
              <a:gd name="connsiteY1062" fmla="*/ 1310754 h 5509311"/>
              <a:gd name="connsiteX1063" fmla="*/ 1281090 w 11760532"/>
              <a:gd name="connsiteY1063" fmla="*/ 1315895 h 5509311"/>
              <a:gd name="connsiteX1064" fmla="*/ 1365452 w 11760532"/>
              <a:gd name="connsiteY1064" fmla="*/ 1315827 h 5509311"/>
              <a:gd name="connsiteX1065" fmla="*/ 1411899 w 11760532"/>
              <a:gd name="connsiteY1065" fmla="*/ 1280280 h 5509311"/>
              <a:gd name="connsiteX1066" fmla="*/ 1471797 w 11760532"/>
              <a:gd name="connsiteY1066" fmla="*/ 1286433 h 5509311"/>
              <a:gd name="connsiteX1067" fmla="*/ 1547229 w 11760532"/>
              <a:gd name="connsiteY1067" fmla="*/ 1303503 h 5509311"/>
              <a:gd name="connsiteX1068" fmla="*/ 1603959 w 11760532"/>
              <a:gd name="connsiteY1068" fmla="*/ 1313592 h 5509311"/>
              <a:gd name="connsiteX1069" fmla="*/ 1647505 w 11760532"/>
              <a:gd name="connsiteY1069" fmla="*/ 1317906 h 5509311"/>
              <a:gd name="connsiteX1070" fmla="*/ 1684524 w 11760532"/>
              <a:gd name="connsiteY1070" fmla="*/ 1328313 h 5509311"/>
              <a:gd name="connsiteX1071" fmla="*/ 1717954 w 11760532"/>
              <a:gd name="connsiteY1071" fmla="*/ 1405620 h 5509311"/>
              <a:gd name="connsiteX1072" fmla="*/ 1730510 w 11760532"/>
              <a:gd name="connsiteY1072" fmla="*/ 1422250 h 5509311"/>
              <a:gd name="connsiteX1073" fmla="*/ 1749077 w 11760532"/>
              <a:gd name="connsiteY1073" fmla="*/ 1411268 h 5509311"/>
              <a:gd name="connsiteX1074" fmla="*/ 1758198 w 11760532"/>
              <a:gd name="connsiteY1074" fmla="*/ 1395908 h 5509311"/>
              <a:gd name="connsiteX1075" fmla="*/ 1809148 w 11760532"/>
              <a:gd name="connsiteY1075" fmla="*/ 1368866 h 5509311"/>
              <a:gd name="connsiteX1076" fmla="*/ 1834699 w 11760532"/>
              <a:gd name="connsiteY1076" fmla="*/ 1389493 h 5509311"/>
              <a:gd name="connsiteX1077" fmla="*/ 1871643 w 11760532"/>
              <a:gd name="connsiteY1077" fmla="*/ 1365752 h 5509311"/>
              <a:gd name="connsiteX1078" fmla="*/ 1930396 w 11760532"/>
              <a:gd name="connsiteY1078" fmla="*/ 1361243 h 5509311"/>
              <a:gd name="connsiteX1079" fmla="*/ 2044621 w 11760532"/>
              <a:gd name="connsiteY1079" fmla="*/ 1388529 h 5509311"/>
              <a:gd name="connsiteX1080" fmla="*/ 2063131 w 11760532"/>
              <a:gd name="connsiteY1080" fmla="*/ 1393732 h 5509311"/>
              <a:gd name="connsiteX1081" fmla="*/ 2105150 w 11760532"/>
              <a:gd name="connsiteY1081" fmla="*/ 1383829 h 5509311"/>
              <a:gd name="connsiteX1082" fmla="*/ 2116810 w 11760532"/>
              <a:gd name="connsiteY1082" fmla="*/ 1375387 h 5509311"/>
              <a:gd name="connsiteX1083" fmla="*/ 2134174 w 11760532"/>
              <a:gd name="connsiteY1083" fmla="*/ 1369927 h 5509311"/>
              <a:gd name="connsiteX1084" fmla="*/ 2158961 w 11760532"/>
              <a:gd name="connsiteY1084" fmla="*/ 1383446 h 5509311"/>
              <a:gd name="connsiteX1085" fmla="*/ 2180963 w 11760532"/>
              <a:gd name="connsiteY1085" fmla="*/ 1404453 h 5509311"/>
              <a:gd name="connsiteX1086" fmla="*/ 2205178 w 11760532"/>
              <a:gd name="connsiteY1086" fmla="*/ 1412640 h 5509311"/>
              <a:gd name="connsiteX1087" fmla="*/ 2240232 w 11760532"/>
              <a:gd name="connsiteY1087" fmla="*/ 1421461 h 5509311"/>
              <a:gd name="connsiteX1088" fmla="*/ 2256203 w 11760532"/>
              <a:gd name="connsiteY1088" fmla="*/ 1419746 h 5509311"/>
              <a:gd name="connsiteX1089" fmla="*/ 2331311 w 11760532"/>
              <a:gd name="connsiteY1089" fmla="*/ 1417077 h 5509311"/>
              <a:gd name="connsiteX1090" fmla="*/ 2358751 w 11760532"/>
              <a:gd name="connsiteY1090" fmla="*/ 1405142 h 5509311"/>
              <a:gd name="connsiteX1091" fmla="*/ 2336941 w 11760532"/>
              <a:gd name="connsiteY1091" fmla="*/ 1385911 h 5509311"/>
              <a:gd name="connsiteX1092" fmla="*/ 2331235 w 11760532"/>
              <a:gd name="connsiteY1092" fmla="*/ 1382928 h 5509311"/>
              <a:gd name="connsiteX1093" fmla="*/ 2315303 w 11760532"/>
              <a:gd name="connsiteY1093" fmla="*/ 1318123 h 5509311"/>
              <a:gd name="connsiteX1094" fmla="*/ 2345548 w 11760532"/>
              <a:gd name="connsiteY1094" fmla="*/ 1349033 h 5509311"/>
              <a:gd name="connsiteX1095" fmla="*/ 2387184 w 11760532"/>
              <a:gd name="connsiteY1095" fmla="*/ 1335575 h 5509311"/>
              <a:gd name="connsiteX1096" fmla="*/ 2396821 w 11760532"/>
              <a:gd name="connsiteY1096" fmla="*/ 1341731 h 5509311"/>
              <a:gd name="connsiteX1097" fmla="*/ 2394416 w 11760532"/>
              <a:gd name="connsiteY1097" fmla="*/ 1352775 h 5509311"/>
              <a:gd name="connsiteX1098" fmla="*/ 2396133 w 11760532"/>
              <a:gd name="connsiteY1098" fmla="*/ 1368770 h 5509311"/>
              <a:gd name="connsiteX1099" fmla="*/ 2406590 w 11760532"/>
              <a:gd name="connsiteY1099" fmla="*/ 1365850 h 5509311"/>
              <a:gd name="connsiteX1100" fmla="*/ 2421932 w 11760532"/>
              <a:gd name="connsiteY1100" fmla="*/ 1374989 h 5509311"/>
              <a:gd name="connsiteX1101" fmla="*/ 2424852 w 11760532"/>
              <a:gd name="connsiteY1101" fmla="*/ 1385462 h 5509311"/>
              <a:gd name="connsiteX1102" fmla="*/ 2514843 w 11760532"/>
              <a:gd name="connsiteY1102" fmla="*/ 1354228 h 5509311"/>
              <a:gd name="connsiteX1103" fmla="*/ 2518583 w 11760532"/>
              <a:gd name="connsiteY1103" fmla="*/ 1355624 h 5509311"/>
              <a:gd name="connsiteX1104" fmla="*/ 2638190 w 11760532"/>
              <a:gd name="connsiteY1104" fmla="*/ 1366154 h 5509311"/>
              <a:gd name="connsiteX1105" fmla="*/ 2668110 w 11760532"/>
              <a:gd name="connsiteY1105" fmla="*/ 1377324 h 5509311"/>
              <a:gd name="connsiteX1106" fmla="*/ 2702344 w 11760532"/>
              <a:gd name="connsiteY1106" fmla="*/ 1395221 h 5509311"/>
              <a:gd name="connsiteX1107" fmla="*/ 2770734 w 11760532"/>
              <a:gd name="connsiteY1107" fmla="*/ 1396868 h 5509311"/>
              <a:gd name="connsiteX1108" fmla="*/ 2784035 w 11760532"/>
              <a:gd name="connsiteY1108" fmla="*/ 1370272 h 5509311"/>
              <a:gd name="connsiteX1109" fmla="*/ 2780734 w 11760532"/>
              <a:gd name="connsiteY1109" fmla="*/ 1356245 h 5509311"/>
              <a:gd name="connsiteX1110" fmla="*/ 2784780 w 11760532"/>
              <a:gd name="connsiteY1110" fmla="*/ 1327048 h 5509311"/>
              <a:gd name="connsiteX1111" fmla="*/ 2788578 w 11760532"/>
              <a:gd name="connsiteY1111" fmla="*/ 1312259 h 5509311"/>
              <a:gd name="connsiteX1112" fmla="*/ 2802145 w 11760532"/>
              <a:gd name="connsiteY1112" fmla="*/ 1321588 h 5509311"/>
              <a:gd name="connsiteX1113" fmla="*/ 2822314 w 11760532"/>
              <a:gd name="connsiteY1113" fmla="*/ 1358972 h 5509311"/>
              <a:gd name="connsiteX1114" fmla="*/ 2894138 w 11760532"/>
              <a:gd name="connsiteY1114" fmla="*/ 1392608 h 5509311"/>
              <a:gd name="connsiteX1115" fmla="*/ 2941863 w 11760532"/>
              <a:gd name="connsiteY1115" fmla="*/ 1385687 h 5509311"/>
              <a:gd name="connsiteX1116" fmla="*/ 2980027 w 11760532"/>
              <a:gd name="connsiteY1116" fmla="*/ 1406758 h 5509311"/>
              <a:gd name="connsiteX1117" fmla="*/ 2986496 w 11760532"/>
              <a:gd name="connsiteY1117" fmla="*/ 1416850 h 5509311"/>
              <a:gd name="connsiteX1118" fmla="*/ 3005178 w 11760532"/>
              <a:gd name="connsiteY1118" fmla="*/ 1373498 h 5509311"/>
              <a:gd name="connsiteX1119" fmla="*/ 3024698 w 11760532"/>
              <a:gd name="connsiteY1119" fmla="*/ 1371402 h 5509311"/>
              <a:gd name="connsiteX1120" fmla="*/ 3055631 w 11760532"/>
              <a:gd name="connsiteY1120" fmla="*/ 1375271 h 5509311"/>
              <a:gd name="connsiteX1121" fmla="*/ 3097459 w 11760532"/>
              <a:gd name="connsiteY1121" fmla="*/ 1363590 h 5509311"/>
              <a:gd name="connsiteX1122" fmla="*/ 3165791 w 11760532"/>
              <a:gd name="connsiteY1122" fmla="*/ 1381423 h 5509311"/>
              <a:gd name="connsiteX1123" fmla="*/ 3211169 w 11760532"/>
              <a:gd name="connsiteY1123" fmla="*/ 1369361 h 5509311"/>
              <a:gd name="connsiteX1124" fmla="*/ 3261431 w 11760532"/>
              <a:gd name="connsiteY1124" fmla="*/ 1369358 h 5509311"/>
              <a:gd name="connsiteX1125" fmla="*/ 3290016 w 11760532"/>
              <a:gd name="connsiteY1125" fmla="*/ 1368086 h 5509311"/>
              <a:gd name="connsiteX1126" fmla="*/ 3293375 w 11760532"/>
              <a:gd name="connsiteY1126" fmla="*/ 1365928 h 5509311"/>
              <a:gd name="connsiteX1127" fmla="*/ 3313278 w 11760532"/>
              <a:gd name="connsiteY1127" fmla="*/ 1367387 h 5509311"/>
              <a:gd name="connsiteX1128" fmla="*/ 3320319 w 11760532"/>
              <a:gd name="connsiteY1128" fmla="*/ 1382811 h 5509311"/>
              <a:gd name="connsiteX1129" fmla="*/ 3359876 w 11760532"/>
              <a:gd name="connsiteY1129" fmla="*/ 1400136 h 5509311"/>
              <a:gd name="connsiteX1130" fmla="*/ 3445746 w 11760532"/>
              <a:gd name="connsiteY1130" fmla="*/ 1363952 h 5509311"/>
              <a:gd name="connsiteX1131" fmla="*/ 3467805 w 11760532"/>
              <a:gd name="connsiteY1131" fmla="*/ 1368775 h 5509311"/>
              <a:gd name="connsiteX1132" fmla="*/ 3486314 w 11760532"/>
              <a:gd name="connsiteY1132" fmla="*/ 1373979 h 5509311"/>
              <a:gd name="connsiteX1133" fmla="*/ 3530108 w 11760532"/>
              <a:gd name="connsiteY1133" fmla="*/ 1363885 h 5509311"/>
              <a:gd name="connsiteX1134" fmla="*/ 3564323 w 11760532"/>
              <a:gd name="connsiteY1134" fmla="*/ 1331448 h 5509311"/>
              <a:gd name="connsiteX1135" fmla="*/ 3580733 w 11760532"/>
              <a:gd name="connsiteY1135" fmla="*/ 1317103 h 5509311"/>
              <a:gd name="connsiteX1136" fmla="*/ 3618001 w 11760532"/>
              <a:gd name="connsiteY1136" fmla="*/ 1313102 h 5509311"/>
              <a:gd name="connsiteX1137" fmla="*/ 3624451 w 11760532"/>
              <a:gd name="connsiteY1137" fmla="*/ 1272860 h 5509311"/>
              <a:gd name="connsiteX1138" fmla="*/ 3638915 w 11760532"/>
              <a:gd name="connsiteY1138" fmla="*/ 1307261 h 5509311"/>
              <a:gd name="connsiteX1139" fmla="*/ 3598937 w 11760532"/>
              <a:gd name="connsiteY1139" fmla="*/ 1352900 h 5509311"/>
              <a:gd name="connsiteX1140" fmla="*/ 3663645 w 11760532"/>
              <a:gd name="connsiteY1140" fmla="*/ 1336965 h 5509311"/>
              <a:gd name="connsiteX1141" fmla="*/ 3674160 w 11760532"/>
              <a:gd name="connsiteY1141" fmla="*/ 1317859 h 5509311"/>
              <a:gd name="connsiteX1142" fmla="*/ 3706409 w 11760532"/>
              <a:gd name="connsiteY1142" fmla="*/ 1283836 h 5509311"/>
              <a:gd name="connsiteX1143" fmla="*/ 3713755 w 11760532"/>
              <a:gd name="connsiteY1143" fmla="*/ 1268666 h 5509311"/>
              <a:gd name="connsiteX1144" fmla="*/ 3722362 w 11760532"/>
              <a:gd name="connsiteY1144" fmla="*/ 1231788 h 5509311"/>
              <a:gd name="connsiteX1145" fmla="*/ 3729213 w 11760532"/>
              <a:gd name="connsiteY1145" fmla="*/ 1245434 h 5509311"/>
              <a:gd name="connsiteX1146" fmla="*/ 3769400 w 11760532"/>
              <a:gd name="connsiteY1146" fmla="*/ 1251906 h 5509311"/>
              <a:gd name="connsiteX1147" fmla="*/ 3819911 w 11760532"/>
              <a:gd name="connsiteY1147" fmla="*/ 1237495 h 5509311"/>
              <a:gd name="connsiteX1148" fmla="*/ 3859906 w 11760532"/>
              <a:gd name="connsiteY1148" fmla="*/ 1242189 h 5509311"/>
              <a:gd name="connsiteX1149" fmla="*/ 3977680 w 11760532"/>
              <a:gd name="connsiteY1149" fmla="*/ 1269095 h 5509311"/>
              <a:gd name="connsiteX1150" fmla="*/ 3989607 w 11760532"/>
              <a:gd name="connsiteY1150" fmla="*/ 1296578 h 5509311"/>
              <a:gd name="connsiteX1151" fmla="*/ 3965658 w 11760532"/>
              <a:gd name="connsiteY1151" fmla="*/ 1324318 h 5509311"/>
              <a:gd name="connsiteX1152" fmla="*/ 3933027 w 11760532"/>
              <a:gd name="connsiteY1152" fmla="*/ 1354786 h 5509311"/>
              <a:gd name="connsiteX1153" fmla="*/ 4089367 w 11760532"/>
              <a:gd name="connsiteY1153" fmla="*/ 1289464 h 5509311"/>
              <a:gd name="connsiteX1154" fmla="*/ 4108507 w 11760532"/>
              <a:gd name="connsiteY1154" fmla="*/ 1283814 h 5509311"/>
              <a:gd name="connsiteX1155" fmla="*/ 4123219 w 11760532"/>
              <a:gd name="connsiteY1155" fmla="*/ 1303807 h 5509311"/>
              <a:gd name="connsiteX1156" fmla="*/ 4117837 w 11760532"/>
              <a:gd name="connsiteY1156" fmla="*/ 1320564 h 5509311"/>
              <a:gd name="connsiteX1157" fmla="*/ 4092057 w 11760532"/>
              <a:gd name="connsiteY1157" fmla="*/ 1364679 h 5509311"/>
              <a:gd name="connsiteX1158" fmla="*/ 4107665 w 11760532"/>
              <a:gd name="connsiteY1158" fmla="*/ 1409743 h 5509311"/>
              <a:gd name="connsiteX1159" fmla="*/ 4141823 w 11760532"/>
              <a:gd name="connsiteY1159" fmla="*/ 1393492 h 5509311"/>
              <a:gd name="connsiteX1160" fmla="*/ 4148597 w 11760532"/>
              <a:gd name="connsiteY1160" fmla="*/ 1372991 h 5509311"/>
              <a:gd name="connsiteX1161" fmla="*/ 4202009 w 11760532"/>
              <a:gd name="connsiteY1161" fmla="*/ 1318719 h 5509311"/>
              <a:gd name="connsiteX1162" fmla="*/ 4251126 w 11760532"/>
              <a:gd name="connsiteY1162" fmla="*/ 1308053 h 5509311"/>
              <a:gd name="connsiteX1163" fmla="*/ 4376247 w 11760532"/>
              <a:gd name="connsiteY1163" fmla="*/ 1319788 h 5509311"/>
              <a:gd name="connsiteX1164" fmla="*/ 4407619 w 11760532"/>
              <a:gd name="connsiteY1164" fmla="*/ 1311027 h 5509311"/>
              <a:gd name="connsiteX1165" fmla="*/ 4457557 w 11760532"/>
              <a:gd name="connsiteY1165" fmla="*/ 1291285 h 5509311"/>
              <a:gd name="connsiteX1166" fmla="*/ 4517017 w 11760532"/>
              <a:gd name="connsiteY1166" fmla="*/ 1310069 h 5509311"/>
              <a:gd name="connsiteX1167" fmla="*/ 4556440 w 11760532"/>
              <a:gd name="connsiteY1167" fmla="*/ 1309433 h 5509311"/>
              <a:gd name="connsiteX1168" fmla="*/ 4583881 w 11760532"/>
              <a:gd name="connsiteY1168" fmla="*/ 1297498 h 5509311"/>
              <a:gd name="connsiteX1169" fmla="*/ 4598898 w 11760532"/>
              <a:gd name="connsiteY1169" fmla="*/ 1286898 h 5509311"/>
              <a:gd name="connsiteX1170" fmla="*/ 4608286 w 11760532"/>
              <a:gd name="connsiteY1170" fmla="*/ 1307462 h 5509311"/>
              <a:gd name="connsiteX1171" fmla="*/ 4598344 w 11760532"/>
              <a:gd name="connsiteY1171" fmla="*/ 1331899 h 5509311"/>
              <a:gd name="connsiteX1172" fmla="*/ 4638989 w 11760532"/>
              <a:gd name="connsiteY1172" fmla="*/ 1376074 h 5509311"/>
              <a:gd name="connsiteX1173" fmla="*/ 4659712 w 11760532"/>
              <a:gd name="connsiteY1173" fmla="*/ 1368456 h 5509311"/>
              <a:gd name="connsiteX1174" fmla="*/ 4679424 w 11760532"/>
              <a:gd name="connsiteY1174" fmla="*/ 1368138 h 5509311"/>
              <a:gd name="connsiteX1175" fmla="*/ 4771075 w 11760532"/>
              <a:gd name="connsiteY1175" fmla="*/ 1369085 h 5509311"/>
              <a:gd name="connsiteX1176" fmla="*/ 4775636 w 11760532"/>
              <a:gd name="connsiteY1176" fmla="*/ 1361404 h 5509311"/>
              <a:gd name="connsiteX1177" fmla="*/ 4766630 w 11760532"/>
              <a:gd name="connsiteY1177" fmla="*/ 1344394 h 5509311"/>
              <a:gd name="connsiteX1178" fmla="*/ 4759912 w 11760532"/>
              <a:gd name="connsiteY1178" fmla="*/ 1348711 h 5509311"/>
              <a:gd name="connsiteX1179" fmla="*/ 4715927 w 11760532"/>
              <a:gd name="connsiteY1179" fmla="*/ 1357028 h 5509311"/>
              <a:gd name="connsiteX1180" fmla="*/ 4693220 w 11760532"/>
              <a:gd name="connsiteY1180" fmla="*/ 1312726 h 5509311"/>
              <a:gd name="connsiteX1181" fmla="*/ 4707036 w 11760532"/>
              <a:gd name="connsiteY1181" fmla="*/ 1307647 h 5509311"/>
              <a:gd name="connsiteX1182" fmla="*/ 4738407 w 11760532"/>
              <a:gd name="connsiteY1182" fmla="*/ 1298887 h 5509311"/>
              <a:gd name="connsiteX1183" fmla="*/ 4804509 w 11760532"/>
              <a:gd name="connsiteY1183" fmla="*/ 1279206 h 5509311"/>
              <a:gd name="connsiteX1184" fmla="*/ 4835440 w 11760532"/>
              <a:gd name="connsiteY1184" fmla="*/ 1283076 h 5509311"/>
              <a:gd name="connsiteX1185" fmla="*/ 4874043 w 11760532"/>
              <a:gd name="connsiteY1185" fmla="*/ 1291516 h 5509311"/>
              <a:gd name="connsiteX1186" fmla="*/ 4899270 w 11760532"/>
              <a:gd name="connsiteY1186" fmla="*/ 1292404 h 5509311"/>
              <a:gd name="connsiteX1187" fmla="*/ 4925317 w 11760532"/>
              <a:gd name="connsiteY1187" fmla="*/ 1284214 h 5509311"/>
              <a:gd name="connsiteX1188" fmla="*/ 4942568 w 11760532"/>
              <a:gd name="connsiteY1188" fmla="*/ 1311126 h 5509311"/>
              <a:gd name="connsiteX1189" fmla="*/ 5003650 w 11760532"/>
              <a:gd name="connsiteY1189" fmla="*/ 1261423 h 5509311"/>
              <a:gd name="connsiteX1190" fmla="*/ 4998077 w 11760532"/>
              <a:gd name="connsiteY1190" fmla="*/ 1276403 h 5509311"/>
              <a:gd name="connsiteX1191" fmla="*/ 5026929 w 11760532"/>
              <a:gd name="connsiteY1191" fmla="*/ 1311057 h 5509311"/>
              <a:gd name="connsiteX1192" fmla="*/ 5083718 w 11760532"/>
              <a:gd name="connsiteY1192" fmla="*/ 1304961 h 5509311"/>
              <a:gd name="connsiteX1193" fmla="*/ 5170751 w 11760532"/>
              <a:gd name="connsiteY1193" fmla="*/ 1329774 h 5509311"/>
              <a:gd name="connsiteX1194" fmla="*/ 5205098 w 11760532"/>
              <a:gd name="connsiteY1194" fmla="*/ 1315300 h 5509311"/>
              <a:gd name="connsiteX1195" fmla="*/ 5243244 w 11760532"/>
              <a:gd name="connsiteY1195" fmla="*/ 1286037 h 5509311"/>
              <a:gd name="connsiteX1196" fmla="*/ 5287991 w 11760532"/>
              <a:gd name="connsiteY1196" fmla="*/ 1284829 h 5509311"/>
              <a:gd name="connsiteX1197" fmla="*/ 5312397 w 11760532"/>
              <a:gd name="connsiteY1197" fmla="*/ 1294793 h 5509311"/>
              <a:gd name="connsiteX1198" fmla="*/ 5319877 w 11760532"/>
              <a:gd name="connsiteY1198" fmla="*/ 1297585 h 5509311"/>
              <a:gd name="connsiteX1199" fmla="*/ 5387944 w 11760532"/>
              <a:gd name="connsiteY1199" fmla="*/ 1279491 h 5509311"/>
              <a:gd name="connsiteX1200" fmla="*/ 5448148 w 11760532"/>
              <a:gd name="connsiteY1200" fmla="*/ 1255051 h 5509311"/>
              <a:gd name="connsiteX1201" fmla="*/ 5466276 w 11760532"/>
              <a:gd name="connsiteY1201" fmla="*/ 1256701 h 5509311"/>
              <a:gd name="connsiteX1202" fmla="*/ 5493469 w 11760532"/>
              <a:gd name="connsiteY1202" fmla="*/ 1259175 h 5509311"/>
              <a:gd name="connsiteX1203" fmla="*/ 5575789 w 11760532"/>
              <a:gd name="connsiteY1203" fmla="*/ 1223372 h 5509311"/>
              <a:gd name="connsiteX1204" fmla="*/ 5612046 w 11760532"/>
              <a:gd name="connsiteY1204" fmla="*/ 1226670 h 5509311"/>
              <a:gd name="connsiteX1205" fmla="*/ 5631700 w 11760532"/>
              <a:gd name="connsiteY1205" fmla="*/ 1242538 h 5509311"/>
              <a:gd name="connsiteX1206" fmla="*/ 5646029 w 11760532"/>
              <a:gd name="connsiteY1206" fmla="*/ 1258976 h 5509311"/>
              <a:gd name="connsiteX1207" fmla="*/ 5716767 w 11760532"/>
              <a:gd name="connsiteY1207" fmla="*/ 1265764 h 5509311"/>
              <a:gd name="connsiteX1208" fmla="*/ 5731652 w 11760532"/>
              <a:gd name="connsiteY1208" fmla="*/ 1237200 h 5509311"/>
              <a:gd name="connsiteX1209" fmla="*/ 5737281 w 11760532"/>
              <a:gd name="connsiteY1209" fmla="*/ 1206035 h 5509311"/>
              <a:gd name="connsiteX1210" fmla="*/ 5760427 w 11760532"/>
              <a:gd name="connsiteY1210" fmla="*/ 1237707 h 5509311"/>
              <a:gd name="connsiteX1211" fmla="*/ 5804048 w 11760532"/>
              <a:gd name="connsiteY1211" fmla="*/ 1276169 h 5509311"/>
              <a:gd name="connsiteX1212" fmla="*/ 5856583 w 11760532"/>
              <a:gd name="connsiteY1212" fmla="*/ 1247159 h 5509311"/>
              <a:gd name="connsiteX1213" fmla="*/ 5884214 w 11760532"/>
              <a:gd name="connsiteY1213" fmla="*/ 1237001 h 5509311"/>
              <a:gd name="connsiteX1214" fmla="*/ 5930487 w 11760532"/>
              <a:gd name="connsiteY1214" fmla="*/ 1250011 h 5509311"/>
              <a:gd name="connsiteX1215" fmla="*/ 5946841 w 11760532"/>
              <a:gd name="connsiteY1215" fmla="*/ 1251851 h 5509311"/>
              <a:gd name="connsiteX1216" fmla="*/ 5983536 w 11760532"/>
              <a:gd name="connsiteY1216" fmla="*/ 1242519 h 5509311"/>
              <a:gd name="connsiteX1217" fmla="*/ 5970674 w 11760532"/>
              <a:gd name="connsiteY1217" fmla="*/ 1256483 h 5509311"/>
              <a:gd name="connsiteX1218" fmla="*/ 5975120 w 11760532"/>
              <a:gd name="connsiteY1218" fmla="*/ 1281173 h 5509311"/>
              <a:gd name="connsiteX1219" fmla="*/ 5996034 w 11760532"/>
              <a:gd name="connsiteY1219" fmla="*/ 1275333 h 5509311"/>
              <a:gd name="connsiteX1220" fmla="*/ 6046278 w 11760532"/>
              <a:gd name="connsiteY1220" fmla="*/ 1224996 h 5509311"/>
              <a:gd name="connsiteX1221" fmla="*/ 6090072 w 11760532"/>
              <a:gd name="connsiteY1221" fmla="*/ 1214902 h 5509311"/>
              <a:gd name="connsiteX1222" fmla="*/ 6138368 w 11760532"/>
              <a:gd name="connsiteY1222" fmla="*/ 1213313 h 5509311"/>
              <a:gd name="connsiteX1223" fmla="*/ 6190787 w 11760532"/>
              <a:gd name="connsiteY1223" fmla="*/ 1216674 h 5509311"/>
              <a:gd name="connsiteX1224" fmla="*/ 6227673 w 11760532"/>
              <a:gd name="connsiteY1224" fmla="*/ 1209119 h 5509311"/>
              <a:gd name="connsiteX1225" fmla="*/ 6272229 w 11760532"/>
              <a:gd name="connsiteY1225" fmla="*/ 1206133 h 5509311"/>
              <a:gd name="connsiteX1226" fmla="*/ 6285988 w 11760532"/>
              <a:gd name="connsiteY1226" fmla="*/ 1217240 h 5509311"/>
              <a:gd name="connsiteX1227" fmla="*/ 6337395 w 11760532"/>
              <a:gd name="connsiteY1227" fmla="*/ 1227900 h 5509311"/>
              <a:gd name="connsiteX1228" fmla="*/ 6361153 w 11760532"/>
              <a:gd name="connsiteY1228" fmla="*/ 1198385 h 5509311"/>
              <a:gd name="connsiteX1229" fmla="*/ 6399489 w 11760532"/>
              <a:gd name="connsiteY1229" fmla="*/ 1170899 h 5509311"/>
              <a:gd name="connsiteX1230" fmla="*/ 6465781 w 11760532"/>
              <a:gd name="connsiteY1230" fmla="*/ 1152996 h 5509311"/>
              <a:gd name="connsiteX1231" fmla="*/ 6483145 w 11760532"/>
              <a:gd name="connsiteY1231" fmla="*/ 1147536 h 5509311"/>
              <a:gd name="connsiteX1232" fmla="*/ 6583097 w 11760532"/>
              <a:gd name="connsiteY1232" fmla="*/ 1142200 h 5509311"/>
              <a:gd name="connsiteX1233" fmla="*/ 6563843 w 11760532"/>
              <a:gd name="connsiteY1233" fmla="*/ 1180221 h 5509311"/>
              <a:gd name="connsiteX1234" fmla="*/ 6558462 w 11760532"/>
              <a:gd name="connsiteY1234" fmla="*/ 1196977 h 5509311"/>
              <a:gd name="connsiteX1235" fmla="*/ 6558595 w 11760532"/>
              <a:gd name="connsiteY1235" fmla="*/ 1214940 h 5509311"/>
              <a:gd name="connsiteX1236" fmla="*/ 6576151 w 11760532"/>
              <a:gd name="connsiteY1236" fmla="*/ 1211258 h 5509311"/>
              <a:gd name="connsiteX1237" fmla="*/ 6593382 w 11760532"/>
              <a:gd name="connsiteY1237" fmla="*/ 1187836 h 5509311"/>
              <a:gd name="connsiteX1238" fmla="*/ 6607960 w 11760532"/>
              <a:gd name="connsiteY1238" fmla="*/ 1189866 h 5509311"/>
              <a:gd name="connsiteX1239" fmla="*/ 6620708 w 11760532"/>
              <a:gd name="connsiteY1239" fmla="*/ 1208272 h 5509311"/>
              <a:gd name="connsiteX1240" fmla="*/ 6710260 w 11760532"/>
              <a:gd name="connsiteY1240" fmla="*/ 1189670 h 5509311"/>
              <a:gd name="connsiteX1241" fmla="*/ 6729458 w 11760532"/>
              <a:gd name="connsiteY1241" fmla="*/ 1167834 h 5509311"/>
              <a:gd name="connsiteX1242" fmla="*/ 6729972 w 11760532"/>
              <a:gd name="connsiteY1242" fmla="*/ 1189351 h 5509311"/>
              <a:gd name="connsiteX1243" fmla="*/ 6751210 w 11760532"/>
              <a:gd name="connsiteY1243" fmla="*/ 1203251 h 5509311"/>
              <a:gd name="connsiteX1244" fmla="*/ 6780616 w 11760532"/>
              <a:gd name="connsiteY1244" fmla="*/ 1192903 h 5509311"/>
              <a:gd name="connsiteX1245" fmla="*/ 6795882 w 11760532"/>
              <a:gd name="connsiteY1245" fmla="*/ 1167894 h 5509311"/>
              <a:gd name="connsiteX1246" fmla="*/ 6783384 w 11760532"/>
              <a:gd name="connsiteY1246" fmla="*/ 1135079 h 5509311"/>
              <a:gd name="connsiteX1247" fmla="*/ 6812293 w 11760532"/>
              <a:gd name="connsiteY1247" fmla="*/ 1153549 h 5509311"/>
              <a:gd name="connsiteX1248" fmla="*/ 6838913 w 11760532"/>
              <a:gd name="connsiteY1248" fmla="*/ 1150690 h 5509311"/>
              <a:gd name="connsiteX1249" fmla="*/ 6923141 w 11760532"/>
              <a:gd name="connsiteY1249" fmla="*/ 1132660 h 5509311"/>
              <a:gd name="connsiteX1250" fmla="*/ 6988479 w 11760532"/>
              <a:gd name="connsiteY1250" fmla="*/ 1105871 h 5509311"/>
              <a:gd name="connsiteX1251" fmla="*/ 7003687 w 11760532"/>
              <a:gd name="connsiteY1251" fmla="*/ 1097048 h 5509311"/>
              <a:gd name="connsiteX1252" fmla="*/ 7042596 w 11760532"/>
              <a:gd name="connsiteY1252" fmla="*/ 1074894 h 5509311"/>
              <a:gd name="connsiteX1253" fmla="*/ 7043990 w 11760532"/>
              <a:gd name="connsiteY1253" fmla="*/ 1071149 h 5509311"/>
              <a:gd name="connsiteX1254" fmla="*/ 7062365 w 11760532"/>
              <a:gd name="connsiteY1254" fmla="*/ 1058390 h 5509311"/>
              <a:gd name="connsiteX1255" fmla="*/ 7072765 w 11760532"/>
              <a:gd name="connsiteY1255" fmla="*/ 1071655 h 5509311"/>
              <a:gd name="connsiteX1256" fmla="*/ 7100911 w 11760532"/>
              <a:gd name="connsiteY1256" fmla="*/ 1083015 h 5509311"/>
              <a:gd name="connsiteX1257" fmla="*/ 7170562 w 11760532"/>
              <a:gd name="connsiteY1257" fmla="*/ 1062954 h 5509311"/>
              <a:gd name="connsiteX1258" fmla="*/ 7222656 w 11760532"/>
              <a:gd name="connsiteY1258" fmla="*/ 1046575 h 5509311"/>
              <a:gd name="connsiteX1259" fmla="*/ 7237425 w 11760532"/>
              <a:gd name="connsiteY1259" fmla="*/ 1050383 h 5509311"/>
              <a:gd name="connsiteX1260" fmla="*/ 7256769 w 11760532"/>
              <a:gd name="connsiteY1260" fmla="*/ 1063362 h 5509311"/>
              <a:gd name="connsiteX1261" fmla="*/ 7272553 w 11760532"/>
              <a:gd name="connsiteY1261" fmla="*/ 1063640 h 5509311"/>
              <a:gd name="connsiteX1262" fmla="*/ 7330857 w 11760532"/>
              <a:gd name="connsiteY1262" fmla="*/ 1037935 h 5509311"/>
              <a:gd name="connsiteX1263" fmla="*/ 7328466 w 11760532"/>
              <a:gd name="connsiteY1263" fmla="*/ 1028924 h 5509311"/>
              <a:gd name="connsiteX1264" fmla="*/ 7336672 w 11760532"/>
              <a:gd name="connsiteY1264" fmla="*/ 1021751 h 5509311"/>
              <a:gd name="connsiteX1265" fmla="*/ 7399720 w 11760532"/>
              <a:gd name="connsiteY1265" fmla="*/ 973636 h 5509311"/>
              <a:gd name="connsiteX1266" fmla="*/ 7494712 w 11760532"/>
              <a:gd name="connsiteY1266" fmla="*/ 922091 h 5509311"/>
              <a:gd name="connsiteX1267" fmla="*/ 7506696 w 11760532"/>
              <a:gd name="connsiteY1267" fmla="*/ 933389 h 5509311"/>
              <a:gd name="connsiteX1268" fmla="*/ 7488452 w 11760532"/>
              <a:gd name="connsiteY1268" fmla="*/ 964110 h 5509311"/>
              <a:gd name="connsiteX1269" fmla="*/ 7487192 w 11760532"/>
              <a:gd name="connsiteY1269" fmla="*/ 985818 h 5509311"/>
              <a:gd name="connsiteX1270" fmla="*/ 7507095 w 11760532"/>
              <a:gd name="connsiteY1270" fmla="*/ 987276 h 5509311"/>
              <a:gd name="connsiteX1271" fmla="*/ 7534154 w 11760532"/>
              <a:gd name="connsiteY1271" fmla="*/ 971788 h 5509311"/>
              <a:gd name="connsiteX1272" fmla="*/ 7553484 w 11760532"/>
              <a:gd name="connsiteY1272" fmla="*/ 967915 h 5509311"/>
              <a:gd name="connsiteX1273" fmla="*/ 7556847 w 11760532"/>
              <a:gd name="connsiteY1273" fmla="*/ 978340 h 5509311"/>
              <a:gd name="connsiteX1274" fmla="*/ 7556614 w 11760532"/>
              <a:gd name="connsiteY1274" fmla="*/ 978908 h 5509311"/>
              <a:gd name="connsiteX1275" fmla="*/ 7582152 w 11760532"/>
              <a:gd name="connsiteY1275" fmla="*/ 972345 h 5509311"/>
              <a:gd name="connsiteX1276" fmla="*/ 7608680 w 11760532"/>
              <a:gd name="connsiteY1276" fmla="*/ 960875 h 5509311"/>
              <a:gd name="connsiteX1277" fmla="*/ 7628292 w 11760532"/>
              <a:gd name="connsiteY1277" fmla="*/ 949162 h 5509311"/>
              <a:gd name="connsiteX1278" fmla="*/ 7646643 w 11760532"/>
              <a:gd name="connsiteY1278" fmla="*/ 932746 h 5509311"/>
              <a:gd name="connsiteX1279" fmla="*/ 7758028 w 11760532"/>
              <a:gd name="connsiteY1279" fmla="*/ 816522 h 5509311"/>
              <a:gd name="connsiteX1280" fmla="*/ 7770068 w 11760532"/>
              <a:gd name="connsiteY1280" fmla="*/ 811634 h 5509311"/>
              <a:gd name="connsiteX1281" fmla="*/ 7776918 w 11760532"/>
              <a:gd name="connsiteY1281" fmla="*/ 825281 h 5509311"/>
              <a:gd name="connsiteX1282" fmla="*/ 7773255 w 11760532"/>
              <a:gd name="connsiteY1282" fmla="*/ 858033 h 5509311"/>
              <a:gd name="connsiteX1283" fmla="*/ 7772975 w 11760532"/>
              <a:gd name="connsiteY1283" fmla="*/ 874257 h 5509311"/>
              <a:gd name="connsiteX1284" fmla="*/ 7843506 w 11760532"/>
              <a:gd name="connsiteY1284" fmla="*/ 838389 h 5509311"/>
              <a:gd name="connsiteX1285" fmla="*/ 7981704 w 11760532"/>
              <a:gd name="connsiteY1285" fmla="*/ 751474 h 5509311"/>
              <a:gd name="connsiteX1286" fmla="*/ 8054850 w 11760532"/>
              <a:gd name="connsiteY1286" fmla="*/ 733676 h 5509311"/>
              <a:gd name="connsiteX1287" fmla="*/ 8066046 w 11760532"/>
              <a:gd name="connsiteY1287" fmla="*/ 733194 h 5509311"/>
              <a:gd name="connsiteX1288" fmla="*/ 8075227 w 11760532"/>
              <a:gd name="connsiteY1288" fmla="*/ 724831 h 5509311"/>
              <a:gd name="connsiteX1289" fmla="*/ 8096126 w 11760532"/>
              <a:gd name="connsiteY1289" fmla="*/ 688543 h 5509311"/>
              <a:gd name="connsiteX1290" fmla="*/ 8140607 w 11760532"/>
              <a:gd name="connsiteY1290" fmla="*/ 651410 h 5509311"/>
              <a:gd name="connsiteX1291" fmla="*/ 8166845 w 11760532"/>
              <a:gd name="connsiteY1291" fmla="*/ 644998 h 5509311"/>
              <a:gd name="connsiteX1292" fmla="*/ 8214055 w 11760532"/>
              <a:gd name="connsiteY1292" fmla="*/ 616559 h 5509311"/>
              <a:gd name="connsiteX1293" fmla="*/ 8237125 w 11760532"/>
              <a:gd name="connsiteY1293" fmla="*/ 614083 h 5509311"/>
              <a:gd name="connsiteX1294" fmla="*/ 8244022 w 11760532"/>
              <a:gd name="connsiteY1294" fmla="*/ 618291 h 5509311"/>
              <a:gd name="connsiteX1295" fmla="*/ 8254067 w 11760532"/>
              <a:gd name="connsiteY1295" fmla="*/ 602616 h 5509311"/>
              <a:gd name="connsiteX1296" fmla="*/ 8265389 w 11760532"/>
              <a:gd name="connsiteY1296" fmla="*/ 592742 h 5509311"/>
              <a:gd name="connsiteX1297" fmla="*/ 8284443 w 11760532"/>
              <a:gd name="connsiteY1297" fmla="*/ 590007 h 5509311"/>
              <a:gd name="connsiteX1298" fmla="*/ 8292801 w 11760532"/>
              <a:gd name="connsiteY1298" fmla="*/ 592911 h 5509311"/>
              <a:gd name="connsiteX1299" fmla="*/ 8294241 w 11760532"/>
              <a:gd name="connsiteY1299" fmla="*/ 592222 h 5509311"/>
              <a:gd name="connsiteX1300" fmla="*/ 8293590 w 11760532"/>
              <a:gd name="connsiteY1300" fmla="*/ 588247 h 5509311"/>
              <a:gd name="connsiteX1301" fmla="*/ 8292369 w 11760532"/>
              <a:gd name="connsiteY1301" fmla="*/ 543435 h 5509311"/>
              <a:gd name="connsiteX1302" fmla="*/ 8314103 w 11760532"/>
              <a:gd name="connsiteY1302" fmla="*/ 528518 h 5509311"/>
              <a:gd name="connsiteX1303" fmla="*/ 8324885 w 11760532"/>
              <a:gd name="connsiteY1303" fmla="*/ 545337 h 5509311"/>
              <a:gd name="connsiteX1304" fmla="*/ 8324579 w 11760532"/>
              <a:gd name="connsiteY1304" fmla="*/ 575931 h 5509311"/>
              <a:gd name="connsiteX1305" fmla="*/ 8350800 w 11760532"/>
              <a:gd name="connsiteY1305" fmla="*/ 519185 h 5509311"/>
              <a:gd name="connsiteX1306" fmla="*/ 8355635 w 11760532"/>
              <a:gd name="connsiteY1306" fmla="*/ 511126 h 5509311"/>
              <a:gd name="connsiteX1307" fmla="*/ 8354614 w 11760532"/>
              <a:gd name="connsiteY1307" fmla="*/ 511544 h 5509311"/>
              <a:gd name="connsiteX1308" fmla="*/ 8088574 w 11760532"/>
              <a:gd name="connsiteY1308" fmla="*/ 577110 h 5509311"/>
              <a:gd name="connsiteX1309" fmla="*/ 7837751 w 11760532"/>
              <a:gd name="connsiteY1309" fmla="*/ 642059 h 5509311"/>
              <a:gd name="connsiteX1310" fmla="*/ 8139529 w 11760532"/>
              <a:gd name="connsiteY1310" fmla="*/ 494925 h 5509311"/>
              <a:gd name="connsiteX1311" fmla="*/ 8394729 w 11760532"/>
              <a:gd name="connsiteY1311" fmla="*/ 383197 h 5509311"/>
              <a:gd name="connsiteX1312" fmla="*/ 8726766 w 11760532"/>
              <a:gd name="connsiteY1312" fmla="*/ 222040 h 5509311"/>
              <a:gd name="connsiteX1313" fmla="*/ 8917482 w 11760532"/>
              <a:gd name="connsiteY1313" fmla="*/ 118196 h 5509311"/>
              <a:gd name="connsiteX1314" fmla="*/ 9129013 w 11760532"/>
              <a:gd name="connsiteY1314" fmla="*/ 103749 h 5509311"/>
              <a:gd name="connsiteX1315" fmla="*/ 9161540 w 11760532"/>
              <a:gd name="connsiteY1315" fmla="*/ 46606 h 5509311"/>
              <a:gd name="connsiteX1316" fmla="*/ 9253685 w 11760532"/>
              <a:gd name="connsiteY1316" fmla="*/ 3556 h 5509311"/>
              <a:gd name="connsiteX1317" fmla="*/ 9350413 w 11760532"/>
              <a:gd name="connsiteY1317" fmla="*/ 22243 h 5509311"/>
              <a:gd name="connsiteX1318" fmla="*/ 9361233 w 11760532"/>
              <a:gd name="connsiteY1318" fmla="*/ 0 h 550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Lst>
            <a:rect l="l" t="t" r="r" b="b"/>
            <a:pathLst>
              <a:path w="11760532" h="5509311">
                <a:moveTo>
                  <a:pt x="3069819" y="3916044"/>
                </a:moveTo>
                <a:cubicBezTo>
                  <a:pt x="3065356" y="3916267"/>
                  <a:pt x="3060894" y="3917608"/>
                  <a:pt x="3056432" y="3920289"/>
                </a:cubicBezTo>
                <a:cubicBezTo>
                  <a:pt x="3038584" y="3931013"/>
                  <a:pt x="3018951" y="3934588"/>
                  <a:pt x="2999318" y="3929226"/>
                </a:cubicBezTo>
                <a:lnTo>
                  <a:pt x="2964208" y="3918314"/>
                </a:lnTo>
                <a:lnTo>
                  <a:pt x="2928536" y="3919303"/>
                </a:lnTo>
                <a:lnTo>
                  <a:pt x="2926139" y="3923863"/>
                </a:lnTo>
                <a:cubicBezTo>
                  <a:pt x="2924355" y="3932800"/>
                  <a:pt x="2920785" y="3938163"/>
                  <a:pt x="2911860" y="3938163"/>
                </a:cubicBezTo>
                <a:cubicBezTo>
                  <a:pt x="2902044" y="3939057"/>
                  <a:pt x="2895797" y="3937269"/>
                  <a:pt x="2892674" y="3933024"/>
                </a:cubicBezTo>
                <a:lnTo>
                  <a:pt x="2892388" y="3920306"/>
                </a:lnTo>
                <a:lnTo>
                  <a:pt x="2847897" y="3921540"/>
                </a:lnTo>
                <a:cubicBezTo>
                  <a:pt x="2771205" y="3926178"/>
                  <a:pt x="2694515" y="3930815"/>
                  <a:pt x="2616678" y="3924790"/>
                </a:cubicBezTo>
                <a:cubicBezTo>
                  <a:pt x="2580423" y="3921491"/>
                  <a:pt x="2544262" y="3919081"/>
                  <a:pt x="2508340" y="3918893"/>
                </a:cubicBezTo>
                <a:lnTo>
                  <a:pt x="2422190" y="3924882"/>
                </a:lnTo>
                <a:lnTo>
                  <a:pt x="2431740" y="3945313"/>
                </a:lnTo>
                <a:cubicBezTo>
                  <a:pt x="2456727" y="3995360"/>
                  <a:pt x="2499563" y="4011448"/>
                  <a:pt x="2549538" y="3986423"/>
                </a:cubicBezTo>
                <a:cubicBezTo>
                  <a:pt x="2562032" y="3981062"/>
                  <a:pt x="2574527" y="3977486"/>
                  <a:pt x="2587020" y="3979273"/>
                </a:cubicBezTo>
                <a:cubicBezTo>
                  <a:pt x="2595945" y="3979273"/>
                  <a:pt x="2599514" y="3981062"/>
                  <a:pt x="2599514" y="3989999"/>
                </a:cubicBezTo>
                <a:cubicBezTo>
                  <a:pt x="2601299" y="4006085"/>
                  <a:pt x="2606653" y="4011448"/>
                  <a:pt x="2622717" y="4006085"/>
                </a:cubicBezTo>
                <a:cubicBezTo>
                  <a:pt x="2653059" y="3997148"/>
                  <a:pt x="2681617" y="3997148"/>
                  <a:pt x="2711959" y="3997148"/>
                </a:cubicBezTo>
                <a:cubicBezTo>
                  <a:pt x="2760149" y="3998936"/>
                  <a:pt x="2804770" y="3988211"/>
                  <a:pt x="2842252" y="3952462"/>
                </a:cubicBezTo>
                <a:cubicBezTo>
                  <a:pt x="2842252" y="3952462"/>
                  <a:pt x="2844037" y="3954250"/>
                  <a:pt x="2844037" y="3956037"/>
                </a:cubicBezTo>
                <a:cubicBezTo>
                  <a:pt x="2842252" y="3961399"/>
                  <a:pt x="2838683" y="3966762"/>
                  <a:pt x="2836897" y="3973912"/>
                </a:cubicBezTo>
                <a:cubicBezTo>
                  <a:pt x="2833328" y="3989999"/>
                  <a:pt x="2836897" y="3997148"/>
                  <a:pt x="2852961" y="4000723"/>
                </a:cubicBezTo>
                <a:cubicBezTo>
                  <a:pt x="2872595" y="4004298"/>
                  <a:pt x="2877948" y="4000723"/>
                  <a:pt x="2879734" y="3981062"/>
                </a:cubicBezTo>
                <a:cubicBezTo>
                  <a:pt x="2879734" y="3975699"/>
                  <a:pt x="2876164" y="3964974"/>
                  <a:pt x="2886873" y="3964974"/>
                </a:cubicBezTo>
                <a:cubicBezTo>
                  <a:pt x="2902937" y="3963187"/>
                  <a:pt x="2913646" y="3977486"/>
                  <a:pt x="2906507" y="3991786"/>
                </a:cubicBezTo>
                <a:cubicBezTo>
                  <a:pt x="2901152" y="4000723"/>
                  <a:pt x="2902937" y="4006085"/>
                  <a:pt x="2913646" y="4009660"/>
                </a:cubicBezTo>
                <a:cubicBezTo>
                  <a:pt x="2936848" y="4018597"/>
                  <a:pt x="2960051" y="4029322"/>
                  <a:pt x="2981469" y="4043621"/>
                </a:cubicBezTo>
                <a:cubicBezTo>
                  <a:pt x="2999318" y="4054346"/>
                  <a:pt x="3018951" y="4056133"/>
                  <a:pt x="3038584" y="4043621"/>
                </a:cubicBezTo>
                <a:cubicBezTo>
                  <a:pt x="3043939" y="4038259"/>
                  <a:pt x="3051078" y="4036472"/>
                  <a:pt x="3060002" y="4036472"/>
                </a:cubicBezTo>
                <a:cubicBezTo>
                  <a:pt x="3074281" y="4038259"/>
                  <a:pt x="3088560" y="4040046"/>
                  <a:pt x="3102838" y="4041834"/>
                </a:cubicBezTo>
                <a:cubicBezTo>
                  <a:pt x="3113547" y="4041834"/>
                  <a:pt x="3122472" y="4047196"/>
                  <a:pt x="3126041" y="4059708"/>
                </a:cubicBezTo>
                <a:cubicBezTo>
                  <a:pt x="3127825" y="4072220"/>
                  <a:pt x="3134965" y="4074008"/>
                  <a:pt x="3145674" y="4070432"/>
                </a:cubicBezTo>
                <a:cubicBezTo>
                  <a:pt x="3154598" y="4068645"/>
                  <a:pt x="3165307" y="4066858"/>
                  <a:pt x="3174232" y="4065071"/>
                </a:cubicBezTo>
                <a:cubicBezTo>
                  <a:pt x="3195650" y="4059708"/>
                  <a:pt x="3208144" y="4047196"/>
                  <a:pt x="3211714" y="4025746"/>
                </a:cubicBezTo>
                <a:cubicBezTo>
                  <a:pt x="3213498" y="4018597"/>
                  <a:pt x="3213498" y="4011448"/>
                  <a:pt x="3215283" y="4004298"/>
                </a:cubicBezTo>
                <a:cubicBezTo>
                  <a:pt x="3220637" y="4057921"/>
                  <a:pt x="3259904" y="4066858"/>
                  <a:pt x="3300955" y="4074008"/>
                </a:cubicBezTo>
                <a:cubicBezTo>
                  <a:pt x="3313449" y="4077582"/>
                  <a:pt x="3322373" y="4072220"/>
                  <a:pt x="3331298" y="4065071"/>
                </a:cubicBezTo>
                <a:cubicBezTo>
                  <a:pt x="3340221" y="4057921"/>
                  <a:pt x="3343791" y="4048983"/>
                  <a:pt x="3340221" y="4038259"/>
                </a:cubicBezTo>
                <a:cubicBezTo>
                  <a:pt x="3336652" y="4029322"/>
                  <a:pt x="3327728" y="4034684"/>
                  <a:pt x="3320589" y="4034684"/>
                </a:cubicBezTo>
                <a:cubicBezTo>
                  <a:pt x="3315234" y="4034684"/>
                  <a:pt x="3306309" y="4036472"/>
                  <a:pt x="3304525" y="4027535"/>
                </a:cubicBezTo>
                <a:cubicBezTo>
                  <a:pt x="3302740" y="4020385"/>
                  <a:pt x="3306309" y="4011448"/>
                  <a:pt x="3313449" y="4007872"/>
                </a:cubicBezTo>
                <a:cubicBezTo>
                  <a:pt x="3320589" y="4002510"/>
                  <a:pt x="3329512" y="4002510"/>
                  <a:pt x="3336652" y="4002510"/>
                </a:cubicBezTo>
                <a:cubicBezTo>
                  <a:pt x="3345576" y="4002510"/>
                  <a:pt x="3354500" y="4002510"/>
                  <a:pt x="3359855" y="3995360"/>
                </a:cubicBezTo>
                <a:cubicBezTo>
                  <a:pt x="3350930" y="3982849"/>
                  <a:pt x="3336652" y="3977486"/>
                  <a:pt x="3324159" y="3977486"/>
                </a:cubicBezTo>
                <a:cubicBezTo>
                  <a:pt x="3286677" y="3973912"/>
                  <a:pt x="3252765" y="3961399"/>
                  <a:pt x="3218853" y="3948887"/>
                </a:cubicBezTo>
                <a:cubicBezTo>
                  <a:pt x="3195650" y="3939950"/>
                  <a:pt x="3172446" y="3939950"/>
                  <a:pt x="3149244" y="3954250"/>
                </a:cubicBezTo>
                <a:cubicBezTo>
                  <a:pt x="3142104" y="3959612"/>
                  <a:pt x="3134965" y="3957825"/>
                  <a:pt x="3127825" y="3950675"/>
                </a:cubicBezTo>
                <a:cubicBezTo>
                  <a:pt x="3115333" y="3936376"/>
                  <a:pt x="3099269" y="3927439"/>
                  <a:pt x="3083205" y="3918501"/>
                </a:cubicBezTo>
                <a:cubicBezTo>
                  <a:pt x="3078743" y="3916713"/>
                  <a:pt x="3074281" y="3915820"/>
                  <a:pt x="3069819" y="3916044"/>
                </a:cubicBezTo>
                <a:close/>
                <a:moveTo>
                  <a:pt x="8790902" y="309425"/>
                </a:moveTo>
                <a:cubicBezTo>
                  <a:pt x="8777885" y="323347"/>
                  <a:pt x="8773080" y="333766"/>
                  <a:pt x="8748735" y="342728"/>
                </a:cubicBezTo>
                <a:cubicBezTo>
                  <a:pt x="8735362" y="329872"/>
                  <a:pt x="8745930" y="335111"/>
                  <a:pt x="8719385" y="335753"/>
                </a:cubicBezTo>
                <a:cubicBezTo>
                  <a:pt x="8704523" y="368134"/>
                  <a:pt x="8641373" y="391381"/>
                  <a:pt x="8601811" y="405946"/>
                </a:cubicBezTo>
                <a:lnTo>
                  <a:pt x="8593088" y="382249"/>
                </a:lnTo>
                <a:lnTo>
                  <a:pt x="8584719" y="385330"/>
                </a:lnTo>
                <a:cubicBezTo>
                  <a:pt x="8567295" y="411925"/>
                  <a:pt x="8506440" y="446942"/>
                  <a:pt x="8432201" y="479798"/>
                </a:cubicBezTo>
                <a:lnTo>
                  <a:pt x="8398509" y="493584"/>
                </a:lnTo>
                <a:lnTo>
                  <a:pt x="8393009" y="511059"/>
                </a:lnTo>
                <a:cubicBezTo>
                  <a:pt x="8387055" y="522484"/>
                  <a:pt x="8379137" y="532322"/>
                  <a:pt x="8380663" y="546540"/>
                </a:cubicBezTo>
                <a:cubicBezTo>
                  <a:pt x="8397264" y="533972"/>
                  <a:pt x="8415201" y="533844"/>
                  <a:pt x="8434283" y="544380"/>
                </a:cubicBezTo>
                <a:lnTo>
                  <a:pt x="8421422" y="558061"/>
                </a:lnTo>
                <a:lnTo>
                  <a:pt x="8435639" y="552109"/>
                </a:lnTo>
                <a:cubicBezTo>
                  <a:pt x="8472624" y="539634"/>
                  <a:pt x="8511726" y="529685"/>
                  <a:pt x="8554171" y="522948"/>
                </a:cubicBezTo>
                <a:lnTo>
                  <a:pt x="8665251" y="482055"/>
                </a:lnTo>
                <a:cubicBezTo>
                  <a:pt x="8676425" y="486591"/>
                  <a:pt x="8679384" y="494631"/>
                  <a:pt x="8682343" y="502671"/>
                </a:cubicBezTo>
                <a:cubicBezTo>
                  <a:pt x="8701281" y="504829"/>
                  <a:pt x="8779136" y="448779"/>
                  <a:pt x="8826307" y="431413"/>
                </a:cubicBezTo>
                <a:cubicBezTo>
                  <a:pt x="8823503" y="423796"/>
                  <a:pt x="8817740" y="408139"/>
                  <a:pt x="8822994" y="396596"/>
                </a:cubicBezTo>
                <a:cubicBezTo>
                  <a:pt x="8799408" y="405278"/>
                  <a:pt x="8775061" y="414241"/>
                  <a:pt x="8756885" y="411803"/>
                </a:cubicBezTo>
                <a:cubicBezTo>
                  <a:pt x="8769297" y="398585"/>
                  <a:pt x="8763377" y="382505"/>
                  <a:pt x="8773591" y="360966"/>
                </a:cubicBezTo>
                <a:cubicBezTo>
                  <a:pt x="8786609" y="347044"/>
                  <a:pt x="8818562" y="335280"/>
                  <a:pt x="8820252" y="316400"/>
                </a:cubicBezTo>
                <a:cubicBezTo>
                  <a:pt x="8809840" y="311583"/>
                  <a:pt x="8809840" y="311583"/>
                  <a:pt x="8790902" y="309425"/>
                </a:cubicBezTo>
                <a:close/>
                <a:moveTo>
                  <a:pt x="9547630" y="141460"/>
                </a:moveTo>
                <a:cubicBezTo>
                  <a:pt x="9547637" y="141942"/>
                  <a:pt x="9546919" y="143375"/>
                  <a:pt x="9545650" y="145445"/>
                </a:cubicBezTo>
                <a:lnTo>
                  <a:pt x="9542557" y="149661"/>
                </a:lnTo>
                <a:lnTo>
                  <a:pt x="9545266" y="143191"/>
                </a:lnTo>
                <a:cubicBezTo>
                  <a:pt x="9546893" y="141451"/>
                  <a:pt x="9547624" y="140980"/>
                  <a:pt x="9547630" y="141460"/>
                </a:cubicBezTo>
                <a:close/>
                <a:moveTo>
                  <a:pt x="9361233" y="0"/>
                </a:moveTo>
                <a:cubicBezTo>
                  <a:pt x="9378836" y="47817"/>
                  <a:pt x="9386090" y="18238"/>
                  <a:pt x="9408186" y="54791"/>
                </a:cubicBezTo>
                <a:cubicBezTo>
                  <a:pt x="9418753" y="60030"/>
                  <a:pt x="9401087" y="84793"/>
                  <a:pt x="9396439" y="95633"/>
                </a:cubicBezTo>
                <a:cubicBezTo>
                  <a:pt x="9399243" y="103250"/>
                  <a:pt x="9409811" y="108490"/>
                  <a:pt x="9410926" y="134987"/>
                </a:cubicBezTo>
                <a:cubicBezTo>
                  <a:pt x="9429864" y="137145"/>
                  <a:pt x="9445080" y="131543"/>
                  <a:pt x="9461057" y="125661"/>
                </a:cubicBezTo>
                <a:cubicBezTo>
                  <a:pt x="9475346" y="138660"/>
                  <a:pt x="9475346" y="138660"/>
                  <a:pt x="9481110" y="154317"/>
                </a:cubicBezTo>
                <a:cubicBezTo>
                  <a:pt x="9459879" y="171743"/>
                  <a:pt x="9465132" y="160199"/>
                  <a:pt x="9468447" y="195017"/>
                </a:cubicBezTo>
                <a:lnTo>
                  <a:pt x="9500402" y="183253"/>
                </a:lnTo>
                <a:cubicBezTo>
                  <a:pt x="9507165" y="189892"/>
                  <a:pt x="9521637" y="176396"/>
                  <a:pt x="9532788" y="162981"/>
                </a:cubicBezTo>
                <a:lnTo>
                  <a:pt x="9542557" y="149661"/>
                </a:lnTo>
                <a:lnTo>
                  <a:pt x="9541913" y="151201"/>
                </a:lnTo>
                <a:cubicBezTo>
                  <a:pt x="9530756" y="178617"/>
                  <a:pt x="9498301" y="261147"/>
                  <a:pt x="9487046" y="273699"/>
                </a:cubicBezTo>
                <a:cubicBezTo>
                  <a:pt x="9511592" y="291091"/>
                  <a:pt x="9469093" y="321150"/>
                  <a:pt x="9465561" y="358489"/>
                </a:cubicBezTo>
                <a:cubicBezTo>
                  <a:pt x="9500631" y="355188"/>
                  <a:pt x="9514763" y="367765"/>
                  <a:pt x="9548761" y="363898"/>
                </a:cubicBezTo>
                <a:cubicBezTo>
                  <a:pt x="9551367" y="345159"/>
                  <a:pt x="9545448" y="329080"/>
                  <a:pt x="9544487" y="303005"/>
                </a:cubicBezTo>
                <a:lnTo>
                  <a:pt x="9552096" y="300205"/>
                </a:lnTo>
                <a:lnTo>
                  <a:pt x="9554900" y="307822"/>
                </a:lnTo>
                <a:cubicBezTo>
                  <a:pt x="9593129" y="338914"/>
                  <a:pt x="9598475" y="400374"/>
                  <a:pt x="9620571" y="436926"/>
                </a:cubicBezTo>
                <a:lnTo>
                  <a:pt x="9604594" y="442808"/>
                </a:lnTo>
                <a:cubicBezTo>
                  <a:pt x="9596986" y="445608"/>
                  <a:pt x="9596986" y="445608"/>
                  <a:pt x="9583967" y="459530"/>
                </a:cubicBezTo>
                <a:lnTo>
                  <a:pt x="9592847" y="483650"/>
                </a:lnTo>
                <a:cubicBezTo>
                  <a:pt x="9588043" y="494068"/>
                  <a:pt x="9459942" y="685859"/>
                  <a:pt x="9459942" y="685859"/>
                </a:cubicBezTo>
                <a:lnTo>
                  <a:pt x="9491898" y="674094"/>
                </a:lnTo>
                <a:cubicBezTo>
                  <a:pt x="9503799" y="633675"/>
                  <a:pt x="9572711" y="626084"/>
                  <a:pt x="9616151" y="619703"/>
                </a:cubicBezTo>
                <a:cubicBezTo>
                  <a:pt x="9624720" y="642976"/>
                  <a:pt x="9620072" y="653817"/>
                  <a:pt x="9630639" y="659055"/>
                </a:cubicBezTo>
                <a:cubicBezTo>
                  <a:pt x="9655340" y="676870"/>
                  <a:pt x="9668867" y="690149"/>
                  <a:pt x="9700822" y="678385"/>
                </a:cubicBezTo>
                <a:cubicBezTo>
                  <a:pt x="9726097" y="650822"/>
                  <a:pt x="9840492" y="644746"/>
                  <a:pt x="9852040" y="577550"/>
                </a:cubicBezTo>
                <a:cubicBezTo>
                  <a:pt x="9859294" y="547971"/>
                  <a:pt x="9845160" y="535396"/>
                  <a:pt x="9874000" y="515168"/>
                </a:cubicBezTo>
                <a:cubicBezTo>
                  <a:pt x="9891822" y="490829"/>
                  <a:pt x="9897585" y="506485"/>
                  <a:pt x="9924287" y="506266"/>
                </a:cubicBezTo>
                <a:cubicBezTo>
                  <a:pt x="9915408" y="482146"/>
                  <a:pt x="9902995" y="495364"/>
                  <a:pt x="9923777" y="479065"/>
                </a:cubicBezTo>
                <a:cubicBezTo>
                  <a:pt x="9937148" y="491920"/>
                  <a:pt x="9995805" y="479937"/>
                  <a:pt x="10046542" y="469908"/>
                </a:cubicBezTo>
                <a:cubicBezTo>
                  <a:pt x="10072868" y="541422"/>
                  <a:pt x="10079902" y="583998"/>
                  <a:pt x="10064634" y="643435"/>
                </a:cubicBezTo>
                <a:cubicBezTo>
                  <a:pt x="10062946" y="662317"/>
                  <a:pt x="10039361" y="670999"/>
                  <a:pt x="10032262" y="701002"/>
                </a:cubicBezTo>
                <a:lnTo>
                  <a:pt x="10040987" y="724698"/>
                </a:lnTo>
                <a:cubicBezTo>
                  <a:pt x="10116580" y="732908"/>
                  <a:pt x="10200354" y="692937"/>
                  <a:pt x="10274831" y="674648"/>
                </a:cubicBezTo>
                <a:cubicBezTo>
                  <a:pt x="10317490" y="767056"/>
                  <a:pt x="10346423" y="819832"/>
                  <a:pt x="10346558" y="918766"/>
                </a:cubicBezTo>
                <a:cubicBezTo>
                  <a:pt x="10355438" y="942886"/>
                  <a:pt x="10393157" y="946779"/>
                  <a:pt x="10372885" y="990279"/>
                </a:cubicBezTo>
                <a:cubicBezTo>
                  <a:pt x="10365277" y="993080"/>
                  <a:pt x="10356908" y="996162"/>
                  <a:pt x="10352259" y="1007002"/>
                </a:cubicBezTo>
                <a:cubicBezTo>
                  <a:pt x="10355218" y="1015042"/>
                  <a:pt x="10368237" y="1001120"/>
                  <a:pt x="10365787" y="1020280"/>
                </a:cubicBezTo>
                <a:cubicBezTo>
                  <a:pt x="10358179" y="1023082"/>
                  <a:pt x="10353531" y="1033923"/>
                  <a:pt x="10356334" y="1041539"/>
                </a:cubicBezTo>
                <a:cubicBezTo>
                  <a:pt x="10419483" y="1018291"/>
                  <a:pt x="10456596" y="1022888"/>
                  <a:pt x="10495806" y="981546"/>
                </a:cubicBezTo>
                <a:cubicBezTo>
                  <a:pt x="10517901" y="1018098"/>
                  <a:pt x="10550366" y="1033535"/>
                  <a:pt x="10589930" y="1018970"/>
                </a:cubicBezTo>
                <a:cubicBezTo>
                  <a:pt x="10622394" y="1034407"/>
                  <a:pt x="10645469" y="998524"/>
                  <a:pt x="10690442" y="972838"/>
                </a:cubicBezTo>
                <a:lnTo>
                  <a:pt x="10693402" y="980878"/>
                </a:lnTo>
                <a:lnTo>
                  <a:pt x="10701771" y="977797"/>
                </a:lnTo>
                <a:cubicBezTo>
                  <a:pt x="10708044" y="1020655"/>
                  <a:pt x="10716415" y="1017573"/>
                  <a:pt x="10732746" y="1038470"/>
                </a:cubicBezTo>
                <a:cubicBezTo>
                  <a:pt x="10741116" y="1035388"/>
                  <a:pt x="10745919" y="1024970"/>
                  <a:pt x="10753528" y="1022169"/>
                </a:cubicBezTo>
                <a:cubicBezTo>
                  <a:pt x="10735925" y="974353"/>
                  <a:pt x="10721281" y="934577"/>
                  <a:pt x="10757885" y="911972"/>
                </a:cubicBezTo>
                <a:cubicBezTo>
                  <a:pt x="10779627" y="921747"/>
                  <a:pt x="10790955" y="926706"/>
                  <a:pt x="10806172" y="921104"/>
                </a:cubicBezTo>
                <a:cubicBezTo>
                  <a:pt x="10805818" y="894326"/>
                  <a:pt x="10780624" y="851707"/>
                  <a:pt x="10790837" y="830168"/>
                </a:cubicBezTo>
                <a:cubicBezTo>
                  <a:pt x="10809619" y="831903"/>
                  <a:pt x="10813426" y="891525"/>
                  <a:pt x="10834207" y="875227"/>
                </a:cubicBezTo>
                <a:cubicBezTo>
                  <a:pt x="10857064" y="911498"/>
                  <a:pt x="10855948" y="885001"/>
                  <a:pt x="10869321" y="897856"/>
                </a:cubicBezTo>
                <a:cubicBezTo>
                  <a:pt x="10875240" y="913936"/>
                  <a:pt x="10924144" y="903621"/>
                  <a:pt x="10930063" y="919702"/>
                </a:cubicBezTo>
                <a:cubicBezTo>
                  <a:pt x="10949000" y="921859"/>
                  <a:pt x="10941087" y="944954"/>
                  <a:pt x="10946540" y="959764"/>
                </a:cubicBezTo>
                <a:lnTo>
                  <a:pt x="10964143" y="1007581"/>
                </a:lnTo>
                <a:cubicBezTo>
                  <a:pt x="10974556" y="1012396"/>
                  <a:pt x="11060224" y="1001040"/>
                  <a:pt x="11073752" y="1014317"/>
                </a:cubicBezTo>
                <a:cubicBezTo>
                  <a:pt x="11064841" y="1026488"/>
                  <a:pt x="11048688" y="1039522"/>
                  <a:pt x="11033381" y="1050743"/>
                </a:cubicBezTo>
                <a:lnTo>
                  <a:pt x="11022270" y="1058633"/>
                </a:lnTo>
                <a:lnTo>
                  <a:pt x="11012511" y="1062991"/>
                </a:lnTo>
                <a:lnTo>
                  <a:pt x="11009793" y="1067571"/>
                </a:lnTo>
                <a:lnTo>
                  <a:pt x="10998078" y="1076293"/>
                </a:lnTo>
                <a:cubicBezTo>
                  <a:pt x="10987012" y="1086132"/>
                  <a:pt x="11003404" y="1074332"/>
                  <a:pt x="11006446" y="1073212"/>
                </a:cubicBezTo>
                <a:lnTo>
                  <a:pt x="11009793" y="1067571"/>
                </a:lnTo>
                <a:lnTo>
                  <a:pt x="11012064" y="1065881"/>
                </a:lnTo>
                <a:lnTo>
                  <a:pt x="11022270" y="1058633"/>
                </a:lnTo>
                <a:lnTo>
                  <a:pt x="11027073" y="1056489"/>
                </a:lnTo>
                <a:lnTo>
                  <a:pt x="11044519" y="1103883"/>
                </a:lnTo>
                <a:cubicBezTo>
                  <a:pt x="11039267" y="1115426"/>
                  <a:pt x="11039267" y="1115426"/>
                  <a:pt x="11027009" y="1129068"/>
                </a:cubicBezTo>
                <a:cubicBezTo>
                  <a:pt x="11015681" y="1124109"/>
                  <a:pt x="11015681" y="1124109"/>
                  <a:pt x="11004957" y="1118447"/>
                </a:cubicBezTo>
                <a:cubicBezTo>
                  <a:pt x="11002663" y="1138031"/>
                  <a:pt x="11006775" y="1177361"/>
                  <a:pt x="11009578" y="1184977"/>
                </a:cubicBezTo>
                <a:cubicBezTo>
                  <a:pt x="10999166" y="1180161"/>
                  <a:pt x="10995055" y="1140832"/>
                  <a:pt x="10979077" y="1146714"/>
                </a:cubicBezTo>
                <a:cubicBezTo>
                  <a:pt x="10990761" y="1178450"/>
                  <a:pt x="10977014" y="1237327"/>
                  <a:pt x="10943370" y="1267972"/>
                </a:cubicBezTo>
                <a:cubicBezTo>
                  <a:pt x="11013909" y="1314080"/>
                  <a:pt x="10996243" y="1338843"/>
                  <a:pt x="11020725" y="1428813"/>
                </a:cubicBezTo>
                <a:cubicBezTo>
                  <a:pt x="10993419" y="1429737"/>
                  <a:pt x="10932427" y="1435372"/>
                  <a:pt x="10911489" y="1451249"/>
                </a:cubicBezTo>
                <a:cubicBezTo>
                  <a:pt x="10890552" y="1467125"/>
                  <a:pt x="10894506" y="1506031"/>
                  <a:pt x="10892819" y="1524912"/>
                </a:cubicBezTo>
                <a:cubicBezTo>
                  <a:pt x="10925284" y="1540349"/>
                  <a:pt x="10946185" y="1519682"/>
                  <a:pt x="10968280" y="1556234"/>
                </a:cubicBezTo>
                <a:cubicBezTo>
                  <a:pt x="10981454" y="1542735"/>
                  <a:pt x="10997432" y="1536853"/>
                  <a:pt x="11016212" y="1538587"/>
                </a:cubicBezTo>
                <a:lnTo>
                  <a:pt x="11019173" y="1546628"/>
                </a:lnTo>
                <a:cubicBezTo>
                  <a:pt x="10979609" y="1561192"/>
                  <a:pt x="10950771" y="1581419"/>
                  <a:pt x="10946477" y="1619038"/>
                </a:cubicBezTo>
                <a:cubicBezTo>
                  <a:pt x="10941673" y="1629455"/>
                  <a:pt x="10941673" y="1629455"/>
                  <a:pt x="10947436" y="1645112"/>
                </a:cubicBezTo>
                <a:cubicBezTo>
                  <a:pt x="10987510" y="1657748"/>
                  <a:pt x="11035952" y="1667304"/>
                  <a:pt x="11076474" y="1678813"/>
                </a:cubicBezTo>
                <a:cubicBezTo>
                  <a:pt x="11104292" y="1705091"/>
                  <a:pt x="11077746" y="1705733"/>
                  <a:pt x="11107251" y="1713132"/>
                </a:cubicBezTo>
                <a:cubicBezTo>
                  <a:pt x="11155538" y="1722263"/>
                  <a:pt x="11196945" y="1689240"/>
                  <a:pt x="11230370" y="1730752"/>
                </a:cubicBezTo>
                <a:cubicBezTo>
                  <a:pt x="11279167" y="1767084"/>
                  <a:pt x="11249599" y="1832267"/>
                  <a:pt x="11262553" y="1890924"/>
                </a:cubicBezTo>
                <a:cubicBezTo>
                  <a:pt x="11293749" y="1879440"/>
                  <a:pt x="11311258" y="1854255"/>
                  <a:pt x="11340408" y="1834873"/>
                </a:cubicBezTo>
                <a:lnTo>
                  <a:pt x="11331529" y="1810755"/>
                </a:lnTo>
                <a:cubicBezTo>
                  <a:pt x="11321116" y="1805938"/>
                  <a:pt x="11321116" y="1805938"/>
                  <a:pt x="11306828" y="1792939"/>
                </a:cubicBezTo>
                <a:lnTo>
                  <a:pt x="11330413" y="1784256"/>
                </a:lnTo>
                <a:cubicBezTo>
                  <a:pt x="11355115" y="1802071"/>
                  <a:pt x="11366445" y="1807030"/>
                  <a:pt x="11406007" y="1792466"/>
                </a:cubicBezTo>
                <a:lnTo>
                  <a:pt x="11539116" y="1738658"/>
                </a:lnTo>
                <a:cubicBezTo>
                  <a:pt x="11582261" y="1733825"/>
                  <a:pt x="11586046" y="1830936"/>
                  <a:pt x="11614743" y="1852565"/>
                </a:cubicBezTo>
                <a:cubicBezTo>
                  <a:pt x="11643441" y="1874194"/>
                  <a:pt x="11697242" y="1825558"/>
                  <a:pt x="11713132" y="1868719"/>
                </a:cubicBezTo>
                <a:cubicBezTo>
                  <a:pt x="11751361" y="1899812"/>
                  <a:pt x="11757218" y="1988472"/>
                  <a:pt x="11760532" y="2023290"/>
                </a:cubicBezTo>
                <a:cubicBezTo>
                  <a:pt x="11739396" y="2012811"/>
                  <a:pt x="11727850" y="1979102"/>
                  <a:pt x="11708757" y="1976520"/>
                </a:cubicBezTo>
                <a:cubicBezTo>
                  <a:pt x="11666390" y="1983469"/>
                  <a:pt x="11625355" y="2045665"/>
                  <a:pt x="11578184" y="2063030"/>
                </a:cubicBezTo>
                <a:cubicBezTo>
                  <a:pt x="11542635" y="2083805"/>
                  <a:pt x="11567446" y="2015089"/>
                  <a:pt x="11521246" y="2039785"/>
                </a:cubicBezTo>
                <a:cubicBezTo>
                  <a:pt x="11475045" y="2064481"/>
                  <a:pt x="11362043" y="2154132"/>
                  <a:pt x="11334906" y="2197758"/>
                </a:cubicBezTo>
                <a:cubicBezTo>
                  <a:pt x="11327808" y="2227758"/>
                  <a:pt x="11332508" y="2325013"/>
                  <a:pt x="11328214" y="2362631"/>
                </a:cubicBezTo>
                <a:cubicBezTo>
                  <a:pt x="11320607" y="2365431"/>
                  <a:pt x="11307745" y="2379777"/>
                  <a:pt x="11302180" y="2390474"/>
                </a:cubicBezTo>
                <a:cubicBezTo>
                  <a:pt x="11380733" y="2406724"/>
                  <a:pt x="11357282" y="2514340"/>
                  <a:pt x="11366517" y="2565237"/>
                </a:cubicBezTo>
                <a:cubicBezTo>
                  <a:pt x="11390864" y="2556275"/>
                  <a:pt x="11425017" y="2552831"/>
                  <a:pt x="11451407" y="2551765"/>
                </a:cubicBezTo>
                <a:cubicBezTo>
                  <a:pt x="11451407" y="2551765"/>
                  <a:pt x="11446913" y="2563029"/>
                  <a:pt x="11449717" y="2570646"/>
                </a:cubicBezTo>
                <a:cubicBezTo>
                  <a:pt x="11379316" y="2623472"/>
                  <a:pt x="11342868" y="2646500"/>
                  <a:pt x="11394250" y="2762605"/>
                </a:cubicBezTo>
                <a:cubicBezTo>
                  <a:pt x="11435085" y="2774961"/>
                  <a:pt x="11399796" y="2850418"/>
                  <a:pt x="11427612" y="2876696"/>
                </a:cubicBezTo>
                <a:cubicBezTo>
                  <a:pt x="11443944" y="2897591"/>
                  <a:pt x="11462882" y="2899749"/>
                  <a:pt x="11480485" y="2947566"/>
                </a:cubicBezTo>
                <a:cubicBezTo>
                  <a:pt x="11467468" y="2961488"/>
                  <a:pt x="11455054" y="2974707"/>
                  <a:pt x="11449645" y="2985827"/>
                </a:cubicBezTo>
                <a:cubicBezTo>
                  <a:pt x="11379971" y="2993699"/>
                  <a:pt x="11390029" y="2971737"/>
                  <a:pt x="11340471" y="2935684"/>
                </a:cubicBezTo>
                <a:cubicBezTo>
                  <a:pt x="11309788" y="2974368"/>
                  <a:pt x="11226077" y="2941760"/>
                  <a:pt x="11183199" y="2921507"/>
                </a:cubicBezTo>
                <a:lnTo>
                  <a:pt x="11177435" y="2905850"/>
                </a:lnTo>
                <a:lnTo>
                  <a:pt x="11208630" y="2894367"/>
                </a:lnTo>
                <a:lnTo>
                  <a:pt x="11205669" y="2886326"/>
                </a:lnTo>
                <a:lnTo>
                  <a:pt x="11189691" y="2892208"/>
                </a:lnTo>
                <a:cubicBezTo>
                  <a:pt x="11182083" y="2895009"/>
                  <a:pt x="11153088" y="2914813"/>
                  <a:pt x="11145479" y="2917614"/>
                </a:cubicBezTo>
                <a:cubicBezTo>
                  <a:pt x="11161656" y="2938087"/>
                  <a:pt x="11161656" y="2938087"/>
                  <a:pt x="11173140" y="2943469"/>
                </a:cubicBezTo>
                <a:cubicBezTo>
                  <a:pt x="11160123" y="2957390"/>
                  <a:pt x="11160123" y="2957390"/>
                  <a:pt x="11144146" y="2963272"/>
                </a:cubicBezTo>
                <a:cubicBezTo>
                  <a:pt x="11193548" y="2998902"/>
                  <a:pt x="11181646" y="3039322"/>
                  <a:pt x="11267047" y="3053049"/>
                </a:cubicBezTo>
                <a:cubicBezTo>
                  <a:pt x="11272966" y="3069129"/>
                  <a:pt x="11300981" y="3121762"/>
                  <a:pt x="11299293" y="3140642"/>
                </a:cubicBezTo>
                <a:cubicBezTo>
                  <a:pt x="11292195" y="3170644"/>
                  <a:pt x="11279783" y="3183863"/>
                  <a:pt x="11269568" y="3205402"/>
                </a:cubicBezTo>
                <a:cubicBezTo>
                  <a:pt x="11221637" y="3223048"/>
                  <a:pt x="11172777" y="3259293"/>
                  <a:pt x="11132098" y="3247361"/>
                </a:cubicBezTo>
                <a:cubicBezTo>
                  <a:pt x="11105552" y="3248004"/>
                  <a:pt x="11099632" y="3231924"/>
                  <a:pt x="11070283" y="3224950"/>
                </a:cubicBezTo>
                <a:cubicBezTo>
                  <a:pt x="11057265" y="3238872"/>
                  <a:pt x="11044092" y="3252371"/>
                  <a:pt x="11030469" y="3266996"/>
                </a:cubicBezTo>
                <a:cubicBezTo>
                  <a:pt x="11060580" y="3273689"/>
                  <a:pt x="11133349" y="3372793"/>
                  <a:pt x="11124408" y="3421251"/>
                </a:cubicBezTo>
                <a:cubicBezTo>
                  <a:pt x="11124917" y="3448452"/>
                  <a:pt x="11124917" y="3448452"/>
                  <a:pt x="11112505" y="3461671"/>
                </a:cubicBezTo>
                <a:cubicBezTo>
                  <a:pt x="11096277" y="3495033"/>
                  <a:pt x="11004894" y="3537805"/>
                  <a:pt x="10964215" y="3525872"/>
                </a:cubicBezTo>
                <a:cubicBezTo>
                  <a:pt x="10902756" y="3530239"/>
                  <a:pt x="10822222" y="3433513"/>
                  <a:pt x="10786442" y="3383260"/>
                </a:cubicBezTo>
                <a:cubicBezTo>
                  <a:pt x="10758781" y="3357405"/>
                  <a:pt x="10757312" y="3304129"/>
                  <a:pt x="10740063" y="3283091"/>
                </a:cubicBezTo>
                <a:lnTo>
                  <a:pt x="10708869" y="3294575"/>
                </a:lnTo>
                <a:cubicBezTo>
                  <a:pt x="10682834" y="3322417"/>
                  <a:pt x="10606157" y="3332386"/>
                  <a:pt x="10573441" y="3344431"/>
                </a:cubicBezTo>
                <a:cubicBezTo>
                  <a:pt x="10540016" y="3302919"/>
                  <a:pt x="10514805" y="3257904"/>
                  <a:pt x="10459264" y="3278350"/>
                </a:cubicBezTo>
                <a:cubicBezTo>
                  <a:pt x="10437367" y="3268151"/>
                  <a:pt x="10387392" y="3277901"/>
                  <a:pt x="10379023" y="3280981"/>
                </a:cubicBezTo>
                <a:cubicBezTo>
                  <a:pt x="10366611" y="3294200"/>
                  <a:pt x="10356553" y="3316162"/>
                  <a:pt x="10343536" y="3330084"/>
                </a:cubicBezTo>
                <a:cubicBezTo>
                  <a:pt x="10359294" y="3396358"/>
                  <a:pt x="10378742" y="3425717"/>
                  <a:pt x="10400837" y="3462270"/>
                </a:cubicBezTo>
                <a:cubicBezTo>
                  <a:pt x="10407872" y="3504847"/>
                  <a:pt x="10398930" y="3553306"/>
                  <a:pt x="10416377" y="3600700"/>
                </a:cubicBezTo>
                <a:cubicBezTo>
                  <a:pt x="10400399" y="3606582"/>
                  <a:pt x="10384423" y="3612464"/>
                  <a:pt x="10372322" y="3626529"/>
                </a:cubicBezTo>
                <a:cubicBezTo>
                  <a:pt x="10369716" y="3645266"/>
                  <a:pt x="10359659" y="3667228"/>
                  <a:pt x="10357814" y="3685685"/>
                </a:cubicBezTo>
                <a:lnTo>
                  <a:pt x="10350206" y="3688487"/>
                </a:lnTo>
                <a:lnTo>
                  <a:pt x="10341326" y="3664367"/>
                </a:lnTo>
                <a:cubicBezTo>
                  <a:pt x="10330154" y="3659830"/>
                  <a:pt x="10343171" y="3645909"/>
                  <a:pt x="10347975" y="3635491"/>
                </a:cubicBezTo>
                <a:cubicBezTo>
                  <a:pt x="10271298" y="3645459"/>
                  <a:pt x="10225971" y="3644368"/>
                  <a:pt x="10175298" y="3581818"/>
                </a:cubicBezTo>
                <a:cubicBezTo>
                  <a:pt x="10119757" y="3602264"/>
                  <a:pt x="10111388" y="3605345"/>
                  <a:pt x="10073003" y="3573828"/>
                </a:cubicBezTo>
                <a:cubicBezTo>
                  <a:pt x="10062946" y="3595790"/>
                  <a:pt x="10062946" y="3595790"/>
                  <a:pt x="10034711" y="3615314"/>
                </a:cubicBezTo>
                <a:cubicBezTo>
                  <a:pt x="10024144" y="3610074"/>
                  <a:pt x="9999287" y="3591837"/>
                  <a:pt x="10002247" y="3599876"/>
                </a:cubicBezTo>
                <a:cubicBezTo>
                  <a:pt x="9992188" y="3621839"/>
                  <a:pt x="9987539" y="3632680"/>
                  <a:pt x="9999224" y="3664415"/>
                </a:cubicBezTo>
                <a:cubicBezTo>
                  <a:pt x="10055119" y="3670746"/>
                  <a:pt x="10171140" y="3718370"/>
                  <a:pt x="10160509" y="3785710"/>
                </a:cubicBezTo>
                <a:cubicBezTo>
                  <a:pt x="10153100" y="3814865"/>
                  <a:pt x="10107709" y="3886352"/>
                  <a:pt x="10070950" y="3908533"/>
                </a:cubicBezTo>
                <a:cubicBezTo>
                  <a:pt x="10029917" y="3869823"/>
                  <a:pt x="9984945" y="3895509"/>
                  <a:pt x="9932207" y="3923572"/>
                </a:cubicBezTo>
                <a:cubicBezTo>
                  <a:pt x="9925871" y="3953294"/>
                  <a:pt x="9910093" y="3985530"/>
                  <a:pt x="9908559" y="4004835"/>
                </a:cubicBezTo>
                <a:lnTo>
                  <a:pt x="9893187" y="4019187"/>
                </a:lnTo>
                <a:lnTo>
                  <a:pt x="9895036" y="4019491"/>
                </a:lnTo>
                <a:cubicBezTo>
                  <a:pt x="9914670" y="4023513"/>
                  <a:pt x="9934302" y="4026640"/>
                  <a:pt x="9954828" y="4023959"/>
                </a:cubicBezTo>
                <a:cubicBezTo>
                  <a:pt x="9963752" y="4022172"/>
                  <a:pt x="9970892" y="4027535"/>
                  <a:pt x="9961967" y="4038259"/>
                </a:cubicBezTo>
                <a:cubicBezTo>
                  <a:pt x="9956612" y="4045409"/>
                  <a:pt x="9954828" y="4056133"/>
                  <a:pt x="9956612" y="4065071"/>
                </a:cubicBezTo>
                <a:lnTo>
                  <a:pt x="9954382" y="4113096"/>
                </a:lnTo>
                <a:lnTo>
                  <a:pt x="9989902" y="4101848"/>
                </a:lnTo>
                <a:cubicBezTo>
                  <a:pt x="10008805" y="4096285"/>
                  <a:pt x="10025835" y="4092238"/>
                  <a:pt x="10039069" y="4091811"/>
                </a:cubicBezTo>
                <a:lnTo>
                  <a:pt x="10047792" y="4115508"/>
                </a:lnTo>
                <a:cubicBezTo>
                  <a:pt x="10062236" y="4128929"/>
                  <a:pt x="10047510" y="4260243"/>
                  <a:pt x="10046176" y="4305901"/>
                </a:cubicBezTo>
                <a:lnTo>
                  <a:pt x="10030199" y="4311784"/>
                </a:lnTo>
                <a:cubicBezTo>
                  <a:pt x="10013712" y="4290465"/>
                  <a:pt x="10024279" y="4295703"/>
                  <a:pt x="10006103" y="4293265"/>
                </a:cubicBezTo>
                <a:cubicBezTo>
                  <a:pt x="9977619" y="4340270"/>
                  <a:pt x="9878283" y="4340321"/>
                  <a:pt x="9825347" y="4342029"/>
                </a:cubicBezTo>
                <a:lnTo>
                  <a:pt x="9769809" y="4362476"/>
                </a:lnTo>
                <a:cubicBezTo>
                  <a:pt x="9760417" y="4361609"/>
                  <a:pt x="9745703" y="4358016"/>
                  <a:pt x="9730989" y="4354423"/>
                </a:cubicBezTo>
                <a:lnTo>
                  <a:pt x="9730614" y="4354346"/>
                </a:lnTo>
                <a:lnTo>
                  <a:pt x="9721014" y="4363571"/>
                </a:lnTo>
                <a:cubicBezTo>
                  <a:pt x="9697811" y="4386808"/>
                  <a:pt x="9671039" y="4402894"/>
                  <a:pt x="9638912" y="4413618"/>
                </a:cubicBezTo>
                <a:cubicBezTo>
                  <a:pt x="9617493" y="4422555"/>
                  <a:pt x="9596075" y="4433281"/>
                  <a:pt x="9580012" y="4449367"/>
                </a:cubicBezTo>
                <a:cubicBezTo>
                  <a:pt x="9542530" y="4483328"/>
                  <a:pt x="9501479" y="4499415"/>
                  <a:pt x="9451504" y="4497628"/>
                </a:cubicBezTo>
                <a:cubicBezTo>
                  <a:pt x="9412237" y="4497628"/>
                  <a:pt x="9380110" y="4511927"/>
                  <a:pt x="9356907" y="4545888"/>
                </a:cubicBezTo>
                <a:cubicBezTo>
                  <a:pt x="9342629" y="4567337"/>
                  <a:pt x="9326565" y="4588786"/>
                  <a:pt x="9310502" y="4612023"/>
                </a:cubicBezTo>
                <a:lnTo>
                  <a:pt x="9300821" y="4624255"/>
                </a:lnTo>
                <a:lnTo>
                  <a:pt x="9285128" y="4658148"/>
                </a:lnTo>
                <a:cubicBezTo>
                  <a:pt x="9264503" y="4674871"/>
                  <a:pt x="9251485" y="4688793"/>
                  <a:pt x="9230704" y="4705092"/>
                </a:cubicBezTo>
                <a:cubicBezTo>
                  <a:pt x="9204669" y="4732936"/>
                  <a:pt x="9216351" y="4764672"/>
                  <a:pt x="9174339" y="4798399"/>
                </a:cubicBezTo>
                <a:cubicBezTo>
                  <a:pt x="9015869" y="4928813"/>
                  <a:pt x="8781157" y="4924884"/>
                  <a:pt x="8651713" y="4918241"/>
                </a:cubicBezTo>
                <a:lnTo>
                  <a:pt x="8581757" y="4943994"/>
                </a:lnTo>
                <a:lnTo>
                  <a:pt x="8566224" y="4953422"/>
                </a:lnTo>
                <a:cubicBezTo>
                  <a:pt x="8505539" y="4978446"/>
                  <a:pt x="8448425" y="5010619"/>
                  <a:pt x="8396665" y="5051730"/>
                </a:cubicBezTo>
                <a:cubicBezTo>
                  <a:pt x="8377032" y="5067817"/>
                  <a:pt x="8353829" y="5078541"/>
                  <a:pt x="8327056" y="5078541"/>
                </a:cubicBezTo>
                <a:cubicBezTo>
                  <a:pt x="8282435" y="5080329"/>
                  <a:pt x="8246739" y="5101778"/>
                  <a:pt x="8214611" y="5130377"/>
                </a:cubicBezTo>
                <a:cubicBezTo>
                  <a:pt x="8202117" y="5141101"/>
                  <a:pt x="8187839" y="5150038"/>
                  <a:pt x="8169991" y="5150038"/>
                </a:cubicBezTo>
                <a:cubicBezTo>
                  <a:pt x="8162851" y="5150038"/>
                  <a:pt x="8157497" y="5151826"/>
                  <a:pt x="8152142" y="5157188"/>
                </a:cubicBezTo>
                <a:cubicBezTo>
                  <a:pt x="8116446" y="5191150"/>
                  <a:pt x="8070040" y="5209024"/>
                  <a:pt x="8021849" y="5217961"/>
                </a:cubicBezTo>
                <a:cubicBezTo>
                  <a:pt x="8007571" y="5221536"/>
                  <a:pt x="7995076" y="5221536"/>
                  <a:pt x="7987937" y="5209024"/>
                </a:cubicBezTo>
                <a:cubicBezTo>
                  <a:pt x="7977228" y="5192937"/>
                  <a:pt x="7995076" y="5191150"/>
                  <a:pt x="8000431" y="5184000"/>
                </a:cubicBezTo>
                <a:cubicBezTo>
                  <a:pt x="8005786" y="5173275"/>
                  <a:pt x="8016495" y="5169700"/>
                  <a:pt x="8028988" y="5175063"/>
                </a:cubicBezTo>
                <a:cubicBezTo>
                  <a:pt x="8052191" y="5185787"/>
                  <a:pt x="8052191" y="5185787"/>
                  <a:pt x="8064686" y="5164338"/>
                </a:cubicBezTo>
                <a:cubicBezTo>
                  <a:pt x="8068255" y="5157188"/>
                  <a:pt x="8073609" y="5150038"/>
                  <a:pt x="8078964" y="5142888"/>
                </a:cubicBezTo>
                <a:cubicBezTo>
                  <a:pt x="8080749" y="5139314"/>
                  <a:pt x="8082533" y="5133951"/>
                  <a:pt x="8078964" y="5130377"/>
                </a:cubicBezTo>
                <a:cubicBezTo>
                  <a:pt x="8075395" y="5126802"/>
                  <a:pt x="8071824" y="5123227"/>
                  <a:pt x="8066470" y="5126802"/>
                </a:cubicBezTo>
                <a:cubicBezTo>
                  <a:pt x="8053977" y="5132164"/>
                  <a:pt x="8041482" y="5125014"/>
                  <a:pt x="8030773" y="5123227"/>
                </a:cubicBezTo>
                <a:cubicBezTo>
                  <a:pt x="8020064" y="5121440"/>
                  <a:pt x="8007571" y="5119652"/>
                  <a:pt x="7998646" y="5125014"/>
                </a:cubicBezTo>
                <a:cubicBezTo>
                  <a:pt x="7948671" y="5157188"/>
                  <a:pt x="7891556" y="5166125"/>
                  <a:pt x="7834442" y="5169700"/>
                </a:cubicBezTo>
                <a:cubicBezTo>
                  <a:pt x="7816593" y="5171488"/>
                  <a:pt x="7804100" y="5175063"/>
                  <a:pt x="7795175" y="5191150"/>
                </a:cubicBezTo>
                <a:cubicBezTo>
                  <a:pt x="7789820" y="5203661"/>
                  <a:pt x="7782681" y="5203661"/>
                  <a:pt x="7773757" y="5192937"/>
                </a:cubicBezTo>
                <a:cubicBezTo>
                  <a:pt x="7768402" y="5184000"/>
                  <a:pt x="7761263" y="5176850"/>
                  <a:pt x="7748769" y="5182212"/>
                </a:cubicBezTo>
                <a:cubicBezTo>
                  <a:pt x="7734490" y="5189362"/>
                  <a:pt x="7721997" y="5198299"/>
                  <a:pt x="7714858" y="5210811"/>
                </a:cubicBezTo>
                <a:cubicBezTo>
                  <a:pt x="7709503" y="5221536"/>
                  <a:pt x="7702364" y="5225110"/>
                  <a:pt x="7689869" y="5225110"/>
                </a:cubicBezTo>
                <a:cubicBezTo>
                  <a:pt x="7684515" y="5225110"/>
                  <a:pt x="7679161" y="5225110"/>
                  <a:pt x="7673807" y="5226898"/>
                </a:cubicBezTo>
                <a:cubicBezTo>
                  <a:pt x="7639895" y="5235835"/>
                  <a:pt x="7605983" y="5244772"/>
                  <a:pt x="7570285" y="5251922"/>
                </a:cubicBezTo>
                <a:cubicBezTo>
                  <a:pt x="7556007" y="5253709"/>
                  <a:pt x="7543513" y="5257284"/>
                  <a:pt x="7534589" y="5269796"/>
                </a:cubicBezTo>
                <a:cubicBezTo>
                  <a:pt x="7527450" y="5276946"/>
                  <a:pt x="7520310" y="5280520"/>
                  <a:pt x="7511386" y="5273371"/>
                </a:cubicBezTo>
                <a:cubicBezTo>
                  <a:pt x="7488183" y="5255497"/>
                  <a:pt x="7464981" y="5259072"/>
                  <a:pt x="7438208" y="5264434"/>
                </a:cubicBezTo>
                <a:cubicBezTo>
                  <a:pt x="7370384" y="5280520"/>
                  <a:pt x="7304345" y="5287670"/>
                  <a:pt x="7236521" y="5268009"/>
                </a:cubicBezTo>
                <a:cubicBezTo>
                  <a:pt x="7211533" y="5260859"/>
                  <a:pt x="7186545" y="5259072"/>
                  <a:pt x="7161558" y="5264434"/>
                </a:cubicBezTo>
                <a:cubicBezTo>
                  <a:pt x="7120507" y="5271583"/>
                  <a:pt x="7079455" y="5276946"/>
                  <a:pt x="7038404" y="5278733"/>
                </a:cubicBezTo>
                <a:cubicBezTo>
                  <a:pt x="6983074" y="5280520"/>
                  <a:pt x="6927745" y="5278733"/>
                  <a:pt x="6872414" y="5296607"/>
                </a:cubicBezTo>
                <a:cubicBezTo>
                  <a:pt x="6827793" y="5312695"/>
                  <a:pt x="6781388" y="5318056"/>
                  <a:pt x="6733197" y="5321632"/>
                </a:cubicBezTo>
                <a:cubicBezTo>
                  <a:pt x="6688576" y="5323419"/>
                  <a:pt x="6643955" y="5323419"/>
                  <a:pt x="6599335" y="5335931"/>
                </a:cubicBezTo>
                <a:cubicBezTo>
                  <a:pt x="6567207" y="5344868"/>
                  <a:pt x="6535080" y="5348443"/>
                  <a:pt x="6502952" y="5352018"/>
                </a:cubicBezTo>
                <a:cubicBezTo>
                  <a:pt x="6369090" y="5360955"/>
                  <a:pt x="6237012" y="5378829"/>
                  <a:pt x="6106719" y="5393129"/>
                </a:cubicBezTo>
                <a:cubicBezTo>
                  <a:pt x="5962147" y="5411002"/>
                  <a:pt x="5819361" y="5430665"/>
                  <a:pt x="5674788" y="5444964"/>
                </a:cubicBezTo>
                <a:cubicBezTo>
                  <a:pt x="5537356" y="5459264"/>
                  <a:pt x="5399923" y="5468201"/>
                  <a:pt x="5262491" y="5468201"/>
                </a:cubicBezTo>
                <a:cubicBezTo>
                  <a:pt x="5157185" y="5468201"/>
                  <a:pt x="5051880" y="5473563"/>
                  <a:pt x="4946575" y="5482500"/>
                </a:cubicBezTo>
                <a:cubicBezTo>
                  <a:pt x="4866258" y="5489650"/>
                  <a:pt x="4785940" y="5496800"/>
                  <a:pt x="4705623" y="5500374"/>
                </a:cubicBezTo>
                <a:cubicBezTo>
                  <a:pt x="4648507" y="5502161"/>
                  <a:pt x="4591392" y="5503949"/>
                  <a:pt x="4532493" y="5507524"/>
                </a:cubicBezTo>
                <a:cubicBezTo>
                  <a:pt x="4496796" y="5507524"/>
                  <a:pt x="4459315" y="5507524"/>
                  <a:pt x="4423618" y="5509311"/>
                </a:cubicBezTo>
                <a:cubicBezTo>
                  <a:pt x="4411124" y="5509311"/>
                  <a:pt x="4400414" y="5509311"/>
                  <a:pt x="4389706" y="5509311"/>
                </a:cubicBezTo>
                <a:cubicBezTo>
                  <a:pt x="4386136" y="5509311"/>
                  <a:pt x="4384351" y="5507524"/>
                  <a:pt x="4382566" y="5507524"/>
                </a:cubicBezTo>
                <a:cubicBezTo>
                  <a:pt x="4213007" y="5498587"/>
                  <a:pt x="4043447" y="5507524"/>
                  <a:pt x="3873888" y="5493224"/>
                </a:cubicBezTo>
                <a:cubicBezTo>
                  <a:pt x="3829267" y="5489650"/>
                  <a:pt x="3784646" y="5489650"/>
                  <a:pt x="3740025" y="5484287"/>
                </a:cubicBezTo>
                <a:cubicBezTo>
                  <a:pt x="3641859" y="5473563"/>
                  <a:pt x="3545478" y="5466413"/>
                  <a:pt x="3447312" y="5461051"/>
                </a:cubicBezTo>
                <a:cubicBezTo>
                  <a:pt x="3370563" y="5457476"/>
                  <a:pt x="3293816" y="5453901"/>
                  <a:pt x="3217067" y="5439602"/>
                </a:cubicBezTo>
                <a:cubicBezTo>
                  <a:pt x="3145674" y="5425302"/>
                  <a:pt x="3074281" y="5414578"/>
                  <a:pt x="3002887" y="5418152"/>
                </a:cubicBezTo>
                <a:cubicBezTo>
                  <a:pt x="2995748" y="5418152"/>
                  <a:pt x="2990393" y="5418152"/>
                  <a:pt x="2985039" y="5412791"/>
                </a:cubicBezTo>
                <a:cubicBezTo>
                  <a:pt x="2952912" y="5384192"/>
                  <a:pt x="2915430" y="5380616"/>
                  <a:pt x="2874379" y="5382404"/>
                </a:cubicBezTo>
                <a:cubicBezTo>
                  <a:pt x="2835113" y="5384192"/>
                  <a:pt x="2795846" y="5384192"/>
                  <a:pt x="2756580" y="5377042"/>
                </a:cubicBezTo>
                <a:cubicBezTo>
                  <a:pt x="2690540" y="5364529"/>
                  <a:pt x="2626287" y="5348443"/>
                  <a:pt x="2558463" y="5346655"/>
                </a:cubicBezTo>
                <a:cubicBezTo>
                  <a:pt x="2528121" y="5346655"/>
                  <a:pt x="2501348" y="5335931"/>
                  <a:pt x="2479930" y="5314482"/>
                </a:cubicBezTo>
                <a:cubicBezTo>
                  <a:pt x="2472791" y="5307332"/>
                  <a:pt x="2467436" y="5307332"/>
                  <a:pt x="2460297" y="5312695"/>
                </a:cubicBezTo>
                <a:cubicBezTo>
                  <a:pt x="2444233" y="5321632"/>
                  <a:pt x="2428170" y="5326993"/>
                  <a:pt x="2413892" y="5312695"/>
                </a:cubicBezTo>
                <a:cubicBezTo>
                  <a:pt x="2394258" y="5296607"/>
                  <a:pt x="2372839" y="5293033"/>
                  <a:pt x="2347851" y="5294820"/>
                </a:cubicBezTo>
                <a:cubicBezTo>
                  <a:pt x="2310370" y="5296607"/>
                  <a:pt x="2276458" y="5287670"/>
                  <a:pt x="2246116" y="5264434"/>
                </a:cubicBezTo>
                <a:cubicBezTo>
                  <a:pt x="2228267" y="5250134"/>
                  <a:pt x="2203280" y="5242984"/>
                  <a:pt x="2185432" y="5253709"/>
                </a:cubicBezTo>
                <a:cubicBezTo>
                  <a:pt x="2153304" y="5273371"/>
                  <a:pt x="2126531" y="5266221"/>
                  <a:pt x="2097974" y="5250134"/>
                </a:cubicBezTo>
                <a:cubicBezTo>
                  <a:pt x="2083696" y="5242984"/>
                  <a:pt x="2067632" y="5235835"/>
                  <a:pt x="2049784" y="5239410"/>
                </a:cubicBezTo>
                <a:cubicBezTo>
                  <a:pt x="2040860" y="5242984"/>
                  <a:pt x="2037290" y="5237623"/>
                  <a:pt x="2037290" y="5230473"/>
                </a:cubicBezTo>
                <a:cubicBezTo>
                  <a:pt x="2037290" y="5225110"/>
                  <a:pt x="2037290" y="5221536"/>
                  <a:pt x="2037290" y="5217961"/>
                </a:cubicBezTo>
                <a:cubicBezTo>
                  <a:pt x="2039075" y="5198299"/>
                  <a:pt x="2037290" y="5198299"/>
                  <a:pt x="2021227" y="5207236"/>
                </a:cubicBezTo>
                <a:cubicBezTo>
                  <a:pt x="2003379" y="5216173"/>
                  <a:pt x="1983745" y="5223323"/>
                  <a:pt x="1965897" y="5228686"/>
                </a:cubicBezTo>
                <a:cubicBezTo>
                  <a:pt x="1958758" y="5230473"/>
                  <a:pt x="1951618" y="5232260"/>
                  <a:pt x="1946264" y="5226898"/>
                </a:cubicBezTo>
                <a:cubicBezTo>
                  <a:pt x="1940908" y="5221536"/>
                  <a:pt x="1944478" y="5214386"/>
                  <a:pt x="1948048" y="5209024"/>
                </a:cubicBezTo>
                <a:cubicBezTo>
                  <a:pt x="1956972" y="5194724"/>
                  <a:pt x="1951618" y="5187574"/>
                  <a:pt x="1937339" y="5185787"/>
                </a:cubicBezTo>
                <a:cubicBezTo>
                  <a:pt x="1931985" y="5184000"/>
                  <a:pt x="1926630" y="5180424"/>
                  <a:pt x="1921275" y="5180424"/>
                </a:cubicBezTo>
                <a:cubicBezTo>
                  <a:pt x="1908782" y="5180424"/>
                  <a:pt x="1906996" y="5175063"/>
                  <a:pt x="1914137" y="5164338"/>
                </a:cubicBezTo>
                <a:cubicBezTo>
                  <a:pt x="1917706" y="5160763"/>
                  <a:pt x="1921275" y="5155401"/>
                  <a:pt x="1915921" y="5151826"/>
                </a:cubicBezTo>
                <a:cubicBezTo>
                  <a:pt x="1912352" y="5146464"/>
                  <a:pt x="1906996" y="5148251"/>
                  <a:pt x="1901643" y="5150038"/>
                </a:cubicBezTo>
                <a:cubicBezTo>
                  <a:pt x="1887364" y="5157188"/>
                  <a:pt x="1873085" y="5153614"/>
                  <a:pt x="1857022" y="5150038"/>
                </a:cubicBezTo>
                <a:cubicBezTo>
                  <a:pt x="1808831" y="5135739"/>
                  <a:pt x="1765995" y="5148251"/>
                  <a:pt x="1724943" y="5173275"/>
                </a:cubicBezTo>
                <a:cubicBezTo>
                  <a:pt x="1717804" y="5176850"/>
                  <a:pt x="1714235" y="5185787"/>
                  <a:pt x="1705310" y="5187574"/>
                </a:cubicBezTo>
                <a:cubicBezTo>
                  <a:pt x="1707095" y="5178637"/>
                  <a:pt x="1708879" y="5171488"/>
                  <a:pt x="1710665" y="5162551"/>
                </a:cubicBezTo>
                <a:cubicBezTo>
                  <a:pt x="1714235" y="5144677"/>
                  <a:pt x="1707095" y="5133951"/>
                  <a:pt x="1691031" y="5130377"/>
                </a:cubicBezTo>
                <a:cubicBezTo>
                  <a:pt x="1637487" y="5117865"/>
                  <a:pt x="1583941" y="5105353"/>
                  <a:pt x="1530396" y="5092841"/>
                </a:cubicBezTo>
                <a:cubicBezTo>
                  <a:pt x="1510763" y="5089266"/>
                  <a:pt x="1491130" y="5091054"/>
                  <a:pt x="1471497" y="5083904"/>
                </a:cubicBezTo>
                <a:cubicBezTo>
                  <a:pt x="1459002" y="5078541"/>
                  <a:pt x="1451863" y="5073179"/>
                  <a:pt x="1455433" y="5057092"/>
                </a:cubicBezTo>
                <a:cubicBezTo>
                  <a:pt x="1457218" y="5037431"/>
                  <a:pt x="1442939" y="5026706"/>
                  <a:pt x="1425092" y="5035643"/>
                </a:cubicBezTo>
                <a:cubicBezTo>
                  <a:pt x="1410812" y="5042793"/>
                  <a:pt x="1400103" y="5041005"/>
                  <a:pt x="1387610" y="5033856"/>
                </a:cubicBezTo>
                <a:cubicBezTo>
                  <a:pt x="1380471" y="5026706"/>
                  <a:pt x="1373331" y="5026706"/>
                  <a:pt x="1364407" y="5033856"/>
                </a:cubicBezTo>
                <a:cubicBezTo>
                  <a:pt x="1355482" y="5042793"/>
                  <a:pt x="1344773" y="5044581"/>
                  <a:pt x="1334064" y="5039218"/>
                </a:cubicBezTo>
                <a:cubicBezTo>
                  <a:pt x="1326925" y="5037431"/>
                  <a:pt x="1318001" y="5032068"/>
                  <a:pt x="1310861" y="5032068"/>
                </a:cubicBezTo>
                <a:cubicBezTo>
                  <a:pt x="1300152" y="5032068"/>
                  <a:pt x="1296582" y="5026706"/>
                  <a:pt x="1294798" y="5017769"/>
                </a:cubicBezTo>
                <a:cubicBezTo>
                  <a:pt x="1289443" y="4999895"/>
                  <a:pt x="1285874" y="4998107"/>
                  <a:pt x="1268025" y="5008832"/>
                </a:cubicBezTo>
                <a:cubicBezTo>
                  <a:pt x="1257317" y="5015982"/>
                  <a:pt x="1246607" y="5024919"/>
                  <a:pt x="1234113" y="5028493"/>
                </a:cubicBezTo>
                <a:cubicBezTo>
                  <a:pt x="1234113" y="5026706"/>
                  <a:pt x="1232328" y="5026706"/>
                  <a:pt x="1232328" y="5024919"/>
                </a:cubicBezTo>
                <a:cubicBezTo>
                  <a:pt x="1248392" y="5001682"/>
                  <a:pt x="1248392" y="5001682"/>
                  <a:pt x="1234113" y="4976658"/>
                </a:cubicBezTo>
                <a:cubicBezTo>
                  <a:pt x="1232328" y="4973083"/>
                  <a:pt x="1230544" y="4969509"/>
                  <a:pt x="1228759" y="4967721"/>
                </a:cubicBezTo>
                <a:cubicBezTo>
                  <a:pt x="1214480" y="4937335"/>
                  <a:pt x="1193062" y="4931973"/>
                  <a:pt x="1162720" y="4946272"/>
                </a:cubicBezTo>
                <a:cubicBezTo>
                  <a:pt x="1146656" y="4955209"/>
                  <a:pt x="1135947" y="4949846"/>
                  <a:pt x="1134163" y="4931973"/>
                </a:cubicBezTo>
                <a:cubicBezTo>
                  <a:pt x="1132378" y="4923036"/>
                  <a:pt x="1132378" y="4914098"/>
                  <a:pt x="1134163" y="4905161"/>
                </a:cubicBezTo>
                <a:cubicBezTo>
                  <a:pt x="1139517" y="4880137"/>
                  <a:pt x="1162720" y="4872987"/>
                  <a:pt x="1180568" y="4889074"/>
                </a:cubicBezTo>
                <a:cubicBezTo>
                  <a:pt x="1194847" y="4901586"/>
                  <a:pt x="1209125" y="4906949"/>
                  <a:pt x="1225189" y="4910523"/>
                </a:cubicBezTo>
                <a:cubicBezTo>
                  <a:pt x="1241253" y="4912310"/>
                  <a:pt x="1255531" y="4917673"/>
                  <a:pt x="1266240" y="4930185"/>
                </a:cubicBezTo>
                <a:cubicBezTo>
                  <a:pt x="1282304" y="4951634"/>
                  <a:pt x="1291228" y="4953422"/>
                  <a:pt x="1310861" y="4935547"/>
                </a:cubicBezTo>
                <a:cubicBezTo>
                  <a:pt x="1325140" y="4924823"/>
                  <a:pt x="1337634" y="4921247"/>
                  <a:pt x="1355482" y="4924823"/>
                </a:cubicBezTo>
                <a:cubicBezTo>
                  <a:pt x="1387610" y="4930185"/>
                  <a:pt x="1417952" y="4944484"/>
                  <a:pt x="1448293" y="4951634"/>
                </a:cubicBezTo>
                <a:cubicBezTo>
                  <a:pt x="1475066" y="4958783"/>
                  <a:pt x="1501839" y="4958783"/>
                  <a:pt x="1525042" y="4942697"/>
                </a:cubicBezTo>
                <a:cubicBezTo>
                  <a:pt x="1537535" y="4931973"/>
                  <a:pt x="1544675" y="4935547"/>
                  <a:pt x="1555384" y="4946272"/>
                </a:cubicBezTo>
                <a:cubicBezTo>
                  <a:pt x="1605359" y="4996320"/>
                  <a:pt x="1662474" y="5021344"/>
                  <a:pt x="1732083" y="4990958"/>
                </a:cubicBezTo>
                <a:cubicBezTo>
                  <a:pt x="1742791" y="4985595"/>
                  <a:pt x="1751716" y="4989170"/>
                  <a:pt x="1760641" y="4992745"/>
                </a:cubicBezTo>
                <a:cubicBezTo>
                  <a:pt x="1765995" y="4996320"/>
                  <a:pt x="1773134" y="5003469"/>
                  <a:pt x="1780273" y="4998107"/>
                </a:cubicBezTo>
                <a:cubicBezTo>
                  <a:pt x="1787412" y="4990958"/>
                  <a:pt x="1782058" y="4983808"/>
                  <a:pt x="1780273" y="4976658"/>
                </a:cubicBezTo>
                <a:cubicBezTo>
                  <a:pt x="1774919" y="4965933"/>
                  <a:pt x="1780273" y="4962359"/>
                  <a:pt x="1790983" y="4962359"/>
                </a:cubicBezTo>
                <a:cubicBezTo>
                  <a:pt x="1801692" y="4962359"/>
                  <a:pt x="1812401" y="4965933"/>
                  <a:pt x="1823110" y="4967721"/>
                </a:cubicBezTo>
                <a:cubicBezTo>
                  <a:pt x="1846313" y="4974870"/>
                  <a:pt x="1865945" y="4983808"/>
                  <a:pt x="1890934" y="4978446"/>
                </a:cubicBezTo>
                <a:cubicBezTo>
                  <a:pt x="1896288" y="4978446"/>
                  <a:pt x="1896288" y="4982020"/>
                  <a:pt x="1898073" y="4985595"/>
                </a:cubicBezTo>
                <a:cubicBezTo>
                  <a:pt x="1903427" y="5001682"/>
                  <a:pt x="1915921" y="5005256"/>
                  <a:pt x="1930200" y="5005256"/>
                </a:cubicBezTo>
                <a:cubicBezTo>
                  <a:pt x="1983745" y="5007045"/>
                  <a:pt x="2037290" y="5012406"/>
                  <a:pt x="2089050" y="5030281"/>
                </a:cubicBezTo>
                <a:cubicBezTo>
                  <a:pt x="2092620" y="5032068"/>
                  <a:pt x="2097974" y="5032068"/>
                  <a:pt x="2103329" y="5030281"/>
                </a:cubicBezTo>
                <a:cubicBezTo>
                  <a:pt x="2119393" y="5021344"/>
                  <a:pt x="2130102" y="5026706"/>
                  <a:pt x="2139026" y="5044581"/>
                </a:cubicBezTo>
                <a:cubicBezTo>
                  <a:pt x="2147950" y="5062455"/>
                  <a:pt x="2158659" y="5064242"/>
                  <a:pt x="2174723" y="5049942"/>
                </a:cubicBezTo>
                <a:cubicBezTo>
                  <a:pt x="2181862" y="5044581"/>
                  <a:pt x="2187216" y="5039218"/>
                  <a:pt x="2194356" y="5032068"/>
                </a:cubicBezTo>
                <a:cubicBezTo>
                  <a:pt x="2201495" y="5042793"/>
                  <a:pt x="2208635" y="5053518"/>
                  <a:pt x="2221128" y="5053518"/>
                </a:cubicBezTo>
                <a:cubicBezTo>
                  <a:pt x="2235407" y="5053518"/>
                  <a:pt x="2249685" y="5055305"/>
                  <a:pt x="2262179" y="5055305"/>
                </a:cubicBezTo>
                <a:cubicBezTo>
                  <a:pt x="2308586" y="5057092"/>
                  <a:pt x="2313940" y="5060668"/>
                  <a:pt x="2322864" y="5010619"/>
                </a:cubicBezTo>
                <a:cubicBezTo>
                  <a:pt x="2322864" y="5010619"/>
                  <a:pt x="2324649" y="5010619"/>
                  <a:pt x="2324649" y="5008832"/>
                </a:cubicBezTo>
                <a:cubicBezTo>
                  <a:pt x="2330003" y="4990958"/>
                  <a:pt x="2337143" y="4985595"/>
                  <a:pt x="2354991" y="4990958"/>
                </a:cubicBezTo>
                <a:cubicBezTo>
                  <a:pt x="2433524" y="5007045"/>
                  <a:pt x="2513842" y="5017769"/>
                  <a:pt x="2592375" y="5030281"/>
                </a:cubicBezTo>
                <a:cubicBezTo>
                  <a:pt x="2642350" y="5037431"/>
                  <a:pt x="2694110" y="5042793"/>
                  <a:pt x="2744086" y="5048155"/>
                </a:cubicBezTo>
                <a:cubicBezTo>
                  <a:pt x="2804770" y="5055305"/>
                  <a:pt x="2861885" y="5073179"/>
                  <a:pt x="2920785" y="5089266"/>
                </a:cubicBezTo>
                <a:cubicBezTo>
                  <a:pt x="2965406" y="5099991"/>
                  <a:pt x="3008242" y="5107141"/>
                  <a:pt x="3052863" y="5091054"/>
                </a:cubicBezTo>
                <a:cubicBezTo>
                  <a:pt x="3070712" y="5083904"/>
                  <a:pt x="3086775" y="5087478"/>
                  <a:pt x="3104623" y="5096415"/>
                </a:cubicBezTo>
                <a:cubicBezTo>
                  <a:pt x="3138535" y="5112502"/>
                  <a:pt x="3176016" y="5119652"/>
                  <a:pt x="3215283" y="5117865"/>
                </a:cubicBezTo>
                <a:cubicBezTo>
                  <a:pt x="3249195" y="5114290"/>
                  <a:pt x="3284892" y="5116078"/>
                  <a:pt x="3318804" y="5125014"/>
                </a:cubicBezTo>
                <a:cubicBezTo>
                  <a:pt x="3370563" y="5135739"/>
                  <a:pt x="3422324" y="5141101"/>
                  <a:pt x="3475869" y="5141101"/>
                </a:cubicBezTo>
                <a:cubicBezTo>
                  <a:pt x="3509781" y="5141101"/>
                  <a:pt x="3541908" y="5144677"/>
                  <a:pt x="3574035" y="5148251"/>
                </a:cubicBezTo>
                <a:cubicBezTo>
                  <a:pt x="3643644" y="5158976"/>
                  <a:pt x="3715038" y="5164338"/>
                  <a:pt x="3786431" y="5166125"/>
                </a:cubicBezTo>
                <a:cubicBezTo>
                  <a:pt x="3857824" y="5167913"/>
                  <a:pt x="3929218" y="5166125"/>
                  <a:pt x="3998827" y="5171488"/>
                </a:cubicBezTo>
                <a:cubicBezTo>
                  <a:pt x="4047017" y="5176850"/>
                  <a:pt x="4095208" y="5185787"/>
                  <a:pt x="4143398" y="5180424"/>
                </a:cubicBezTo>
                <a:cubicBezTo>
                  <a:pt x="4220146" y="5169700"/>
                  <a:pt x="4295109" y="5176850"/>
                  <a:pt x="4370073" y="5180424"/>
                </a:cubicBezTo>
                <a:cubicBezTo>
                  <a:pt x="4407554" y="5184000"/>
                  <a:pt x="4445035" y="5189362"/>
                  <a:pt x="4484302" y="5187574"/>
                </a:cubicBezTo>
                <a:cubicBezTo>
                  <a:pt x="4528923" y="5184000"/>
                  <a:pt x="4575329" y="5191150"/>
                  <a:pt x="4619949" y="5180424"/>
                </a:cubicBezTo>
                <a:cubicBezTo>
                  <a:pt x="4648507" y="5173275"/>
                  <a:pt x="4677065" y="5175063"/>
                  <a:pt x="4703838" y="5180424"/>
                </a:cubicBezTo>
                <a:cubicBezTo>
                  <a:pt x="4734180" y="5187574"/>
                  <a:pt x="4762737" y="5189362"/>
                  <a:pt x="4793079" y="5184000"/>
                </a:cubicBezTo>
                <a:cubicBezTo>
                  <a:pt x="4828777" y="5175063"/>
                  <a:pt x="4866258" y="5171488"/>
                  <a:pt x="4903739" y="5169700"/>
                </a:cubicBezTo>
                <a:cubicBezTo>
                  <a:pt x="4955500" y="5166125"/>
                  <a:pt x="5005475" y="5164338"/>
                  <a:pt x="5055449" y="5160763"/>
                </a:cubicBezTo>
                <a:cubicBezTo>
                  <a:pt x="5123273" y="5155401"/>
                  <a:pt x="5191097" y="5150038"/>
                  <a:pt x="5258922" y="5144677"/>
                </a:cubicBezTo>
                <a:cubicBezTo>
                  <a:pt x="5299973" y="5142888"/>
                  <a:pt x="5339239" y="5139314"/>
                  <a:pt x="5378506" y="5135739"/>
                </a:cubicBezTo>
                <a:cubicBezTo>
                  <a:pt x="5440975" y="5130377"/>
                  <a:pt x="5501660" y="5116078"/>
                  <a:pt x="5564129" y="5132164"/>
                </a:cubicBezTo>
                <a:cubicBezTo>
                  <a:pt x="5573053" y="5133951"/>
                  <a:pt x="5576623" y="5130377"/>
                  <a:pt x="5576623" y="5121440"/>
                </a:cubicBezTo>
                <a:cubicBezTo>
                  <a:pt x="5576623" y="5108928"/>
                  <a:pt x="5571268" y="5101778"/>
                  <a:pt x="5558774" y="5101778"/>
                </a:cubicBezTo>
                <a:cubicBezTo>
                  <a:pt x="5546281" y="5101778"/>
                  <a:pt x="5533786" y="5103565"/>
                  <a:pt x="5521293" y="5103565"/>
                </a:cubicBezTo>
                <a:cubicBezTo>
                  <a:pt x="5253567" y="5110715"/>
                  <a:pt x="4984057" y="5121440"/>
                  <a:pt x="4716330" y="5125014"/>
                </a:cubicBezTo>
                <a:cubicBezTo>
                  <a:pt x="4470023" y="5126802"/>
                  <a:pt x="4223715" y="5126802"/>
                  <a:pt x="3977408" y="5116078"/>
                </a:cubicBezTo>
                <a:cubicBezTo>
                  <a:pt x="3818558" y="5108928"/>
                  <a:pt x="3661492" y="5098204"/>
                  <a:pt x="3504426" y="5083904"/>
                </a:cubicBezTo>
                <a:cubicBezTo>
                  <a:pt x="3366994" y="5073179"/>
                  <a:pt x="3229562" y="5057092"/>
                  <a:pt x="3092129" y="5039218"/>
                </a:cubicBezTo>
                <a:cubicBezTo>
                  <a:pt x="2922569" y="5015982"/>
                  <a:pt x="2756580" y="4980233"/>
                  <a:pt x="2588805" y="4948059"/>
                </a:cubicBezTo>
                <a:cubicBezTo>
                  <a:pt x="2535260" y="4939122"/>
                  <a:pt x="2481714" y="4921247"/>
                  <a:pt x="2428170" y="4923036"/>
                </a:cubicBezTo>
                <a:cubicBezTo>
                  <a:pt x="2367485" y="4923036"/>
                  <a:pt x="2310370" y="4917673"/>
                  <a:pt x="2260395" y="4880137"/>
                </a:cubicBezTo>
                <a:cubicBezTo>
                  <a:pt x="2240762" y="4865837"/>
                  <a:pt x="2215774" y="4864050"/>
                  <a:pt x="2190786" y="4871200"/>
                </a:cubicBezTo>
                <a:cubicBezTo>
                  <a:pt x="2174723" y="4876563"/>
                  <a:pt x="2158659" y="4874774"/>
                  <a:pt x="2140811" y="4871200"/>
                </a:cubicBezTo>
                <a:cubicBezTo>
                  <a:pt x="2114038" y="4865837"/>
                  <a:pt x="2087265" y="4855113"/>
                  <a:pt x="2058708" y="4862263"/>
                </a:cubicBezTo>
                <a:cubicBezTo>
                  <a:pt x="2033720" y="4867625"/>
                  <a:pt x="2015872" y="4860476"/>
                  <a:pt x="1999808" y="4840814"/>
                </a:cubicBezTo>
                <a:cubicBezTo>
                  <a:pt x="1994454" y="4833664"/>
                  <a:pt x="1987315" y="4831877"/>
                  <a:pt x="1978390" y="4835451"/>
                </a:cubicBezTo>
                <a:cubicBezTo>
                  <a:pt x="1965897" y="4840814"/>
                  <a:pt x="1951618" y="4842601"/>
                  <a:pt x="1937339" y="4837239"/>
                </a:cubicBezTo>
                <a:cubicBezTo>
                  <a:pt x="1894503" y="4822940"/>
                  <a:pt x="1846313" y="4819364"/>
                  <a:pt x="1803476" y="4801490"/>
                </a:cubicBezTo>
                <a:cubicBezTo>
                  <a:pt x="1789198" y="4794341"/>
                  <a:pt x="1774919" y="4792553"/>
                  <a:pt x="1760641" y="4799703"/>
                </a:cubicBezTo>
                <a:cubicBezTo>
                  <a:pt x="1730298" y="4812215"/>
                  <a:pt x="1721374" y="4810427"/>
                  <a:pt x="1701740" y="4783616"/>
                </a:cubicBezTo>
                <a:cubicBezTo>
                  <a:pt x="1694601" y="4772891"/>
                  <a:pt x="1685677" y="4765742"/>
                  <a:pt x="1674969" y="4765742"/>
                </a:cubicBezTo>
                <a:cubicBezTo>
                  <a:pt x="1637487" y="4763954"/>
                  <a:pt x="1603575" y="4749655"/>
                  <a:pt x="1569663" y="4738931"/>
                </a:cubicBezTo>
                <a:cubicBezTo>
                  <a:pt x="1539320" y="4728205"/>
                  <a:pt x="1508978" y="4719269"/>
                  <a:pt x="1476851" y="4724631"/>
                </a:cubicBezTo>
                <a:cubicBezTo>
                  <a:pt x="1464357" y="4726418"/>
                  <a:pt x="1457218" y="4722844"/>
                  <a:pt x="1451863" y="4713906"/>
                </a:cubicBezTo>
                <a:cubicBezTo>
                  <a:pt x="1444724" y="4703182"/>
                  <a:pt x="1435800" y="4690669"/>
                  <a:pt x="1421521" y="4694245"/>
                </a:cubicBezTo>
                <a:cubicBezTo>
                  <a:pt x="1391180" y="4701395"/>
                  <a:pt x="1366191" y="4688882"/>
                  <a:pt x="1344773" y="4667433"/>
                </a:cubicBezTo>
                <a:cubicBezTo>
                  <a:pt x="1312646" y="4637047"/>
                  <a:pt x="1273380" y="4626322"/>
                  <a:pt x="1230544" y="4638835"/>
                </a:cubicBezTo>
                <a:cubicBezTo>
                  <a:pt x="1214480" y="4642409"/>
                  <a:pt x="1209125" y="4638835"/>
                  <a:pt x="1209125" y="4622747"/>
                </a:cubicBezTo>
                <a:cubicBezTo>
                  <a:pt x="1209125" y="4617385"/>
                  <a:pt x="1209125" y="4612023"/>
                  <a:pt x="1207341" y="4608448"/>
                </a:cubicBezTo>
                <a:cubicBezTo>
                  <a:pt x="1184138" y="4570912"/>
                  <a:pt x="1160935" y="4535164"/>
                  <a:pt x="1112744" y="4526227"/>
                </a:cubicBezTo>
                <a:cubicBezTo>
                  <a:pt x="1102035" y="4524439"/>
                  <a:pt x="1103820" y="4519077"/>
                  <a:pt x="1107390" y="4511927"/>
                </a:cubicBezTo>
                <a:cubicBezTo>
                  <a:pt x="1109174" y="4508353"/>
                  <a:pt x="1112744" y="4504777"/>
                  <a:pt x="1116314" y="4501203"/>
                </a:cubicBezTo>
                <a:cubicBezTo>
                  <a:pt x="1123453" y="4494053"/>
                  <a:pt x="1130592" y="4488691"/>
                  <a:pt x="1123453" y="4477966"/>
                </a:cubicBezTo>
                <a:cubicBezTo>
                  <a:pt x="1118099" y="4467241"/>
                  <a:pt x="1109174" y="4474391"/>
                  <a:pt x="1100251" y="4476178"/>
                </a:cubicBezTo>
                <a:cubicBezTo>
                  <a:pt x="1082402" y="4481541"/>
                  <a:pt x="1062769" y="4486903"/>
                  <a:pt x="1048490" y="4476178"/>
                </a:cubicBezTo>
                <a:cubicBezTo>
                  <a:pt x="1030642" y="4463667"/>
                  <a:pt x="1021718" y="4469028"/>
                  <a:pt x="1009224" y="4483328"/>
                </a:cubicBezTo>
                <a:cubicBezTo>
                  <a:pt x="1005654" y="4486903"/>
                  <a:pt x="1002085" y="4490478"/>
                  <a:pt x="996730" y="4492265"/>
                </a:cubicBezTo>
                <a:cubicBezTo>
                  <a:pt x="991376" y="4497628"/>
                  <a:pt x="986021" y="4499415"/>
                  <a:pt x="978881" y="4492265"/>
                </a:cubicBezTo>
                <a:cubicBezTo>
                  <a:pt x="973527" y="4486903"/>
                  <a:pt x="973527" y="4479754"/>
                  <a:pt x="978881" y="4474391"/>
                </a:cubicBezTo>
                <a:cubicBezTo>
                  <a:pt x="984236" y="4467241"/>
                  <a:pt x="986021" y="4460091"/>
                  <a:pt x="993160" y="4454730"/>
                </a:cubicBezTo>
                <a:cubicBezTo>
                  <a:pt x="996730" y="4452942"/>
                  <a:pt x="1000300" y="4451155"/>
                  <a:pt x="998515" y="4445792"/>
                </a:cubicBezTo>
                <a:cubicBezTo>
                  <a:pt x="996730" y="4442218"/>
                  <a:pt x="991376" y="4444005"/>
                  <a:pt x="987806" y="4444005"/>
                </a:cubicBezTo>
                <a:cubicBezTo>
                  <a:pt x="982451" y="4444005"/>
                  <a:pt x="978881" y="4444005"/>
                  <a:pt x="975312" y="4447580"/>
                </a:cubicBezTo>
                <a:cubicBezTo>
                  <a:pt x="971742" y="4451155"/>
                  <a:pt x="968173" y="4451155"/>
                  <a:pt x="964603" y="4447580"/>
                </a:cubicBezTo>
                <a:cubicBezTo>
                  <a:pt x="944969" y="4427918"/>
                  <a:pt x="921767" y="4418981"/>
                  <a:pt x="894995" y="4420768"/>
                </a:cubicBezTo>
                <a:cubicBezTo>
                  <a:pt x="882500" y="4422555"/>
                  <a:pt x="870006" y="4422555"/>
                  <a:pt x="857513" y="4420768"/>
                </a:cubicBezTo>
                <a:cubicBezTo>
                  <a:pt x="850373" y="4420768"/>
                  <a:pt x="839665" y="4420768"/>
                  <a:pt x="836094" y="4411831"/>
                </a:cubicBezTo>
                <a:cubicBezTo>
                  <a:pt x="834310" y="4404681"/>
                  <a:pt x="843233" y="4399319"/>
                  <a:pt x="848588" y="4393957"/>
                </a:cubicBezTo>
                <a:cubicBezTo>
                  <a:pt x="852158" y="4390382"/>
                  <a:pt x="855728" y="4388595"/>
                  <a:pt x="859297" y="4385019"/>
                </a:cubicBezTo>
                <a:cubicBezTo>
                  <a:pt x="862867" y="4381445"/>
                  <a:pt x="871791" y="4377870"/>
                  <a:pt x="868222" y="4370721"/>
                </a:cubicBezTo>
                <a:cubicBezTo>
                  <a:pt x="866436" y="4363571"/>
                  <a:pt x="857513" y="4363571"/>
                  <a:pt x="850373" y="4365358"/>
                </a:cubicBezTo>
                <a:cubicBezTo>
                  <a:pt x="834310" y="4365358"/>
                  <a:pt x="821816" y="4361783"/>
                  <a:pt x="805753" y="4354633"/>
                </a:cubicBezTo>
                <a:cubicBezTo>
                  <a:pt x="770056" y="4336759"/>
                  <a:pt x="750422" y="4345696"/>
                  <a:pt x="736143" y="4381445"/>
                </a:cubicBezTo>
                <a:cubicBezTo>
                  <a:pt x="730789" y="4395745"/>
                  <a:pt x="721865" y="4402894"/>
                  <a:pt x="707587" y="4401107"/>
                </a:cubicBezTo>
                <a:cubicBezTo>
                  <a:pt x="707587" y="4367145"/>
                  <a:pt x="707587" y="4334972"/>
                  <a:pt x="707587" y="4301010"/>
                </a:cubicBezTo>
                <a:cubicBezTo>
                  <a:pt x="732574" y="4299223"/>
                  <a:pt x="737929" y="4290286"/>
                  <a:pt x="730789" y="4274199"/>
                </a:cubicBezTo>
                <a:cubicBezTo>
                  <a:pt x="729004" y="4268837"/>
                  <a:pt x="721865" y="4265262"/>
                  <a:pt x="725435" y="4259900"/>
                </a:cubicBezTo>
                <a:cubicBezTo>
                  <a:pt x="730789" y="4254537"/>
                  <a:pt x="737929" y="4256325"/>
                  <a:pt x="743283" y="4258113"/>
                </a:cubicBezTo>
                <a:cubicBezTo>
                  <a:pt x="748638" y="4258113"/>
                  <a:pt x="752207" y="4259900"/>
                  <a:pt x="755777" y="4261687"/>
                </a:cubicBezTo>
                <a:cubicBezTo>
                  <a:pt x="766486" y="4265262"/>
                  <a:pt x="771841" y="4263475"/>
                  <a:pt x="773625" y="4250963"/>
                </a:cubicBezTo>
                <a:cubicBezTo>
                  <a:pt x="775410" y="4243813"/>
                  <a:pt x="780764" y="4233089"/>
                  <a:pt x="789689" y="4238450"/>
                </a:cubicBezTo>
                <a:cubicBezTo>
                  <a:pt x="802182" y="4243813"/>
                  <a:pt x="814676" y="4243813"/>
                  <a:pt x="827171" y="4245600"/>
                </a:cubicBezTo>
                <a:cubicBezTo>
                  <a:pt x="837879" y="4247388"/>
                  <a:pt x="850373" y="4250963"/>
                  <a:pt x="862867" y="4247388"/>
                </a:cubicBezTo>
                <a:cubicBezTo>
                  <a:pt x="873576" y="4243813"/>
                  <a:pt x="886070" y="4240239"/>
                  <a:pt x="877146" y="4222364"/>
                </a:cubicBezTo>
                <a:cubicBezTo>
                  <a:pt x="873576" y="4217002"/>
                  <a:pt x="877146" y="4213427"/>
                  <a:pt x="884286" y="4211640"/>
                </a:cubicBezTo>
                <a:cubicBezTo>
                  <a:pt x="911057" y="4211640"/>
                  <a:pt x="919982" y="4218789"/>
                  <a:pt x="921767" y="4245600"/>
                </a:cubicBezTo>
                <a:cubicBezTo>
                  <a:pt x="921767" y="4254537"/>
                  <a:pt x="923552" y="4261687"/>
                  <a:pt x="930691" y="4265262"/>
                </a:cubicBezTo>
                <a:cubicBezTo>
                  <a:pt x="943185" y="4270625"/>
                  <a:pt x="955679" y="4274199"/>
                  <a:pt x="969957" y="4270625"/>
                </a:cubicBezTo>
                <a:cubicBezTo>
                  <a:pt x="973527" y="4270625"/>
                  <a:pt x="975312" y="4263475"/>
                  <a:pt x="973527" y="4259900"/>
                </a:cubicBezTo>
                <a:cubicBezTo>
                  <a:pt x="973527" y="4254537"/>
                  <a:pt x="973527" y="4247388"/>
                  <a:pt x="977097" y="4243813"/>
                </a:cubicBezTo>
                <a:cubicBezTo>
                  <a:pt x="982451" y="4238450"/>
                  <a:pt x="989590" y="4225939"/>
                  <a:pt x="994945" y="4236663"/>
                </a:cubicBezTo>
                <a:cubicBezTo>
                  <a:pt x="1009224" y="4256325"/>
                  <a:pt x="1027072" y="4256325"/>
                  <a:pt x="1046705" y="4256325"/>
                </a:cubicBezTo>
                <a:cubicBezTo>
                  <a:pt x="1057414" y="4258113"/>
                  <a:pt x="1068123" y="4259900"/>
                  <a:pt x="1077048" y="4268837"/>
                </a:cubicBezTo>
                <a:cubicBezTo>
                  <a:pt x="1110960" y="4301010"/>
                  <a:pt x="1137732" y="4299223"/>
                  <a:pt x="1162720" y="4259900"/>
                </a:cubicBezTo>
                <a:cubicBezTo>
                  <a:pt x="1169859" y="4249176"/>
                  <a:pt x="1178784" y="4245600"/>
                  <a:pt x="1187707" y="4256325"/>
                </a:cubicBezTo>
                <a:cubicBezTo>
                  <a:pt x="1209125" y="4277774"/>
                  <a:pt x="1235898" y="4284923"/>
                  <a:pt x="1264456" y="4286712"/>
                </a:cubicBezTo>
                <a:cubicBezTo>
                  <a:pt x="1278734" y="4288499"/>
                  <a:pt x="1293013" y="4286712"/>
                  <a:pt x="1309077" y="4288499"/>
                </a:cubicBezTo>
                <a:cubicBezTo>
                  <a:pt x="1335849" y="4292073"/>
                  <a:pt x="1359052" y="4292073"/>
                  <a:pt x="1369761" y="4259900"/>
                </a:cubicBezTo>
                <a:cubicBezTo>
                  <a:pt x="1369761" y="4272412"/>
                  <a:pt x="1367976" y="4281349"/>
                  <a:pt x="1373331" y="4292073"/>
                </a:cubicBezTo>
                <a:cubicBezTo>
                  <a:pt x="1378685" y="4306373"/>
                  <a:pt x="1391180" y="4311735"/>
                  <a:pt x="1403672" y="4311735"/>
                </a:cubicBezTo>
                <a:cubicBezTo>
                  <a:pt x="1417952" y="4309948"/>
                  <a:pt x="1409027" y="4297436"/>
                  <a:pt x="1410812" y="4290286"/>
                </a:cubicBezTo>
                <a:cubicBezTo>
                  <a:pt x="1412597" y="4279562"/>
                  <a:pt x="1419736" y="4272412"/>
                  <a:pt x="1430445" y="4277774"/>
                </a:cubicBezTo>
                <a:cubicBezTo>
                  <a:pt x="1444724" y="4284923"/>
                  <a:pt x="1457218" y="4284923"/>
                  <a:pt x="1473282" y="4283136"/>
                </a:cubicBezTo>
                <a:cubicBezTo>
                  <a:pt x="1492914" y="4277774"/>
                  <a:pt x="1512548" y="4277774"/>
                  <a:pt x="1530396" y="4292073"/>
                </a:cubicBezTo>
                <a:cubicBezTo>
                  <a:pt x="1541106" y="4301010"/>
                  <a:pt x="1551815" y="4299223"/>
                  <a:pt x="1560739" y="4290286"/>
                </a:cubicBezTo>
                <a:cubicBezTo>
                  <a:pt x="1566093" y="4284923"/>
                  <a:pt x="1571447" y="4279562"/>
                  <a:pt x="1575017" y="4275987"/>
                </a:cubicBezTo>
                <a:cubicBezTo>
                  <a:pt x="1583941" y="4268837"/>
                  <a:pt x="1589296" y="4256325"/>
                  <a:pt x="1600005" y="4259900"/>
                </a:cubicBezTo>
                <a:cubicBezTo>
                  <a:pt x="1610714" y="4263475"/>
                  <a:pt x="1608929" y="4275987"/>
                  <a:pt x="1608929" y="4284923"/>
                </a:cubicBezTo>
                <a:cubicBezTo>
                  <a:pt x="1608929" y="4293861"/>
                  <a:pt x="1616068" y="4290286"/>
                  <a:pt x="1621423" y="4292073"/>
                </a:cubicBezTo>
                <a:cubicBezTo>
                  <a:pt x="1626777" y="4292073"/>
                  <a:pt x="1632132" y="4292073"/>
                  <a:pt x="1630348" y="4284923"/>
                </a:cubicBezTo>
                <a:cubicBezTo>
                  <a:pt x="1626777" y="4265262"/>
                  <a:pt x="1637487" y="4259900"/>
                  <a:pt x="1653550" y="4258113"/>
                </a:cubicBezTo>
                <a:cubicBezTo>
                  <a:pt x="1669614" y="4256325"/>
                  <a:pt x="1671398" y="4249176"/>
                  <a:pt x="1660689" y="4236663"/>
                </a:cubicBezTo>
                <a:cubicBezTo>
                  <a:pt x="1658905" y="4233089"/>
                  <a:pt x="1653550" y="4231301"/>
                  <a:pt x="1648196" y="4229513"/>
                </a:cubicBezTo>
                <a:cubicBezTo>
                  <a:pt x="1601790" y="4208064"/>
                  <a:pt x="1551815" y="4197340"/>
                  <a:pt x="1500054" y="4191977"/>
                </a:cubicBezTo>
                <a:cubicBezTo>
                  <a:pt x="1459002" y="4186615"/>
                  <a:pt x="1421521" y="4177678"/>
                  <a:pt x="1387610" y="4150867"/>
                </a:cubicBezTo>
                <a:cubicBezTo>
                  <a:pt x="1367976" y="4134780"/>
                  <a:pt x="1353698" y="4113331"/>
                  <a:pt x="1341203" y="4090094"/>
                </a:cubicBezTo>
                <a:cubicBezTo>
                  <a:pt x="1328709" y="4111544"/>
                  <a:pt x="1319786" y="4113331"/>
                  <a:pt x="1301938" y="4095457"/>
                </a:cubicBezTo>
                <a:cubicBezTo>
                  <a:pt x="1296582" y="4090094"/>
                  <a:pt x="1293013" y="4081157"/>
                  <a:pt x="1294798" y="4072220"/>
                </a:cubicBezTo>
                <a:cubicBezTo>
                  <a:pt x="1296582" y="4056133"/>
                  <a:pt x="1284088" y="4050771"/>
                  <a:pt x="1271595" y="4048983"/>
                </a:cubicBezTo>
                <a:cubicBezTo>
                  <a:pt x="1259101" y="4045409"/>
                  <a:pt x="1253746" y="4054346"/>
                  <a:pt x="1248392" y="4063282"/>
                </a:cubicBezTo>
                <a:cubicBezTo>
                  <a:pt x="1244823" y="4072220"/>
                  <a:pt x="1244823" y="4082945"/>
                  <a:pt x="1234113" y="4093669"/>
                </a:cubicBezTo>
                <a:cubicBezTo>
                  <a:pt x="1239467" y="4072220"/>
                  <a:pt x="1228759" y="4066858"/>
                  <a:pt x="1214480" y="4063282"/>
                </a:cubicBezTo>
                <a:cubicBezTo>
                  <a:pt x="1201986" y="4061495"/>
                  <a:pt x="1187707" y="4052558"/>
                  <a:pt x="1189493" y="4041834"/>
                </a:cubicBezTo>
                <a:cubicBezTo>
                  <a:pt x="1193062" y="4022172"/>
                  <a:pt x="1194847" y="4002510"/>
                  <a:pt x="1207341" y="3986423"/>
                </a:cubicBezTo>
                <a:cubicBezTo>
                  <a:pt x="1214480" y="3977486"/>
                  <a:pt x="1221619" y="3975699"/>
                  <a:pt x="1234113" y="3977486"/>
                </a:cubicBezTo>
                <a:cubicBezTo>
                  <a:pt x="1243037" y="3981062"/>
                  <a:pt x="1246607" y="3984636"/>
                  <a:pt x="1244823" y="3995360"/>
                </a:cubicBezTo>
                <a:cubicBezTo>
                  <a:pt x="1244823" y="4002510"/>
                  <a:pt x="1250177" y="4006085"/>
                  <a:pt x="1255531" y="4006085"/>
                </a:cubicBezTo>
                <a:cubicBezTo>
                  <a:pt x="1276949" y="4004298"/>
                  <a:pt x="1289443" y="4015022"/>
                  <a:pt x="1301938" y="4027535"/>
                </a:cubicBezTo>
                <a:cubicBezTo>
                  <a:pt x="1314431" y="4038259"/>
                  <a:pt x="1328709" y="4041834"/>
                  <a:pt x="1341203" y="4029322"/>
                </a:cubicBezTo>
                <a:cubicBezTo>
                  <a:pt x="1350128" y="4020385"/>
                  <a:pt x="1353698" y="4023959"/>
                  <a:pt x="1351912" y="4034684"/>
                </a:cubicBezTo>
                <a:cubicBezTo>
                  <a:pt x="1351912" y="4041834"/>
                  <a:pt x="1355482" y="4043621"/>
                  <a:pt x="1362621" y="4047196"/>
                </a:cubicBezTo>
                <a:cubicBezTo>
                  <a:pt x="1392964" y="4057921"/>
                  <a:pt x="1425092" y="4057921"/>
                  <a:pt x="1455433" y="4047196"/>
                </a:cubicBezTo>
                <a:cubicBezTo>
                  <a:pt x="1471497" y="4040046"/>
                  <a:pt x="1487561" y="4040046"/>
                  <a:pt x="1503623" y="4043621"/>
                </a:cubicBezTo>
                <a:cubicBezTo>
                  <a:pt x="1517903" y="4047196"/>
                  <a:pt x="1530396" y="4056133"/>
                  <a:pt x="1541106" y="4065071"/>
                </a:cubicBezTo>
                <a:cubicBezTo>
                  <a:pt x="1546460" y="4070432"/>
                  <a:pt x="1550030" y="4077582"/>
                  <a:pt x="1558954" y="4072220"/>
                </a:cubicBezTo>
                <a:cubicBezTo>
                  <a:pt x="1567878" y="4066858"/>
                  <a:pt x="1567878" y="4059708"/>
                  <a:pt x="1566093" y="4050771"/>
                </a:cubicBezTo>
                <a:cubicBezTo>
                  <a:pt x="1564308" y="4043621"/>
                  <a:pt x="1560739" y="4038259"/>
                  <a:pt x="1562524" y="4031109"/>
                </a:cubicBezTo>
                <a:cubicBezTo>
                  <a:pt x="1562524" y="4011448"/>
                  <a:pt x="1553599" y="4002510"/>
                  <a:pt x="1535751" y="3998936"/>
                </a:cubicBezTo>
                <a:cubicBezTo>
                  <a:pt x="1503623" y="3991786"/>
                  <a:pt x="1475066" y="3982849"/>
                  <a:pt x="1444724" y="3972124"/>
                </a:cubicBezTo>
                <a:cubicBezTo>
                  <a:pt x="1426876" y="3963187"/>
                  <a:pt x="1425092" y="3954250"/>
                  <a:pt x="1437585" y="3939950"/>
                </a:cubicBezTo>
                <a:cubicBezTo>
                  <a:pt x="1439370" y="3939950"/>
                  <a:pt x="1439370" y="3938163"/>
                  <a:pt x="1439370" y="3936376"/>
                </a:cubicBezTo>
                <a:cubicBezTo>
                  <a:pt x="1442939" y="3918501"/>
                  <a:pt x="1455433" y="3907777"/>
                  <a:pt x="1467927" y="3898840"/>
                </a:cubicBezTo>
                <a:cubicBezTo>
                  <a:pt x="1476851" y="3891690"/>
                  <a:pt x="1480421" y="3895264"/>
                  <a:pt x="1482205" y="3902414"/>
                </a:cubicBezTo>
                <a:cubicBezTo>
                  <a:pt x="1485775" y="3918501"/>
                  <a:pt x="1476851" y="3925651"/>
                  <a:pt x="1462573" y="3927439"/>
                </a:cubicBezTo>
                <a:cubicBezTo>
                  <a:pt x="1466142" y="3936376"/>
                  <a:pt x="1471497" y="3943525"/>
                  <a:pt x="1480421" y="3943525"/>
                </a:cubicBezTo>
                <a:cubicBezTo>
                  <a:pt x="1485775" y="3943525"/>
                  <a:pt x="1487561" y="3936376"/>
                  <a:pt x="1489345" y="3931013"/>
                </a:cubicBezTo>
                <a:cubicBezTo>
                  <a:pt x="1496484" y="3904202"/>
                  <a:pt x="1503623" y="3898840"/>
                  <a:pt x="1530396" y="3900627"/>
                </a:cubicBezTo>
                <a:cubicBezTo>
                  <a:pt x="1555384" y="3904202"/>
                  <a:pt x="1582156" y="3904202"/>
                  <a:pt x="1607145" y="3900627"/>
                </a:cubicBezTo>
                <a:cubicBezTo>
                  <a:pt x="1641057" y="3895264"/>
                  <a:pt x="1648196" y="3902414"/>
                  <a:pt x="1642841" y="3936376"/>
                </a:cubicBezTo>
                <a:cubicBezTo>
                  <a:pt x="1642841" y="3938163"/>
                  <a:pt x="1642841" y="3939950"/>
                  <a:pt x="1642841" y="3941737"/>
                </a:cubicBezTo>
                <a:cubicBezTo>
                  <a:pt x="1641057" y="3947100"/>
                  <a:pt x="1635702" y="3954250"/>
                  <a:pt x="1644626" y="3957825"/>
                </a:cubicBezTo>
                <a:cubicBezTo>
                  <a:pt x="1653550" y="3959612"/>
                  <a:pt x="1662474" y="3963187"/>
                  <a:pt x="1667829" y="3952462"/>
                </a:cubicBezTo>
                <a:cubicBezTo>
                  <a:pt x="1671398" y="3945313"/>
                  <a:pt x="1674969" y="3939950"/>
                  <a:pt x="1676753" y="3932800"/>
                </a:cubicBezTo>
                <a:cubicBezTo>
                  <a:pt x="1683892" y="3922076"/>
                  <a:pt x="1691031" y="3920289"/>
                  <a:pt x="1701740" y="3927439"/>
                </a:cubicBezTo>
                <a:cubicBezTo>
                  <a:pt x="1712450" y="3932800"/>
                  <a:pt x="1710665" y="3941737"/>
                  <a:pt x="1703526" y="3948887"/>
                </a:cubicBezTo>
                <a:cubicBezTo>
                  <a:pt x="1701740" y="3952462"/>
                  <a:pt x="1699956" y="3954250"/>
                  <a:pt x="1698171" y="3957825"/>
                </a:cubicBezTo>
                <a:cubicBezTo>
                  <a:pt x="1694601" y="3961399"/>
                  <a:pt x="1694601" y="3966762"/>
                  <a:pt x="1698171" y="3970336"/>
                </a:cubicBezTo>
                <a:cubicBezTo>
                  <a:pt x="1703526" y="3973912"/>
                  <a:pt x="1705310" y="3968549"/>
                  <a:pt x="1708879" y="3966762"/>
                </a:cubicBezTo>
                <a:cubicBezTo>
                  <a:pt x="1716019" y="3961399"/>
                  <a:pt x="1721374" y="3954250"/>
                  <a:pt x="1724943" y="3945313"/>
                </a:cubicBezTo>
                <a:cubicBezTo>
                  <a:pt x="1737438" y="3922076"/>
                  <a:pt x="1748147" y="3918501"/>
                  <a:pt x="1771349" y="3931013"/>
                </a:cubicBezTo>
                <a:cubicBezTo>
                  <a:pt x="1782058" y="3936376"/>
                  <a:pt x="1792768" y="3943525"/>
                  <a:pt x="1803476" y="3948887"/>
                </a:cubicBezTo>
                <a:cubicBezTo>
                  <a:pt x="1810616" y="3952462"/>
                  <a:pt x="1819540" y="3954250"/>
                  <a:pt x="1826679" y="3945313"/>
                </a:cubicBezTo>
                <a:cubicBezTo>
                  <a:pt x="1835604" y="3934588"/>
                  <a:pt x="1840958" y="3922076"/>
                  <a:pt x="1858806" y="3923863"/>
                </a:cubicBezTo>
                <a:cubicBezTo>
                  <a:pt x="1869515" y="3925651"/>
                  <a:pt x="1876654" y="3922076"/>
                  <a:pt x="1885579" y="3929226"/>
                </a:cubicBezTo>
                <a:cubicBezTo>
                  <a:pt x="1930200" y="3966762"/>
                  <a:pt x="1980176" y="3975699"/>
                  <a:pt x="2035505" y="3964974"/>
                </a:cubicBezTo>
                <a:cubicBezTo>
                  <a:pt x="2044429" y="3963187"/>
                  <a:pt x="2051569" y="3964974"/>
                  <a:pt x="2058708" y="3970336"/>
                </a:cubicBezTo>
                <a:cubicBezTo>
                  <a:pt x="2074771" y="3986423"/>
                  <a:pt x="2094405" y="3988211"/>
                  <a:pt x="2115823" y="3984636"/>
                </a:cubicBezTo>
                <a:cubicBezTo>
                  <a:pt x="2146165" y="3977486"/>
                  <a:pt x="2172938" y="3968549"/>
                  <a:pt x="2199710" y="3954250"/>
                </a:cubicBezTo>
                <a:cubicBezTo>
                  <a:pt x="2212204" y="3947100"/>
                  <a:pt x="2224698" y="3939950"/>
                  <a:pt x="2238976" y="3941737"/>
                </a:cubicBezTo>
                <a:cubicBezTo>
                  <a:pt x="2285383" y="3952462"/>
                  <a:pt x="2335358" y="3952462"/>
                  <a:pt x="2378194" y="3975699"/>
                </a:cubicBezTo>
                <a:cubicBezTo>
                  <a:pt x="2387119" y="3981062"/>
                  <a:pt x="2394258" y="3979273"/>
                  <a:pt x="2403182" y="3972124"/>
                </a:cubicBezTo>
                <a:cubicBezTo>
                  <a:pt x="2406752" y="3968549"/>
                  <a:pt x="2410321" y="3964974"/>
                  <a:pt x="2413892" y="3963187"/>
                </a:cubicBezTo>
                <a:cubicBezTo>
                  <a:pt x="2422815" y="3961399"/>
                  <a:pt x="2421031" y="3957825"/>
                  <a:pt x="2419245" y="3952462"/>
                </a:cubicBezTo>
                <a:cubicBezTo>
                  <a:pt x="2415675" y="3941737"/>
                  <a:pt x="2408537" y="3936376"/>
                  <a:pt x="2397828" y="3936376"/>
                </a:cubicBezTo>
                <a:cubicBezTo>
                  <a:pt x="2391581" y="3936376"/>
                  <a:pt x="2387119" y="3933694"/>
                  <a:pt x="2384441" y="3929673"/>
                </a:cubicBezTo>
                <a:lnTo>
                  <a:pt x="2383219" y="3922944"/>
                </a:lnTo>
                <a:lnTo>
                  <a:pt x="2383113" y="3922898"/>
                </a:lnTo>
                <a:cubicBezTo>
                  <a:pt x="2348117" y="3897892"/>
                  <a:pt x="2310468" y="3898339"/>
                  <a:pt x="2269842" y="3904498"/>
                </a:cubicBezTo>
                <a:cubicBezTo>
                  <a:pt x="2230991" y="3910466"/>
                  <a:pt x="2191949" y="3914657"/>
                  <a:pt x="2152143" y="3911739"/>
                </a:cubicBezTo>
                <a:cubicBezTo>
                  <a:pt x="2085146" y="3906348"/>
                  <a:pt x="2019542" y="3897212"/>
                  <a:pt x="1951915" y="3902673"/>
                </a:cubicBezTo>
                <a:cubicBezTo>
                  <a:pt x="1921746" y="3905912"/>
                  <a:pt x="1893982" y="3898107"/>
                  <a:pt x="1870396" y="3879067"/>
                </a:cubicBezTo>
                <a:cubicBezTo>
                  <a:pt x="1862535" y="3872719"/>
                  <a:pt x="1857211" y="3873292"/>
                  <a:pt x="1850685" y="3879385"/>
                </a:cubicBezTo>
                <a:cubicBezTo>
                  <a:pt x="1835667" y="3889986"/>
                  <a:pt x="1820267" y="3897032"/>
                  <a:pt x="1804543" y="3884338"/>
                </a:cubicBezTo>
                <a:cubicBezTo>
                  <a:pt x="1783306" y="3870439"/>
                  <a:pt x="1761629" y="3869171"/>
                  <a:pt x="1736974" y="3873616"/>
                </a:cubicBezTo>
                <a:cubicBezTo>
                  <a:pt x="1699897" y="3879393"/>
                  <a:pt x="1665226" y="3874127"/>
                  <a:pt x="1632577" y="3854262"/>
                </a:cubicBezTo>
                <a:cubicBezTo>
                  <a:pt x="1613304" y="3841949"/>
                  <a:pt x="1587696" y="3837508"/>
                  <a:pt x="1571094" y="3850076"/>
                </a:cubicBezTo>
                <a:cubicBezTo>
                  <a:pt x="1541249" y="3873055"/>
                  <a:pt x="1513866" y="3868804"/>
                  <a:pt x="1483755" y="3855857"/>
                </a:cubicBezTo>
                <a:cubicBezTo>
                  <a:pt x="1468795" y="3850273"/>
                  <a:pt x="1452060" y="3844878"/>
                  <a:pt x="1434695" y="3850337"/>
                </a:cubicBezTo>
                <a:cubicBezTo>
                  <a:pt x="1426203" y="3854844"/>
                  <a:pt x="1422081" y="3849894"/>
                  <a:pt x="1421318" y="3842785"/>
                </a:cubicBezTo>
                <a:cubicBezTo>
                  <a:pt x="1420746" y="3837453"/>
                  <a:pt x="1420364" y="3833898"/>
                  <a:pt x="1419983" y="3830345"/>
                </a:cubicBezTo>
                <a:cubicBezTo>
                  <a:pt x="1419659" y="3810605"/>
                  <a:pt x="1417884" y="3810796"/>
                  <a:pt x="1402866" y="3821396"/>
                </a:cubicBezTo>
                <a:cubicBezTo>
                  <a:pt x="1386074" y="3832187"/>
                  <a:pt x="1367316" y="3841391"/>
                  <a:pt x="1350142" y="3848628"/>
                </a:cubicBezTo>
                <a:cubicBezTo>
                  <a:pt x="1343234" y="3851168"/>
                  <a:pt x="1336326" y="3853707"/>
                  <a:pt x="1330430" y="3848947"/>
                </a:cubicBezTo>
                <a:cubicBezTo>
                  <a:pt x="1324534" y="3844186"/>
                  <a:pt x="1327320" y="3836697"/>
                  <a:pt x="1330297" y="3830984"/>
                </a:cubicBezTo>
                <a:cubicBezTo>
                  <a:pt x="1337644" y="3815814"/>
                  <a:pt x="1331557" y="3809276"/>
                  <a:pt x="1317169" y="3809024"/>
                </a:cubicBezTo>
                <a:cubicBezTo>
                  <a:pt x="1311654" y="3807818"/>
                  <a:pt x="1305949" y="3804834"/>
                  <a:pt x="1300624" y="3805406"/>
                </a:cubicBezTo>
                <a:cubicBezTo>
                  <a:pt x="1288202" y="3806740"/>
                  <a:pt x="1285855" y="3801599"/>
                  <a:pt x="1291809" y="3790174"/>
                </a:cubicBezTo>
                <a:cubicBezTo>
                  <a:pt x="1294977" y="3786238"/>
                  <a:pt x="1297953" y="3780526"/>
                  <a:pt x="1292248" y="3777542"/>
                </a:cubicBezTo>
                <a:cubicBezTo>
                  <a:pt x="1288126" y="3772592"/>
                  <a:pt x="1282993" y="3774941"/>
                  <a:pt x="1277860" y="3777290"/>
                </a:cubicBezTo>
                <a:cubicBezTo>
                  <a:pt x="1264426" y="3785923"/>
                  <a:pt x="1249847" y="3783892"/>
                  <a:pt x="1233494" y="3782052"/>
                </a:cubicBezTo>
                <a:cubicBezTo>
                  <a:pt x="1184053" y="3772978"/>
                  <a:pt x="1142796" y="3789991"/>
                  <a:pt x="1104651" y="3819254"/>
                </a:cubicBezTo>
                <a:cubicBezTo>
                  <a:pt x="1097934" y="3823571"/>
                  <a:pt x="1095339" y="3832837"/>
                  <a:pt x="1086656" y="3835568"/>
                </a:cubicBezTo>
                <a:cubicBezTo>
                  <a:pt x="1087477" y="3826491"/>
                  <a:pt x="1088489" y="3819192"/>
                  <a:pt x="1089309" y="3810115"/>
                </a:cubicBezTo>
                <a:cubicBezTo>
                  <a:pt x="1090951" y="3791962"/>
                  <a:pt x="1082708" y="3782060"/>
                  <a:pt x="1066354" y="3780221"/>
                </a:cubicBezTo>
                <a:cubicBezTo>
                  <a:pt x="1011779" y="3773495"/>
                  <a:pt x="957205" y="3766770"/>
                  <a:pt x="902629" y="3760045"/>
                </a:cubicBezTo>
                <a:cubicBezTo>
                  <a:pt x="882727" y="3758586"/>
                  <a:pt x="863396" y="3762460"/>
                  <a:pt x="843113" y="3757446"/>
                </a:cubicBezTo>
                <a:cubicBezTo>
                  <a:pt x="830117" y="3753448"/>
                  <a:pt x="822447" y="3748879"/>
                  <a:pt x="824279" y="3732503"/>
                </a:cubicBezTo>
                <a:cubicBezTo>
                  <a:pt x="823954" y="3712763"/>
                  <a:pt x="808613" y="3703623"/>
                  <a:pt x="791821" y="3714415"/>
                </a:cubicBezTo>
                <a:cubicBezTo>
                  <a:pt x="778387" y="3723047"/>
                  <a:pt x="767548" y="3722414"/>
                  <a:pt x="754362" y="3716638"/>
                </a:cubicBezTo>
                <a:cubicBezTo>
                  <a:pt x="746501" y="3710292"/>
                  <a:pt x="739402" y="3711054"/>
                  <a:pt x="731292" y="3719115"/>
                </a:cubicBezTo>
                <a:cubicBezTo>
                  <a:pt x="723372" y="3728954"/>
                  <a:pt x="712916" y="3731874"/>
                  <a:pt x="701696" y="3727686"/>
                </a:cubicBezTo>
                <a:cubicBezTo>
                  <a:pt x="694407" y="3726670"/>
                  <a:pt x="684961" y="3722291"/>
                  <a:pt x="677862" y="3723053"/>
                </a:cubicBezTo>
                <a:cubicBezTo>
                  <a:pt x="667214" y="3724197"/>
                  <a:pt x="663093" y="3719246"/>
                  <a:pt x="660364" y="3710550"/>
                </a:cubicBezTo>
                <a:cubicBezTo>
                  <a:pt x="653132" y="3693350"/>
                  <a:pt x="649392" y="3691953"/>
                  <a:pt x="632790" y="3704522"/>
                </a:cubicBezTo>
                <a:cubicBezTo>
                  <a:pt x="622906" y="3712774"/>
                  <a:pt x="613211" y="3722803"/>
                  <a:pt x="601171" y="3727691"/>
                </a:cubicBezTo>
                <a:cubicBezTo>
                  <a:pt x="600980" y="3725914"/>
                  <a:pt x="599205" y="3726104"/>
                  <a:pt x="599014" y="3724327"/>
                </a:cubicBezTo>
                <a:cubicBezTo>
                  <a:pt x="612506" y="3699509"/>
                  <a:pt x="612506" y="3699509"/>
                  <a:pt x="595638" y="3676151"/>
                </a:cubicBezTo>
                <a:cubicBezTo>
                  <a:pt x="593482" y="3672787"/>
                  <a:pt x="591325" y="3669424"/>
                  <a:pt x="589360" y="3667837"/>
                </a:cubicBezTo>
                <a:cubicBezTo>
                  <a:pt x="571919" y="3639148"/>
                  <a:pt x="550051" y="3636103"/>
                  <a:pt x="521409" y="3653560"/>
                </a:cubicBezTo>
                <a:cubicBezTo>
                  <a:pt x="506391" y="3664160"/>
                  <a:pt x="495171" y="3659972"/>
                  <a:pt x="491489" y="3642390"/>
                </a:cubicBezTo>
                <a:cubicBezTo>
                  <a:pt x="488760" y="3633695"/>
                  <a:pt x="487806" y="3624808"/>
                  <a:pt x="488627" y="3615731"/>
                </a:cubicBezTo>
                <a:cubicBezTo>
                  <a:pt x="491280" y="3590279"/>
                  <a:pt x="513586" y="3580694"/>
                  <a:pt x="533050" y="3594784"/>
                </a:cubicBezTo>
                <a:cubicBezTo>
                  <a:pt x="548582" y="3605700"/>
                  <a:pt x="563352" y="3609507"/>
                  <a:pt x="579706" y="3611347"/>
                </a:cubicBezTo>
                <a:cubicBezTo>
                  <a:pt x="595868" y="3611410"/>
                  <a:pt x="610638" y="3615217"/>
                  <a:pt x="622621" y="3626515"/>
                </a:cubicBezTo>
                <a:cubicBezTo>
                  <a:pt x="640883" y="3646126"/>
                  <a:pt x="649946" y="3646951"/>
                  <a:pt x="667559" y="3627084"/>
                </a:cubicBezTo>
                <a:cubicBezTo>
                  <a:pt x="680612" y="3614896"/>
                  <a:pt x="692652" y="3610008"/>
                  <a:pt x="710781" y="3611657"/>
                </a:cubicBezTo>
                <a:cubicBezTo>
                  <a:pt x="743297" y="3613560"/>
                  <a:pt x="774992" y="3624539"/>
                  <a:pt x="805924" y="3628408"/>
                </a:cubicBezTo>
                <a:cubicBezTo>
                  <a:pt x="833307" y="3632660"/>
                  <a:pt x="859926" y="3629802"/>
                  <a:pt x="881280" y="3611331"/>
                </a:cubicBezTo>
                <a:cubicBezTo>
                  <a:pt x="892557" y="3599334"/>
                  <a:pt x="900037" y="3602126"/>
                  <a:pt x="911830" y="3611646"/>
                </a:cubicBezTo>
                <a:cubicBezTo>
                  <a:pt x="966862" y="3656074"/>
                  <a:pt x="1026322" y="3674858"/>
                  <a:pt x="1092289" y="3637216"/>
                </a:cubicBezTo>
                <a:cubicBezTo>
                  <a:pt x="1102365" y="3630741"/>
                  <a:pt x="1111619" y="3633343"/>
                  <a:pt x="1120874" y="3635944"/>
                </a:cubicBezTo>
                <a:cubicBezTo>
                  <a:pt x="1126580" y="3638928"/>
                  <a:pt x="1134441" y="3645275"/>
                  <a:pt x="1140968" y="3639181"/>
                </a:cubicBezTo>
                <a:cubicBezTo>
                  <a:pt x="1147303" y="3631310"/>
                  <a:pt x="1141216" y="3624773"/>
                  <a:pt x="1138678" y="3617854"/>
                </a:cubicBezTo>
                <a:cubicBezTo>
                  <a:pt x="1132210" y="3607762"/>
                  <a:pt x="1137151" y="3603636"/>
                  <a:pt x="1147799" y="3602493"/>
                </a:cubicBezTo>
                <a:cubicBezTo>
                  <a:pt x="1158447" y="3601350"/>
                  <a:pt x="1169477" y="3603761"/>
                  <a:pt x="1180315" y="3604396"/>
                </a:cubicBezTo>
                <a:cubicBezTo>
                  <a:pt x="1204149" y="3609028"/>
                  <a:pt x="1224624" y="3615819"/>
                  <a:pt x="1248897" y="3607820"/>
                </a:cubicBezTo>
                <a:cubicBezTo>
                  <a:pt x="1254221" y="3607249"/>
                  <a:pt x="1254602" y="3610802"/>
                  <a:pt x="1256758" y="3614166"/>
                </a:cubicBezTo>
                <a:cubicBezTo>
                  <a:pt x="1263799" y="3629590"/>
                  <a:pt x="1276603" y="3631810"/>
                  <a:pt x="1290800" y="3630287"/>
                </a:cubicBezTo>
                <a:cubicBezTo>
                  <a:pt x="1344231" y="3626349"/>
                  <a:pt x="1398041" y="3625964"/>
                  <a:pt x="1451414" y="3638211"/>
                </a:cubicBezTo>
                <a:cubicBezTo>
                  <a:pt x="1455154" y="3639608"/>
                  <a:pt x="1460478" y="3639037"/>
                  <a:pt x="1465611" y="3636688"/>
                </a:cubicBezTo>
                <a:cubicBezTo>
                  <a:pt x="1480629" y="3626087"/>
                  <a:pt x="1491850" y="3630276"/>
                  <a:pt x="1502631" y="3647095"/>
                </a:cubicBezTo>
                <a:cubicBezTo>
                  <a:pt x="1513412" y="3663915"/>
                  <a:pt x="1524251" y="3664549"/>
                  <a:pt x="1538696" y="3648616"/>
                </a:cubicBezTo>
                <a:cubicBezTo>
                  <a:pt x="1545222" y="3642523"/>
                  <a:pt x="1549973" y="3636619"/>
                  <a:pt x="1556309" y="3628749"/>
                </a:cubicBezTo>
                <a:cubicBezTo>
                  <a:pt x="1564552" y="3638650"/>
                  <a:pt x="1572795" y="3648552"/>
                  <a:pt x="1585218" y="3647218"/>
                </a:cubicBezTo>
                <a:cubicBezTo>
                  <a:pt x="1599415" y="3645693"/>
                  <a:pt x="1613803" y="3645946"/>
                  <a:pt x="1626226" y="3644613"/>
                </a:cubicBezTo>
                <a:cubicBezTo>
                  <a:pt x="1637809" y="3643819"/>
                  <a:pt x="1646852" y="3643410"/>
                  <a:pt x="1653958" y="3642451"/>
                </a:cubicBezTo>
                <a:lnTo>
                  <a:pt x="1663302" y="3639280"/>
                </a:lnTo>
                <a:lnTo>
                  <a:pt x="1642423" y="3628380"/>
                </a:lnTo>
                <a:cubicBezTo>
                  <a:pt x="1635814" y="3622682"/>
                  <a:pt x="1629901" y="3615085"/>
                  <a:pt x="1624993" y="3605702"/>
                </a:cubicBezTo>
                <a:cubicBezTo>
                  <a:pt x="1617853" y="3589614"/>
                  <a:pt x="1607145" y="3575316"/>
                  <a:pt x="1591081" y="3564590"/>
                </a:cubicBezTo>
                <a:cubicBezTo>
                  <a:pt x="1576802" y="3553866"/>
                  <a:pt x="1562524" y="3543141"/>
                  <a:pt x="1553599" y="3527054"/>
                </a:cubicBezTo>
                <a:cubicBezTo>
                  <a:pt x="1542890" y="3544929"/>
                  <a:pt x="1553599" y="3566378"/>
                  <a:pt x="1542890" y="3584253"/>
                </a:cubicBezTo>
                <a:cubicBezTo>
                  <a:pt x="1526826" y="3561016"/>
                  <a:pt x="1526826" y="3561016"/>
                  <a:pt x="1501839" y="3573527"/>
                </a:cubicBezTo>
                <a:cubicBezTo>
                  <a:pt x="1491130" y="3577103"/>
                  <a:pt x="1483991" y="3578890"/>
                  <a:pt x="1473282" y="3573527"/>
                </a:cubicBezTo>
                <a:cubicBezTo>
                  <a:pt x="1444724" y="3561016"/>
                  <a:pt x="1416167" y="3552079"/>
                  <a:pt x="1387610" y="3543141"/>
                </a:cubicBezTo>
                <a:cubicBezTo>
                  <a:pt x="1300152" y="3514543"/>
                  <a:pt x="1210911" y="3496668"/>
                  <a:pt x="1125238" y="3462707"/>
                </a:cubicBezTo>
                <a:cubicBezTo>
                  <a:pt x="1118099" y="3460920"/>
                  <a:pt x="1107390" y="3460920"/>
                  <a:pt x="1107390" y="3451983"/>
                </a:cubicBezTo>
                <a:cubicBezTo>
                  <a:pt x="1106497" y="3447514"/>
                  <a:pt x="1108282" y="3444386"/>
                  <a:pt x="1110960" y="3441705"/>
                </a:cubicBezTo>
                <a:lnTo>
                  <a:pt x="1113146" y="3439843"/>
                </a:lnTo>
                <a:lnTo>
                  <a:pt x="1100269" y="3444006"/>
                </a:lnTo>
                <a:cubicBezTo>
                  <a:pt x="1071435" y="3459685"/>
                  <a:pt x="1062372" y="3458861"/>
                  <a:pt x="1039988" y="3434297"/>
                </a:cubicBezTo>
                <a:cubicBezTo>
                  <a:pt x="1031746" y="3424396"/>
                  <a:pt x="1022109" y="3418240"/>
                  <a:pt x="1011461" y="3419384"/>
                </a:cubicBezTo>
                <a:cubicBezTo>
                  <a:pt x="974003" y="3421606"/>
                  <a:pt x="938758" y="3411009"/>
                  <a:pt x="903895" y="3403965"/>
                </a:cubicBezTo>
                <a:cubicBezTo>
                  <a:pt x="872581" y="3396541"/>
                  <a:pt x="841459" y="3390894"/>
                  <a:pt x="810088" y="3399655"/>
                </a:cubicBezTo>
                <a:cubicBezTo>
                  <a:pt x="797856" y="3402766"/>
                  <a:pt x="790375" y="3399973"/>
                  <a:pt x="784098" y="3391658"/>
                </a:cubicBezTo>
                <a:cubicBezTo>
                  <a:pt x="775854" y="3381757"/>
                  <a:pt x="765645" y="3370269"/>
                  <a:pt x="751830" y="3375348"/>
                </a:cubicBezTo>
                <a:cubicBezTo>
                  <a:pt x="722425" y="3385695"/>
                  <a:pt x="696244" y="3375922"/>
                  <a:pt x="672659" y="3356881"/>
                </a:cubicBezTo>
                <a:cubicBezTo>
                  <a:pt x="637472" y="3330098"/>
                  <a:pt x="597286" y="3323626"/>
                  <a:pt x="556029" y="3340639"/>
                </a:cubicBezTo>
                <a:cubicBezTo>
                  <a:pt x="540439" y="3345908"/>
                  <a:pt x="534734" y="3342925"/>
                  <a:pt x="533017" y="3326930"/>
                </a:cubicBezTo>
                <a:cubicBezTo>
                  <a:pt x="532444" y="3321599"/>
                  <a:pt x="531872" y="3316267"/>
                  <a:pt x="529715" y="3312903"/>
                </a:cubicBezTo>
                <a:cubicBezTo>
                  <a:pt x="502639" y="3278058"/>
                  <a:pt x="475752" y="3244991"/>
                  <a:pt x="426883" y="3241248"/>
                </a:cubicBezTo>
                <a:cubicBezTo>
                  <a:pt x="416044" y="3240614"/>
                  <a:pt x="417246" y="3235092"/>
                  <a:pt x="420033" y="3227602"/>
                </a:cubicBezTo>
                <a:cubicBezTo>
                  <a:pt x="421426" y="3223857"/>
                  <a:pt x="424593" y="3219921"/>
                  <a:pt x="427761" y="3215986"/>
                </a:cubicBezTo>
                <a:cubicBezTo>
                  <a:pt x="434096" y="3208115"/>
                  <a:pt x="440623" y="3202022"/>
                  <a:pt x="432379" y="3192120"/>
                </a:cubicBezTo>
                <a:cubicBezTo>
                  <a:pt x="425911" y="3182028"/>
                  <a:pt x="417801" y="3190090"/>
                  <a:pt x="409118" y="3192820"/>
                </a:cubicBezTo>
                <a:cubicBezTo>
                  <a:pt x="391944" y="3200056"/>
                  <a:pt x="372996" y="3207483"/>
                  <a:pt x="357654" y="3198345"/>
                </a:cubicBezTo>
                <a:cubicBezTo>
                  <a:pt x="338572" y="3187809"/>
                  <a:pt x="330271" y="3194093"/>
                  <a:pt x="319375" y="3209645"/>
                </a:cubicBezTo>
                <a:cubicBezTo>
                  <a:pt x="316207" y="3213580"/>
                  <a:pt x="313039" y="3217516"/>
                  <a:pt x="307906" y="3219865"/>
                </a:cubicBezTo>
                <a:cubicBezTo>
                  <a:pt x="303155" y="3225767"/>
                  <a:pt x="298022" y="3228116"/>
                  <a:pt x="290160" y="3221770"/>
                </a:cubicBezTo>
                <a:cubicBezTo>
                  <a:pt x="284263" y="3217009"/>
                  <a:pt x="283500" y="3209901"/>
                  <a:pt x="288252" y="3203997"/>
                </a:cubicBezTo>
                <a:cubicBezTo>
                  <a:pt x="292813" y="3196317"/>
                  <a:pt x="293824" y="3189018"/>
                  <a:pt x="300350" y="3182924"/>
                </a:cubicBezTo>
                <a:cubicBezTo>
                  <a:pt x="303709" y="3180766"/>
                  <a:pt x="307068" y="3178608"/>
                  <a:pt x="304720" y="3173466"/>
                </a:cubicBezTo>
                <a:cubicBezTo>
                  <a:pt x="302564" y="3170102"/>
                  <a:pt x="297431" y="3172451"/>
                  <a:pt x="293882" y="3172832"/>
                </a:cubicBezTo>
                <a:cubicBezTo>
                  <a:pt x="288558" y="3173404"/>
                  <a:pt x="285009" y="3173785"/>
                  <a:pt x="281841" y="3177720"/>
                </a:cubicBezTo>
                <a:cubicBezTo>
                  <a:pt x="278673" y="3181656"/>
                  <a:pt x="275124" y="3182037"/>
                  <a:pt x="271193" y="3178863"/>
                </a:cubicBezTo>
                <a:cubicBezTo>
                  <a:pt x="249573" y="3161410"/>
                  <a:pt x="225549" y="3155001"/>
                  <a:pt x="199120" y="3159635"/>
                </a:cubicBezTo>
                <a:cubicBezTo>
                  <a:pt x="186889" y="3162746"/>
                  <a:pt x="174466" y="3164079"/>
                  <a:pt x="161853" y="3163635"/>
                </a:cubicBezTo>
                <a:cubicBezTo>
                  <a:pt x="154754" y="3164398"/>
                  <a:pt x="144106" y="3165541"/>
                  <a:pt x="139603" y="3157036"/>
                </a:cubicBezTo>
                <a:cubicBezTo>
                  <a:pt x="137065" y="3150118"/>
                  <a:pt x="145366" y="3143834"/>
                  <a:pt x="150118" y="3137930"/>
                </a:cubicBezTo>
                <a:cubicBezTo>
                  <a:pt x="153286" y="3133995"/>
                  <a:pt x="156644" y="3131837"/>
                  <a:pt x="159812" y="3127901"/>
                </a:cubicBezTo>
                <a:cubicBezTo>
                  <a:pt x="162980" y="3123966"/>
                  <a:pt x="171471" y="3119459"/>
                  <a:pt x="167159" y="3112731"/>
                </a:cubicBezTo>
                <a:cubicBezTo>
                  <a:pt x="164621" y="3105813"/>
                  <a:pt x="155748" y="3106765"/>
                  <a:pt x="148840" y="3109304"/>
                </a:cubicBezTo>
                <a:cubicBezTo>
                  <a:pt x="132868" y="3111019"/>
                  <a:pt x="120064" y="3108798"/>
                  <a:pt x="103329" y="3103403"/>
                </a:cubicBezTo>
                <a:cubicBezTo>
                  <a:pt x="65929" y="3089442"/>
                  <a:pt x="47362" y="3100424"/>
                  <a:pt x="36980" y="3137492"/>
                </a:cubicBezTo>
                <a:cubicBezTo>
                  <a:pt x="33182" y="3152281"/>
                  <a:pt x="25072" y="3160343"/>
                  <a:pt x="10684" y="3160090"/>
                </a:cubicBezTo>
                <a:cubicBezTo>
                  <a:pt x="7059" y="3126323"/>
                  <a:pt x="3625" y="3094333"/>
                  <a:pt x="0" y="3060566"/>
                </a:cubicBezTo>
                <a:cubicBezTo>
                  <a:pt x="24655" y="3056121"/>
                  <a:pt x="29025" y="3046664"/>
                  <a:pt x="20209" y="3031431"/>
                </a:cubicBezTo>
                <a:cubicBezTo>
                  <a:pt x="17862" y="3026290"/>
                  <a:pt x="10382" y="3023497"/>
                  <a:pt x="13359" y="3017784"/>
                </a:cubicBezTo>
                <a:cubicBezTo>
                  <a:pt x="18110" y="3011881"/>
                  <a:pt x="25400" y="3012897"/>
                  <a:pt x="30914" y="3014102"/>
                </a:cubicBezTo>
                <a:cubicBezTo>
                  <a:pt x="36238" y="3013531"/>
                  <a:pt x="39978" y="3014927"/>
                  <a:pt x="43719" y="3016323"/>
                </a:cubicBezTo>
                <a:cubicBezTo>
                  <a:pt x="54747" y="3018734"/>
                  <a:pt x="59880" y="3016386"/>
                  <a:pt x="60320" y="3003755"/>
                </a:cubicBezTo>
                <a:cubicBezTo>
                  <a:pt x="61331" y="2996455"/>
                  <a:pt x="65510" y="2985221"/>
                  <a:pt x="74956" y="2989600"/>
                </a:cubicBezTo>
                <a:cubicBezTo>
                  <a:pt x="87951" y="2993597"/>
                  <a:pt x="100373" y="2992264"/>
                  <a:pt x="112987" y="2992707"/>
                </a:cubicBezTo>
                <a:cubicBezTo>
                  <a:pt x="123825" y="2993342"/>
                  <a:pt x="136630" y="2995563"/>
                  <a:pt x="148670" y="2990674"/>
                </a:cubicBezTo>
                <a:cubicBezTo>
                  <a:pt x="158936" y="2985977"/>
                  <a:pt x="170977" y="2981089"/>
                  <a:pt x="160196" y="2964270"/>
                </a:cubicBezTo>
                <a:cubicBezTo>
                  <a:pt x="156074" y="2959319"/>
                  <a:pt x="159242" y="2955384"/>
                  <a:pt x="166150" y="2952844"/>
                </a:cubicBezTo>
                <a:cubicBezTo>
                  <a:pt x="192770" y="2949987"/>
                  <a:pt x="202406" y="2956142"/>
                  <a:pt x="207043" y="2982610"/>
                </a:cubicBezTo>
                <a:cubicBezTo>
                  <a:pt x="207997" y="2991497"/>
                  <a:pt x="210534" y="2998414"/>
                  <a:pt x="218014" y="3001207"/>
                </a:cubicBezTo>
                <a:cubicBezTo>
                  <a:pt x="231009" y="3005205"/>
                  <a:pt x="243814" y="3007426"/>
                  <a:pt x="257629" y="3002347"/>
                </a:cubicBezTo>
                <a:cubicBezTo>
                  <a:pt x="261178" y="3001966"/>
                  <a:pt x="262190" y="2994667"/>
                  <a:pt x="260034" y="2991303"/>
                </a:cubicBezTo>
                <a:cubicBezTo>
                  <a:pt x="259461" y="2985971"/>
                  <a:pt x="258698" y="2978863"/>
                  <a:pt x="261866" y="2974927"/>
                </a:cubicBezTo>
                <a:cubicBezTo>
                  <a:pt x="266618" y="2969024"/>
                  <a:pt x="272380" y="2955821"/>
                  <a:pt x="278849" y="2965914"/>
                </a:cubicBezTo>
                <a:cubicBezTo>
                  <a:pt x="295144" y="2983938"/>
                  <a:pt x="312891" y="2982033"/>
                  <a:pt x="332412" y="2979938"/>
                </a:cubicBezTo>
                <a:cubicBezTo>
                  <a:pt x="343251" y="2980572"/>
                  <a:pt x="354090" y="2981206"/>
                  <a:pt x="363917" y="2989140"/>
                </a:cubicBezTo>
                <a:cubicBezTo>
                  <a:pt x="401068" y="3017509"/>
                  <a:pt x="427498" y="3012875"/>
                  <a:pt x="448145" y="2971109"/>
                </a:cubicBezTo>
                <a:cubicBezTo>
                  <a:pt x="454099" y="2959683"/>
                  <a:pt x="462591" y="2955177"/>
                  <a:pt x="472609" y="2964887"/>
                </a:cubicBezTo>
                <a:cubicBezTo>
                  <a:pt x="496194" y="2983927"/>
                  <a:pt x="523577" y="2988179"/>
                  <a:pt x="552161" y="2986908"/>
                </a:cubicBezTo>
                <a:cubicBezTo>
                  <a:pt x="566550" y="2987161"/>
                  <a:pt x="580556" y="2983859"/>
                  <a:pt x="596719" y="2983922"/>
                </a:cubicBezTo>
                <a:cubicBezTo>
                  <a:pt x="623720" y="2984619"/>
                  <a:pt x="646790" y="2982142"/>
                  <a:pt x="654003" y="2949009"/>
                </a:cubicBezTo>
                <a:cubicBezTo>
                  <a:pt x="655339" y="2961450"/>
                  <a:pt x="654518" y="2970526"/>
                  <a:pt x="660987" y="2980618"/>
                </a:cubicBezTo>
                <a:cubicBezTo>
                  <a:pt x="667837" y="2994264"/>
                  <a:pt x="680832" y="2998262"/>
                  <a:pt x="693255" y="2996929"/>
                </a:cubicBezTo>
                <a:cubicBezTo>
                  <a:pt x="707261" y="2993627"/>
                  <a:pt x="697052" y="2982139"/>
                  <a:pt x="698064" y="2974840"/>
                </a:cubicBezTo>
                <a:cubicBezTo>
                  <a:pt x="698694" y="2963986"/>
                  <a:pt x="705029" y="2956115"/>
                  <a:pt x="716249" y="2960304"/>
                </a:cubicBezTo>
                <a:cubicBezTo>
                  <a:pt x="731210" y="2965888"/>
                  <a:pt x="743632" y="2964555"/>
                  <a:pt x="759413" y="2961063"/>
                </a:cubicBezTo>
                <a:cubicBezTo>
                  <a:pt x="778361" y="2953636"/>
                  <a:pt x="797883" y="2951540"/>
                  <a:pt x="817155" y="2963853"/>
                </a:cubicBezTo>
                <a:cubicBezTo>
                  <a:pt x="828757" y="2971596"/>
                  <a:pt x="839215" y="2968676"/>
                  <a:pt x="847134" y="2958837"/>
                </a:cubicBezTo>
                <a:cubicBezTo>
                  <a:pt x="851885" y="2952933"/>
                  <a:pt x="856637" y="2947031"/>
                  <a:pt x="859804" y="2943095"/>
                </a:cubicBezTo>
                <a:cubicBezTo>
                  <a:pt x="867915" y="2935034"/>
                  <a:pt x="871902" y="2922022"/>
                  <a:pt x="882932" y="2924432"/>
                </a:cubicBezTo>
                <a:cubicBezTo>
                  <a:pt x="893961" y="2926844"/>
                  <a:pt x="893522" y="2939476"/>
                  <a:pt x="894476" y="2948362"/>
                </a:cubicBezTo>
                <a:cubicBezTo>
                  <a:pt x="895430" y="2957247"/>
                  <a:pt x="902147" y="2952930"/>
                  <a:pt x="907662" y="2954136"/>
                </a:cubicBezTo>
                <a:cubicBezTo>
                  <a:pt x="912986" y="2953565"/>
                  <a:pt x="918310" y="2952993"/>
                  <a:pt x="915772" y="2946075"/>
                </a:cubicBezTo>
                <a:cubicBezTo>
                  <a:pt x="912948" y="2936491"/>
                  <a:pt x="914055" y="2930080"/>
                  <a:pt x="917841" y="2925629"/>
                </a:cubicBezTo>
                <a:lnTo>
                  <a:pt x="932848" y="2918441"/>
                </a:lnTo>
                <a:lnTo>
                  <a:pt x="921767" y="2908605"/>
                </a:lnTo>
                <a:cubicBezTo>
                  <a:pt x="917305" y="2905030"/>
                  <a:pt x="915520" y="2901008"/>
                  <a:pt x="915297" y="2896763"/>
                </a:cubicBezTo>
                <a:lnTo>
                  <a:pt x="917496" y="2886768"/>
                </a:lnTo>
                <a:lnTo>
                  <a:pt x="853305" y="2872110"/>
                </a:lnTo>
                <a:cubicBezTo>
                  <a:pt x="828039" y="2868755"/>
                  <a:pt x="802321" y="2867471"/>
                  <a:pt x="776303" y="2867567"/>
                </a:cubicBezTo>
                <a:cubicBezTo>
                  <a:pt x="734913" y="2866618"/>
                  <a:pt x="696692" y="2861732"/>
                  <a:pt x="660112" y="2838694"/>
                </a:cubicBezTo>
                <a:cubicBezTo>
                  <a:pt x="638874" y="2824794"/>
                  <a:pt x="622387" y="2804993"/>
                  <a:pt x="607484" y="2783222"/>
                </a:cubicBezTo>
                <a:cubicBezTo>
                  <a:pt x="597351" y="2805882"/>
                  <a:pt x="588669" y="2808612"/>
                  <a:pt x="569014" y="2792745"/>
                </a:cubicBezTo>
                <a:cubicBezTo>
                  <a:pt x="563118" y="2787985"/>
                  <a:pt x="558615" y="2779480"/>
                  <a:pt x="559436" y="2770403"/>
                </a:cubicBezTo>
                <a:cubicBezTo>
                  <a:pt x="559493" y="2754218"/>
                  <a:pt x="546498" y="2750219"/>
                  <a:pt x="533885" y="2749776"/>
                </a:cubicBezTo>
                <a:cubicBezTo>
                  <a:pt x="521081" y="2747555"/>
                  <a:pt x="516711" y="2757013"/>
                  <a:pt x="512342" y="2766470"/>
                </a:cubicBezTo>
                <a:cubicBezTo>
                  <a:pt x="509746" y="2775738"/>
                  <a:pt x="510891" y="2786401"/>
                  <a:pt x="501388" y="2798207"/>
                </a:cubicBezTo>
                <a:cubicBezTo>
                  <a:pt x="504422" y="2776309"/>
                  <a:pt x="493202" y="2772120"/>
                  <a:pt x="478623" y="2770090"/>
                </a:cubicBezTo>
                <a:cubicBezTo>
                  <a:pt x="466010" y="2769646"/>
                  <a:pt x="450859" y="2762285"/>
                  <a:pt x="451489" y="2751431"/>
                </a:cubicBezTo>
                <a:cubicBezTo>
                  <a:pt x="452939" y="2731500"/>
                  <a:pt x="452615" y="2711760"/>
                  <a:pt x="463321" y="2694432"/>
                </a:cubicBezTo>
                <a:cubicBezTo>
                  <a:pt x="469466" y="2684784"/>
                  <a:pt x="476372" y="2682244"/>
                  <a:pt x="488986" y="2682688"/>
                </a:cubicBezTo>
                <a:cubicBezTo>
                  <a:pt x="498241" y="2685290"/>
                  <a:pt x="502172" y="2688463"/>
                  <a:pt x="501542" y="2699317"/>
                </a:cubicBezTo>
                <a:cubicBezTo>
                  <a:pt x="502305" y="2706426"/>
                  <a:pt x="508010" y="2709409"/>
                  <a:pt x="513334" y="2708837"/>
                </a:cubicBezTo>
                <a:cubicBezTo>
                  <a:pt x="534439" y="2704774"/>
                  <a:pt x="548007" y="2714104"/>
                  <a:pt x="561765" y="2725211"/>
                </a:cubicBezTo>
                <a:cubicBezTo>
                  <a:pt x="575332" y="2734541"/>
                  <a:pt x="589911" y="2736570"/>
                  <a:pt x="600998" y="2722797"/>
                </a:cubicBezTo>
                <a:cubicBezTo>
                  <a:pt x="608917" y="2712958"/>
                  <a:pt x="612847" y="2716131"/>
                  <a:pt x="612218" y="2726985"/>
                </a:cubicBezTo>
                <a:cubicBezTo>
                  <a:pt x="612981" y="2734094"/>
                  <a:pt x="616720" y="2735490"/>
                  <a:pt x="624201" y="2738283"/>
                </a:cubicBezTo>
                <a:cubicBezTo>
                  <a:pt x="655514" y="2745707"/>
                  <a:pt x="687458" y="2742278"/>
                  <a:pt x="716483" y="2728376"/>
                </a:cubicBezTo>
                <a:cubicBezTo>
                  <a:pt x="731690" y="2719553"/>
                  <a:pt x="747662" y="2717837"/>
                  <a:pt x="764016" y="2719678"/>
                </a:cubicBezTo>
                <a:cubicBezTo>
                  <a:pt x="778595" y="2721708"/>
                  <a:pt x="791971" y="2729260"/>
                  <a:pt x="803573" y="2737003"/>
                </a:cubicBezTo>
                <a:cubicBezTo>
                  <a:pt x="809469" y="2741764"/>
                  <a:pt x="813782" y="2748492"/>
                  <a:pt x="822083" y="2742207"/>
                </a:cubicBezTo>
                <a:cubicBezTo>
                  <a:pt x="830384" y="2735922"/>
                  <a:pt x="829620" y="2728814"/>
                  <a:pt x="826892" y="2720119"/>
                </a:cubicBezTo>
                <a:cubicBezTo>
                  <a:pt x="824354" y="2713200"/>
                  <a:pt x="820232" y="2708250"/>
                  <a:pt x="821244" y="2700950"/>
                </a:cubicBezTo>
                <a:cubicBezTo>
                  <a:pt x="819145" y="2681400"/>
                  <a:pt x="809318" y="2673467"/>
                  <a:pt x="791190" y="2671818"/>
                </a:cubicBezTo>
                <a:cubicBezTo>
                  <a:pt x="758483" y="2668138"/>
                  <a:pt x="729135" y="2662300"/>
                  <a:pt x="697822" y="2654876"/>
                </a:cubicBezTo>
                <a:cubicBezTo>
                  <a:pt x="679121" y="2647895"/>
                  <a:pt x="676393" y="2639199"/>
                  <a:pt x="687288" y="2623648"/>
                </a:cubicBezTo>
                <a:cubicBezTo>
                  <a:pt x="689064" y="2623458"/>
                  <a:pt x="688872" y="2621680"/>
                  <a:pt x="688682" y="2619903"/>
                </a:cubicBezTo>
                <a:cubicBezTo>
                  <a:pt x="690323" y="2601750"/>
                  <a:pt x="701600" y="2589753"/>
                  <a:pt x="713069" y="2579533"/>
                </a:cubicBezTo>
                <a:cubicBezTo>
                  <a:pt x="721179" y="2571472"/>
                  <a:pt x="725110" y="2574645"/>
                  <a:pt x="727648" y="2581563"/>
                </a:cubicBezTo>
                <a:cubicBezTo>
                  <a:pt x="732914" y="2597177"/>
                  <a:pt x="724804" y="2605239"/>
                  <a:pt x="710798" y="2608541"/>
                </a:cubicBezTo>
                <a:cubicBezTo>
                  <a:pt x="715301" y="2617046"/>
                  <a:pt x="721388" y="2623583"/>
                  <a:pt x="730261" y="2622630"/>
                </a:cubicBezTo>
                <a:cubicBezTo>
                  <a:pt x="735585" y="2622058"/>
                  <a:pt x="736597" y="2614759"/>
                  <a:pt x="737799" y="2609237"/>
                </a:cubicBezTo>
                <a:cubicBezTo>
                  <a:pt x="742036" y="2581816"/>
                  <a:pt x="748562" y="2575723"/>
                  <a:pt x="775373" y="2574642"/>
                </a:cubicBezTo>
                <a:cubicBezTo>
                  <a:pt x="800599" y="2575529"/>
                  <a:pt x="827219" y="2572672"/>
                  <a:pt x="851682" y="2566450"/>
                </a:cubicBezTo>
                <a:cubicBezTo>
                  <a:pt x="884828" y="2557499"/>
                  <a:pt x="892690" y="2563846"/>
                  <a:pt x="890991" y="2598184"/>
                </a:cubicBezTo>
                <a:cubicBezTo>
                  <a:pt x="891182" y="2599962"/>
                  <a:pt x="891372" y="2601739"/>
                  <a:pt x="891563" y="2603516"/>
                </a:cubicBezTo>
                <a:cubicBezTo>
                  <a:pt x="890361" y="2609038"/>
                  <a:pt x="885800" y="2616719"/>
                  <a:pt x="895055" y="2619321"/>
                </a:cubicBezTo>
                <a:cubicBezTo>
                  <a:pt x="904119" y="2620145"/>
                  <a:pt x="913374" y="2622748"/>
                  <a:pt x="917553" y="2611512"/>
                </a:cubicBezTo>
                <a:cubicBezTo>
                  <a:pt x="920338" y="2604022"/>
                  <a:pt x="923315" y="2598309"/>
                  <a:pt x="924328" y="2591010"/>
                </a:cubicBezTo>
                <a:cubicBezTo>
                  <a:pt x="930281" y="2579584"/>
                  <a:pt x="937188" y="2577046"/>
                  <a:pt x="948600" y="2583011"/>
                </a:cubicBezTo>
                <a:cubicBezTo>
                  <a:pt x="959820" y="2587200"/>
                  <a:pt x="958999" y="2596276"/>
                  <a:pt x="952664" y="2604147"/>
                </a:cubicBezTo>
                <a:cubicBezTo>
                  <a:pt x="951270" y="2607893"/>
                  <a:pt x="949687" y="2609860"/>
                  <a:pt x="948295" y="2613605"/>
                </a:cubicBezTo>
                <a:cubicBezTo>
                  <a:pt x="945126" y="2617541"/>
                  <a:pt x="945699" y="2622873"/>
                  <a:pt x="949629" y="2626046"/>
                </a:cubicBezTo>
                <a:cubicBezTo>
                  <a:pt x="955335" y="2629028"/>
                  <a:pt x="956537" y="2623506"/>
                  <a:pt x="959895" y="2621348"/>
                </a:cubicBezTo>
                <a:cubicBezTo>
                  <a:pt x="966422" y="2615255"/>
                  <a:pt x="970983" y="2607574"/>
                  <a:pt x="973578" y="2598307"/>
                </a:cubicBezTo>
                <a:cubicBezTo>
                  <a:pt x="983520" y="2573869"/>
                  <a:pt x="993787" y="2569171"/>
                  <a:pt x="1018193" y="2579135"/>
                </a:cubicBezTo>
                <a:cubicBezTo>
                  <a:pt x="1029413" y="2583325"/>
                  <a:pt x="1040824" y="2589290"/>
                  <a:pt x="1052044" y="2593478"/>
                </a:cubicBezTo>
                <a:cubicBezTo>
                  <a:pt x="1059524" y="2596271"/>
                  <a:pt x="1068588" y="2597095"/>
                  <a:pt x="1074732" y="2587447"/>
                </a:cubicBezTo>
                <a:cubicBezTo>
                  <a:pt x="1082461" y="2575832"/>
                  <a:pt x="1086449" y="2562820"/>
                  <a:pt x="1104387" y="2562692"/>
                </a:cubicBezTo>
                <a:cubicBezTo>
                  <a:pt x="1115225" y="2563326"/>
                  <a:pt x="1121942" y="2559009"/>
                  <a:pt x="1131579" y="2565166"/>
                </a:cubicBezTo>
                <a:cubicBezTo>
                  <a:pt x="1179952" y="2597724"/>
                  <a:pt x="1230595" y="2601276"/>
                  <a:pt x="1284464" y="2584707"/>
                </a:cubicBezTo>
                <a:cubicBezTo>
                  <a:pt x="1293146" y="2581977"/>
                  <a:pt x="1300435" y="2582992"/>
                  <a:pt x="1308107" y="2587561"/>
                </a:cubicBezTo>
                <a:cubicBezTo>
                  <a:pt x="1325795" y="2601842"/>
                  <a:pt x="1345507" y="2601524"/>
                  <a:pt x="1366422" y="2595683"/>
                </a:cubicBezTo>
                <a:cubicBezTo>
                  <a:pt x="1395828" y="2585335"/>
                  <a:pt x="1421493" y="2573592"/>
                  <a:pt x="1446586" y="2556516"/>
                </a:cubicBezTo>
                <a:cubicBezTo>
                  <a:pt x="1458246" y="2548074"/>
                  <a:pt x="1469905" y="2539631"/>
                  <a:pt x="1484293" y="2539884"/>
                </a:cubicBezTo>
                <a:cubicBezTo>
                  <a:pt x="1531578" y="2545594"/>
                  <a:pt x="1581268" y="2540260"/>
                  <a:pt x="1626340" y="2558792"/>
                </a:cubicBezTo>
                <a:cubicBezTo>
                  <a:pt x="1635786" y="2563171"/>
                  <a:pt x="1642694" y="2560631"/>
                  <a:pt x="1650803" y="2552570"/>
                </a:cubicBezTo>
                <a:cubicBezTo>
                  <a:pt x="1653971" y="2548634"/>
                  <a:pt x="1657139" y="2544699"/>
                  <a:pt x="1660497" y="2542541"/>
                </a:cubicBezTo>
                <a:cubicBezTo>
                  <a:pt x="1669179" y="2539810"/>
                  <a:pt x="1667023" y="2536447"/>
                  <a:pt x="1664676" y="2531306"/>
                </a:cubicBezTo>
                <a:cubicBezTo>
                  <a:pt x="1659982" y="2521024"/>
                  <a:pt x="1652311" y="2516454"/>
                  <a:pt x="1641663" y="2517597"/>
                </a:cubicBezTo>
                <a:cubicBezTo>
                  <a:pt x="1629241" y="2518930"/>
                  <a:pt x="1622773" y="2508839"/>
                  <a:pt x="1623403" y="2497985"/>
                </a:cubicBezTo>
                <a:cubicBezTo>
                  <a:pt x="1624223" y="2488908"/>
                  <a:pt x="1635253" y="2491320"/>
                  <a:pt x="1642542" y="2492335"/>
                </a:cubicBezTo>
                <a:cubicBezTo>
                  <a:pt x="1662444" y="2493794"/>
                  <a:pt x="1669485" y="2509217"/>
                  <a:pt x="1676335" y="2522863"/>
                </a:cubicBezTo>
                <a:cubicBezTo>
                  <a:pt x="1706523" y="2569958"/>
                  <a:pt x="1750831" y="2581381"/>
                  <a:pt x="1797850" y="2551166"/>
                </a:cubicBezTo>
                <a:cubicBezTo>
                  <a:pt x="1809700" y="2544500"/>
                  <a:pt x="1821741" y="2539612"/>
                  <a:pt x="1834354" y="2540055"/>
                </a:cubicBezTo>
                <a:cubicBezTo>
                  <a:pt x="1843228" y="2539103"/>
                  <a:pt x="1846968" y="2540499"/>
                  <a:pt x="1847922" y="2549386"/>
                </a:cubicBezTo>
                <a:cubicBezTo>
                  <a:pt x="1851413" y="2565190"/>
                  <a:pt x="1857310" y="2569950"/>
                  <a:pt x="1872709" y="2562903"/>
                </a:cubicBezTo>
                <a:cubicBezTo>
                  <a:pt x="1901925" y="2550779"/>
                  <a:pt x="1930318" y="2547731"/>
                  <a:pt x="1960487" y="2544492"/>
                </a:cubicBezTo>
                <a:cubicBezTo>
                  <a:pt x="2008594" y="2541125"/>
                  <a:pt x="2051814" y="2525699"/>
                  <a:pt x="2085266" y="2486154"/>
                </a:cubicBezTo>
                <a:cubicBezTo>
                  <a:pt x="2085266" y="2486154"/>
                  <a:pt x="2087232" y="2487741"/>
                  <a:pt x="2087423" y="2489518"/>
                </a:cubicBezTo>
                <a:cubicBezTo>
                  <a:pt x="2086220" y="2495040"/>
                  <a:pt x="2083243" y="2500753"/>
                  <a:pt x="2082232" y="2508052"/>
                </a:cubicBezTo>
                <a:cubicBezTo>
                  <a:pt x="2080400" y="2524428"/>
                  <a:pt x="2084712" y="2531156"/>
                  <a:pt x="2101066" y="2532995"/>
                </a:cubicBezTo>
                <a:cubicBezTo>
                  <a:pt x="2120968" y="2534455"/>
                  <a:pt x="2125911" y="2530329"/>
                  <a:pt x="2125587" y="2510589"/>
                </a:cubicBezTo>
                <a:cubicBezTo>
                  <a:pt x="2125014" y="2505257"/>
                  <a:pt x="2120320" y="2494974"/>
                  <a:pt x="2130967" y="2493831"/>
                </a:cubicBezTo>
                <a:cubicBezTo>
                  <a:pt x="2146749" y="2490340"/>
                  <a:pt x="2158922" y="2503415"/>
                  <a:pt x="2153350" y="2518394"/>
                </a:cubicBezTo>
                <a:cubicBezTo>
                  <a:pt x="2148980" y="2527852"/>
                  <a:pt x="2151327" y="2532993"/>
                  <a:pt x="2162357" y="2535404"/>
                </a:cubicBezTo>
                <a:cubicBezTo>
                  <a:pt x="2186381" y="2541814"/>
                  <a:pt x="2210596" y="2550000"/>
                  <a:pt x="2233418" y="2561932"/>
                </a:cubicBezTo>
                <a:cubicBezTo>
                  <a:pt x="2252310" y="2570690"/>
                  <a:pt x="2272022" y="2570372"/>
                  <a:pt x="2290207" y="2555835"/>
                </a:cubicBezTo>
                <a:cubicBezTo>
                  <a:pt x="2294958" y="2549932"/>
                  <a:pt x="2301866" y="2547393"/>
                  <a:pt x="2310739" y="2546440"/>
                </a:cubicBezTo>
                <a:cubicBezTo>
                  <a:pt x="2325127" y="2546694"/>
                  <a:pt x="2339515" y="2546947"/>
                  <a:pt x="2353903" y="2547200"/>
                </a:cubicBezTo>
                <a:cubicBezTo>
                  <a:pt x="2364551" y="2546057"/>
                  <a:pt x="2373997" y="2550436"/>
                  <a:pt x="2378882" y="2562495"/>
                </a:cubicBezTo>
                <a:cubicBezTo>
                  <a:pt x="2381992" y="2574746"/>
                  <a:pt x="2389281" y="2575761"/>
                  <a:pt x="2399548" y="2571063"/>
                </a:cubicBezTo>
                <a:cubicBezTo>
                  <a:pt x="2408230" y="2568334"/>
                  <a:pt x="2418686" y="2565412"/>
                  <a:pt x="2427370" y="2562683"/>
                </a:cubicBezTo>
                <a:cubicBezTo>
                  <a:pt x="2448093" y="2555065"/>
                  <a:pt x="2459179" y="2541291"/>
                  <a:pt x="2460439" y="2519584"/>
                </a:cubicBezTo>
                <a:cubicBezTo>
                  <a:pt x="2461451" y="2512284"/>
                  <a:pt x="2460687" y="2505175"/>
                  <a:pt x="2461699" y="2497876"/>
                </a:cubicBezTo>
                <a:cubicBezTo>
                  <a:pt x="2472747" y="2550620"/>
                  <a:pt x="2512743" y="2555315"/>
                  <a:pt x="2554323" y="2558043"/>
                </a:cubicBezTo>
                <a:cubicBezTo>
                  <a:pt x="2567126" y="2560263"/>
                  <a:pt x="2575427" y="2553979"/>
                  <a:pt x="2583537" y="2545917"/>
                </a:cubicBezTo>
                <a:cubicBezTo>
                  <a:pt x="2591647" y="2537857"/>
                  <a:pt x="2594243" y="2528589"/>
                  <a:pt x="2589549" y="2518308"/>
                </a:cubicBezTo>
                <a:cubicBezTo>
                  <a:pt x="2585046" y="2509802"/>
                  <a:pt x="2576745" y="2516086"/>
                  <a:pt x="2569646" y="2516848"/>
                </a:cubicBezTo>
                <a:cubicBezTo>
                  <a:pt x="2564322" y="2517419"/>
                  <a:pt x="2555640" y="2520150"/>
                  <a:pt x="2552911" y="2511454"/>
                </a:cubicBezTo>
                <a:cubicBezTo>
                  <a:pt x="2550373" y="2504535"/>
                  <a:pt x="2552969" y="2495269"/>
                  <a:pt x="2559686" y="2490952"/>
                </a:cubicBezTo>
                <a:cubicBezTo>
                  <a:pt x="2566212" y="2484858"/>
                  <a:pt x="2575085" y="2483906"/>
                  <a:pt x="2582184" y="2483144"/>
                </a:cubicBezTo>
                <a:cubicBezTo>
                  <a:pt x="2591057" y="2482191"/>
                  <a:pt x="2599931" y="2481239"/>
                  <a:pt x="2604491" y="2473558"/>
                </a:cubicBezTo>
                <a:cubicBezTo>
                  <a:pt x="2594282" y="2462070"/>
                  <a:pt x="2579513" y="2458263"/>
                  <a:pt x="2567090" y="2459596"/>
                </a:cubicBezTo>
                <a:cubicBezTo>
                  <a:pt x="2529441" y="2460043"/>
                  <a:pt x="2494388" y="2451222"/>
                  <a:pt x="2459334" y="2442401"/>
                </a:cubicBezTo>
                <a:cubicBezTo>
                  <a:pt x="2435310" y="2435991"/>
                  <a:pt x="2412239" y="2438468"/>
                  <a:pt x="2390695" y="2455163"/>
                </a:cubicBezTo>
                <a:cubicBezTo>
                  <a:pt x="2384170" y="2461257"/>
                  <a:pt x="2376879" y="2460242"/>
                  <a:pt x="2369018" y="2453895"/>
                </a:cubicBezTo>
                <a:cubicBezTo>
                  <a:pt x="2355069" y="2441010"/>
                  <a:pt x="2338144" y="2433839"/>
                  <a:pt x="2321218" y="2426667"/>
                </a:cubicBezTo>
                <a:cubicBezTo>
                  <a:pt x="2311963" y="2424066"/>
                  <a:pt x="2303090" y="2425019"/>
                  <a:pt x="2294789" y="2431303"/>
                </a:cubicBezTo>
                <a:cubicBezTo>
                  <a:pt x="2278187" y="2443871"/>
                  <a:pt x="2259048" y="2449521"/>
                  <a:pt x="2238954" y="2446285"/>
                </a:cubicBezTo>
                <a:cubicBezTo>
                  <a:pt x="2220636" y="2442859"/>
                  <a:pt x="2202317" y="2439432"/>
                  <a:pt x="2185773" y="2435815"/>
                </a:cubicBezTo>
                <a:cubicBezTo>
                  <a:pt x="2172778" y="2431817"/>
                  <a:pt x="2165870" y="2434356"/>
                  <a:pt x="2165622" y="2448764"/>
                </a:cubicBezTo>
                <a:cubicBezTo>
                  <a:pt x="2164801" y="2457841"/>
                  <a:pt x="2161824" y="2463553"/>
                  <a:pt x="2152951" y="2464506"/>
                </a:cubicBezTo>
                <a:cubicBezTo>
                  <a:pt x="2133620" y="2468379"/>
                  <a:pt x="2127342" y="2460064"/>
                  <a:pt x="2130759" y="2441721"/>
                </a:cubicBezTo>
                <a:cubicBezTo>
                  <a:pt x="2135186" y="2416078"/>
                  <a:pt x="2129290" y="2411317"/>
                  <a:pt x="2104445" y="2413985"/>
                </a:cubicBezTo>
                <a:cubicBezTo>
                  <a:pt x="2088473" y="2415700"/>
                  <a:pt x="2072693" y="2419192"/>
                  <a:pt x="2058686" y="2422493"/>
                </a:cubicBezTo>
                <a:cubicBezTo>
                  <a:pt x="2035616" y="2424969"/>
                  <a:pt x="2014701" y="2430810"/>
                  <a:pt x="1992452" y="2424210"/>
                </a:cubicBezTo>
                <a:cubicBezTo>
                  <a:pt x="1979647" y="2421989"/>
                  <a:pt x="1970202" y="2417610"/>
                  <a:pt x="1971843" y="2399457"/>
                </a:cubicBezTo>
                <a:cubicBezTo>
                  <a:pt x="1974057" y="2386635"/>
                  <a:pt x="1965814" y="2376734"/>
                  <a:pt x="1951617" y="2378258"/>
                </a:cubicBezTo>
                <a:cubicBezTo>
                  <a:pt x="1907060" y="2381244"/>
                  <a:pt x="1866301" y="2369440"/>
                  <a:pt x="1825351" y="2355859"/>
                </a:cubicBezTo>
                <a:cubicBezTo>
                  <a:pt x="1793846" y="2346658"/>
                  <a:pt x="1775910" y="2346785"/>
                  <a:pt x="1759632" y="2379094"/>
                </a:cubicBezTo>
                <a:cubicBezTo>
                  <a:pt x="1757857" y="2379284"/>
                  <a:pt x="1756082" y="2379475"/>
                  <a:pt x="1756082" y="2379475"/>
                </a:cubicBezTo>
                <a:cubicBezTo>
                  <a:pt x="1748412" y="2374905"/>
                  <a:pt x="1755568" y="2357958"/>
                  <a:pt x="1744920" y="2359101"/>
                </a:cubicBezTo>
                <a:cubicBezTo>
                  <a:pt x="1736047" y="2360053"/>
                  <a:pt x="1730093" y="2371478"/>
                  <a:pt x="1725723" y="2380937"/>
                </a:cubicBezTo>
                <a:cubicBezTo>
                  <a:pt x="1724139" y="2382904"/>
                  <a:pt x="1722746" y="2386649"/>
                  <a:pt x="1721162" y="2388617"/>
                </a:cubicBezTo>
                <a:cubicBezTo>
                  <a:pt x="1715399" y="2401819"/>
                  <a:pt x="1711411" y="2414831"/>
                  <a:pt x="1709197" y="2427653"/>
                </a:cubicBezTo>
                <a:cubicBezTo>
                  <a:pt x="1706602" y="2436920"/>
                  <a:pt x="1699694" y="2439459"/>
                  <a:pt x="1690439" y="2436857"/>
                </a:cubicBezTo>
                <a:cubicBezTo>
                  <a:pt x="1684734" y="2433875"/>
                  <a:pt x="1677063" y="2429305"/>
                  <a:pt x="1679849" y="2421815"/>
                </a:cubicBezTo>
                <a:cubicBezTo>
                  <a:pt x="1693340" y="2396997"/>
                  <a:pt x="1682177" y="2376622"/>
                  <a:pt x="1672789" y="2356058"/>
                </a:cubicBezTo>
                <a:cubicBezTo>
                  <a:pt x="1667904" y="2343998"/>
                  <a:pt x="1663782" y="2339048"/>
                  <a:pt x="1654280" y="2350855"/>
                </a:cubicBezTo>
                <a:cubicBezTo>
                  <a:pt x="1638060" y="2366977"/>
                  <a:pt x="1616955" y="2371041"/>
                  <a:pt x="1597815" y="2376691"/>
                </a:cubicBezTo>
                <a:cubicBezTo>
                  <a:pt x="1590907" y="2379230"/>
                  <a:pt x="1585583" y="2379802"/>
                  <a:pt x="1583236" y="2374661"/>
                </a:cubicBezTo>
                <a:cubicBezTo>
                  <a:pt x="1570299" y="2354477"/>
                  <a:pt x="1550396" y="2353018"/>
                  <a:pt x="1530494" y="2351559"/>
                </a:cubicBezTo>
                <a:cubicBezTo>
                  <a:pt x="1512175" y="2348133"/>
                  <a:pt x="1494047" y="2346484"/>
                  <a:pt x="1483457" y="2331441"/>
                </a:cubicBezTo>
                <a:cubicBezTo>
                  <a:pt x="1478954" y="2322936"/>
                  <a:pt x="1475404" y="2323317"/>
                  <a:pt x="1466722" y="2326047"/>
                </a:cubicBezTo>
                <a:cubicBezTo>
                  <a:pt x="1435732" y="2338362"/>
                  <a:pt x="1405564" y="2341601"/>
                  <a:pt x="1376845" y="2324909"/>
                </a:cubicBezTo>
                <a:cubicBezTo>
                  <a:pt x="1365434" y="2318943"/>
                  <a:pt x="1358336" y="2319706"/>
                  <a:pt x="1348260" y="2326181"/>
                </a:cubicBezTo>
                <a:cubicBezTo>
                  <a:pt x="1326335" y="2339320"/>
                  <a:pt x="1303264" y="2341797"/>
                  <a:pt x="1278477" y="2328278"/>
                </a:cubicBezTo>
                <a:cubicBezTo>
                  <a:pt x="1272581" y="2323519"/>
                  <a:pt x="1267065" y="2322313"/>
                  <a:pt x="1260349" y="2326630"/>
                </a:cubicBezTo>
                <a:cubicBezTo>
                  <a:pt x="1231325" y="2340532"/>
                  <a:pt x="1177952" y="2328284"/>
                  <a:pt x="1159118" y="2303341"/>
                </a:cubicBezTo>
                <a:cubicBezTo>
                  <a:pt x="1146447" y="2319082"/>
                  <a:pt x="1128893" y="2322765"/>
                  <a:pt x="1112348" y="2319148"/>
                </a:cubicBezTo>
                <a:cubicBezTo>
                  <a:pt x="1088324" y="2312738"/>
                  <a:pt x="1063288" y="2313629"/>
                  <a:pt x="1038252" y="2314519"/>
                </a:cubicBezTo>
                <a:cubicBezTo>
                  <a:pt x="1004153" y="2314584"/>
                  <a:pt x="983487" y="2306016"/>
                  <a:pt x="970607" y="2269647"/>
                </a:cubicBezTo>
                <a:cubicBezTo>
                  <a:pt x="970226" y="2266093"/>
                  <a:pt x="968260" y="2264506"/>
                  <a:pt x="967879" y="2260952"/>
                </a:cubicBezTo>
                <a:cubicBezTo>
                  <a:pt x="962994" y="2248892"/>
                  <a:pt x="955705" y="2247877"/>
                  <a:pt x="947785" y="2257716"/>
                </a:cubicBezTo>
                <a:cubicBezTo>
                  <a:pt x="941450" y="2265586"/>
                  <a:pt x="935114" y="2273458"/>
                  <a:pt x="927004" y="2281519"/>
                </a:cubicBezTo>
                <a:cubicBezTo>
                  <a:pt x="897923" y="2311606"/>
                  <a:pt x="861476" y="2306531"/>
                  <a:pt x="837948" y="2271305"/>
                </a:cubicBezTo>
                <a:cubicBezTo>
                  <a:pt x="829133" y="2256072"/>
                  <a:pt x="816958" y="2242997"/>
                  <a:pt x="799842" y="2234048"/>
                </a:cubicBezTo>
                <a:cubicBezTo>
                  <a:pt x="784500" y="2224909"/>
                  <a:pt x="769158" y="2215770"/>
                  <a:pt x="758568" y="2200728"/>
                </a:cubicBezTo>
                <a:cubicBezTo>
                  <a:pt x="749828" y="2219643"/>
                  <a:pt x="762765" y="2239826"/>
                  <a:pt x="754025" y="2258742"/>
                </a:cubicBezTo>
                <a:cubicBezTo>
                  <a:pt x="735573" y="2237353"/>
                  <a:pt x="735573" y="2237353"/>
                  <a:pt x="712064" y="2252461"/>
                </a:cubicBezTo>
                <a:cubicBezTo>
                  <a:pt x="701798" y="2257157"/>
                  <a:pt x="694890" y="2259697"/>
                  <a:pt x="683670" y="2255509"/>
                </a:cubicBezTo>
                <a:cubicBezTo>
                  <a:pt x="653940" y="2246116"/>
                  <a:pt x="624591" y="2240278"/>
                  <a:pt x="595244" y="2234441"/>
                </a:cubicBezTo>
                <a:cubicBezTo>
                  <a:pt x="505233" y="2215341"/>
                  <a:pt x="414593" y="2207093"/>
                  <a:pt x="325785" y="2182472"/>
                </a:cubicBezTo>
                <a:cubicBezTo>
                  <a:pt x="318496" y="2181456"/>
                  <a:pt x="307849" y="2182599"/>
                  <a:pt x="306894" y="2173713"/>
                </a:cubicBezTo>
                <a:cubicBezTo>
                  <a:pt x="304165" y="2165018"/>
                  <a:pt x="312657" y="2160511"/>
                  <a:pt x="317409" y="2154607"/>
                </a:cubicBezTo>
                <a:cubicBezTo>
                  <a:pt x="322351" y="2150481"/>
                  <a:pt x="329068" y="2146165"/>
                  <a:pt x="324756" y="2139437"/>
                </a:cubicBezTo>
                <a:cubicBezTo>
                  <a:pt x="322027" y="2130741"/>
                  <a:pt x="314547" y="2127950"/>
                  <a:pt x="307257" y="2126933"/>
                </a:cubicBezTo>
                <a:cubicBezTo>
                  <a:pt x="301933" y="2127506"/>
                  <a:pt x="296609" y="2128077"/>
                  <a:pt x="291286" y="2128649"/>
                </a:cubicBezTo>
                <a:cubicBezTo>
                  <a:pt x="266250" y="2129539"/>
                  <a:pt x="250527" y="2116845"/>
                  <a:pt x="247856" y="2091964"/>
                </a:cubicBezTo>
                <a:cubicBezTo>
                  <a:pt x="246902" y="2083077"/>
                  <a:pt x="245948" y="2074192"/>
                  <a:pt x="248544" y="2064925"/>
                </a:cubicBezTo>
                <a:cubicBezTo>
                  <a:pt x="249174" y="2054071"/>
                  <a:pt x="241502" y="2049501"/>
                  <a:pt x="231235" y="2054199"/>
                </a:cubicBezTo>
                <a:cubicBezTo>
                  <a:pt x="212287" y="2061626"/>
                  <a:pt x="204940" y="2076796"/>
                  <a:pt x="209386" y="2101487"/>
                </a:cubicBezTo>
                <a:cubicBezTo>
                  <a:pt x="195437" y="2088603"/>
                  <a:pt x="185228" y="2077115"/>
                  <a:pt x="178378" y="2063469"/>
                </a:cubicBezTo>
                <a:cubicBezTo>
                  <a:pt x="171528" y="2049823"/>
                  <a:pt x="173418" y="2017261"/>
                  <a:pt x="184696" y="2005264"/>
                </a:cubicBezTo>
                <a:cubicBezTo>
                  <a:pt x="199331" y="1991109"/>
                  <a:pt x="216257" y="1998281"/>
                  <a:pt x="229443" y="2004056"/>
                </a:cubicBezTo>
                <a:cubicBezTo>
                  <a:pt x="248334" y="2012814"/>
                  <a:pt x="268618" y="2017827"/>
                  <a:pt x="289914" y="2015541"/>
                </a:cubicBezTo>
                <a:cubicBezTo>
                  <a:pt x="302337" y="2014207"/>
                  <a:pt x="316534" y="2012683"/>
                  <a:pt x="330731" y="2011159"/>
                </a:cubicBezTo>
                <a:cubicBezTo>
                  <a:pt x="389294" y="2004872"/>
                  <a:pt x="447037" y="2007662"/>
                  <a:pt x="497756" y="2045362"/>
                </a:cubicBezTo>
                <a:cubicBezTo>
                  <a:pt x="517219" y="2059452"/>
                  <a:pt x="527295" y="2052977"/>
                  <a:pt x="533879" y="2030697"/>
                </a:cubicBezTo>
                <a:cubicBezTo>
                  <a:pt x="535272" y="2026953"/>
                  <a:pt x="531150" y="2022002"/>
                  <a:pt x="536283" y="2019653"/>
                </a:cubicBezTo>
                <a:cubicBezTo>
                  <a:pt x="541607" y="2019082"/>
                  <a:pt x="545538" y="2022255"/>
                  <a:pt x="547694" y="2025619"/>
                </a:cubicBezTo>
                <a:cubicBezTo>
                  <a:pt x="549851" y="2028983"/>
                  <a:pt x="552007" y="2032347"/>
                  <a:pt x="553972" y="2033933"/>
                </a:cubicBezTo>
                <a:cubicBezTo>
                  <a:pt x="560250" y="2042248"/>
                  <a:pt x="568112" y="2048595"/>
                  <a:pt x="576031" y="2038756"/>
                </a:cubicBezTo>
                <a:cubicBezTo>
                  <a:pt x="585725" y="2028727"/>
                  <a:pt x="571337" y="2028474"/>
                  <a:pt x="567216" y="2023523"/>
                </a:cubicBezTo>
                <a:cubicBezTo>
                  <a:pt x="567025" y="2021746"/>
                  <a:pt x="565250" y="2021937"/>
                  <a:pt x="565059" y="2020159"/>
                </a:cubicBezTo>
                <a:cubicBezTo>
                  <a:pt x="561128" y="2016986"/>
                  <a:pt x="558781" y="2011845"/>
                  <a:pt x="561949" y="2007909"/>
                </a:cubicBezTo>
                <a:cubicBezTo>
                  <a:pt x="564926" y="2002197"/>
                  <a:pt x="568475" y="2001816"/>
                  <a:pt x="574181" y="2004798"/>
                </a:cubicBezTo>
                <a:cubicBezTo>
                  <a:pt x="596621" y="2013176"/>
                  <a:pt x="615379" y="2003971"/>
                  <a:pt x="627477" y="1982898"/>
                </a:cubicBezTo>
                <a:cubicBezTo>
                  <a:pt x="630645" y="1978962"/>
                  <a:pt x="637362" y="1974645"/>
                  <a:pt x="636790" y="1969314"/>
                </a:cubicBezTo>
                <a:cubicBezTo>
                  <a:pt x="634691" y="1949765"/>
                  <a:pt x="613071" y="1932311"/>
                  <a:pt x="595706" y="1937771"/>
                </a:cubicBezTo>
                <a:cubicBezTo>
                  <a:pt x="560976" y="1948690"/>
                  <a:pt x="526686" y="1946978"/>
                  <a:pt x="491251" y="1934602"/>
                </a:cubicBezTo>
                <a:cubicBezTo>
                  <a:pt x="478447" y="1932382"/>
                  <a:pt x="465643" y="1930161"/>
                  <a:pt x="455949" y="1940190"/>
                </a:cubicBezTo>
                <a:cubicBezTo>
                  <a:pt x="447648" y="1946474"/>
                  <a:pt x="443908" y="1945078"/>
                  <a:pt x="440988" y="1934605"/>
                </a:cubicBezTo>
                <a:cubicBezTo>
                  <a:pt x="437687" y="1920579"/>
                  <a:pt x="427860" y="1912645"/>
                  <a:pt x="413281" y="1910615"/>
                </a:cubicBezTo>
                <a:cubicBezTo>
                  <a:pt x="398512" y="1906807"/>
                  <a:pt x="381968" y="1903189"/>
                  <a:pt x="365424" y="1899573"/>
                </a:cubicBezTo>
                <a:cubicBezTo>
                  <a:pt x="350845" y="1897542"/>
                  <a:pt x="344377" y="1887451"/>
                  <a:pt x="344625" y="1873043"/>
                </a:cubicBezTo>
                <a:cubicBezTo>
                  <a:pt x="344434" y="1871266"/>
                  <a:pt x="344053" y="1867711"/>
                  <a:pt x="345446" y="1863966"/>
                </a:cubicBezTo>
                <a:cubicBezTo>
                  <a:pt x="344492" y="1855080"/>
                  <a:pt x="338405" y="1848542"/>
                  <a:pt x="329531" y="1849496"/>
                </a:cubicBezTo>
                <a:cubicBezTo>
                  <a:pt x="322242" y="1848480"/>
                  <a:pt x="323196" y="1857366"/>
                  <a:pt x="323959" y="1864475"/>
                </a:cubicBezTo>
                <a:cubicBezTo>
                  <a:pt x="322948" y="1871774"/>
                  <a:pt x="323711" y="1878883"/>
                  <a:pt x="313254" y="1881804"/>
                </a:cubicBezTo>
                <a:cubicBezTo>
                  <a:pt x="297282" y="1883518"/>
                  <a:pt x="281177" y="1867270"/>
                  <a:pt x="283009" y="1850894"/>
                </a:cubicBezTo>
                <a:cubicBezTo>
                  <a:pt x="282437" y="1845563"/>
                  <a:pt x="285604" y="1841627"/>
                  <a:pt x="281483" y="1836676"/>
                </a:cubicBezTo>
                <a:cubicBezTo>
                  <a:pt x="276159" y="1837247"/>
                  <a:pt x="276731" y="1842579"/>
                  <a:pt x="273372" y="1844738"/>
                </a:cubicBezTo>
                <a:cubicBezTo>
                  <a:pt x="265644" y="1856354"/>
                  <a:pt x="258546" y="1857116"/>
                  <a:pt x="250112" y="1845437"/>
                </a:cubicBezTo>
                <a:cubicBezTo>
                  <a:pt x="239139" y="1826841"/>
                  <a:pt x="223416" y="1814146"/>
                  <a:pt x="207884" y="1803230"/>
                </a:cubicBezTo>
                <a:cubicBezTo>
                  <a:pt x="190195" y="1788950"/>
                  <a:pt x="174090" y="1772702"/>
                  <a:pt x="169644" y="1748012"/>
                </a:cubicBezTo>
                <a:cubicBezTo>
                  <a:pt x="166915" y="1739317"/>
                  <a:pt x="162222" y="1729034"/>
                  <a:pt x="152967" y="1726432"/>
                </a:cubicBezTo>
                <a:cubicBezTo>
                  <a:pt x="115566" y="1712470"/>
                  <a:pt x="100339" y="1670960"/>
                  <a:pt x="64331" y="1653253"/>
                </a:cubicBezTo>
                <a:cubicBezTo>
                  <a:pt x="54695" y="1647097"/>
                  <a:pt x="55516" y="1638020"/>
                  <a:pt x="58111" y="1628754"/>
                </a:cubicBezTo>
                <a:cubicBezTo>
                  <a:pt x="62481" y="1619295"/>
                  <a:pt x="71927" y="1623675"/>
                  <a:pt x="77823" y="1628435"/>
                </a:cubicBezTo>
                <a:cubicBezTo>
                  <a:pt x="89425" y="1636178"/>
                  <a:pt x="99882" y="1633258"/>
                  <a:pt x="109766" y="1625005"/>
                </a:cubicBezTo>
                <a:cubicBezTo>
                  <a:pt x="121235" y="1614786"/>
                  <a:pt x="135050" y="1609707"/>
                  <a:pt x="151022" y="1607993"/>
                </a:cubicBezTo>
                <a:cubicBezTo>
                  <a:pt x="177833" y="1606912"/>
                  <a:pt x="194129" y="1624938"/>
                  <a:pt x="189701" y="1650580"/>
                </a:cubicBezTo>
                <a:cubicBezTo>
                  <a:pt x="188499" y="1656103"/>
                  <a:pt x="187487" y="1663402"/>
                  <a:pt x="188060" y="1668734"/>
                </a:cubicBezTo>
                <a:cubicBezTo>
                  <a:pt x="188250" y="1670511"/>
                  <a:pt x="186666" y="1672479"/>
                  <a:pt x="186666" y="1672479"/>
                </a:cubicBezTo>
                <a:cubicBezTo>
                  <a:pt x="188441" y="1672288"/>
                  <a:pt x="188441" y="1672288"/>
                  <a:pt x="190025" y="1670320"/>
                </a:cubicBezTo>
                <a:cubicBezTo>
                  <a:pt x="197124" y="1669559"/>
                  <a:pt x="202447" y="1668986"/>
                  <a:pt x="209737" y="1670002"/>
                </a:cubicBezTo>
                <a:cubicBezTo>
                  <a:pt x="244409" y="1675269"/>
                  <a:pt x="254485" y="1668794"/>
                  <a:pt x="261507" y="1633883"/>
                </a:cubicBezTo>
                <a:cubicBezTo>
                  <a:pt x="263339" y="1617507"/>
                  <a:pt x="273606" y="1612811"/>
                  <a:pt x="289959" y="1614650"/>
                </a:cubicBezTo>
                <a:cubicBezTo>
                  <a:pt x="302572" y="1615094"/>
                  <a:pt x="310434" y="1621441"/>
                  <a:pt x="318868" y="1633119"/>
                </a:cubicBezTo>
                <a:cubicBezTo>
                  <a:pt x="342205" y="1666567"/>
                  <a:pt x="374854" y="1686432"/>
                  <a:pt x="416624" y="1690937"/>
                </a:cubicBezTo>
                <a:cubicBezTo>
                  <a:pt x="451488" y="1697980"/>
                  <a:pt x="451488" y="1697980"/>
                  <a:pt x="440573" y="1663198"/>
                </a:cubicBezTo>
                <a:cubicBezTo>
                  <a:pt x="434925" y="1644030"/>
                  <a:pt x="437521" y="1634762"/>
                  <a:pt x="452730" y="1625939"/>
                </a:cubicBezTo>
                <a:cubicBezTo>
                  <a:pt x="460915" y="1652026"/>
                  <a:pt x="466812" y="1656786"/>
                  <a:pt x="493622" y="1655705"/>
                </a:cubicBezTo>
                <a:cubicBezTo>
                  <a:pt x="511368" y="1653800"/>
                  <a:pt x="530317" y="1646373"/>
                  <a:pt x="544647" y="1662811"/>
                </a:cubicBezTo>
                <a:cubicBezTo>
                  <a:pt x="544838" y="1664589"/>
                  <a:pt x="546613" y="1664398"/>
                  <a:pt x="548387" y="1664208"/>
                </a:cubicBezTo>
                <a:cubicBezTo>
                  <a:pt x="568920" y="1654813"/>
                  <a:pt x="577851" y="1637674"/>
                  <a:pt x="577145" y="1614380"/>
                </a:cubicBezTo>
                <a:cubicBezTo>
                  <a:pt x="575810" y="1601940"/>
                  <a:pt x="574474" y="1589500"/>
                  <a:pt x="588099" y="1582643"/>
                </a:cubicBezTo>
                <a:cubicBezTo>
                  <a:pt x="589683" y="1580676"/>
                  <a:pt x="594625" y="1576550"/>
                  <a:pt x="595198" y="1581882"/>
                </a:cubicBezTo>
                <a:cubicBezTo>
                  <a:pt x="598499" y="1595909"/>
                  <a:pt x="611111" y="1596353"/>
                  <a:pt x="622331" y="1600541"/>
                </a:cubicBezTo>
                <a:cubicBezTo>
                  <a:pt x="635326" y="1604539"/>
                  <a:pt x="643379" y="1612663"/>
                  <a:pt x="643130" y="1627071"/>
                </a:cubicBezTo>
                <a:cubicBezTo>
                  <a:pt x="643073" y="1643257"/>
                  <a:pt x="651507" y="1654935"/>
                  <a:pt x="666467" y="1660520"/>
                </a:cubicBezTo>
                <a:cubicBezTo>
                  <a:pt x="679844" y="1668072"/>
                  <a:pt x="691694" y="1661407"/>
                  <a:pt x="703163" y="1651188"/>
                </a:cubicBezTo>
                <a:cubicBezTo>
                  <a:pt x="712666" y="1639381"/>
                  <a:pt x="716978" y="1646109"/>
                  <a:pt x="718123" y="1656772"/>
                </a:cubicBezTo>
                <a:cubicBezTo>
                  <a:pt x="719840" y="1672767"/>
                  <a:pt x="729286" y="1677146"/>
                  <a:pt x="743101" y="1672068"/>
                </a:cubicBezTo>
                <a:cubicBezTo>
                  <a:pt x="746651" y="1671686"/>
                  <a:pt x="750200" y="1671306"/>
                  <a:pt x="753559" y="1669148"/>
                </a:cubicBezTo>
                <a:cubicBezTo>
                  <a:pt x="769148" y="1663879"/>
                  <a:pt x="781761" y="1664322"/>
                  <a:pt x="790768" y="1681332"/>
                </a:cubicBezTo>
                <a:cubicBezTo>
                  <a:pt x="801358" y="1696374"/>
                  <a:pt x="818284" y="1703545"/>
                  <a:pt x="834447" y="1703608"/>
                </a:cubicBezTo>
                <a:cubicBezTo>
                  <a:pt x="847251" y="1705829"/>
                  <a:pt x="861448" y="1704305"/>
                  <a:pt x="855800" y="1685137"/>
                </a:cubicBezTo>
                <a:cubicBezTo>
                  <a:pt x="855228" y="1679805"/>
                  <a:pt x="856239" y="1672506"/>
                  <a:pt x="857442" y="1666983"/>
                </a:cubicBezTo>
                <a:cubicBezTo>
                  <a:pt x="856106" y="1654543"/>
                  <a:pt x="860094" y="1641531"/>
                  <a:pt x="851851" y="1631630"/>
                </a:cubicBezTo>
                <a:cubicBezTo>
                  <a:pt x="830041" y="1612399"/>
                  <a:pt x="829144" y="1587327"/>
                  <a:pt x="826283" y="1560669"/>
                </a:cubicBezTo>
                <a:cubicBezTo>
                  <a:pt x="839467" y="1566444"/>
                  <a:pt x="852653" y="1572219"/>
                  <a:pt x="866850" y="1570696"/>
                </a:cubicBezTo>
                <a:cubicBezTo>
                  <a:pt x="884406" y="1567013"/>
                  <a:pt x="900950" y="1570630"/>
                  <a:pt x="916292" y="1579770"/>
                </a:cubicBezTo>
                <a:cubicBezTo>
                  <a:pt x="929669" y="1587322"/>
                  <a:pt x="944629" y="1592907"/>
                  <a:pt x="959589" y="1598492"/>
                </a:cubicBezTo>
                <a:cubicBezTo>
                  <a:pt x="1002886" y="1617214"/>
                  <a:pt x="1049351" y="1632000"/>
                  <a:pt x="1090053" y="1659989"/>
                </a:cubicBezTo>
                <a:cubicBezTo>
                  <a:pt x="1099689" y="1666146"/>
                  <a:pt x="1104631" y="1662019"/>
                  <a:pt x="1107227" y="1652752"/>
                </a:cubicBezTo>
                <a:cubicBezTo>
                  <a:pt x="1108620" y="1649007"/>
                  <a:pt x="1109632" y="1641708"/>
                  <a:pt x="1116921" y="1642723"/>
                </a:cubicBezTo>
                <a:cubicBezTo>
                  <a:pt x="1122435" y="1643929"/>
                  <a:pt x="1123199" y="1651038"/>
                  <a:pt x="1123579" y="1654592"/>
                </a:cubicBezTo>
                <a:cubicBezTo>
                  <a:pt x="1126309" y="1663287"/>
                  <a:pt x="1128847" y="1670206"/>
                  <a:pt x="1136136" y="1671221"/>
                </a:cubicBezTo>
                <a:cubicBezTo>
                  <a:pt x="1145200" y="1672045"/>
                  <a:pt x="1153061" y="1678393"/>
                  <a:pt x="1162125" y="1679217"/>
                </a:cubicBezTo>
                <a:cubicBezTo>
                  <a:pt x="1174929" y="1681438"/>
                  <a:pt x="1177467" y="1688356"/>
                  <a:pt x="1173288" y="1699591"/>
                </a:cubicBezTo>
                <a:cubicBezTo>
                  <a:pt x="1162583" y="1716919"/>
                  <a:pt x="1177162" y="1718950"/>
                  <a:pt x="1188572" y="1724916"/>
                </a:cubicBezTo>
                <a:cubicBezTo>
                  <a:pt x="1203723" y="1732277"/>
                  <a:pt x="1202197" y="1718060"/>
                  <a:pt x="1204983" y="1710570"/>
                </a:cubicBezTo>
                <a:cubicBezTo>
                  <a:pt x="1206376" y="1706825"/>
                  <a:pt x="1205995" y="1703271"/>
                  <a:pt x="1211319" y="1702700"/>
                </a:cubicBezTo>
                <a:cubicBezTo>
                  <a:pt x="1215822" y="1711205"/>
                  <a:pt x="1222100" y="1719519"/>
                  <a:pt x="1225019" y="1729992"/>
                </a:cubicBezTo>
                <a:cubicBezTo>
                  <a:pt x="1229332" y="1736720"/>
                  <a:pt x="1235228" y="1741479"/>
                  <a:pt x="1242326" y="1740718"/>
                </a:cubicBezTo>
                <a:cubicBezTo>
                  <a:pt x="1251200" y="1739765"/>
                  <a:pt x="1250246" y="1730879"/>
                  <a:pt x="1251448" y="1725356"/>
                </a:cubicBezTo>
                <a:cubicBezTo>
                  <a:pt x="1261830" y="1688288"/>
                  <a:pt x="1282172" y="1677116"/>
                  <a:pt x="1319190" y="1687523"/>
                </a:cubicBezTo>
                <a:cubicBezTo>
                  <a:pt x="1326670" y="1690316"/>
                  <a:pt x="1333960" y="1691331"/>
                  <a:pt x="1339856" y="1696091"/>
                </a:cubicBezTo>
                <a:cubicBezTo>
                  <a:pt x="1371742" y="1708847"/>
                  <a:pt x="1398934" y="1711321"/>
                  <a:pt x="1420535" y="1678441"/>
                </a:cubicBezTo>
                <a:cubicBezTo>
                  <a:pt x="1420535" y="1678441"/>
                  <a:pt x="1422310" y="1678251"/>
                  <a:pt x="1422119" y="1676474"/>
                </a:cubicBezTo>
                <a:cubicBezTo>
                  <a:pt x="1430611" y="1671966"/>
                  <a:pt x="1437519" y="1669428"/>
                  <a:pt x="1446964" y="1673806"/>
                </a:cubicBezTo>
                <a:cubicBezTo>
                  <a:pt x="1450704" y="1675202"/>
                  <a:pt x="1454635" y="1678376"/>
                  <a:pt x="1453433" y="1683898"/>
                </a:cubicBezTo>
                <a:cubicBezTo>
                  <a:pt x="1452612" y="1692975"/>
                  <a:pt x="1443930" y="1695704"/>
                  <a:pt x="1437023" y="1698244"/>
                </a:cubicBezTo>
                <a:cubicBezTo>
                  <a:pt x="1431698" y="1698815"/>
                  <a:pt x="1424790" y="1701355"/>
                  <a:pt x="1425362" y="1706686"/>
                </a:cubicBezTo>
                <a:cubicBezTo>
                  <a:pt x="1424352" y="1713985"/>
                  <a:pt x="1433033" y="1711256"/>
                  <a:pt x="1436964" y="1714429"/>
                </a:cubicBezTo>
                <a:cubicBezTo>
                  <a:pt x="1446219" y="1717031"/>
                  <a:pt x="1455283" y="1717856"/>
                  <a:pt x="1464538" y="1720458"/>
                </a:cubicBezTo>
                <a:cubicBezTo>
                  <a:pt x="1477342" y="1722679"/>
                  <a:pt x="1488562" y="1726867"/>
                  <a:pt x="1496806" y="1736768"/>
                </a:cubicBezTo>
                <a:cubicBezTo>
                  <a:pt x="1502893" y="1743306"/>
                  <a:pt x="1508217" y="1742734"/>
                  <a:pt x="1516708" y="1738227"/>
                </a:cubicBezTo>
                <a:cubicBezTo>
                  <a:pt x="1540600" y="1726674"/>
                  <a:pt x="1557144" y="1730290"/>
                  <a:pt x="1575405" y="1749903"/>
                </a:cubicBezTo>
                <a:cubicBezTo>
                  <a:pt x="1585422" y="1759614"/>
                  <a:pt x="1592082" y="1771483"/>
                  <a:pt x="1600516" y="1783161"/>
                </a:cubicBezTo>
                <a:cubicBezTo>
                  <a:pt x="1610915" y="1796426"/>
                  <a:pt x="1624292" y="1803978"/>
                  <a:pt x="1640836" y="1807596"/>
                </a:cubicBezTo>
                <a:cubicBezTo>
                  <a:pt x="1659155" y="1811022"/>
                  <a:pt x="1667647" y="1806515"/>
                  <a:pt x="1674421" y="1786013"/>
                </a:cubicBezTo>
                <a:cubicBezTo>
                  <a:pt x="1681005" y="1763734"/>
                  <a:pt x="1693237" y="1760623"/>
                  <a:pt x="1714094" y="1770968"/>
                </a:cubicBezTo>
                <a:cubicBezTo>
                  <a:pt x="1721574" y="1773760"/>
                  <a:pt x="1725504" y="1776933"/>
                  <a:pt x="1734186" y="1774204"/>
                </a:cubicBezTo>
                <a:cubicBezTo>
                  <a:pt x="1754719" y="1764809"/>
                  <a:pt x="1754719" y="1764809"/>
                  <a:pt x="1757199" y="1787913"/>
                </a:cubicBezTo>
                <a:cubicBezTo>
                  <a:pt x="1755806" y="1791658"/>
                  <a:pt x="1755997" y="1793435"/>
                  <a:pt x="1758153" y="1796799"/>
                </a:cubicBezTo>
                <a:cubicBezTo>
                  <a:pt x="1759680" y="1811016"/>
                  <a:pt x="1767350" y="1815586"/>
                  <a:pt x="1780975" y="1808731"/>
                </a:cubicBezTo>
                <a:cubicBezTo>
                  <a:pt x="1791242" y="1804033"/>
                  <a:pt x="1801127" y="1795781"/>
                  <a:pt x="1811584" y="1792861"/>
                </a:cubicBezTo>
                <a:cubicBezTo>
                  <a:pt x="1856197" y="1773689"/>
                  <a:pt x="1906975" y="1795204"/>
                  <a:pt x="1922202" y="1836714"/>
                </a:cubicBezTo>
                <a:cubicBezTo>
                  <a:pt x="1927468" y="1852327"/>
                  <a:pt x="1921896" y="1867308"/>
                  <a:pt x="1923613" y="1883302"/>
                </a:cubicBezTo>
                <a:cubicBezTo>
                  <a:pt x="1924318" y="1906597"/>
                  <a:pt x="1934336" y="1916308"/>
                  <a:pt x="1956395" y="1921130"/>
                </a:cubicBezTo>
                <a:cubicBezTo>
                  <a:pt x="1967425" y="1923541"/>
                  <a:pt x="1978263" y="1924176"/>
                  <a:pt x="1989293" y="1926587"/>
                </a:cubicBezTo>
                <a:cubicBezTo>
                  <a:pt x="2011352" y="1931409"/>
                  <a:pt x="2023393" y="1926522"/>
                  <a:pt x="2029977" y="1904243"/>
                </a:cubicBezTo>
                <a:cubicBezTo>
                  <a:pt x="2035740" y="1891040"/>
                  <a:pt x="2041254" y="1892245"/>
                  <a:pt x="2051081" y="1900179"/>
                </a:cubicBezTo>
                <a:cubicBezTo>
                  <a:pt x="2072510" y="1915856"/>
                  <a:pt x="2086326" y="1910778"/>
                  <a:pt x="2094303" y="1884753"/>
                </a:cubicBezTo>
                <a:cubicBezTo>
                  <a:pt x="2095314" y="1877453"/>
                  <a:pt x="2094551" y="1870345"/>
                  <a:pt x="2087071" y="1867552"/>
                </a:cubicBezTo>
                <a:cubicBezTo>
                  <a:pt x="2077816" y="1864951"/>
                  <a:pt x="2076804" y="1872250"/>
                  <a:pt x="2075793" y="1879549"/>
                </a:cubicBezTo>
                <a:cubicBezTo>
                  <a:pt x="2076365" y="1884880"/>
                  <a:pt x="2073388" y="1890593"/>
                  <a:pt x="2066099" y="1889578"/>
                </a:cubicBezTo>
                <a:cubicBezTo>
                  <a:pt x="2059000" y="1890340"/>
                  <a:pt x="2053104" y="1885581"/>
                  <a:pt x="2054115" y="1878281"/>
                </a:cubicBezTo>
                <a:cubicBezTo>
                  <a:pt x="2053792" y="1858541"/>
                  <a:pt x="2049918" y="1839182"/>
                  <a:pt x="2049403" y="1817665"/>
                </a:cubicBezTo>
                <a:cubicBezTo>
                  <a:pt x="2055300" y="1822426"/>
                  <a:pt x="2057265" y="1824012"/>
                  <a:pt x="2059421" y="1827376"/>
                </a:cubicBezTo>
                <a:cubicBezTo>
                  <a:pt x="2071214" y="1836896"/>
                  <a:pt x="2085411" y="1835372"/>
                  <a:pt x="2098216" y="1837593"/>
                </a:cubicBezTo>
                <a:cubicBezTo>
                  <a:pt x="2105505" y="1838608"/>
                  <a:pt x="2106135" y="1827754"/>
                  <a:pt x="2111077" y="1823629"/>
                </a:cubicBezTo>
                <a:cubicBezTo>
                  <a:pt x="2119378" y="1817344"/>
                  <a:pt x="2127869" y="1812837"/>
                  <a:pt x="2140673" y="1815058"/>
                </a:cubicBezTo>
                <a:cubicBezTo>
                  <a:pt x="2151512" y="1815693"/>
                  <a:pt x="2163934" y="1814359"/>
                  <a:pt x="2176739" y="1816579"/>
                </a:cubicBezTo>
                <a:cubicBezTo>
                  <a:pt x="2170079" y="1804711"/>
                  <a:pt x="2153344" y="1799317"/>
                  <a:pt x="2162847" y="1787510"/>
                </a:cubicBezTo>
                <a:cubicBezTo>
                  <a:pt x="2168992" y="1777861"/>
                  <a:pt x="2176148" y="1760914"/>
                  <a:pt x="2193837" y="1775195"/>
                </a:cubicBezTo>
                <a:cubicBezTo>
                  <a:pt x="2193837" y="1775195"/>
                  <a:pt x="2197196" y="1773036"/>
                  <a:pt x="2197005" y="1771259"/>
                </a:cubicBezTo>
                <a:cubicBezTo>
                  <a:pt x="2197826" y="1762183"/>
                  <a:pt x="2200421" y="1752915"/>
                  <a:pt x="2187807" y="1752472"/>
                </a:cubicBezTo>
                <a:cubicBezTo>
                  <a:pt x="2173420" y="1752219"/>
                  <a:pt x="2160234" y="1746443"/>
                  <a:pt x="2148823" y="1740477"/>
                </a:cubicBezTo>
                <a:cubicBezTo>
                  <a:pt x="2133862" y="1734893"/>
                  <a:pt x="2121631" y="1738004"/>
                  <a:pt x="2115868" y="1751206"/>
                </a:cubicBezTo>
                <a:cubicBezTo>
                  <a:pt x="2108330" y="1764599"/>
                  <a:pt x="2102624" y="1761617"/>
                  <a:pt x="2094762" y="1755270"/>
                </a:cubicBezTo>
                <a:cubicBezTo>
                  <a:pt x="2079039" y="1742576"/>
                  <a:pt x="2066675" y="1727724"/>
                  <a:pt x="2049367" y="1716998"/>
                </a:cubicBezTo>
                <a:cubicBezTo>
                  <a:pt x="2039731" y="1710842"/>
                  <a:pt x="2032442" y="1709827"/>
                  <a:pt x="2022366" y="1716302"/>
                </a:cubicBezTo>
                <a:cubicBezTo>
                  <a:pt x="2014065" y="1722586"/>
                  <a:pt x="2007730" y="1730457"/>
                  <a:pt x="1996700" y="1728045"/>
                </a:cubicBezTo>
                <a:cubicBezTo>
                  <a:pt x="1985861" y="1727411"/>
                  <a:pt x="1982942" y="1716938"/>
                  <a:pt x="1976855" y="1710401"/>
                </a:cubicBezTo>
                <a:cubicBezTo>
                  <a:pt x="1963173" y="1733443"/>
                  <a:pt x="1963173" y="1733443"/>
                  <a:pt x="1940160" y="1719733"/>
                </a:cubicBezTo>
                <a:cubicBezTo>
                  <a:pt x="1930714" y="1715354"/>
                  <a:pt x="1921079" y="1709198"/>
                  <a:pt x="1909419" y="1717641"/>
                </a:cubicBezTo>
                <a:cubicBezTo>
                  <a:pt x="1883944" y="1731161"/>
                  <a:pt x="1878429" y="1729956"/>
                  <a:pt x="1861561" y="1706599"/>
                </a:cubicBezTo>
                <a:cubicBezTo>
                  <a:pt x="1853318" y="1696698"/>
                  <a:pt x="1845074" y="1686797"/>
                  <a:pt x="1835056" y="1677086"/>
                </a:cubicBezTo>
                <a:cubicBezTo>
                  <a:pt x="1812673" y="1652523"/>
                  <a:pt x="1803800" y="1653475"/>
                  <a:pt x="1785176" y="1680643"/>
                </a:cubicBezTo>
                <a:cubicBezTo>
                  <a:pt x="1780424" y="1686546"/>
                  <a:pt x="1777638" y="1694036"/>
                  <a:pt x="1771303" y="1701907"/>
                </a:cubicBezTo>
                <a:cubicBezTo>
                  <a:pt x="1766227" y="1688070"/>
                  <a:pt x="1761533" y="1677788"/>
                  <a:pt x="1756458" y="1663951"/>
                </a:cubicBezTo>
                <a:cubicBezTo>
                  <a:pt x="1753290" y="1667887"/>
                  <a:pt x="1753481" y="1669664"/>
                  <a:pt x="1751897" y="1671632"/>
                </a:cubicBezTo>
                <a:cubicBezTo>
                  <a:pt x="1739359" y="1705336"/>
                  <a:pt x="1721613" y="1707241"/>
                  <a:pt x="1699039" y="1680902"/>
                </a:cubicBezTo>
                <a:cubicBezTo>
                  <a:pt x="1694917" y="1675951"/>
                  <a:pt x="1690796" y="1671001"/>
                  <a:pt x="1686483" y="1664273"/>
                </a:cubicBezTo>
                <a:cubicBezTo>
                  <a:pt x="1684327" y="1660909"/>
                  <a:pt x="1682171" y="1657545"/>
                  <a:pt x="1685148" y="1651832"/>
                </a:cubicBezTo>
                <a:cubicBezTo>
                  <a:pt x="1698009" y="1637867"/>
                  <a:pt x="1686408" y="1630124"/>
                  <a:pt x="1676580" y="1622191"/>
                </a:cubicBezTo>
                <a:cubicBezTo>
                  <a:pt x="1647671" y="1603722"/>
                  <a:pt x="1614773" y="1598265"/>
                  <a:pt x="1581877" y="1592809"/>
                </a:cubicBezTo>
                <a:cubicBezTo>
                  <a:pt x="1529076" y="1585893"/>
                  <a:pt x="1474884" y="1582722"/>
                  <a:pt x="1426892" y="1553718"/>
                </a:cubicBezTo>
                <a:cubicBezTo>
                  <a:pt x="1411550" y="1544579"/>
                  <a:pt x="1395197" y="1542739"/>
                  <a:pt x="1377641" y="1546421"/>
                </a:cubicBezTo>
                <a:cubicBezTo>
                  <a:pt x="1363635" y="1549723"/>
                  <a:pt x="1350640" y="1545725"/>
                  <a:pt x="1340813" y="1537791"/>
                </a:cubicBezTo>
                <a:cubicBezTo>
                  <a:pt x="1321540" y="1525478"/>
                  <a:pt x="1301065" y="1518688"/>
                  <a:pt x="1277423" y="1515833"/>
                </a:cubicBezTo>
                <a:cubicBezTo>
                  <a:pt x="1255554" y="1512787"/>
                  <a:pt x="1232484" y="1515264"/>
                  <a:pt x="1211437" y="1503142"/>
                </a:cubicBezTo>
                <a:cubicBezTo>
                  <a:pt x="1192545" y="1494384"/>
                  <a:pt x="1174227" y="1490958"/>
                  <a:pt x="1156614" y="1510825"/>
                </a:cubicBezTo>
                <a:cubicBezTo>
                  <a:pt x="1151596" y="1480803"/>
                  <a:pt x="1131884" y="1481122"/>
                  <a:pt x="1110397" y="1481630"/>
                </a:cubicBezTo>
                <a:cubicBezTo>
                  <a:pt x="1094425" y="1483345"/>
                  <a:pt x="1078263" y="1483282"/>
                  <a:pt x="1064505" y="1472175"/>
                </a:cubicBezTo>
                <a:cubicBezTo>
                  <a:pt x="1044660" y="1454531"/>
                  <a:pt x="1022411" y="1447932"/>
                  <a:pt x="998386" y="1441522"/>
                </a:cubicBezTo>
                <a:cubicBezTo>
                  <a:pt x="956043" y="1431686"/>
                  <a:pt x="912307" y="1425595"/>
                  <a:pt x="872560" y="1406493"/>
                </a:cubicBezTo>
                <a:cubicBezTo>
                  <a:pt x="840482" y="1391959"/>
                  <a:pt x="807203" y="1382948"/>
                  <a:pt x="771329" y="1383203"/>
                </a:cubicBezTo>
                <a:cubicBezTo>
                  <a:pt x="760681" y="1384346"/>
                  <a:pt x="753010" y="1379777"/>
                  <a:pt x="748316" y="1369495"/>
                </a:cubicBezTo>
                <a:cubicBezTo>
                  <a:pt x="730494" y="1337251"/>
                  <a:pt x="728719" y="1337442"/>
                  <a:pt x="691643" y="1343221"/>
                </a:cubicBezTo>
                <a:cubicBezTo>
                  <a:pt x="688094" y="1343601"/>
                  <a:pt x="684544" y="1343982"/>
                  <a:pt x="679220" y="1344554"/>
                </a:cubicBezTo>
                <a:cubicBezTo>
                  <a:pt x="683399" y="1333319"/>
                  <a:pt x="687579" y="1322084"/>
                  <a:pt x="691948" y="1312627"/>
                </a:cubicBezTo>
                <a:cubicBezTo>
                  <a:pt x="697139" y="1294093"/>
                  <a:pt x="710573" y="1285460"/>
                  <a:pt x="728510" y="1285331"/>
                </a:cubicBezTo>
                <a:cubicBezTo>
                  <a:pt x="739158" y="1284188"/>
                  <a:pt x="748413" y="1286790"/>
                  <a:pt x="758870" y="1283870"/>
                </a:cubicBezTo>
                <a:cubicBezTo>
                  <a:pt x="776235" y="1278411"/>
                  <a:pt x="781940" y="1281393"/>
                  <a:pt x="787398" y="1298784"/>
                </a:cubicBezTo>
                <a:cubicBezTo>
                  <a:pt x="788161" y="1305894"/>
                  <a:pt x="788924" y="1313002"/>
                  <a:pt x="789687" y="1320110"/>
                </a:cubicBezTo>
                <a:cubicBezTo>
                  <a:pt x="789057" y="1330965"/>
                  <a:pt x="794572" y="1332170"/>
                  <a:pt x="803445" y="1331217"/>
                </a:cubicBezTo>
                <a:cubicBezTo>
                  <a:pt x="823156" y="1330900"/>
                  <a:pt x="836400" y="1320489"/>
                  <a:pt x="847487" y="1306715"/>
                </a:cubicBezTo>
                <a:cubicBezTo>
                  <a:pt x="850845" y="1304557"/>
                  <a:pt x="852048" y="1299034"/>
                  <a:pt x="857562" y="1300240"/>
                </a:cubicBezTo>
                <a:cubicBezTo>
                  <a:pt x="861302" y="1301637"/>
                  <a:pt x="861875" y="1306968"/>
                  <a:pt x="864031" y="1310332"/>
                </a:cubicBezTo>
                <a:cubicBezTo>
                  <a:pt x="864413" y="1313887"/>
                  <a:pt x="864603" y="1315664"/>
                  <a:pt x="864985" y="1319219"/>
                </a:cubicBezTo>
                <a:cubicBezTo>
                  <a:pt x="866320" y="1331658"/>
                  <a:pt x="872026" y="1334642"/>
                  <a:pt x="882292" y="1329944"/>
                </a:cubicBezTo>
                <a:cubicBezTo>
                  <a:pt x="892368" y="1323469"/>
                  <a:pt x="898264" y="1328230"/>
                  <a:pt x="904542" y="1336544"/>
                </a:cubicBezTo>
                <a:cubicBezTo>
                  <a:pt x="910629" y="1343081"/>
                  <a:pt x="909617" y="1350380"/>
                  <a:pt x="904866" y="1356284"/>
                </a:cubicBezTo>
                <a:cubicBezTo>
                  <a:pt x="900305" y="1363965"/>
                  <a:pt x="891050" y="1361362"/>
                  <a:pt x="883379" y="1356792"/>
                </a:cubicBezTo>
                <a:cubicBezTo>
                  <a:pt x="877864" y="1355587"/>
                  <a:pt x="873934" y="1352414"/>
                  <a:pt x="869373" y="1360094"/>
                </a:cubicBezTo>
                <a:cubicBezTo>
                  <a:pt x="864812" y="1367774"/>
                  <a:pt x="868743" y="1370948"/>
                  <a:pt x="872864" y="1375899"/>
                </a:cubicBezTo>
                <a:cubicBezTo>
                  <a:pt x="882692" y="1383833"/>
                  <a:pt x="913872" y="1373294"/>
                  <a:pt x="915895" y="1358695"/>
                </a:cubicBezTo>
                <a:cubicBezTo>
                  <a:pt x="920514" y="1334830"/>
                  <a:pt x="936867" y="1336669"/>
                  <a:pt x="953220" y="1338509"/>
                </a:cubicBezTo>
                <a:cubicBezTo>
                  <a:pt x="987511" y="1340221"/>
                  <a:pt x="1021171" y="1352787"/>
                  <a:pt x="1054069" y="1358243"/>
                </a:cubicBezTo>
                <a:cubicBezTo>
                  <a:pt x="1063324" y="1360845"/>
                  <a:pt x="1064087" y="1367954"/>
                  <a:pt x="1061301" y="1375444"/>
                </a:cubicBezTo>
                <a:cubicBezTo>
                  <a:pt x="1058706" y="1384711"/>
                  <a:pt x="1056110" y="1393978"/>
                  <a:pt x="1055480" y="1404832"/>
                </a:cubicBezTo>
                <a:cubicBezTo>
                  <a:pt x="1056625" y="1415495"/>
                  <a:pt x="1064105" y="1418288"/>
                  <a:pt x="1071585" y="1421080"/>
                </a:cubicBezTo>
                <a:cubicBezTo>
                  <a:pt x="1077291" y="1424063"/>
                  <a:pt x="1078111" y="1414986"/>
                  <a:pt x="1081470" y="1412828"/>
                </a:cubicBezTo>
                <a:cubicBezTo>
                  <a:pt x="1089008" y="1399435"/>
                  <a:pt x="1098320" y="1385851"/>
                  <a:pt x="1105857" y="1372458"/>
                </a:cubicBezTo>
                <a:cubicBezTo>
                  <a:pt x="1108014" y="1375822"/>
                  <a:pt x="1108205" y="1377599"/>
                  <a:pt x="1108396" y="1379377"/>
                </a:cubicBezTo>
                <a:cubicBezTo>
                  <a:pt x="1112459" y="1400513"/>
                  <a:pt x="1112459" y="1400513"/>
                  <a:pt x="1130836" y="1387754"/>
                </a:cubicBezTo>
                <a:cubicBezTo>
                  <a:pt x="1137362" y="1381660"/>
                  <a:pt x="1139518" y="1385024"/>
                  <a:pt x="1141865" y="1390165"/>
                </a:cubicBezTo>
                <a:cubicBezTo>
                  <a:pt x="1148715" y="1403812"/>
                  <a:pt x="1159936" y="1408000"/>
                  <a:pt x="1171977" y="1403111"/>
                </a:cubicBezTo>
                <a:cubicBezTo>
                  <a:pt x="1190544" y="1392131"/>
                  <a:pt x="1210256" y="1391812"/>
                  <a:pt x="1229777" y="1389716"/>
                </a:cubicBezTo>
                <a:cubicBezTo>
                  <a:pt x="1240425" y="1388573"/>
                  <a:pt x="1245557" y="1386225"/>
                  <a:pt x="1237314" y="1376323"/>
                </a:cubicBezTo>
                <a:cubicBezTo>
                  <a:pt x="1230846" y="1366232"/>
                  <a:pt x="1231857" y="1358931"/>
                  <a:pt x="1243516" y="1350489"/>
                </a:cubicBezTo>
                <a:cubicBezTo>
                  <a:pt x="1226972" y="1346872"/>
                  <a:pt x="1210619" y="1345033"/>
                  <a:pt x="1195658" y="1339448"/>
                </a:cubicBezTo>
                <a:cubicBezTo>
                  <a:pt x="1180889" y="1335641"/>
                  <a:pt x="1165929" y="1330056"/>
                  <a:pt x="1153946" y="1318758"/>
                </a:cubicBezTo>
                <a:cubicBezTo>
                  <a:pt x="1176444" y="1310950"/>
                  <a:pt x="1176444" y="1310950"/>
                  <a:pt x="1211878" y="1323325"/>
                </a:cubicBezTo>
                <a:cubicBezTo>
                  <a:pt x="1234319" y="1331702"/>
                  <a:pt x="1244776" y="1328782"/>
                  <a:pt x="1255481" y="1311453"/>
                </a:cubicBezTo>
                <a:cubicBezTo>
                  <a:pt x="1265996" y="1292348"/>
                  <a:pt x="1265996" y="1292348"/>
                  <a:pt x="1278743" y="1310754"/>
                </a:cubicBezTo>
                <a:cubicBezTo>
                  <a:pt x="1278934" y="1312530"/>
                  <a:pt x="1280899" y="1314118"/>
                  <a:pt x="1281090" y="1315895"/>
                </a:cubicBezTo>
                <a:cubicBezTo>
                  <a:pt x="1310895" y="1359435"/>
                  <a:pt x="1335930" y="1358545"/>
                  <a:pt x="1365452" y="1315827"/>
                </a:cubicBezTo>
                <a:cubicBezTo>
                  <a:pt x="1376157" y="1298498"/>
                  <a:pt x="1392759" y="1285930"/>
                  <a:pt x="1411899" y="1280280"/>
                </a:cubicBezTo>
                <a:cubicBezTo>
                  <a:pt x="1433003" y="1276217"/>
                  <a:pt x="1451512" y="1281420"/>
                  <a:pt x="1471797" y="1286433"/>
                </a:cubicBezTo>
                <a:cubicBezTo>
                  <a:pt x="1496012" y="1294620"/>
                  <a:pt x="1522002" y="1302616"/>
                  <a:pt x="1547229" y="1303503"/>
                </a:cubicBezTo>
                <a:cubicBezTo>
                  <a:pt x="1566940" y="1303185"/>
                  <a:pt x="1587033" y="1306421"/>
                  <a:pt x="1603959" y="1313592"/>
                </a:cubicBezTo>
                <a:cubicBezTo>
                  <a:pt x="1617145" y="1319368"/>
                  <a:pt x="1633880" y="1324762"/>
                  <a:pt x="1647505" y="1317906"/>
                </a:cubicBezTo>
                <a:cubicBezTo>
                  <a:pt x="1664488" y="1308892"/>
                  <a:pt x="1674315" y="1316826"/>
                  <a:pt x="1684524" y="1328313"/>
                </a:cubicBezTo>
                <a:cubicBezTo>
                  <a:pt x="1702976" y="1349703"/>
                  <a:pt x="1714711" y="1375408"/>
                  <a:pt x="1717954" y="1405620"/>
                </a:cubicBezTo>
                <a:cubicBezTo>
                  <a:pt x="1718718" y="1412730"/>
                  <a:pt x="1719481" y="1419838"/>
                  <a:pt x="1730510" y="1422250"/>
                </a:cubicBezTo>
                <a:cubicBezTo>
                  <a:pt x="1741730" y="1426438"/>
                  <a:pt x="1744326" y="1417172"/>
                  <a:pt x="1749077" y="1411268"/>
                </a:cubicBezTo>
                <a:cubicBezTo>
                  <a:pt x="1752054" y="1405556"/>
                  <a:pt x="1755031" y="1399843"/>
                  <a:pt x="1758198" y="1395908"/>
                </a:cubicBezTo>
                <a:cubicBezTo>
                  <a:pt x="1770678" y="1378389"/>
                  <a:pt x="1789818" y="1372738"/>
                  <a:pt x="1809148" y="1368866"/>
                </a:cubicBezTo>
                <a:cubicBezTo>
                  <a:pt x="1825120" y="1367151"/>
                  <a:pt x="1826646" y="1381368"/>
                  <a:pt x="1834699" y="1389493"/>
                </a:cubicBezTo>
                <a:cubicBezTo>
                  <a:pt x="1841855" y="1372545"/>
                  <a:pt x="1855289" y="1363913"/>
                  <a:pt x="1871643" y="1365752"/>
                </a:cubicBezTo>
                <a:cubicBezTo>
                  <a:pt x="1891736" y="1368988"/>
                  <a:pt x="1911066" y="1365115"/>
                  <a:pt x="1930396" y="1361243"/>
                </a:cubicBezTo>
                <a:cubicBezTo>
                  <a:pt x="1971023" y="1355083"/>
                  <a:pt x="2011018" y="1359778"/>
                  <a:pt x="2044621" y="1388529"/>
                </a:cubicBezTo>
                <a:cubicBezTo>
                  <a:pt x="2050518" y="1393290"/>
                  <a:pt x="2056414" y="1398049"/>
                  <a:pt x="2063131" y="1393732"/>
                </a:cubicBezTo>
                <a:cubicBezTo>
                  <a:pt x="2076374" y="1383323"/>
                  <a:pt x="2090762" y="1383576"/>
                  <a:pt x="2105150" y="1383829"/>
                </a:cubicBezTo>
                <a:cubicBezTo>
                  <a:pt x="2110474" y="1383257"/>
                  <a:pt x="2113832" y="1381099"/>
                  <a:pt x="2116810" y="1375387"/>
                </a:cubicBezTo>
                <a:cubicBezTo>
                  <a:pt x="2119404" y="1366119"/>
                  <a:pt x="2126694" y="1367134"/>
                  <a:pt x="2134174" y="1369927"/>
                </a:cubicBezTo>
                <a:cubicBezTo>
                  <a:pt x="2143429" y="1372529"/>
                  <a:pt x="2155660" y="1369418"/>
                  <a:pt x="2158961" y="1383446"/>
                </a:cubicBezTo>
                <a:cubicBezTo>
                  <a:pt x="2160488" y="1397662"/>
                  <a:pt x="2169933" y="1402042"/>
                  <a:pt x="2180963" y="1404453"/>
                </a:cubicBezTo>
                <a:cubicBezTo>
                  <a:pt x="2190218" y="1407055"/>
                  <a:pt x="2200866" y="1405912"/>
                  <a:pt x="2205178" y="1412640"/>
                </a:cubicBezTo>
                <a:cubicBezTo>
                  <a:pt x="2213994" y="1427873"/>
                  <a:pt x="2226034" y="1422985"/>
                  <a:pt x="2240232" y="1421461"/>
                </a:cubicBezTo>
                <a:cubicBezTo>
                  <a:pt x="2245365" y="1419112"/>
                  <a:pt x="2250880" y="1420317"/>
                  <a:pt x="2256203" y="1419746"/>
                </a:cubicBezTo>
                <a:cubicBezTo>
                  <a:pt x="2281239" y="1418856"/>
                  <a:pt x="2306656" y="1421520"/>
                  <a:pt x="2331311" y="1417077"/>
                </a:cubicBezTo>
                <a:cubicBezTo>
                  <a:pt x="2341768" y="1414155"/>
                  <a:pt x="2355965" y="1412632"/>
                  <a:pt x="2358751" y="1405142"/>
                </a:cubicBezTo>
                <a:cubicBezTo>
                  <a:pt x="2361156" y="1394098"/>
                  <a:pt x="2346386" y="1390290"/>
                  <a:pt x="2336941" y="1385911"/>
                </a:cubicBezTo>
                <a:cubicBezTo>
                  <a:pt x="2334975" y="1384324"/>
                  <a:pt x="2333010" y="1382737"/>
                  <a:pt x="2331235" y="1382928"/>
                </a:cubicBezTo>
                <a:cubicBezTo>
                  <a:pt x="2302517" y="1366236"/>
                  <a:pt x="2296869" y="1347068"/>
                  <a:pt x="2315303" y="1318123"/>
                </a:cubicBezTo>
                <a:cubicBezTo>
                  <a:pt x="2323546" y="1328024"/>
                  <a:pt x="2330586" y="1343448"/>
                  <a:pt x="2345548" y="1349033"/>
                </a:cubicBezTo>
                <a:cubicBezTo>
                  <a:pt x="2362282" y="1354427"/>
                  <a:pt x="2373560" y="1342430"/>
                  <a:pt x="2387184" y="1335575"/>
                </a:cubicBezTo>
                <a:cubicBezTo>
                  <a:pt x="2392127" y="1331449"/>
                  <a:pt x="2397642" y="1332654"/>
                  <a:pt x="2396821" y="1341731"/>
                </a:cubicBezTo>
                <a:cubicBezTo>
                  <a:pt x="2395428" y="1345476"/>
                  <a:pt x="2395809" y="1349030"/>
                  <a:pt x="2394416" y="1352775"/>
                </a:cubicBezTo>
                <a:cubicBezTo>
                  <a:pt x="2393214" y="1358297"/>
                  <a:pt x="2392012" y="1363820"/>
                  <a:pt x="2396133" y="1368770"/>
                </a:cubicBezTo>
                <a:cubicBezTo>
                  <a:pt x="2398290" y="1372134"/>
                  <a:pt x="2403041" y="1366231"/>
                  <a:pt x="2406590" y="1365850"/>
                </a:cubicBezTo>
                <a:cubicBezTo>
                  <a:pt x="2418441" y="1359184"/>
                  <a:pt x="2422562" y="1364135"/>
                  <a:pt x="2421932" y="1374989"/>
                </a:cubicBezTo>
                <a:cubicBezTo>
                  <a:pt x="2422314" y="1378544"/>
                  <a:pt x="2419146" y="1382479"/>
                  <a:pt x="2424852" y="1385462"/>
                </a:cubicBezTo>
                <a:cubicBezTo>
                  <a:pt x="2450824" y="1343124"/>
                  <a:pt x="2464639" y="1338046"/>
                  <a:pt x="2514843" y="1354228"/>
                </a:cubicBezTo>
                <a:cubicBezTo>
                  <a:pt x="2516618" y="1354038"/>
                  <a:pt x="2516618" y="1354038"/>
                  <a:pt x="2518583" y="1355624"/>
                </a:cubicBezTo>
                <a:cubicBezTo>
                  <a:pt x="2557759" y="1369396"/>
                  <a:pt x="2597946" y="1375868"/>
                  <a:pt x="2638190" y="1366154"/>
                </a:cubicBezTo>
                <a:cubicBezTo>
                  <a:pt x="2652196" y="1362853"/>
                  <a:pt x="2661642" y="1367232"/>
                  <a:pt x="2668110" y="1377324"/>
                </a:cubicBezTo>
                <a:cubicBezTo>
                  <a:pt x="2676545" y="1389003"/>
                  <a:pt x="2689731" y="1394777"/>
                  <a:pt x="2702344" y="1395221"/>
                </a:cubicBezTo>
                <a:cubicBezTo>
                  <a:pt x="2724212" y="1398267"/>
                  <a:pt x="2747664" y="1399344"/>
                  <a:pt x="2770734" y="1396868"/>
                </a:cubicBezTo>
                <a:cubicBezTo>
                  <a:pt x="2790255" y="1394772"/>
                  <a:pt x="2793041" y="1387283"/>
                  <a:pt x="2784035" y="1370272"/>
                </a:cubicBezTo>
                <a:cubicBezTo>
                  <a:pt x="2781687" y="1365131"/>
                  <a:pt x="2775982" y="1362149"/>
                  <a:pt x="2780734" y="1356245"/>
                </a:cubicBezTo>
                <a:cubicBezTo>
                  <a:pt x="2788844" y="1348184"/>
                  <a:pt x="2785925" y="1337711"/>
                  <a:pt x="2784780" y="1327048"/>
                </a:cubicBezTo>
                <a:cubicBezTo>
                  <a:pt x="2784207" y="1321716"/>
                  <a:pt x="2781669" y="1314797"/>
                  <a:pt x="2788578" y="1312259"/>
                </a:cubicBezTo>
                <a:cubicBezTo>
                  <a:pt x="2795485" y="1309719"/>
                  <a:pt x="2799798" y="1316447"/>
                  <a:pt x="2802145" y="1321588"/>
                </a:cubicBezTo>
                <a:cubicBezTo>
                  <a:pt x="2808995" y="1335234"/>
                  <a:pt x="2815654" y="1347103"/>
                  <a:pt x="2822314" y="1358972"/>
                </a:cubicBezTo>
                <a:cubicBezTo>
                  <a:pt x="2839563" y="1385883"/>
                  <a:pt x="2862386" y="1397815"/>
                  <a:pt x="2894138" y="1392608"/>
                </a:cubicBezTo>
                <a:cubicBezTo>
                  <a:pt x="2910110" y="1390894"/>
                  <a:pt x="2925891" y="1387402"/>
                  <a:pt x="2941863" y="1385687"/>
                </a:cubicBezTo>
                <a:cubicBezTo>
                  <a:pt x="2961193" y="1381815"/>
                  <a:pt x="2972795" y="1389558"/>
                  <a:pt x="2980027" y="1406758"/>
                </a:cubicBezTo>
                <a:cubicBezTo>
                  <a:pt x="2982183" y="1410122"/>
                  <a:pt x="2980981" y="1415644"/>
                  <a:pt x="2986496" y="1416850"/>
                </a:cubicBezTo>
                <a:cubicBezTo>
                  <a:pt x="2992259" y="1403648"/>
                  <a:pt x="2999605" y="1388477"/>
                  <a:pt x="3005178" y="1373498"/>
                </a:cubicBezTo>
                <a:cubicBezTo>
                  <a:pt x="3014108" y="1356359"/>
                  <a:pt x="3014108" y="1356359"/>
                  <a:pt x="3024698" y="1371402"/>
                </a:cubicBezTo>
                <a:cubicBezTo>
                  <a:pt x="3033323" y="1384857"/>
                  <a:pt x="3042578" y="1387459"/>
                  <a:pt x="3055631" y="1375271"/>
                </a:cubicBezTo>
                <a:cubicBezTo>
                  <a:pt x="3067099" y="1365052"/>
                  <a:pt x="3081106" y="1361751"/>
                  <a:pt x="3097459" y="1363590"/>
                </a:cubicBezTo>
                <a:cubicBezTo>
                  <a:pt x="3120911" y="1364669"/>
                  <a:pt x="3143351" y="1373045"/>
                  <a:pt x="3165791" y="1381423"/>
                </a:cubicBezTo>
                <a:cubicBezTo>
                  <a:pt x="3188232" y="1389800"/>
                  <a:pt x="3196914" y="1387070"/>
                  <a:pt x="3211169" y="1369361"/>
                </a:cubicBezTo>
                <a:cubicBezTo>
                  <a:pt x="3226817" y="1347906"/>
                  <a:pt x="3246529" y="1347588"/>
                  <a:pt x="3261431" y="1369358"/>
                </a:cubicBezTo>
                <a:cubicBezTo>
                  <a:pt x="3275952" y="1387573"/>
                  <a:pt x="3275952" y="1387573"/>
                  <a:pt x="3290016" y="1368086"/>
                </a:cubicBezTo>
                <a:cubicBezTo>
                  <a:pt x="3291791" y="1367896"/>
                  <a:pt x="3291600" y="1366119"/>
                  <a:pt x="3293375" y="1365928"/>
                </a:cubicBezTo>
                <a:cubicBezTo>
                  <a:pt x="3299519" y="1356280"/>
                  <a:pt x="3306809" y="1357295"/>
                  <a:pt x="3313278" y="1367387"/>
                </a:cubicBezTo>
                <a:cubicBezTo>
                  <a:pt x="3315625" y="1372529"/>
                  <a:pt x="3317972" y="1377670"/>
                  <a:pt x="3320319" y="1382811"/>
                </a:cubicBezTo>
                <a:cubicBezTo>
                  <a:pt x="3329325" y="1399820"/>
                  <a:pt x="3342702" y="1407373"/>
                  <a:pt x="3359876" y="1400136"/>
                </a:cubicBezTo>
                <a:cubicBezTo>
                  <a:pt x="3389090" y="1388012"/>
                  <a:pt x="3419068" y="1382995"/>
                  <a:pt x="3445746" y="1363952"/>
                </a:cubicBezTo>
                <a:cubicBezTo>
                  <a:pt x="3454047" y="1357668"/>
                  <a:pt x="3464504" y="1354748"/>
                  <a:pt x="3467805" y="1368775"/>
                </a:cubicBezTo>
                <a:cubicBezTo>
                  <a:pt x="3472499" y="1379057"/>
                  <a:pt x="3479596" y="1378295"/>
                  <a:pt x="3486314" y="1373979"/>
                </a:cubicBezTo>
                <a:cubicBezTo>
                  <a:pt x="3499938" y="1367123"/>
                  <a:pt x="3515911" y="1365408"/>
                  <a:pt x="3530108" y="1363885"/>
                </a:cubicBezTo>
                <a:cubicBezTo>
                  <a:pt x="3553178" y="1361408"/>
                  <a:pt x="3561288" y="1353346"/>
                  <a:pt x="3564323" y="1331448"/>
                </a:cubicBezTo>
                <a:cubicBezTo>
                  <a:pt x="3564762" y="1318817"/>
                  <a:pt x="3570086" y="1318246"/>
                  <a:pt x="3580733" y="1317103"/>
                </a:cubicBezTo>
                <a:cubicBezTo>
                  <a:pt x="3593156" y="1315769"/>
                  <a:pt x="3606724" y="1325099"/>
                  <a:pt x="3618001" y="1313102"/>
                </a:cubicBezTo>
                <a:cubicBezTo>
                  <a:pt x="3627695" y="1303072"/>
                  <a:pt x="3620654" y="1287649"/>
                  <a:pt x="3624451" y="1272860"/>
                </a:cubicBezTo>
                <a:cubicBezTo>
                  <a:pt x="3634660" y="1284347"/>
                  <a:pt x="3639354" y="1294630"/>
                  <a:pt x="3638915" y="1307261"/>
                </a:cubicBezTo>
                <a:cubicBezTo>
                  <a:pt x="3638036" y="1332523"/>
                  <a:pt x="3613573" y="1338745"/>
                  <a:pt x="3598937" y="1352900"/>
                </a:cubicBezTo>
                <a:cubicBezTo>
                  <a:pt x="3629811" y="1372956"/>
                  <a:pt x="3647367" y="1369273"/>
                  <a:pt x="3663645" y="1336965"/>
                </a:cubicBezTo>
                <a:cubicBezTo>
                  <a:pt x="3666622" y="1331252"/>
                  <a:pt x="3671373" y="1325349"/>
                  <a:pt x="3674160" y="1317859"/>
                </a:cubicBezTo>
                <a:cubicBezTo>
                  <a:pt x="3681507" y="1302689"/>
                  <a:pt x="3689044" y="1289296"/>
                  <a:pt x="3706409" y="1283836"/>
                </a:cubicBezTo>
                <a:cubicBezTo>
                  <a:pt x="3713316" y="1281297"/>
                  <a:pt x="3712744" y="1275966"/>
                  <a:pt x="3713755" y="1268666"/>
                </a:cubicBezTo>
                <a:cubicBezTo>
                  <a:pt x="3716160" y="1257621"/>
                  <a:pt x="3712859" y="1243594"/>
                  <a:pt x="3722362" y="1231788"/>
                </a:cubicBezTo>
                <a:cubicBezTo>
                  <a:pt x="3724709" y="1236929"/>
                  <a:pt x="3726866" y="1240293"/>
                  <a:pt x="3729213" y="1245434"/>
                </a:cubicBezTo>
                <a:cubicBezTo>
                  <a:pt x="3741768" y="1262063"/>
                  <a:pt x="3752798" y="1264474"/>
                  <a:pt x="3769400" y="1251906"/>
                </a:cubicBezTo>
                <a:cubicBezTo>
                  <a:pt x="3784226" y="1239528"/>
                  <a:pt x="3801782" y="1235846"/>
                  <a:pt x="3819911" y="1237495"/>
                </a:cubicBezTo>
                <a:cubicBezTo>
                  <a:pt x="3832714" y="1239716"/>
                  <a:pt x="3845327" y="1240159"/>
                  <a:pt x="3859906" y="1242189"/>
                </a:cubicBezTo>
                <a:cubicBezTo>
                  <a:pt x="3899902" y="1246884"/>
                  <a:pt x="3940089" y="1253357"/>
                  <a:pt x="3977680" y="1269095"/>
                </a:cubicBezTo>
                <a:cubicBezTo>
                  <a:pt x="3992640" y="1274680"/>
                  <a:pt x="3995369" y="1283376"/>
                  <a:pt x="3989607" y="1296578"/>
                </a:cubicBezTo>
                <a:cubicBezTo>
                  <a:pt x="3983653" y="1308004"/>
                  <a:pt x="3975542" y="1316065"/>
                  <a:pt x="3965658" y="1324318"/>
                </a:cubicBezTo>
                <a:cubicBezTo>
                  <a:pt x="3955964" y="1334346"/>
                  <a:pt x="3942339" y="1341202"/>
                  <a:pt x="3933027" y="1354786"/>
                </a:cubicBezTo>
                <a:cubicBezTo>
                  <a:pt x="3993174" y="1346531"/>
                  <a:pt x="4049962" y="1340434"/>
                  <a:pt x="4089367" y="1289464"/>
                </a:cubicBezTo>
                <a:cubicBezTo>
                  <a:pt x="4094310" y="1285338"/>
                  <a:pt x="4101027" y="1281022"/>
                  <a:pt x="4108507" y="1283814"/>
                </a:cubicBezTo>
                <a:cubicBezTo>
                  <a:pt x="4116178" y="1288384"/>
                  <a:pt x="4122074" y="1293144"/>
                  <a:pt x="4123219" y="1303807"/>
                </a:cubicBezTo>
                <a:cubicBezTo>
                  <a:pt x="4123791" y="1309139"/>
                  <a:pt x="4120815" y="1314851"/>
                  <a:pt x="4117837" y="1320564"/>
                </a:cubicBezTo>
                <a:cubicBezTo>
                  <a:pt x="4110490" y="1335734"/>
                  <a:pt x="4097438" y="1347922"/>
                  <a:pt x="4092057" y="1364679"/>
                </a:cubicBezTo>
                <a:cubicBezTo>
                  <a:pt x="4086675" y="1381436"/>
                  <a:pt x="4094670" y="1405746"/>
                  <a:pt x="4107665" y="1409743"/>
                </a:cubicBezTo>
                <a:cubicBezTo>
                  <a:pt x="4122626" y="1415328"/>
                  <a:pt x="4132129" y="1403522"/>
                  <a:pt x="4141823" y="1393492"/>
                </a:cubicBezTo>
                <a:cubicBezTo>
                  <a:pt x="4148348" y="1387399"/>
                  <a:pt x="4147585" y="1380290"/>
                  <a:pt x="4148597" y="1372991"/>
                </a:cubicBezTo>
                <a:cubicBezTo>
                  <a:pt x="4149723" y="1333320"/>
                  <a:pt x="4162585" y="1319355"/>
                  <a:pt x="4202009" y="1318719"/>
                </a:cubicBezTo>
                <a:cubicBezTo>
                  <a:pt x="4219946" y="1318590"/>
                  <a:pt x="4235727" y="1315099"/>
                  <a:pt x="4251126" y="1308053"/>
                </a:cubicBezTo>
                <a:cubicBezTo>
                  <a:pt x="4293776" y="1287296"/>
                  <a:pt x="4336748" y="1286277"/>
                  <a:pt x="4376247" y="1319788"/>
                </a:cubicBezTo>
                <a:cubicBezTo>
                  <a:pt x="4395902" y="1335656"/>
                  <a:pt x="4395902" y="1335656"/>
                  <a:pt x="4407619" y="1311027"/>
                </a:cubicBezTo>
                <a:cubicBezTo>
                  <a:pt x="4416359" y="1292112"/>
                  <a:pt x="4447348" y="1279797"/>
                  <a:pt x="4457557" y="1291285"/>
                </a:cubicBezTo>
                <a:cubicBezTo>
                  <a:pt x="4474234" y="1312864"/>
                  <a:pt x="4493947" y="1312547"/>
                  <a:pt x="4517017" y="1310069"/>
                </a:cubicBezTo>
                <a:cubicBezTo>
                  <a:pt x="4529248" y="1306959"/>
                  <a:pt x="4543065" y="1301880"/>
                  <a:pt x="4556440" y="1309433"/>
                </a:cubicBezTo>
                <a:cubicBezTo>
                  <a:pt x="4571782" y="1318572"/>
                  <a:pt x="4578309" y="1312478"/>
                  <a:pt x="4583881" y="1297498"/>
                </a:cubicBezTo>
                <a:cubicBezTo>
                  <a:pt x="4586666" y="1290009"/>
                  <a:pt x="4589453" y="1282519"/>
                  <a:pt x="4598898" y="1286898"/>
                </a:cubicBezTo>
                <a:cubicBezTo>
                  <a:pt x="4606569" y="1291468"/>
                  <a:pt x="4612465" y="1296227"/>
                  <a:pt x="4608286" y="1307462"/>
                </a:cubicBezTo>
                <a:cubicBezTo>
                  <a:pt x="4605500" y="1314952"/>
                  <a:pt x="4600939" y="1322632"/>
                  <a:pt x="4598344" y="1331899"/>
                </a:cubicBezTo>
                <a:cubicBezTo>
                  <a:pt x="4588974" y="1361669"/>
                  <a:pt x="4609011" y="1381090"/>
                  <a:pt x="4638989" y="1376074"/>
                </a:cubicBezTo>
                <a:cubicBezTo>
                  <a:pt x="4646087" y="1375312"/>
                  <a:pt x="4652804" y="1370996"/>
                  <a:pt x="4659712" y="1368456"/>
                </a:cubicBezTo>
                <a:cubicBezTo>
                  <a:pt x="4666619" y="1365917"/>
                  <a:pt x="4673527" y="1363378"/>
                  <a:pt x="4679424" y="1368138"/>
                </a:cubicBezTo>
                <a:cubicBezTo>
                  <a:pt x="4710489" y="1389971"/>
                  <a:pt x="4741479" y="1377655"/>
                  <a:pt x="4771075" y="1369085"/>
                </a:cubicBezTo>
                <a:cubicBezTo>
                  <a:pt x="4774433" y="1366926"/>
                  <a:pt x="4777982" y="1366546"/>
                  <a:pt x="4775636" y="1361404"/>
                </a:cubicBezTo>
                <a:cubicBezTo>
                  <a:pt x="4773288" y="1356263"/>
                  <a:pt x="4772525" y="1349155"/>
                  <a:pt x="4766630" y="1344394"/>
                </a:cubicBezTo>
                <a:cubicBezTo>
                  <a:pt x="4762698" y="1341221"/>
                  <a:pt x="4761496" y="1346743"/>
                  <a:pt x="4759912" y="1348711"/>
                </a:cubicBezTo>
                <a:cubicBezTo>
                  <a:pt x="4745276" y="1362866"/>
                  <a:pt x="4731269" y="1366168"/>
                  <a:pt x="4715927" y="1357028"/>
                </a:cubicBezTo>
                <a:cubicBezTo>
                  <a:pt x="4698812" y="1348079"/>
                  <a:pt x="4689614" y="1329292"/>
                  <a:pt x="4693220" y="1312726"/>
                </a:cubicBezTo>
                <a:cubicBezTo>
                  <a:pt x="4694042" y="1303649"/>
                  <a:pt x="4699175" y="1301300"/>
                  <a:pt x="4707036" y="1307647"/>
                </a:cubicBezTo>
                <a:cubicBezTo>
                  <a:pt x="4720603" y="1316977"/>
                  <a:pt x="4727321" y="1312661"/>
                  <a:pt x="4738407" y="1298887"/>
                </a:cubicBezTo>
                <a:cubicBezTo>
                  <a:pt x="4752281" y="1277622"/>
                  <a:pt x="4788975" y="1268290"/>
                  <a:pt x="4804509" y="1279206"/>
                </a:cubicBezTo>
                <a:cubicBezTo>
                  <a:pt x="4816301" y="1288726"/>
                  <a:pt x="4825174" y="1287774"/>
                  <a:pt x="4835440" y="1283076"/>
                </a:cubicBezTo>
                <a:cubicBezTo>
                  <a:pt x="4849256" y="1277997"/>
                  <a:pt x="4863453" y="1276474"/>
                  <a:pt x="4874043" y="1291516"/>
                </a:cubicBezTo>
                <a:cubicBezTo>
                  <a:pt x="4880512" y="1301608"/>
                  <a:pt x="4890778" y="1296910"/>
                  <a:pt x="4899270" y="1292404"/>
                </a:cubicBezTo>
                <a:cubicBezTo>
                  <a:pt x="4907761" y="1287897"/>
                  <a:pt x="4916063" y="1281612"/>
                  <a:pt x="4925317" y="1284214"/>
                </a:cubicBezTo>
                <a:cubicBezTo>
                  <a:pt x="4937930" y="1284658"/>
                  <a:pt x="4933943" y="1297670"/>
                  <a:pt x="4942568" y="1311126"/>
                </a:cubicBezTo>
                <a:cubicBezTo>
                  <a:pt x="4947434" y="1272851"/>
                  <a:pt x="4982296" y="1279895"/>
                  <a:pt x="5003650" y="1261423"/>
                </a:cubicBezTo>
                <a:cubicBezTo>
                  <a:pt x="5000864" y="1268913"/>
                  <a:pt x="4999470" y="1272658"/>
                  <a:pt x="4998077" y="1276403"/>
                </a:cubicBezTo>
                <a:cubicBezTo>
                  <a:pt x="4990291" y="1304204"/>
                  <a:pt x="4998535" y="1314105"/>
                  <a:pt x="5026929" y="1311057"/>
                </a:cubicBezTo>
                <a:cubicBezTo>
                  <a:pt x="5046259" y="1307185"/>
                  <a:pt x="5064006" y="1305280"/>
                  <a:pt x="5083718" y="1304961"/>
                </a:cubicBezTo>
                <a:cubicBezTo>
                  <a:pt x="5114459" y="1307053"/>
                  <a:pt x="5143999" y="1314669"/>
                  <a:pt x="5170751" y="1329774"/>
                </a:cubicBezTo>
                <a:cubicBezTo>
                  <a:pt x="5191607" y="1340118"/>
                  <a:pt x="5200099" y="1335612"/>
                  <a:pt x="5205098" y="1315300"/>
                </a:cubicBezTo>
                <a:cubicBezTo>
                  <a:pt x="5207942" y="1291625"/>
                  <a:pt x="5219601" y="1283182"/>
                  <a:pt x="5243244" y="1286037"/>
                </a:cubicBezTo>
                <a:cubicBezTo>
                  <a:pt x="5257632" y="1286290"/>
                  <a:pt x="5272211" y="1288321"/>
                  <a:pt x="5287991" y="1284829"/>
                </a:cubicBezTo>
                <a:cubicBezTo>
                  <a:pt x="5296865" y="1283877"/>
                  <a:pt x="5306121" y="1286478"/>
                  <a:pt x="5312397" y="1294793"/>
                </a:cubicBezTo>
                <a:cubicBezTo>
                  <a:pt x="5314554" y="1298157"/>
                  <a:pt x="5314935" y="1301711"/>
                  <a:pt x="5319877" y="1297585"/>
                </a:cubicBezTo>
                <a:cubicBezTo>
                  <a:pt x="5339456" y="1279304"/>
                  <a:pt x="5364683" y="1280192"/>
                  <a:pt x="5387944" y="1279491"/>
                </a:cubicBezTo>
                <a:cubicBezTo>
                  <a:pt x="5411205" y="1278792"/>
                  <a:pt x="5432310" y="1274729"/>
                  <a:pt x="5448148" y="1255051"/>
                </a:cubicBezTo>
                <a:cubicBezTo>
                  <a:pt x="5454484" y="1247180"/>
                  <a:pt x="5459999" y="1248386"/>
                  <a:pt x="5466276" y="1256701"/>
                </a:cubicBezTo>
                <a:cubicBezTo>
                  <a:pt x="5478833" y="1273330"/>
                  <a:pt x="5480607" y="1273140"/>
                  <a:pt x="5493469" y="1259175"/>
                </a:cubicBezTo>
                <a:cubicBezTo>
                  <a:pt x="5516023" y="1235181"/>
                  <a:pt x="5541117" y="1218106"/>
                  <a:pt x="5575789" y="1223372"/>
                </a:cubicBezTo>
                <a:cubicBezTo>
                  <a:pt x="5586628" y="1224006"/>
                  <a:pt x="5599432" y="1226227"/>
                  <a:pt x="5612046" y="1226670"/>
                </a:cubicBezTo>
                <a:cubicBezTo>
                  <a:pt x="5621300" y="1229273"/>
                  <a:pt x="5633531" y="1226162"/>
                  <a:pt x="5631700" y="1242538"/>
                </a:cubicBezTo>
                <a:cubicBezTo>
                  <a:pt x="5630688" y="1249837"/>
                  <a:pt x="5640324" y="1255993"/>
                  <a:pt x="5646029" y="1258976"/>
                </a:cubicBezTo>
                <a:cubicBezTo>
                  <a:pt x="5668662" y="1269131"/>
                  <a:pt x="5692304" y="1271985"/>
                  <a:pt x="5716767" y="1265764"/>
                </a:cubicBezTo>
                <a:cubicBezTo>
                  <a:pt x="5737682" y="1259923"/>
                  <a:pt x="5737491" y="1258146"/>
                  <a:pt x="5731652" y="1237200"/>
                </a:cubicBezTo>
                <a:cubicBezTo>
                  <a:pt x="5726767" y="1225141"/>
                  <a:pt x="5727588" y="1216065"/>
                  <a:pt x="5737281" y="1206035"/>
                </a:cubicBezTo>
                <a:cubicBezTo>
                  <a:pt x="5735641" y="1224188"/>
                  <a:pt x="5744075" y="1235867"/>
                  <a:pt x="5760427" y="1237707"/>
                </a:cubicBezTo>
                <a:cubicBezTo>
                  <a:pt x="5783879" y="1238784"/>
                  <a:pt x="5804164" y="1243798"/>
                  <a:pt x="5804048" y="1276169"/>
                </a:cubicBezTo>
                <a:cubicBezTo>
                  <a:pt x="5813609" y="1248177"/>
                  <a:pt x="5832940" y="1244304"/>
                  <a:pt x="5856583" y="1247159"/>
                </a:cubicBezTo>
                <a:cubicBezTo>
                  <a:pt x="5867612" y="1249571"/>
                  <a:pt x="5875913" y="1243286"/>
                  <a:pt x="5884214" y="1237001"/>
                </a:cubicBezTo>
                <a:cubicBezTo>
                  <a:pt x="5907532" y="1220117"/>
                  <a:pt x="5922301" y="1223925"/>
                  <a:pt x="5930487" y="1250011"/>
                </a:cubicBezTo>
                <a:cubicBezTo>
                  <a:pt x="5935563" y="1263848"/>
                  <a:pt x="5940696" y="1261499"/>
                  <a:pt x="5946841" y="1251851"/>
                </a:cubicBezTo>
                <a:cubicBezTo>
                  <a:pt x="5956344" y="1240044"/>
                  <a:pt x="5966419" y="1233570"/>
                  <a:pt x="5983536" y="1242519"/>
                </a:cubicBezTo>
                <a:cubicBezTo>
                  <a:pt x="5978784" y="1248421"/>
                  <a:pt x="5973842" y="1252548"/>
                  <a:pt x="5970674" y="1256483"/>
                </a:cubicBezTo>
                <a:cubicBezTo>
                  <a:pt x="5962755" y="1266322"/>
                  <a:pt x="5963709" y="1275208"/>
                  <a:pt x="5975120" y="1281173"/>
                </a:cubicBezTo>
                <a:cubicBezTo>
                  <a:pt x="5984756" y="1287330"/>
                  <a:pt x="5991855" y="1286567"/>
                  <a:pt x="5996034" y="1275333"/>
                </a:cubicBezTo>
                <a:cubicBezTo>
                  <a:pt x="6007942" y="1252482"/>
                  <a:pt x="6028092" y="1239533"/>
                  <a:pt x="6046278" y="1224996"/>
                </a:cubicBezTo>
                <a:cubicBezTo>
                  <a:pt x="6059712" y="1216363"/>
                  <a:pt x="6073528" y="1211285"/>
                  <a:pt x="6090072" y="1214902"/>
                </a:cubicBezTo>
                <a:cubicBezTo>
                  <a:pt x="6106616" y="1218519"/>
                  <a:pt x="6122587" y="1216804"/>
                  <a:pt x="6138368" y="1213313"/>
                </a:cubicBezTo>
                <a:cubicBezTo>
                  <a:pt x="6155733" y="1207853"/>
                  <a:pt x="6175064" y="1203980"/>
                  <a:pt x="6190787" y="1216674"/>
                </a:cubicBezTo>
                <a:cubicBezTo>
                  <a:pt x="6208285" y="1229177"/>
                  <a:pt x="6216586" y="1222893"/>
                  <a:pt x="6227673" y="1209119"/>
                </a:cubicBezTo>
                <a:cubicBezTo>
                  <a:pt x="6243893" y="1192996"/>
                  <a:pt x="6254541" y="1191853"/>
                  <a:pt x="6272229" y="1206133"/>
                </a:cubicBezTo>
                <a:cubicBezTo>
                  <a:pt x="6277935" y="1209116"/>
                  <a:pt x="6282057" y="1214067"/>
                  <a:pt x="6285988" y="1217240"/>
                </a:cubicBezTo>
                <a:cubicBezTo>
                  <a:pt x="6301711" y="1229933"/>
                  <a:pt x="6318064" y="1231773"/>
                  <a:pt x="6337395" y="1227900"/>
                </a:cubicBezTo>
                <a:cubicBezTo>
                  <a:pt x="6353176" y="1224409"/>
                  <a:pt x="6357164" y="1211397"/>
                  <a:pt x="6361153" y="1198385"/>
                </a:cubicBezTo>
                <a:cubicBezTo>
                  <a:pt x="6366534" y="1181627"/>
                  <a:pt x="6386303" y="1165123"/>
                  <a:pt x="6399489" y="1170899"/>
                </a:cubicBezTo>
                <a:cubicBezTo>
                  <a:pt x="6429410" y="1182068"/>
                  <a:pt x="6445821" y="1167723"/>
                  <a:pt x="6465781" y="1152996"/>
                </a:cubicBezTo>
                <a:cubicBezTo>
                  <a:pt x="6470913" y="1150647"/>
                  <a:pt x="6478012" y="1149885"/>
                  <a:pt x="6483145" y="1147536"/>
                </a:cubicBezTo>
                <a:cubicBezTo>
                  <a:pt x="6514707" y="1140553"/>
                  <a:pt x="6547987" y="1149564"/>
                  <a:pt x="6583097" y="1142200"/>
                </a:cubicBezTo>
                <a:cubicBezTo>
                  <a:pt x="6570046" y="1154386"/>
                  <a:pt x="6565866" y="1165622"/>
                  <a:pt x="6563843" y="1180221"/>
                </a:cubicBezTo>
                <a:cubicBezTo>
                  <a:pt x="6562641" y="1185743"/>
                  <a:pt x="6563404" y="1192851"/>
                  <a:pt x="6558462" y="1196977"/>
                </a:cubicBezTo>
                <a:cubicBezTo>
                  <a:pt x="6553710" y="1202881"/>
                  <a:pt x="6550924" y="1210371"/>
                  <a:pt x="6558595" y="1214940"/>
                </a:cubicBezTo>
                <a:cubicBezTo>
                  <a:pt x="6566266" y="1219510"/>
                  <a:pt x="6571399" y="1217161"/>
                  <a:pt x="6576151" y="1211258"/>
                </a:cubicBezTo>
                <a:cubicBezTo>
                  <a:pt x="6582486" y="1203386"/>
                  <a:pt x="6587047" y="1195706"/>
                  <a:pt x="6593382" y="1187836"/>
                </a:cubicBezTo>
                <a:cubicBezTo>
                  <a:pt x="6597943" y="1180155"/>
                  <a:pt x="6603458" y="1181361"/>
                  <a:pt x="6607960" y="1189866"/>
                </a:cubicBezTo>
                <a:cubicBezTo>
                  <a:pt x="6612273" y="1196594"/>
                  <a:pt x="6613036" y="1203702"/>
                  <a:pt x="6620708" y="1208272"/>
                </a:cubicBezTo>
                <a:cubicBezTo>
                  <a:pt x="6652976" y="1224582"/>
                  <a:pt x="6688086" y="1217218"/>
                  <a:pt x="6710260" y="1189670"/>
                </a:cubicBezTo>
                <a:cubicBezTo>
                  <a:pt x="6716787" y="1183576"/>
                  <a:pt x="6723121" y="1175706"/>
                  <a:pt x="6729458" y="1167834"/>
                </a:cubicBezTo>
                <a:cubicBezTo>
                  <a:pt x="6730221" y="1174943"/>
                  <a:pt x="6730984" y="1182052"/>
                  <a:pt x="6729972" y="1189351"/>
                </a:cubicBezTo>
                <a:cubicBezTo>
                  <a:pt x="6731689" y="1205346"/>
                  <a:pt x="6737395" y="1208329"/>
                  <a:pt x="6751210" y="1203251"/>
                </a:cubicBezTo>
                <a:cubicBezTo>
                  <a:pt x="6761667" y="1200330"/>
                  <a:pt x="6770349" y="1197601"/>
                  <a:pt x="6780616" y="1192903"/>
                </a:cubicBezTo>
                <a:cubicBezTo>
                  <a:pt x="6792657" y="1188015"/>
                  <a:pt x="6797217" y="1180335"/>
                  <a:pt x="6795882" y="1167894"/>
                </a:cubicBezTo>
                <a:cubicBezTo>
                  <a:pt x="6792772" y="1155644"/>
                  <a:pt x="6784719" y="1147520"/>
                  <a:pt x="6783384" y="1135079"/>
                </a:cubicBezTo>
                <a:cubicBezTo>
                  <a:pt x="6794795" y="1141045"/>
                  <a:pt x="6802657" y="1147392"/>
                  <a:pt x="6812293" y="1153549"/>
                </a:cubicBezTo>
                <a:cubicBezTo>
                  <a:pt x="6821929" y="1159705"/>
                  <a:pt x="6830803" y="1158752"/>
                  <a:pt x="6838913" y="1150690"/>
                </a:cubicBezTo>
                <a:cubicBezTo>
                  <a:pt x="6869196" y="1115081"/>
                  <a:pt x="6879844" y="1113938"/>
                  <a:pt x="6923141" y="1132660"/>
                </a:cubicBezTo>
                <a:cubicBezTo>
                  <a:pt x="6945582" y="1141037"/>
                  <a:pt x="6981895" y="1128150"/>
                  <a:pt x="6988479" y="1105871"/>
                </a:cubicBezTo>
                <a:cubicBezTo>
                  <a:pt x="6990883" y="1094827"/>
                  <a:pt x="6994623" y="1096223"/>
                  <a:pt x="7003687" y="1097048"/>
                </a:cubicBezTo>
                <a:cubicBezTo>
                  <a:pt x="7027330" y="1099902"/>
                  <a:pt x="7030689" y="1097744"/>
                  <a:pt x="7042596" y="1074894"/>
                </a:cubicBezTo>
                <a:cubicBezTo>
                  <a:pt x="7042405" y="1073117"/>
                  <a:pt x="7042214" y="1071339"/>
                  <a:pt x="7043990" y="1071149"/>
                </a:cubicBezTo>
                <a:cubicBezTo>
                  <a:pt x="7048550" y="1063469"/>
                  <a:pt x="7053492" y="1059343"/>
                  <a:pt x="7062365" y="1058390"/>
                </a:cubicBezTo>
                <a:cubicBezTo>
                  <a:pt x="7073013" y="1057247"/>
                  <a:pt x="7070419" y="1066514"/>
                  <a:pt x="7072765" y="1071655"/>
                </a:cubicBezTo>
                <a:cubicBezTo>
                  <a:pt x="7079997" y="1088856"/>
                  <a:pt x="7085893" y="1093615"/>
                  <a:pt x="7100911" y="1083015"/>
                </a:cubicBezTo>
                <a:cubicBezTo>
                  <a:pt x="7122837" y="1069875"/>
                  <a:pt x="7145716" y="1065621"/>
                  <a:pt x="7170562" y="1062954"/>
                </a:cubicBezTo>
                <a:cubicBezTo>
                  <a:pt x="7188307" y="1061049"/>
                  <a:pt x="7205672" y="1055589"/>
                  <a:pt x="7222656" y="1046575"/>
                </a:cubicBezTo>
                <a:cubicBezTo>
                  <a:pt x="7229373" y="1042259"/>
                  <a:pt x="7233113" y="1043655"/>
                  <a:pt x="7237425" y="1050383"/>
                </a:cubicBezTo>
                <a:cubicBezTo>
                  <a:pt x="7242625" y="1057015"/>
                  <a:pt x="7249361" y="1061236"/>
                  <a:pt x="7256769" y="1063362"/>
                </a:cubicBezTo>
                <a:lnTo>
                  <a:pt x="7272553" y="1063640"/>
                </a:lnTo>
                <a:lnTo>
                  <a:pt x="7330857" y="1037935"/>
                </a:lnTo>
                <a:lnTo>
                  <a:pt x="7328466" y="1028924"/>
                </a:lnTo>
                <a:cubicBezTo>
                  <a:pt x="7329463" y="1025671"/>
                  <a:pt x="7332331" y="1023116"/>
                  <a:pt x="7336672" y="1021751"/>
                </a:cubicBezTo>
                <a:cubicBezTo>
                  <a:pt x="7362719" y="1013563"/>
                  <a:pt x="7379950" y="990140"/>
                  <a:pt x="7399720" y="973636"/>
                </a:cubicBezTo>
                <a:cubicBezTo>
                  <a:pt x="7427599" y="949071"/>
                  <a:pt x="7457826" y="929646"/>
                  <a:pt x="7494712" y="922091"/>
                </a:cubicBezTo>
                <a:cubicBezTo>
                  <a:pt x="7505360" y="920948"/>
                  <a:pt x="7507516" y="924312"/>
                  <a:pt x="7506696" y="933389"/>
                </a:cubicBezTo>
                <a:cubicBezTo>
                  <a:pt x="7508222" y="947606"/>
                  <a:pt x="7498337" y="955858"/>
                  <a:pt x="7488452" y="964110"/>
                </a:cubicBezTo>
                <a:cubicBezTo>
                  <a:pt x="7482116" y="971981"/>
                  <a:pt x="7480914" y="977503"/>
                  <a:pt x="7487192" y="985818"/>
                </a:cubicBezTo>
                <a:cubicBezTo>
                  <a:pt x="7493280" y="992355"/>
                  <a:pt x="7500187" y="989816"/>
                  <a:pt x="7507095" y="987276"/>
                </a:cubicBezTo>
                <a:cubicBezTo>
                  <a:pt x="7515586" y="982770"/>
                  <a:pt x="7525662" y="976295"/>
                  <a:pt x="7534154" y="971788"/>
                </a:cubicBezTo>
                <a:cubicBezTo>
                  <a:pt x="7539097" y="967662"/>
                  <a:pt x="7547397" y="961377"/>
                  <a:pt x="7553484" y="967915"/>
                </a:cubicBezTo>
                <a:cubicBezTo>
                  <a:pt x="7557415" y="971089"/>
                  <a:pt x="7557796" y="974643"/>
                  <a:pt x="7556847" y="978340"/>
                </a:cubicBezTo>
                <a:lnTo>
                  <a:pt x="7556614" y="978908"/>
                </a:lnTo>
                <a:lnTo>
                  <a:pt x="7582152" y="972345"/>
                </a:lnTo>
                <a:cubicBezTo>
                  <a:pt x="7592370" y="969371"/>
                  <a:pt x="7601660" y="965862"/>
                  <a:pt x="7608680" y="960875"/>
                </a:cubicBezTo>
                <a:lnTo>
                  <a:pt x="7628292" y="949162"/>
                </a:lnTo>
                <a:lnTo>
                  <a:pt x="7646643" y="932746"/>
                </a:lnTo>
                <a:cubicBezTo>
                  <a:pt x="7683834" y="894598"/>
                  <a:pt x="7716905" y="851497"/>
                  <a:pt x="7758028" y="816522"/>
                </a:cubicBezTo>
                <a:cubicBezTo>
                  <a:pt x="7761386" y="814364"/>
                  <a:pt x="7764362" y="808651"/>
                  <a:pt x="7770068" y="811634"/>
                </a:cubicBezTo>
                <a:cubicBezTo>
                  <a:pt x="7775774" y="814617"/>
                  <a:pt x="7778121" y="819758"/>
                  <a:pt x="7776918" y="825281"/>
                </a:cubicBezTo>
                <a:cubicBezTo>
                  <a:pt x="7778064" y="835944"/>
                  <a:pt x="7775658" y="846988"/>
                  <a:pt x="7773255" y="858033"/>
                </a:cubicBezTo>
                <a:lnTo>
                  <a:pt x="7772975" y="874257"/>
                </a:lnTo>
                <a:lnTo>
                  <a:pt x="7843506" y="838389"/>
                </a:lnTo>
                <a:cubicBezTo>
                  <a:pt x="7877304" y="808167"/>
                  <a:pt x="7945101" y="774079"/>
                  <a:pt x="7981704" y="751474"/>
                </a:cubicBezTo>
                <a:cubicBezTo>
                  <a:pt x="8006593" y="733423"/>
                  <a:pt x="8031197" y="733374"/>
                  <a:pt x="8054850" y="733676"/>
                </a:cubicBezTo>
                <a:lnTo>
                  <a:pt x="8066046" y="733194"/>
                </a:lnTo>
                <a:lnTo>
                  <a:pt x="8075227" y="724831"/>
                </a:lnTo>
                <a:cubicBezTo>
                  <a:pt x="8083444" y="714623"/>
                  <a:pt x="8090459" y="702634"/>
                  <a:pt x="8096126" y="688543"/>
                </a:cubicBezTo>
                <a:cubicBezTo>
                  <a:pt x="8104867" y="669629"/>
                  <a:pt x="8119503" y="655473"/>
                  <a:pt x="8140607" y="651410"/>
                </a:cubicBezTo>
                <a:cubicBezTo>
                  <a:pt x="8149290" y="648680"/>
                  <a:pt x="8157973" y="645950"/>
                  <a:pt x="8166845" y="644998"/>
                </a:cubicBezTo>
                <a:cubicBezTo>
                  <a:pt x="8185985" y="639348"/>
                  <a:pt x="8203541" y="635665"/>
                  <a:pt x="8214055" y="616559"/>
                </a:cubicBezTo>
                <a:cubicBezTo>
                  <a:pt x="8223177" y="601198"/>
                  <a:pt x="8226535" y="599040"/>
                  <a:pt x="8237125" y="614083"/>
                </a:cubicBezTo>
                <a:lnTo>
                  <a:pt x="8244022" y="618291"/>
                </a:lnTo>
                <a:lnTo>
                  <a:pt x="8254067" y="602616"/>
                </a:lnTo>
                <a:cubicBezTo>
                  <a:pt x="8257665" y="597868"/>
                  <a:pt x="8261395" y="594212"/>
                  <a:pt x="8265389" y="592742"/>
                </a:cubicBezTo>
                <a:cubicBezTo>
                  <a:pt x="8273379" y="589801"/>
                  <a:pt x="8279403" y="589295"/>
                  <a:pt x="8284443" y="590007"/>
                </a:cubicBezTo>
                <a:lnTo>
                  <a:pt x="8292801" y="592911"/>
                </a:lnTo>
                <a:lnTo>
                  <a:pt x="8294241" y="592222"/>
                </a:lnTo>
                <a:cubicBezTo>
                  <a:pt x="8294319" y="590864"/>
                  <a:pt x="8293685" y="589135"/>
                  <a:pt x="8293590" y="588247"/>
                </a:cubicBezTo>
                <a:cubicBezTo>
                  <a:pt x="8286549" y="572823"/>
                  <a:pt x="8292121" y="557843"/>
                  <a:pt x="8292369" y="543435"/>
                </a:cubicBezTo>
                <a:cubicBezTo>
                  <a:pt x="8292807" y="530804"/>
                  <a:pt x="8303265" y="527884"/>
                  <a:pt x="8314103" y="528518"/>
                </a:cubicBezTo>
                <a:cubicBezTo>
                  <a:pt x="8323169" y="529343"/>
                  <a:pt x="8325897" y="538038"/>
                  <a:pt x="8324885" y="545337"/>
                </a:cubicBezTo>
                <a:cubicBezTo>
                  <a:pt x="8324255" y="556191"/>
                  <a:pt x="8325399" y="566854"/>
                  <a:pt x="8324579" y="575931"/>
                </a:cubicBezTo>
                <a:cubicBezTo>
                  <a:pt x="8335093" y="556826"/>
                  <a:pt x="8342060" y="538101"/>
                  <a:pt x="8350800" y="519185"/>
                </a:cubicBezTo>
                <a:lnTo>
                  <a:pt x="8355635" y="511126"/>
                </a:lnTo>
                <a:lnTo>
                  <a:pt x="8354614" y="511544"/>
                </a:lnTo>
                <a:cubicBezTo>
                  <a:pt x="8248182" y="551867"/>
                  <a:pt x="8135762" y="582081"/>
                  <a:pt x="8088574" y="577110"/>
                </a:cubicBezTo>
                <a:cubicBezTo>
                  <a:pt x="8082655" y="561029"/>
                  <a:pt x="7852040" y="655057"/>
                  <a:pt x="7837751" y="642059"/>
                </a:cubicBezTo>
                <a:cubicBezTo>
                  <a:pt x="7863943" y="614638"/>
                  <a:pt x="8091597" y="512570"/>
                  <a:pt x="8139529" y="494925"/>
                </a:cubicBezTo>
                <a:cubicBezTo>
                  <a:pt x="8169034" y="502322"/>
                  <a:pt x="8350363" y="408180"/>
                  <a:pt x="8394729" y="383197"/>
                </a:cubicBezTo>
                <a:cubicBezTo>
                  <a:pt x="8467780" y="337564"/>
                  <a:pt x="8628285" y="294813"/>
                  <a:pt x="8726766" y="222040"/>
                </a:cubicBezTo>
                <a:cubicBezTo>
                  <a:pt x="8768174" y="189018"/>
                  <a:pt x="8817375" y="137269"/>
                  <a:pt x="8917482" y="118196"/>
                </a:cubicBezTo>
                <a:cubicBezTo>
                  <a:pt x="8960766" y="111390"/>
                  <a:pt x="9092409" y="126353"/>
                  <a:pt x="9129013" y="103749"/>
                </a:cubicBezTo>
                <a:cubicBezTo>
                  <a:pt x="9141875" y="89404"/>
                  <a:pt x="9148523" y="60528"/>
                  <a:pt x="9161540" y="46606"/>
                </a:cubicBezTo>
                <a:cubicBezTo>
                  <a:pt x="9206513" y="20921"/>
                  <a:pt x="9212433" y="37001"/>
                  <a:pt x="9253685" y="3556"/>
                </a:cubicBezTo>
                <a:cubicBezTo>
                  <a:pt x="9270017" y="24451"/>
                  <a:pt x="9310851" y="36807"/>
                  <a:pt x="9350413" y="22243"/>
                </a:cubicBezTo>
                <a:cubicBezTo>
                  <a:pt x="9347299" y="13780"/>
                  <a:pt x="9354908" y="10978"/>
                  <a:pt x="9361233" y="0"/>
                </a:cubicBez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30095588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sp>
        <p:nvSpPr>
          <p:cNvPr id="2" name="Rectangle 1"/>
          <p:cNvSpPr/>
          <p:nvPr userDrawn="1"/>
        </p:nvSpPr>
        <p:spPr>
          <a:xfrm>
            <a:off x="5781047" y="260648"/>
            <a:ext cx="5952661" cy="633670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4" name="Picture Placeholder 2"/>
          <p:cNvSpPr>
            <a:spLocks noGrp="1"/>
          </p:cNvSpPr>
          <p:nvPr>
            <p:ph type="pic" idx="14" hasCustomPrompt="1"/>
          </p:nvPr>
        </p:nvSpPr>
        <p:spPr>
          <a:xfrm>
            <a:off x="734769" y="1196752"/>
            <a:ext cx="10849205" cy="3456384"/>
          </a:xfrm>
          <a:prstGeom prst="rect">
            <a:avLst/>
          </a:prstGeom>
          <a:solidFill>
            <a:schemeClr val="bg1">
              <a:lumMod val="95000"/>
            </a:schemeClr>
          </a:solidFill>
          <a:ln w="19050">
            <a:solidFill>
              <a:schemeClr val="bg1">
                <a:lumMod val="65000"/>
              </a:schemeClr>
            </a:solidFill>
          </a:ln>
        </p:spPr>
        <p:txBody>
          <a:bodyPr anchor="ctr"/>
          <a:lstStyle>
            <a:lvl1pPr marL="0" indent="0" algn="ctr">
              <a:buNone/>
              <a:defRPr sz="1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제목 1"/>
          <p:cNvSpPr>
            <a:spLocks noGrp="1"/>
          </p:cNvSpPr>
          <p:nvPr>
            <p:ph type="title" hasCustomPrompt="1"/>
          </p:nvPr>
        </p:nvSpPr>
        <p:spPr>
          <a:xfrm>
            <a:off x="0" y="269852"/>
            <a:ext cx="12192000" cy="710877"/>
          </a:xfrm>
          <a:prstGeom prst="rect">
            <a:avLst/>
          </a:prstGeom>
        </p:spPr>
        <p:txBody>
          <a:bodyPr anchor="ctr">
            <a:noAutofit/>
          </a:bodyPr>
          <a:lstStyle>
            <a:lvl1pPr algn="ctr">
              <a:defRPr sz="48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grpSp>
        <p:nvGrpSpPr>
          <p:cNvPr id="6" name="그룹 5">
            <a:extLst>
              <a:ext uri="{FF2B5EF4-FFF2-40B4-BE49-F238E27FC236}">
                <a16:creationId xmlns:a16="http://schemas.microsoft.com/office/drawing/2014/main" id="{22A4CB6F-7C9C-4340-8102-6603FA2A78DA}"/>
              </a:ext>
            </a:extLst>
          </p:cNvPr>
          <p:cNvGrpSpPr/>
          <p:nvPr userDrawn="1"/>
        </p:nvGrpSpPr>
        <p:grpSpPr>
          <a:xfrm rot="16200000">
            <a:off x="10717958" y="5625244"/>
            <a:ext cx="720080" cy="720080"/>
            <a:chOff x="546346" y="5762189"/>
            <a:chExt cx="720080" cy="720080"/>
          </a:xfrm>
        </p:grpSpPr>
        <p:sp>
          <p:nvSpPr>
            <p:cNvPr id="8" name="직사각형 7">
              <a:extLst>
                <a:ext uri="{FF2B5EF4-FFF2-40B4-BE49-F238E27FC236}">
                  <a16:creationId xmlns:a16="http://schemas.microsoft.com/office/drawing/2014/main" id="{68678E57-298A-4132-B4F7-BE72C9826DD2}"/>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직사각형 8">
              <a:extLst>
                <a:ext uri="{FF2B5EF4-FFF2-40B4-BE49-F238E27FC236}">
                  <a16:creationId xmlns:a16="http://schemas.microsoft.com/office/drawing/2014/main" id="{9C84B1A6-ADB3-465D-B651-2B4F073AD8AB}"/>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7410628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8_Images &amp; Contents Layout">
    <p:spTree>
      <p:nvGrpSpPr>
        <p:cNvPr id="1" name=""/>
        <p:cNvGrpSpPr/>
        <p:nvPr/>
      </p:nvGrpSpPr>
      <p:grpSpPr>
        <a:xfrm>
          <a:off x="0" y="0"/>
          <a:ext cx="0" cy="0"/>
          <a:chOff x="0" y="0"/>
          <a:chExt cx="0" cy="0"/>
        </a:xfrm>
      </p:grpSpPr>
      <p:sp>
        <p:nvSpPr>
          <p:cNvPr id="14" name="Rectangle 13"/>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6" name="Picture Placeholder 15"/>
          <p:cNvSpPr>
            <a:spLocks noGrp="1"/>
          </p:cNvSpPr>
          <p:nvPr>
            <p:ph type="pic" sz="quarter" idx="10" hasCustomPrompt="1"/>
          </p:nvPr>
        </p:nvSpPr>
        <p:spPr>
          <a:xfrm>
            <a:off x="948984" y="1526647"/>
            <a:ext cx="4186909" cy="3014671"/>
          </a:xfrm>
          <a:prstGeom prst="rect">
            <a:avLst/>
          </a:prstGeom>
          <a:solidFill>
            <a:schemeClr val="bg1">
              <a:lumMod val="95000"/>
            </a:schemeClr>
          </a:solidFill>
        </p:spPr>
        <p:txBody>
          <a:bodyPr lIns="360000" tIns="360000" anchor="ctr"/>
          <a:lstStyle>
            <a:lvl1pPr marL="0" indent="0" algn="ctr">
              <a:buNone/>
              <a:defRPr sz="1200" baseline="0">
                <a:latin typeface="+mn-lt"/>
                <a:cs typeface="Arial" pitchFamily="34" charset="0"/>
              </a:defRPr>
            </a:lvl1pPr>
          </a:lstStyle>
          <a:p>
            <a:r>
              <a:rPr lang="en-US" altLang="ko-KR" dirty="0"/>
              <a:t>Insert Your Images</a:t>
            </a:r>
            <a:endParaRPr lang="ko-KR" altLang="en-US" dirty="0"/>
          </a:p>
        </p:txBody>
      </p:sp>
      <p:sp>
        <p:nvSpPr>
          <p:cNvPr id="22" name="Picture Placeholder 15"/>
          <p:cNvSpPr>
            <a:spLocks noGrp="1"/>
          </p:cNvSpPr>
          <p:nvPr>
            <p:ph type="pic" sz="quarter" idx="11" hasCustomPrompt="1"/>
          </p:nvPr>
        </p:nvSpPr>
        <p:spPr>
          <a:xfrm>
            <a:off x="7056108" y="1526647"/>
            <a:ext cx="4175763" cy="3014671"/>
          </a:xfrm>
          <a:prstGeom prst="rect">
            <a:avLst/>
          </a:prstGeom>
          <a:solidFill>
            <a:schemeClr val="bg1">
              <a:lumMod val="95000"/>
            </a:schemeClr>
          </a:solidFill>
        </p:spPr>
        <p:txBody>
          <a:bodyPr lIns="360000" tIns="360000" anchor="ctr"/>
          <a:lstStyle>
            <a:lvl1pPr marL="0" indent="0" algn="ctr">
              <a:buNone/>
              <a:defRPr sz="1200" baseline="0">
                <a:latin typeface="+mn-lt"/>
                <a:cs typeface="Arial" pitchFamily="34" charset="0"/>
              </a:defRPr>
            </a:lvl1pPr>
          </a:lstStyle>
          <a:p>
            <a:r>
              <a:rPr lang="en-US" altLang="ko-KR" dirty="0"/>
              <a:t>Insert Your Images</a:t>
            </a:r>
            <a:endParaRPr lang="ko-KR" altLang="en-US" dirty="0"/>
          </a:p>
        </p:txBody>
      </p:sp>
      <p:sp>
        <p:nvSpPr>
          <p:cNvPr id="13" name="제목 1">
            <a:extLst>
              <a:ext uri="{FF2B5EF4-FFF2-40B4-BE49-F238E27FC236}">
                <a16:creationId xmlns:a16="http://schemas.microsoft.com/office/drawing/2014/main" id="{0AAFB73F-6F54-464A-BD52-927273969518}"/>
              </a:ext>
            </a:extLst>
          </p:cNvPr>
          <p:cNvSpPr>
            <a:spLocks noGrp="1"/>
          </p:cNvSpPr>
          <p:nvPr>
            <p:ph type="title" hasCustomPrompt="1"/>
          </p:nvPr>
        </p:nvSpPr>
        <p:spPr>
          <a:xfrm>
            <a:off x="0" y="269852"/>
            <a:ext cx="12192000" cy="710877"/>
          </a:xfrm>
          <a:prstGeom prst="rect">
            <a:avLst/>
          </a:prstGeom>
        </p:spPr>
        <p:txBody>
          <a:bodyPr anchor="ctr">
            <a:noAutofit/>
          </a:bodyPr>
          <a:lstStyle>
            <a:lvl1pPr algn="ctr">
              <a:defRPr sz="48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spTree>
    <p:extLst>
      <p:ext uri="{BB962C8B-B14F-4D97-AF65-F5344CB8AC3E}">
        <p14:creationId xmlns:p14="http://schemas.microsoft.com/office/powerpoint/2010/main" val="33688806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0" y="3429000"/>
            <a:ext cx="6096000" cy="3429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0" y="0"/>
            <a:ext cx="6096000" cy="3429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Rectangle 3"/>
          <p:cNvSpPr/>
          <p:nvPr userDrawn="1"/>
        </p:nvSpPr>
        <p:spPr>
          <a:xfrm>
            <a:off x="609600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p>
        </p:txBody>
      </p:sp>
      <p:sp>
        <p:nvSpPr>
          <p:cNvPr id="5" name="Rectangle 4"/>
          <p:cNvSpPr/>
          <p:nvPr userDrawn="1"/>
        </p:nvSpPr>
        <p:spPr>
          <a:xfrm>
            <a:off x="7056000" y="766354"/>
            <a:ext cx="5136000" cy="6091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p>
        </p:txBody>
      </p:sp>
    </p:spTree>
    <p:extLst>
      <p:ext uri="{BB962C8B-B14F-4D97-AF65-F5344CB8AC3E}">
        <p14:creationId xmlns:p14="http://schemas.microsoft.com/office/powerpoint/2010/main" val="12606803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Images and Contents Layout">
    <p:spTree>
      <p:nvGrpSpPr>
        <p:cNvPr id="1" name=""/>
        <p:cNvGrpSpPr/>
        <p:nvPr/>
      </p:nvGrpSpPr>
      <p:grpSpPr>
        <a:xfrm>
          <a:off x="0" y="0"/>
          <a:ext cx="0" cy="0"/>
          <a:chOff x="0" y="0"/>
          <a:chExt cx="0" cy="0"/>
        </a:xfrm>
      </p:grpSpPr>
      <p:sp>
        <p:nvSpPr>
          <p:cNvPr id="6" name="Picture Placeholder 2"/>
          <p:cNvSpPr>
            <a:spLocks noGrp="1"/>
          </p:cNvSpPr>
          <p:nvPr>
            <p:ph type="pic" idx="18" hasCustomPrompt="1"/>
          </p:nvPr>
        </p:nvSpPr>
        <p:spPr>
          <a:xfrm>
            <a:off x="3681556" y="4363"/>
            <a:ext cx="3504000" cy="6858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9" hasCustomPrompt="1"/>
          </p:nvPr>
        </p:nvSpPr>
        <p:spPr>
          <a:xfrm>
            <a:off x="0" y="0"/>
            <a:ext cx="3504000" cy="3356992"/>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20" hasCustomPrompt="1"/>
          </p:nvPr>
        </p:nvSpPr>
        <p:spPr>
          <a:xfrm>
            <a:off x="0" y="3501008"/>
            <a:ext cx="3504000" cy="3356992"/>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grpSp>
        <p:nvGrpSpPr>
          <p:cNvPr id="9" name="그룹 8">
            <a:extLst>
              <a:ext uri="{FF2B5EF4-FFF2-40B4-BE49-F238E27FC236}">
                <a16:creationId xmlns:a16="http://schemas.microsoft.com/office/drawing/2014/main" id="{C5C9FD68-7835-4F80-BE0C-09C5D602A481}"/>
              </a:ext>
            </a:extLst>
          </p:cNvPr>
          <p:cNvGrpSpPr/>
          <p:nvPr userDrawn="1"/>
        </p:nvGrpSpPr>
        <p:grpSpPr>
          <a:xfrm rot="10800000">
            <a:off x="11114869" y="393901"/>
            <a:ext cx="720080" cy="720080"/>
            <a:chOff x="546346" y="5762189"/>
            <a:chExt cx="720080" cy="720080"/>
          </a:xfrm>
          <a:solidFill>
            <a:schemeClr val="accent1"/>
          </a:solidFill>
        </p:grpSpPr>
        <p:sp>
          <p:nvSpPr>
            <p:cNvPr id="10" name="직사각형 9">
              <a:extLst>
                <a:ext uri="{FF2B5EF4-FFF2-40B4-BE49-F238E27FC236}">
                  <a16:creationId xmlns:a16="http://schemas.microsoft.com/office/drawing/2014/main" id="{E16EA3C4-78F0-44A2-B310-C44774DC3C19}"/>
                </a:ext>
              </a:extLst>
            </p:cNvPr>
            <p:cNvSpPr/>
            <p:nvPr/>
          </p:nvSpPr>
          <p:spPr>
            <a:xfrm>
              <a:off x="546346" y="5762189"/>
              <a:ext cx="180000"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2EE6D61C-1E71-469D-A9B7-45E08AADB143}"/>
                </a:ext>
              </a:extLst>
            </p:cNvPr>
            <p:cNvSpPr/>
            <p:nvPr/>
          </p:nvSpPr>
          <p:spPr>
            <a:xfrm rot="5400000">
              <a:off x="906386" y="6122229"/>
              <a:ext cx="180000" cy="54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7741515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7_Images and Contents Layout">
    <p:spTree>
      <p:nvGrpSpPr>
        <p:cNvPr id="1" name=""/>
        <p:cNvGrpSpPr/>
        <p:nvPr/>
      </p:nvGrpSpPr>
      <p:grpSpPr>
        <a:xfrm>
          <a:off x="0" y="0"/>
          <a:ext cx="0" cy="0"/>
          <a:chOff x="0" y="0"/>
          <a:chExt cx="0" cy="0"/>
        </a:xfrm>
      </p:grpSpPr>
      <p:sp>
        <p:nvSpPr>
          <p:cNvPr id="5" name="Picture Placeholder 2"/>
          <p:cNvSpPr>
            <a:spLocks noGrp="1"/>
          </p:cNvSpPr>
          <p:nvPr>
            <p:ph type="pic" idx="11" hasCustomPrompt="1"/>
          </p:nvPr>
        </p:nvSpPr>
        <p:spPr>
          <a:xfrm>
            <a:off x="618000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2" hasCustomPrompt="1"/>
          </p:nvPr>
        </p:nvSpPr>
        <p:spPr>
          <a:xfrm>
            <a:off x="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3" hasCustomPrompt="1"/>
          </p:nvPr>
        </p:nvSpPr>
        <p:spPr>
          <a:xfrm>
            <a:off x="618000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14" hasCustomPrompt="1"/>
          </p:nvPr>
        </p:nvSpPr>
        <p:spPr>
          <a:xfrm>
            <a:off x="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2" name="Rectangle 1"/>
          <p:cNvSpPr/>
          <p:nvPr userDrawn="1"/>
        </p:nvSpPr>
        <p:spPr>
          <a:xfrm>
            <a:off x="226423" y="2528900"/>
            <a:ext cx="11739154" cy="1800200"/>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24420903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Section Break Layout">
    <p:bg>
      <p:bgPr>
        <a:solidFill>
          <a:schemeClr val="bg1"/>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0" y="2286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4063200" y="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Picture Placeholder 2"/>
          <p:cNvSpPr>
            <a:spLocks noGrp="1"/>
          </p:cNvSpPr>
          <p:nvPr>
            <p:ph type="pic" idx="11" hasCustomPrompt="1"/>
          </p:nvPr>
        </p:nvSpPr>
        <p:spPr>
          <a:xfrm>
            <a:off x="8126400" y="2286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Picture Placeholder 2"/>
          <p:cNvSpPr>
            <a:spLocks noGrp="1"/>
          </p:cNvSpPr>
          <p:nvPr>
            <p:ph type="pic" idx="12" hasCustomPrompt="1"/>
          </p:nvPr>
        </p:nvSpPr>
        <p:spPr>
          <a:xfrm>
            <a:off x="4063200" y="4572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Rectangle 5"/>
          <p:cNvSpPr/>
          <p:nvPr userDrawn="1"/>
        </p:nvSpPr>
        <p:spPr>
          <a:xfrm>
            <a:off x="4063200" y="2276872"/>
            <a:ext cx="4063200" cy="2304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9996878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9_Images &amp; Contents Layou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719402" y="539930"/>
            <a:ext cx="10728000" cy="41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dirty="0">
              <a:latin typeface="+mn-lt"/>
            </a:endParaRPr>
          </a:p>
        </p:txBody>
      </p:sp>
      <p:sp>
        <p:nvSpPr>
          <p:cNvPr id="3" name="Picture Placeholder 2"/>
          <p:cNvSpPr>
            <a:spLocks noGrp="1"/>
          </p:cNvSpPr>
          <p:nvPr>
            <p:ph type="pic" idx="11" hasCustomPrompt="1"/>
          </p:nvPr>
        </p:nvSpPr>
        <p:spPr>
          <a:xfrm>
            <a:off x="8827363" y="686435"/>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4" name="Picture Placeholder 2"/>
          <p:cNvSpPr>
            <a:spLocks noGrp="1"/>
          </p:cNvSpPr>
          <p:nvPr>
            <p:ph type="pic" idx="12" hasCustomPrompt="1"/>
          </p:nvPr>
        </p:nvSpPr>
        <p:spPr>
          <a:xfrm>
            <a:off x="6189682" y="2683988"/>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5" name="Picture Placeholder 2"/>
          <p:cNvSpPr>
            <a:spLocks noGrp="1"/>
          </p:cNvSpPr>
          <p:nvPr>
            <p:ph type="pic" idx="13" hasCustomPrompt="1"/>
          </p:nvPr>
        </p:nvSpPr>
        <p:spPr>
          <a:xfrm>
            <a:off x="912000" y="2683988"/>
            <a:ext cx="508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6" name="Picture Placeholder 2"/>
          <p:cNvSpPr>
            <a:spLocks noGrp="1"/>
          </p:cNvSpPr>
          <p:nvPr>
            <p:ph type="pic" idx="14" hasCustomPrompt="1"/>
          </p:nvPr>
        </p:nvSpPr>
        <p:spPr>
          <a:xfrm>
            <a:off x="8827363" y="2683988"/>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7" name="Picture Placeholder 2"/>
          <p:cNvSpPr>
            <a:spLocks noGrp="1"/>
          </p:cNvSpPr>
          <p:nvPr>
            <p:ph type="pic" idx="16" hasCustomPrompt="1"/>
          </p:nvPr>
        </p:nvSpPr>
        <p:spPr>
          <a:xfrm>
            <a:off x="3549682" y="686435"/>
            <a:ext cx="508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8" name="Picture Placeholder 2"/>
          <p:cNvSpPr>
            <a:spLocks noGrp="1"/>
          </p:cNvSpPr>
          <p:nvPr>
            <p:ph type="pic" idx="15" hasCustomPrompt="1"/>
          </p:nvPr>
        </p:nvSpPr>
        <p:spPr>
          <a:xfrm>
            <a:off x="912000" y="686435"/>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pic>
        <p:nvPicPr>
          <p:cNvPr id="15" name="Picture 3">
            <a:extLst>
              <a:ext uri="{FF2B5EF4-FFF2-40B4-BE49-F238E27FC236}">
                <a16:creationId xmlns:a16="http://schemas.microsoft.com/office/drawing/2014/main" id="{D52D9725-5E74-4328-843E-D6EDA8CEAF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16" name="Rectangle 8">
            <a:extLst>
              <a:ext uri="{FF2B5EF4-FFF2-40B4-BE49-F238E27FC236}">
                <a16:creationId xmlns:a16="http://schemas.microsoft.com/office/drawing/2014/main" id="{58CC9FFD-2DE0-441F-93AA-99A732D2BFA8}"/>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45725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Picture Placeholder 2"/>
          <p:cNvSpPr>
            <a:spLocks noGrp="1"/>
          </p:cNvSpPr>
          <p:nvPr>
            <p:ph type="pic" idx="14" hasCustomPrompt="1"/>
          </p:nvPr>
        </p:nvSpPr>
        <p:spPr>
          <a:xfrm>
            <a:off x="716828" y="3486206"/>
            <a:ext cx="6408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6" hasCustomPrompt="1"/>
          </p:nvPr>
        </p:nvSpPr>
        <p:spPr>
          <a:xfrm>
            <a:off x="9420597" y="3486206"/>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Picture Placeholder 2"/>
          <p:cNvSpPr>
            <a:spLocks noGrp="1"/>
          </p:cNvSpPr>
          <p:nvPr>
            <p:ph type="pic" idx="17" hasCustomPrompt="1"/>
          </p:nvPr>
        </p:nvSpPr>
        <p:spPr>
          <a:xfrm>
            <a:off x="9420597"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Picture Placeholder 2"/>
          <p:cNvSpPr>
            <a:spLocks noGrp="1"/>
          </p:cNvSpPr>
          <p:nvPr>
            <p:ph type="pic" idx="18" hasCustomPrompt="1"/>
          </p:nvPr>
        </p:nvSpPr>
        <p:spPr>
          <a:xfrm>
            <a:off x="716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9" hasCustomPrompt="1"/>
          </p:nvPr>
        </p:nvSpPr>
        <p:spPr>
          <a:xfrm>
            <a:off x="2894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20" hasCustomPrompt="1"/>
          </p:nvPr>
        </p:nvSpPr>
        <p:spPr>
          <a:xfrm>
            <a:off x="5072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Rectangle 7"/>
          <p:cNvSpPr/>
          <p:nvPr userDrawn="1"/>
        </p:nvSpPr>
        <p:spPr>
          <a:xfrm>
            <a:off x="7244655" y="1"/>
            <a:ext cx="2052000"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latin typeface="+mn-lt"/>
            </a:endParaRPr>
          </a:p>
        </p:txBody>
      </p:sp>
    </p:spTree>
    <p:extLst>
      <p:ext uri="{BB962C8B-B14F-4D97-AF65-F5344CB8AC3E}">
        <p14:creationId xmlns:p14="http://schemas.microsoft.com/office/powerpoint/2010/main" val="1768812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그림 개체 틀 2">
            <a:extLst>
              <a:ext uri="{FF2B5EF4-FFF2-40B4-BE49-F238E27FC236}">
                <a16:creationId xmlns:a16="http://schemas.microsoft.com/office/drawing/2014/main" id="{BBCFFAD4-9E7A-4DF6-B16B-DFEBD22106BA}"/>
              </a:ext>
            </a:extLst>
          </p:cNvPr>
          <p:cNvSpPr>
            <a:spLocks noGrp="1"/>
          </p:cNvSpPr>
          <p:nvPr>
            <p:ph type="pic" sz="quarter" idx="11" hasCustomPrompt="1"/>
          </p:nvPr>
        </p:nvSpPr>
        <p:spPr>
          <a:xfrm>
            <a:off x="3484228"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
        <p:nvSpPr>
          <p:cNvPr id="7" name="Rectangle 15">
            <a:extLst>
              <a:ext uri="{FF2B5EF4-FFF2-40B4-BE49-F238E27FC236}">
                <a16:creationId xmlns:a16="http://schemas.microsoft.com/office/drawing/2014/main" id="{AF0085D8-1383-4A9B-8F89-0CB7B767762F}"/>
              </a:ext>
            </a:extLst>
          </p:cNvPr>
          <p:cNvSpPr/>
          <p:nvPr userDrawn="1"/>
        </p:nvSpPr>
        <p:spPr>
          <a:xfrm>
            <a:off x="-1" y="1815714"/>
            <a:ext cx="3396343" cy="424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lumMod val="75000"/>
                  <a:lumOff val="25000"/>
                </a:schemeClr>
              </a:solidFill>
            </a:endParaRPr>
          </a:p>
        </p:txBody>
      </p:sp>
      <p:sp>
        <p:nvSpPr>
          <p:cNvPr id="8" name="그림 개체 틀 2">
            <a:extLst>
              <a:ext uri="{FF2B5EF4-FFF2-40B4-BE49-F238E27FC236}">
                <a16:creationId xmlns:a16="http://schemas.microsoft.com/office/drawing/2014/main" id="{1E639678-CC92-43F5-962A-57839CD7D95D}"/>
              </a:ext>
            </a:extLst>
          </p:cNvPr>
          <p:cNvSpPr>
            <a:spLocks noGrp="1"/>
          </p:cNvSpPr>
          <p:nvPr>
            <p:ph type="pic" sz="quarter" idx="12" hasCustomPrompt="1"/>
          </p:nvPr>
        </p:nvSpPr>
        <p:spPr>
          <a:xfrm>
            <a:off x="6416114"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
        <p:nvSpPr>
          <p:cNvPr id="10" name="그림 개체 틀 2">
            <a:extLst>
              <a:ext uri="{FF2B5EF4-FFF2-40B4-BE49-F238E27FC236}">
                <a16:creationId xmlns:a16="http://schemas.microsoft.com/office/drawing/2014/main" id="{13250D70-3F2E-4B11-A067-F0EB3806AA08}"/>
              </a:ext>
            </a:extLst>
          </p:cNvPr>
          <p:cNvSpPr>
            <a:spLocks noGrp="1"/>
          </p:cNvSpPr>
          <p:nvPr>
            <p:ph type="pic" sz="quarter" idx="13" hasCustomPrompt="1"/>
          </p:nvPr>
        </p:nvSpPr>
        <p:spPr>
          <a:xfrm>
            <a:off x="9348000"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40193573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IMAGE AND CONTENTS LAYOUT_27">
    <p:spTree>
      <p:nvGrpSpPr>
        <p:cNvPr id="1" name=""/>
        <p:cNvGrpSpPr/>
        <p:nvPr/>
      </p:nvGrpSpPr>
      <p:grpSpPr>
        <a:xfrm>
          <a:off x="0" y="0"/>
          <a:ext cx="0" cy="0"/>
          <a:chOff x="0" y="0"/>
          <a:chExt cx="0" cy="0"/>
        </a:xfrm>
      </p:grpSpPr>
      <p:sp>
        <p:nvSpPr>
          <p:cNvPr id="7" name="Rectangle 6"/>
          <p:cNvSpPr/>
          <p:nvPr userDrawn="1"/>
        </p:nvSpPr>
        <p:spPr>
          <a:xfrm>
            <a:off x="6093413" y="-1"/>
            <a:ext cx="6096001"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그림 개체 틀 2"/>
          <p:cNvSpPr>
            <a:spLocks noGrp="1"/>
          </p:cNvSpPr>
          <p:nvPr>
            <p:ph type="pic" sz="quarter" idx="46" hasCustomPrompt="1"/>
          </p:nvPr>
        </p:nvSpPr>
        <p:spPr>
          <a:xfrm>
            <a:off x="4533269" y="1150261"/>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2" name="그림 개체 틀 2"/>
          <p:cNvSpPr>
            <a:spLocks noGrp="1"/>
          </p:cNvSpPr>
          <p:nvPr>
            <p:ph type="pic" sz="quarter" idx="61" hasCustomPrompt="1"/>
          </p:nvPr>
        </p:nvSpPr>
        <p:spPr>
          <a:xfrm>
            <a:off x="4533269" y="4561207"/>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5" name="그림 개체 틀 2"/>
          <p:cNvSpPr>
            <a:spLocks noGrp="1"/>
          </p:cNvSpPr>
          <p:nvPr>
            <p:ph type="pic" sz="quarter" idx="63" hasCustomPrompt="1"/>
          </p:nvPr>
        </p:nvSpPr>
        <p:spPr>
          <a:xfrm>
            <a:off x="2883891" y="551019"/>
            <a:ext cx="1548000" cy="234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7" name="그림 개체 틀 2"/>
          <p:cNvSpPr>
            <a:spLocks noGrp="1"/>
          </p:cNvSpPr>
          <p:nvPr>
            <p:ph type="pic" sz="quarter" idx="64" hasCustomPrompt="1"/>
          </p:nvPr>
        </p:nvSpPr>
        <p:spPr>
          <a:xfrm>
            <a:off x="2883891" y="3012492"/>
            <a:ext cx="1548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8" name="그림 개체 틀 2"/>
          <p:cNvSpPr>
            <a:spLocks noGrp="1"/>
          </p:cNvSpPr>
          <p:nvPr>
            <p:ph type="pic" sz="quarter" idx="65" hasCustomPrompt="1"/>
          </p:nvPr>
        </p:nvSpPr>
        <p:spPr>
          <a:xfrm>
            <a:off x="0" y="2321756"/>
            <a:ext cx="2772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0" name="그림 개체 틀 2"/>
          <p:cNvSpPr>
            <a:spLocks noGrp="1"/>
          </p:cNvSpPr>
          <p:nvPr>
            <p:ph type="pic" sz="quarter" idx="66" hasCustomPrompt="1"/>
          </p:nvPr>
        </p:nvSpPr>
        <p:spPr>
          <a:xfrm>
            <a:off x="2890419" y="4393964"/>
            <a:ext cx="1548000" cy="194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1" name="그림 개체 틀 2"/>
          <p:cNvSpPr>
            <a:spLocks noGrp="1"/>
          </p:cNvSpPr>
          <p:nvPr>
            <p:ph type="pic" sz="quarter" idx="67" hasCustomPrompt="1"/>
          </p:nvPr>
        </p:nvSpPr>
        <p:spPr>
          <a:xfrm>
            <a:off x="4533269" y="2855734"/>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2" name="그림 개체 틀 2"/>
          <p:cNvSpPr>
            <a:spLocks noGrp="1"/>
          </p:cNvSpPr>
          <p:nvPr>
            <p:ph type="pic" sz="quarter" idx="68" hasCustomPrompt="1"/>
          </p:nvPr>
        </p:nvSpPr>
        <p:spPr>
          <a:xfrm>
            <a:off x="0" y="3703228"/>
            <a:ext cx="2772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grpSp>
        <p:nvGrpSpPr>
          <p:cNvPr id="16" name="그룹 15">
            <a:extLst>
              <a:ext uri="{FF2B5EF4-FFF2-40B4-BE49-F238E27FC236}">
                <a16:creationId xmlns:a16="http://schemas.microsoft.com/office/drawing/2014/main" id="{682DF790-5B61-453C-8A68-DE24F826568C}"/>
              </a:ext>
            </a:extLst>
          </p:cNvPr>
          <p:cNvGrpSpPr/>
          <p:nvPr userDrawn="1"/>
        </p:nvGrpSpPr>
        <p:grpSpPr>
          <a:xfrm rot="16200000">
            <a:off x="11112593" y="5798497"/>
            <a:ext cx="720080" cy="720080"/>
            <a:chOff x="546346" y="5762189"/>
            <a:chExt cx="720080" cy="720080"/>
          </a:xfrm>
        </p:grpSpPr>
        <p:sp>
          <p:nvSpPr>
            <p:cNvPr id="19" name="직사각형 18">
              <a:extLst>
                <a:ext uri="{FF2B5EF4-FFF2-40B4-BE49-F238E27FC236}">
                  <a16:creationId xmlns:a16="http://schemas.microsoft.com/office/drawing/2014/main" id="{B103BBEB-185D-4042-834B-B0F785AAD3C1}"/>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직사각형 22">
              <a:extLst>
                <a:ext uri="{FF2B5EF4-FFF2-40B4-BE49-F238E27FC236}">
                  <a16:creationId xmlns:a16="http://schemas.microsoft.com/office/drawing/2014/main" id="{65FCF08F-D939-4B33-B561-5EED914B3C5F}"/>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9090234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1_Images and Contents Layout">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A2A84B4A-CEB2-40FB-A02E-8EB2AF478368}"/>
              </a:ext>
            </a:extLst>
          </p:cNvPr>
          <p:cNvGrpSpPr/>
          <p:nvPr userDrawn="1"/>
        </p:nvGrpSpPr>
        <p:grpSpPr>
          <a:xfrm>
            <a:off x="6473211" y="529630"/>
            <a:ext cx="5760640" cy="2937987"/>
            <a:chOff x="-612576" y="1705002"/>
            <a:chExt cx="5688632" cy="2537858"/>
          </a:xfrm>
        </p:grpSpPr>
        <p:sp>
          <p:nvSpPr>
            <p:cNvPr id="13" name="Oval 5">
              <a:extLst>
                <a:ext uri="{FF2B5EF4-FFF2-40B4-BE49-F238E27FC236}">
                  <a16:creationId xmlns:a16="http://schemas.microsoft.com/office/drawing/2014/main" id="{F8CA4E56-5CF0-4C8C-A69B-FEC333052C4C}"/>
                </a:ext>
              </a:extLst>
            </p:cNvPr>
            <p:cNvSpPr/>
            <p:nvPr userDrawn="1"/>
          </p:nvSpPr>
          <p:spPr>
            <a:xfrm>
              <a:off x="-612576" y="3738804"/>
              <a:ext cx="5688632" cy="504056"/>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pic>
          <p:nvPicPr>
            <p:cNvPr id="19" name="Picture 2" descr="E:\002-KIMS BUSINESS\000-B-KIMS-소스 분류-2014\00-kims-작업건별-재료모음\002-일러-모니터-모바일-타블렛\laptop-01.png">
              <a:extLst>
                <a:ext uri="{FF2B5EF4-FFF2-40B4-BE49-F238E27FC236}">
                  <a16:creationId xmlns:a16="http://schemas.microsoft.com/office/drawing/2014/main" id="{DBFF776C-2C37-432F-8D95-5002FD9DE65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58" y="1705002"/>
              <a:ext cx="4456634" cy="2516513"/>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Picture Placeholder 2">
            <a:extLst>
              <a:ext uri="{FF2B5EF4-FFF2-40B4-BE49-F238E27FC236}">
                <a16:creationId xmlns:a16="http://schemas.microsoft.com/office/drawing/2014/main" id="{07A15BD4-6D7E-4517-BDED-81FD478CEDAB}"/>
              </a:ext>
            </a:extLst>
          </p:cNvPr>
          <p:cNvSpPr>
            <a:spLocks noGrp="1"/>
          </p:cNvSpPr>
          <p:nvPr>
            <p:ph type="pic" idx="1" hasCustomPrompt="1"/>
          </p:nvPr>
        </p:nvSpPr>
        <p:spPr>
          <a:xfrm>
            <a:off x="8035116" y="898584"/>
            <a:ext cx="2736304" cy="20370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grpSp>
        <p:nvGrpSpPr>
          <p:cNvPr id="21" name="Group 14">
            <a:extLst>
              <a:ext uri="{FF2B5EF4-FFF2-40B4-BE49-F238E27FC236}">
                <a16:creationId xmlns:a16="http://schemas.microsoft.com/office/drawing/2014/main" id="{FB0AFAFC-8EB9-4974-915A-249E7E1C57A2}"/>
              </a:ext>
            </a:extLst>
          </p:cNvPr>
          <p:cNvGrpSpPr/>
          <p:nvPr userDrawn="1"/>
        </p:nvGrpSpPr>
        <p:grpSpPr>
          <a:xfrm>
            <a:off x="6473211" y="3363597"/>
            <a:ext cx="5760640" cy="2937987"/>
            <a:chOff x="-612576" y="1705002"/>
            <a:chExt cx="5688632" cy="2537858"/>
          </a:xfrm>
        </p:grpSpPr>
        <p:sp>
          <p:nvSpPr>
            <p:cNvPr id="22" name="Oval 15">
              <a:extLst>
                <a:ext uri="{FF2B5EF4-FFF2-40B4-BE49-F238E27FC236}">
                  <a16:creationId xmlns:a16="http://schemas.microsoft.com/office/drawing/2014/main" id="{59FEB9C5-5FA6-4880-B618-058738C37AD1}"/>
                </a:ext>
              </a:extLst>
            </p:cNvPr>
            <p:cNvSpPr/>
            <p:nvPr userDrawn="1"/>
          </p:nvSpPr>
          <p:spPr>
            <a:xfrm>
              <a:off x="-612576" y="3738804"/>
              <a:ext cx="5688632" cy="504056"/>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pic>
          <p:nvPicPr>
            <p:cNvPr id="23" name="Picture 2" descr="E:\002-KIMS BUSINESS\000-B-KIMS-소스 분류-2014\00-kims-작업건별-재료모음\002-일러-모니터-모바일-타블렛\laptop-01.png">
              <a:extLst>
                <a:ext uri="{FF2B5EF4-FFF2-40B4-BE49-F238E27FC236}">
                  <a16:creationId xmlns:a16="http://schemas.microsoft.com/office/drawing/2014/main" id="{3B06E91A-2C0E-4BB0-889E-F881F2C268A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58" y="1705002"/>
              <a:ext cx="4456634" cy="2516513"/>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Picture Placeholder 2">
            <a:extLst>
              <a:ext uri="{FF2B5EF4-FFF2-40B4-BE49-F238E27FC236}">
                <a16:creationId xmlns:a16="http://schemas.microsoft.com/office/drawing/2014/main" id="{CDA76C3D-8C5A-4664-AF41-B36993816A44}"/>
              </a:ext>
            </a:extLst>
          </p:cNvPr>
          <p:cNvSpPr>
            <a:spLocks noGrp="1"/>
          </p:cNvSpPr>
          <p:nvPr>
            <p:ph type="pic" idx="10" hasCustomPrompt="1"/>
          </p:nvPr>
        </p:nvSpPr>
        <p:spPr>
          <a:xfrm>
            <a:off x="8035116" y="3732551"/>
            <a:ext cx="2736304" cy="20370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14" name="Rectangle 8">
            <a:extLst>
              <a:ext uri="{FF2B5EF4-FFF2-40B4-BE49-F238E27FC236}">
                <a16:creationId xmlns:a16="http://schemas.microsoft.com/office/drawing/2014/main" id="{EB011BE6-AEC5-4748-9F4F-9C4C17AEF0FA}"/>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8">
            <a:extLst>
              <a:ext uri="{FF2B5EF4-FFF2-40B4-BE49-F238E27FC236}">
                <a16:creationId xmlns:a16="http://schemas.microsoft.com/office/drawing/2014/main" id="{E3FD5E11-19FF-42C9-8A8B-E2092EA988AD}"/>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8812911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8"/>
            <a:ext cx="11573197" cy="724247"/>
          </a:xfrm>
          <a:prstGeom prst="rect">
            <a:avLst/>
          </a:prstGeom>
        </p:spPr>
        <p:txBody>
          <a:bodyPr anchor="ctr"/>
          <a:lstStyle>
            <a:lvl1pPr marL="0" indent="0" algn="ctr">
              <a:buNone/>
              <a:defRPr sz="5400" b="0" baseline="0">
                <a:solidFill>
                  <a:schemeClr val="tx1">
                    <a:lumMod val="65000"/>
                    <a:lumOff val="35000"/>
                  </a:schemeClr>
                </a:solidFill>
                <a:latin typeface="+mj-lt"/>
                <a:cs typeface="Arial" pitchFamily="34" charset="0"/>
              </a:defRPr>
            </a:lvl1pPr>
          </a:lstStyle>
          <a:p>
            <a:pPr lvl="0"/>
            <a:r>
              <a:rPr lang="en-US" altLang="ko-KR" dirty="0"/>
              <a:t>PNG LAYOUT</a:t>
            </a:r>
          </a:p>
        </p:txBody>
      </p:sp>
    </p:spTree>
    <p:extLst>
      <p:ext uri="{BB962C8B-B14F-4D97-AF65-F5344CB8AC3E}">
        <p14:creationId xmlns:p14="http://schemas.microsoft.com/office/powerpoint/2010/main" val="30604074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8"/>
            <a:ext cx="11573197" cy="724247"/>
          </a:xfrm>
          <a:prstGeom prst="rect">
            <a:avLst/>
          </a:prstGeom>
        </p:spPr>
        <p:txBody>
          <a:bodyPr anchor="ctr"/>
          <a:lstStyle>
            <a:lvl1pPr marL="0" indent="0" algn="ctr">
              <a:buNone/>
              <a:defRPr sz="5400" b="0" baseline="0">
                <a:solidFill>
                  <a:schemeClr val="tx1">
                    <a:lumMod val="65000"/>
                    <a:lumOff val="35000"/>
                  </a:schemeClr>
                </a:solidFill>
                <a:latin typeface="+mj-lt"/>
                <a:cs typeface="Arial" pitchFamily="34" charset="0"/>
              </a:defRPr>
            </a:lvl1pPr>
          </a:lstStyle>
          <a:p>
            <a:pPr lvl="0"/>
            <a:r>
              <a:rPr lang="en-US" altLang="ko-KR" dirty="0"/>
              <a:t>BASIC LAYOUT</a:t>
            </a:r>
          </a:p>
        </p:txBody>
      </p:sp>
      <p:sp>
        <p:nvSpPr>
          <p:cNvPr id="3" name="Rounded Rectangle 2"/>
          <p:cNvSpPr/>
          <p:nvPr userDrawn="1"/>
        </p:nvSpPr>
        <p:spPr>
          <a:xfrm>
            <a:off x="354009" y="1131590"/>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6"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3"/>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2"/>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450323"/>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28655756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Rectangle 7"/>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0"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11"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77851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Rectangle 11"/>
          <p:cNvSpPr/>
          <p:nvPr userDrawn="1"/>
        </p:nvSpPr>
        <p:spPr>
          <a:xfrm>
            <a:off x="3599723" y="2468894"/>
            <a:ext cx="8592277" cy="1920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dirty="0"/>
          </a:p>
        </p:txBody>
      </p:sp>
      <p:sp>
        <p:nvSpPr>
          <p:cNvPr id="6" name="Rectangle 5"/>
          <p:cNvSpPr/>
          <p:nvPr userDrawn="1"/>
        </p:nvSpPr>
        <p:spPr>
          <a:xfrm>
            <a:off x="1" y="0"/>
            <a:ext cx="2159561" cy="6858000"/>
          </a:xfrm>
          <a:prstGeom prst="rect">
            <a:avLst/>
          </a:prstGeom>
          <a:gradFill>
            <a:gsLst>
              <a:gs pos="42000">
                <a:srgbClr val="F6F6F6">
                  <a:lumMod val="97000"/>
                </a:srgbClr>
              </a:gs>
              <a:gs pos="0">
                <a:schemeClr val="bg1">
                  <a:lumMod val="92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dirty="0"/>
          </a:p>
        </p:txBody>
      </p:sp>
      <p:cxnSp>
        <p:nvCxnSpPr>
          <p:cNvPr id="9" name="Straight Arrow Connector 8"/>
          <p:cNvCxnSpPr>
            <a:stCxn id="7" idx="2"/>
          </p:cNvCxnSpPr>
          <p:nvPr userDrawn="1"/>
        </p:nvCxnSpPr>
        <p:spPr>
          <a:xfrm>
            <a:off x="948995" y="6602899"/>
            <a:ext cx="11243005" cy="0"/>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2" name="제목 1"/>
          <p:cNvSpPr>
            <a:spLocks noGrp="1"/>
          </p:cNvSpPr>
          <p:nvPr>
            <p:ph type="title" hasCustomPrompt="1"/>
          </p:nvPr>
        </p:nvSpPr>
        <p:spPr>
          <a:xfrm>
            <a:off x="4175787" y="2977903"/>
            <a:ext cx="7296811" cy="533308"/>
          </a:xfrm>
          <a:prstGeom prst="rect">
            <a:avLst/>
          </a:prstGeom>
        </p:spPr>
        <p:txBody>
          <a:bodyPr anchor="ctr">
            <a:noAutofit/>
          </a:bodyPr>
          <a:lstStyle>
            <a:lvl1pPr algn="l">
              <a:defRPr sz="4800" b="1" baseline="0">
                <a:solidFill>
                  <a:schemeClr val="bg1"/>
                </a:solidFill>
                <a:effectLst/>
                <a:latin typeface="+mj-lt"/>
                <a:cs typeface="Arial" pitchFamily="34" charset="0"/>
              </a:defRPr>
            </a:lvl1pPr>
          </a:lstStyle>
          <a:p>
            <a:r>
              <a:rPr lang="en-US" altLang="ko-KR" dirty="0"/>
              <a:t>SECTION BREAK</a:t>
            </a:r>
            <a:endParaRPr lang="ko-KR" altLang="en-US" dirty="0"/>
          </a:p>
        </p:txBody>
      </p:sp>
      <p:sp>
        <p:nvSpPr>
          <p:cNvPr id="3" name="Text Placeholder 9"/>
          <p:cNvSpPr>
            <a:spLocks noGrp="1"/>
          </p:cNvSpPr>
          <p:nvPr>
            <p:ph type="body" sz="quarter" idx="10" hasCustomPrompt="1"/>
          </p:nvPr>
        </p:nvSpPr>
        <p:spPr>
          <a:xfrm>
            <a:off x="4175787" y="3578447"/>
            <a:ext cx="7296811" cy="263475"/>
          </a:xfrm>
          <a:prstGeom prst="rect">
            <a:avLst/>
          </a:prstGeom>
        </p:spPr>
        <p:txBody>
          <a:bodyPr lIns="108000" anchor="ctr"/>
          <a:lstStyle>
            <a:lvl1pPr marL="0" indent="0" algn="l">
              <a:buNone/>
              <a:defRPr sz="1600" baseline="0">
                <a:solidFill>
                  <a:schemeClr val="bg1"/>
                </a:solidFill>
                <a:effectLst/>
                <a:latin typeface="+mn-lt"/>
                <a:cs typeface="Arial" pitchFamily="34" charset="0"/>
              </a:defRPr>
            </a:lvl1pPr>
          </a:lstStyle>
          <a:p>
            <a:pPr lvl="0"/>
            <a:r>
              <a:rPr lang="en-US" altLang="ko-KR" dirty="0"/>
              <a:t>Add text</a:t>
            </a:r>
            <a:endParaRPr lang="ko-KR" altLang="en-US" dirty="0"/>
          </a:p>
        </p:txBody>
      </p:sp>
      <p:pic>
        <p:nvPicPr>
          <p:cNvPr id="7"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4027" y="4442899"/>
            <a:ext cx="1449935" cy="216000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p:cNvCxnSpPr/>
          <p:nvPr userDrawn="1"/>
        </p:nvCxnSpPr>
        <p:spPr>
          <a:xfrm>
            <a:off x="1" y="260648"/>
            <a:ext cx="12191999" cy="0"/>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5988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3">
            <a:extLst>
              <a:ext uri="{FF2B5EF4-FFF2-40B4-BE49-F238E27FC236}">
                <a16:creationId xmlns:a16="http://schemas.microsoft.com/office/drawing/2014/main" id="{4997D227-4D92-4BB8-AFE5-3132D611D55B}"/>
              </a:ext>
            </a:extLst>
          </p:cNvPr>
          <p:cNvSpPr/>
          <p:nvPr userDrawn="1"/>
        </p:nvSpPr>
        <p:spPr>
          <a:xfrm>
            <a:off x="737687" y="1775623"/>
            <a:ext cx="3157167" cy="429178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7" name="그림 개체 틀 2">
            <a:extLst>
              <a:ext uri="{FF2B5EF4-FFF2-40B4-BE49-F238E27FC236}">
                <a16:creationId xmlns:a16="http://schemas.microsoft.com/office/drawing/2014/main" id="{CC229ECE-562F-4B43-9E46-3141C8F8D359}"/>
              </a:ext>
            </a:extLst>
          </p:cNvPr>
          <p:cNvSpPr>
            <a:spLocks noGrp="1"/>
          </p:cNvSpPr>
          <p:nvPr>
            <p:ph type="pic" sz="quarter" idx="14" hasCustomPrompt="1"/>
          </p:nvPr>
        </p:nvSpPr>
        <p:spPr>
          <a:xfrm>
            <a:off x="833698"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8" name="Rectangle 41">
            <a:extLst>
              <a:ext uri="{FF2B5EF4-FFF2-40B4-BE49-F238E27FC236}">
                <a16:creationId xmlns:a16="http://schemas.microsoft.com/office/drawing/2014/main" id="{8FFFAA17-0A28-451C-9F46-C90BFDBF9D33}"/>
              </a:ext>
            </a:extLst>
          </p:cNvPr>
          <p:cNvSpPr/>
          <p:nvPr userDrawn="1"/>
        </p:nvSpPr>
        <p:spPr>
          <a:xfrm>
            <a:off x="4514882" y="1775623"/>
            <a:ext cx="3157167" cy="4291783"/>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10" name="그림 개체 틀 2">
            <a:extLst>
              <a:ext uri="{FF2B5EF4-FFF2-40B4-BE49-F238E27FC236}">
                <a16:creationId xmlns:a16="http://schemas.microsoft.com/office/drawing/2014/main" id="{CFB0E704-31DD-46CF-BF65-8E73DB15AFBD}"/>
              </a:ext>
            </a:extLst>
          </p:cNvPr>
          <p:cNvSpPr>
            <a:spLocks noGrp="1"/>
          </p:cNvSpPr>
          <p:nvPr>
            <p:ph type="pic" sz="quarter" idx="56" hasCustomPrompt="1"/>
          </p:nvPr>
        </p:nvSpPr>
        <p:spPr>
          <a:xfrm>
            <a:off x="4610893"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1" name="Rectangle 47">
            <a:extLst>
              <a:ext uri="{FF2B5EF4-FFF2-40B4-BE49-F238E27FC236}">
                <a16:creationId xmlns:a16="http://schemas.microsoft.com/office/drawing/2014/main" id="{53475C43-50D4-4A83-B856-C382198C38DE}"/>
              </a:ext>
            </a:extLst>
          </p:cNvPr>
          <p:cNvSpPr/>
          <p:nvPr userDrawn="1"/>
        </p:nvSpPr>
        <p:spPr>
          <a:xfrm>
            <a:off x="8292077" y="1775623"/>
            <a:ext cx="3157167" cy="4291783"/>
          </a:xfrm>
          <a:prstGeom prst="rect">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12" name="그림 개체 틀 2">
            <a:extLst>
              <a:ext uri="{FF2B5EF4-FFF2-40B4-BE49-F238E27FC236}">
                <a16:creationId xmlns:a16="http://schemas.microsoft.com/office/drawing/2014/main" id="{92A4E35F-20A3-4C70-AC33-E2229FCFCB1F}"/>
              </a:ext>
            </a:extLst>
          </p:cNvPr>
          <p:cNvSpPr>
            <a:spLocks noGrp="1"/>
          </p:cNvSpPr>
          <p:nvPr>
            <p:ph type="pic" sz="quarter" idx="61" hasCustomPrompt="1"/>
          </p:nvPr>
        </p:nvSpPr>
        <p:spPr>
          <a:xfrm>
            <a:off x="8388088"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grpSp>
        <p:nvGrpSpPr>
          <p:cNvPr id="13" name="그룹 12">
            <a:extLst>
              <a:ext uri="{FF2B5EF4-FFF2-40B4-BE49-F238E27FC236}">
                <a16:creationId xmlns:a16="http://schemas.microsoft.com/office/drawing/2014/main" id="{036AF433-7ED9-4820-BD29-19A4B7AE53A2}"/>
              </a:ext>
            </a:extLst>
          </p:cNvPr>
          <p:cNvGrpSpPr/>
          <p:nvPr userDrawn="1"/>
        </p:nvGrpSpPr>
        <p:grpSpPr>
          <a:xfrm rot="16200000">
            <a:off x="10824756" y="5425593"/>
            <a:ext cx="482656" cy="482656"/>
            <a:chOff x="546346" y="5762189"/>
            <a:chExt cx="720080" cy="720080"/>
          </a:xfrm>
        </p:grpSpPr>
        <p:sp>
          <p:nvSpPr>
            <p:cNvPr id="14" name="직사각형 13">
              <a:extLst>
                <a:ext uri="{FF2B5EF4-FFF2-40B4-BE49-F238E27FC236}">
                  <a16:creationId xmlns:a16="http://schemas.microsoft.com/office/drawing/2014/main" id="{896FEB06-708E-4843-94A0-11B69EABDA35}"/>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a:extLst>
                <a:ext uri="{FF2B5EF4-FFF2-40B4-BE49-F238E27FC236}">
                  <a16:creationId xmlns:a16="http://schemas.microsoft.com/office/drawing/2014/main" id="{C2111B28-566B-4DD6-93D8-94C0C603E5DF}"/>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6" name="그룹 15">
            <a:extLst>
              <a:ext uri="{FF2B5EF4-FFF2-40B4-BE49-F238E27FC236}">
                <a16:creationId xmlns:a16="http://schemas.microsoft.com/office/drawing/2014/main" id="{1388EA2A-5A30-4DFD-AFED-328CD6C647DC}"/>
              </a:ext>
            </a:extLst>
          </p:cNvPr>
          <p:cNvGrpSpPr/>
          <p:nvPr userDrawn="1"/>
        </p:nvGrpSpPr>
        <p:grpSpPr>
          <a:xfrm rot="16200000">
            <a:off x="7040969" y="5425593"/>
            <a:ext cx="482656" cy="482656"/>
            <a:chOff x="546346" y="5762189"/>
            <a:chExt cx="720080" cy="720080"/>
          </a:xfrm>
        </p:grpSpPr>
        <p:sp>
          <p:nvSpPr>
            <p:cNvPr id="17" name="직사각형 16">
              <a:extLst>
                <a:ext uri="{FF2B5EF4-FFF2-40B4-BE49-F238E27FC236}">
                  <a16:creationId xmlns:a16="http://schemas.microsoft.com/office/drawing/2014/main" id="{F05D2727-C757-4276-8EDE-58574302BFF0}"/>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a:extLst>
                <a:ext uri="{FF2B5EF4-FFF2-40B4-BE49-F238E27FC236}">
                  <a16:creationId xmlns:a16="http://schemas.microsoft.com/office/drawing/2014/main" id="{2F104568-55BB-4691-BFF4-A45B904A1493}"/>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9" name="그룹 18">
            <a:extLst>
              <a:ext uri="{FF2B5EF4-FFF2-40B4-BE49-F238E27FC236}">
                <a16:creationId xmlns:a16="http://schemas.microsoft.com/office/drawing/2014/main" id="{06CC5C30-056D-4947-912F-9EBAC19142BC}"/>
              </a:ext>
            </a:extLst>
          </p:cNvPr>
          <p:cNvGrpSpPr/>
          <p:nvPr userDrawn="1"/>
        </p:nvGrpSpPr>
        <p:grpSpPr>
          <a:xfrm rot="16200000">
            <a:off x="3257182" y="5425593"/>
            <a:ext cx="482656" cy="482656"/>
            <a:chOff x="546346" y="5762189"/>
            <a:chExt cx="720080" cy="720080"/>
          </a:xfrm>
        </p:grpSpPr>
        <p:sp>
          <p:nvSpPr>
            <p:cNvPr id="20" name="직사각형 19">
              <a:extLst>
                <a:ext uri="{FF2B5EF4-FFF2-40B4-BE49-F238E27FC236}">
                  <a16:creationId xmlns:a16="http://schemas.microsoft.com/office/drawing/2014/main" id="{ABC97373-A817-48C5-BF1D-1D0B9C615E56}"/>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직사각형 20">
              <a:extLst>
                <a:ext uri="{FF2B5EF4-FFF2-40B4-BE49-F238E27FC236}">
                  <a16:creationId xmlns:a16="http://schemas.microsoft.com/office/drawing/2014/main" id="{947CD5E5-4814-4F42-851C-7E42B7CBCF31}"/>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529665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MAGE AND CONTENTS LAYOUT_22">
    <p:spTree>
      <p:nvGrpSpPr>
        <p:cNvPr id="1" name=""/>
        <p:cNvGrpSpPr/>
        <p:nvPr/>
      </p:nvGrpSpPr>
      <p:grpSpPr>
        <a:xfrm>
          <a:off x="0" y="0"/>
          <a:ext cx="0" cy="0"/>
          <a:chOff x="0" y="0"/>
          <a:chExt cx="0" cy="0"/>
        </a:xfrm>
      </p:grpSpPr>
      <p:sp>
        <p:nvSpPr>
          <p:cNvPr id="10" name="Rectangle 9"/>
          <p:cNvSpPr/>
          <p:nvPr userDrawn="1"/>
        </p:nvSpPr>
        <p:spPr>
          <a:xfrm>
            <a:off x="-1" y="-1"/>
            <a:ext cx="577378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그림 개체 틀 2"/>
          <p:cNvSpPr>
            <a:spLocks noGrp="1"/>
          </p:cNvSpPr>
          <p:nvPr>
            <p:ph type="pic" sz="quarter" idx="46" hasCustomPrompt="1"/>
          </p:nvPr>
        </p:nvSpPr>
        <p:spPr>
          <a:xfrm>
            <a:off x="5773782" y="0"/>
            <a:ext cx="6418217" cy="6858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grpSp>
        <p:nvGrpSpPr>
          <p:cNvPr id="4" name="그룹 3">
            <a:extLst>
              <a:ext uri="{FF2B5EF4-FFF2-40B4-BE49-F238E27FC236}">
                <a16:creationId xmlns:a16="http://schemas.microsoft.com/office/drawing/2014/main" id="{DDCCFA14-78AF-484A-B03D-5DB9A526DD68}"/>
              </a:ext>
            </a:extLst>
          </p:cNvPr>
          <p:cNvGrpSpPr/>
          <p:nvPr userDrawn="1"/>
        </p:nvGrpSpPr>
        <p:grpSpPr>
          <a:xfrm rot="10800000">
            <a:off x="4421055" y="393901"/>
            <a:ext cx="720080" cy="720080"/>
            <a:chOff x="546346" y="5762189"/>
            <a:chExt cx="720080" cy="720080"/>
          </a:xfrm>
        </p:grpSpPr>
        <p:sp>
          <p:nvSpPr>
            <p:cNvPr id="5" name="직사각형 4">
              <a:extLst>
                <a:ext uri="{FF2B5EF4-FFF2-40B4-BE49-F238E27FC236}">
                  <a16:creationId xmlns:a16="http://schemas.microsoft.com/office/drawing/2014/main" id="{B76B0EC3-E080-4BA9-82DD-875CE375664B}"/>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직사각형 5">
              <a:extLst>
                <a:ext uri="{FF2B5EF4-FFF2-40B4-BE49-F238E27FC236}">
                  <a16:creationId xmlns:a16="http://schemas.microsoft.com/office/drawing/2014/main" id="{1BE3A08B-D0A8-4636-B024-860C87DFA350}"/>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7" name="그룹 6">
            <a:extLst>
              <a:ext uri="{FF2B5EF4-FFF2-40B4-BE49-F238E27FC236}">
                <a16:creationId xmlns:a16="http://schemas.microsoft.com/office/drawing/2014/main" id="{F53B918C-F2E3-458F-9073-6D6E6D7F58A6}"/>
              </a:ext>
            </a:extLst>
          </p:cNvPr>
          <p:cNvGrpSpPr/>
          <p:nvPr userDrawn="1"/>
        </p:nvGrpSpPr>
        <p:grpSpPr>
          <a:xfrm>
            <a:off x="546346" y="5762189"/>
            <a:ext cx="720080" cy="720080"/>
            <a:chOff x="546346" y="5762189"/>
            <a:chExt cx="720080" cy="720080"/>
          </a:xfrm>
        </p:grpSpPr>
        <p:sp>
          <p:nvSpPr>
            <p:cNvPr id="8" name="직사각형 7">
              <a:extLst>
                <a:ext uri="{FF2B5EF4-FFF2-40B4-BE49-F238E27FC236}">
                  <a16:creationId xmlns:a16="http://schemas.microsoft.com/office/drawing/2014/main" id="{AABB30E9-0DAA-4772-8CC5-A6FEC253E5AF}"/>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541DDE2A-7C54-4715-8C70-DAACF06648DA}"/>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88413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2.png"/><Relationship Id="rId3" Type="http://schemas.openxmlformats.org/officeDocument/2006/relationships/slideLayout" Target="../slideLayouts/slideLayout29.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1.emf"/><Relationship Id="rId2" Type="http://schemas.openxmlformats.org/officeDocument/2006/relationships/slideLayout" Target="../slideLayouts/slideLayout28.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27.xml"/><Relationship Id="rId6" Type="http://schemas.openxmlformats.org/officeDocument/2006/relationships/theme" Target="../theme/theme2.xml"/><Relationship Id="rId11" Type="http://schemas.openxmlformats.org/officeDocument/2006/relationships/tags" Target="../tags/tag7.xml"/><Relationship Id="rId24" Type="http://schemas.openxmlformats.org/officeDocument/2006/relationships/oleObject" Target="../embeddings/oleObject2.bin"/><Relationship Id="rId5" Type="http://schemas.openxmlformats.org/officeDocument/2006/relationships/slideLayout" Target="../slideLayouts/slideLayout3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0.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3" Type="http://schemas.openxmlformats.org/officeDocument/2006/relationships/slideLayout" Target="../slideLayouts/slideLayout34.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image" Target="../media/image12.png"/><Relationship Id="rId2" Type="http://schemas.openxmlformats.org/officeDocument/2006/relationships/slideLayout" Target="../slideLayouts/slideLayout33.xml"/><Relationship Id="rId16" Type="http://schemas.openxmlformats.org/officeDocument/2006/relationships/tags" Target="../tags/tag34.xml"/><Relationship Id="rId20" Type="http://schemas.openxmlformats.org/officeDocument/2006/relationships/tags" Target="../tags/tag38.xml"/><Relationship Id="rId1" Type="http://schemas.openxmlformats.org/officeDocument/2006/relationships/slideLayout" Target="../slideLayouts/slideLayout32.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11.emf"/><Relationship Id="rId5" Type="http://schemas.openxmlformats.org/officeDocument/2006/relationships/theme" Target="../theme/theme3.xml"/><Relationship Id="rId15" Type="http://schemas.openxmlformats.org/officeDocument/2006/relationships/tags" Target="../tags/tag33.xml"/><Relationship Id="rId23" Type="http://schemas.openxmlformats.org/officeDocument/2006/relationships/oleObject" Target="../embeddings/oleObject7.bin"/><Relationship Id="rId10" Type="http://schemas.openxmlformats.org/officeDocument/2006/relationships/tags" Target="../tags/tag28.xml"/><Relationship Id="rId19" Type="http://schemas.openxmlformats.org/officeDocument/2006/relationships/tags" Target="../tags/tag37.xml"/><Relationship Id="rId4" Type="http://schemas.openxmlformats.org/officeDocument/2006/relationships/slideLayout" Target="../slideLayouts/slideLayout35.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3" Type="http://schemas.openxmlformats.org/officeDocument/2006/relationships/slideLayout" Target="../slideLayouts/slideLayout38.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image" Target="../media/image12.png"/><Relationship Id="rId2" Type="http://schemas.openxmlformats.org/officeDocument/2006/relationships/slideLayout" Target="../slideLayouts/slideLayout37.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slideLayout" Target="../slideLayouts/slideLayout36.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image" Target="../media/image11.emf"/><Relationship Id="rId5" Type="http://schemas.openxmlformats.org/officeDocument/2006/relationships/theme" Target="../theme/theme4.xml"/><Relationship Id="rId15" Type="http://schemas.openxmlformats.org/officeDocument/2006/relationships/tags" Target="../tags/tag54.xml"/><Relationship Id="rId23" Type="http://schemas.openxmlformats.org/officeDocument/2006/relationships/oleObject" Target="../embeddings/oleObject12.bin"/><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slideLayout" Target="../slideLayouts/slideLayout39.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heme" Target="../theme/theme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280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29129445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9"/>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3"/>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203583132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8923363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8"/>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9"/>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0"/>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1"/>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2"/>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5"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229499042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12/08/2020 04:05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dirty="0">
                <a:solidFill>
                  <a:srgbClr val="808080"/>
                </a:solidFill>
                <a:latin typeface="+mn-lt"/>
                <a:ea typeface="+mn-ea"/>
              </a:rPr>
              <a:t>Printed 25/07/2020 16:01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8"/>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9"/>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0"/>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1"/>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2"/>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5"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96171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76902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ctr" defTabSz="1219170" rtl="0" eaLnBrk="1" latinLnBrk="1"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1"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1"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1"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ko-KR"/>
      </a:defPPr>
      <a:lvl1pPr marL="0" algn="l" defTabSz="1219170" rtl="0" eaLnBrk="1" latinLnBrk="1" hangingPunct="1">
        <a:defRPr sz="2400" kern="1200">
          <a:solidFill>
            <a:schemeClr val="tx1"/>
          </a:solidFill>
          <a:latin typeface="+mn-lt"/>
          <a:ea typeface="+mn-ea"/>
          <a:cs typeface="+mn-cs"/>
        </a:defRPr>
      </a:lvl1pPr>
      <a:lvl2pPr marL="609585" algn="l" defTabSz="1219170" rtl="0" eaLnBrk="1" latinLnBrk="1" hangingPunct="1">
        <a:defRPr sz="2400" kern="1200">
          <a:solidFill>
            <a:schemeClr val="tx1"/>
          </a:solidFill>
          <a:latin typeface="+mn-lt"/>
          <a:ea typeface="+mn-ea"/>
          <a:cs typeface="+mn-cs"/>
        </a:defRPr>
      </a:lvl2pPr>
      <a:lvl3pPr marL="1219170" algn="l" defTabSz="1219170" rtl="0" eaLnBrk="1" latinLnBrk="1" hangingPunct="1">
        <a:defRPr sz="2400" kern="1200">
          <a:solidFill>
            <a:schemeClr val="tx1"/>
          </a:solidFill>
          <a:latin typeface="+mn-lt"/>
          <a:ea typeface="+mn-ea"/>
          <a:cs typeface="+mn-cs"/>
        </a:defRPr>
      </a:lvl3pPr>
      <a:lvl4pPr marL="1828754" algn="l" defTabSz="1219170" rtl="0" eaLnBrk="1" latinLnBrk="1" hangingPunct="1">
        <a:defRPr sz="2400" kern="1200">
          <a:solidFill>
            <a:schemeClr val="tx1"/>
          </a:solidFill>
          <a:latin typeface="+mn-lt"/>
          <a:ea typeface="+mn-ea"/>
          <a:cs typeface="+mn-cs"/>
        </a:defRPr>
      </a:lvl4pPr>
      <a:lvl5pPr marL="2438339" algn="l" defTabSz="1219170" rtl="0" eaLnBrk="1" latinLnBrk="1" hangingPunct="1">
        <a:defRPr sz="2400" kern="1200">
          <a:solidFill>
            <a:schemeClr val="tx1"/>
          </a:solidFill>
          <a:latin typeface="+mn-lt"/>
          <a:ea typeface="+mn-ea"/>
          <a:cs typeface="+mn-cs"/>
        </a:defRPr>
      </a:lvl5pPr>
      <a:lvl6pPr marL="3047924" algn="l" defTabSz="1219170" rtl="0" eaLnBrk="1" latinLnBrk="1" hangingPunct="1">
        <a:defRPr sz="2400" kern="1200">
          <a:solidFill>
            <a:schemeClr val="tx1"/>
          </a:solidFill>
          <a:latin typeface="+mn-lt"/>
          <a:ea typeface="+mn-ea"/>
          <a:cs typeface="+mn-cs"/>
        </a:defRPr>
      </a:lvl6pPr>
      <a:lvl7pPr marL="3657509" algn="l" defTabSz="1219170" rtl="0" eaLnBrk="1" latinLnBrk="1" hangingPunct="1">
        <a:defRPr sz="2400" kern="1200">
          <a:solidFill>
            <a:schemeClr val="tx1"/>
          </a:solidFill>
          <a:latin typeface="+mn-lt"/>
          <a:ea typeface="+mn-ea"/>
          <a:cs typeface="+mn-cs"/>
        </a:defRPr>
      </a:lvl7pPr>
      <a:lvl8pPr marL="4267093" algn="l" defTabSz="1219170" rtl="0" eaLnBrk="1" latinLnBrk="1" hangingPunct="1">
        <a:defRPr sz="2400" kern="1200">
          <a:solidFill>
            <a:schemeClr val="tx1"/>
          </a:solidFill>
          <a:latin typeface="+mn-lt"/>
          <a:ea typeface="+mn-ea"/>
          <a:cs typeface="+mn-cs"/>
        </a:defRPr>
      </a:lvl8pPr>
      <a:lvl9pPr marL="4876678" algn="l" defTabSz="1219170" rtl="0" eaLnBrk="1" latinLnBrk="1"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70237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7" r:id="rId21"/>
    <p:sldLayoutId id="2147483738" r:id="rId22"/>
    <p:sldLayoutId id="2147483739" r:id="rId23"/>
    <p:sldLayoutId id="2147483740" r:id="rId24"/>
    <p:sldLayoutId id="2147483741" r:id="rId25"/>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5.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solidFill>
                  <a:schemeClr val="bg1"/>
                </a:solidFill>
                <a:latin typeface="Arial" pitchFamily="34" charset="0"/>
                <a:cs typeface="Arial" pitchFamily="34" charset="0"/>
              </a:rPr>
              <a:t>EMPATHY MAPPING</a:t>
            </a:r>
            <a:endParaRPr lang="ko-KR" altLang="en-US" dirty="0">
              <a:solidFill>
                <a:schemeClr val="bg1"/>
              </a:solidFill>
              <a:latin typeface="Arial" pitchFamily="34" charset="0"/>
              <a:cs typeface="Arial" pitchFamily="34" charset="0"/>
            </a:endParaRPr>
          </a:p>
        </p:txBody>
      </p:sp>
      <p:sp>
        <p:nvSpPr>
          <p:cNvPr id="5" name="TextBox 4">
            <a:extLst>
              <a:ext uri="{FF2B5EF4-FFF2-40B4-BE49-F238E27FC236}">
                <a16:creationId xmlns:a16="http://schemas.microsoft.com/office/drawing/2014/main" id="{D5F52C2A-CEAF-446F-AFF4-0A982B0889B5}"/>
              </a:ext>
            </a:extLst>
          </p:cNvPr>
          <p:cNvSpPr txBox="1"/>
          <p:nvPr/>
        </p:nvSpPr>
        <p:spPr>
          <a:xfrm>
            <a:off x="4271962" y="3901559"/>
            <a:ext cx="69345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3B45"/>
                </a:solidFill>
                <a:effectLst/>
                <a:uLnTx/>
                <a:uFillTx/>
                <a:latin typeface="Lato Extended"/>
                <a:ea typeface="Arial Unicode MS"/>
                <a:cs typeface="+mn-cs"/>
              </a:rPr>
              <a:t>Empathize—</a:t>
            </a:r>
            <a:r>
              <a:rPr kumimoji="0" lang="en-US" sz="1800" b="1" i="1" u="none" strike="noStrike" kern="1200" cap="none" spc="0" normalizeH="0" baseline="0" noProof="0" dirty="0">
                <a:ln>
                  <a:noFill/>
                </a:ln>
                <a:solidFill>
                  <a:srgbClr val="2D3B45"/>
                </a:solidFill>
                <a:effectLst/>
                <a:uLnTx/>
                <a:uFillTx/>
                <a:latin typeface="Lato Extended"/>
                <a:ea typeface="Arial Unicode MS"/>
                <a:cs typeface="+mn-cs"/>
              </a:rPr>
              <a:t>Understand what is important to your employees</a:t>
            </a:r>
            <a:endParaRPr kumimoji="0" lang="ko-KR" altLang="en-US" sz="1800" b="1" i="0" u="none" strike="noStrike" kern="1200" cap="none" spc="0" normalizeH="0" baseline="0" noProof="0" dirty="0">
              <a:ln>
                <a:noFill/>
              </a:ln>
              <a:solidFill>
                <a:prstClr val="black">
                  <a:lumMod val="75000"/>
                  <a:lumOff val="25000"/>
                </a:prstClr>
              </a:solidFill>
              <a:effectLst/>
              <a:uLnTx/>
              <a:uFillTx/>
              <a:latin typeface="Arial"/>
              <a:ea typeface="Arial Unicode MS"/>
              <a:cs typeface="Arial" pitchFamily="34" charset="0"/>
            </a:endParaRPr>
          </a:p>
        </p:txBody>
      </p:sp>
      <p:pic>
        <p:nvPicPr>
          <p:cNvPr id="4" name="Picture 3">
            <a:extLst>
              <a:ext uri="{FF2B5EF4-FFF2-40B4-BE49-F238E27FC236}">
                <a16:creationId xmlns:a16="http://schemas.microsoft.com/office/drawing/2014/main" id="{7A05949C-04A9-4DE9-A4A4-305D5F986845}"/>
              </a:ext>
            </a:extLst>
          </p:cNvPr>
          <p:cNvPicPr>
            <a:picLocks noChangeAspect="1"/>
          </p:cNvPicPr>
          <p:nvPr/>
        </p:nvPicPr>
        <p:blipFill>
          <a:blip r:embed="rId2"/>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2396108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26624" y="273499"/>
            <a:ext cx="3736574" cy="2129878"/>
          </a:xfrm>
          <a:prstGeom prst="rect">
            <a:avLst/>
          </a:prstGeom>
          <a:noFill/>
        </p:spPr>
        <p:txBody>
          <a:bodyPr wrap="square" rtlCol="0">
            <a:spAutoFit/>
          </a:bodyPr>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PEOPLE THINKING AND FEELING?</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en-US" altLang="ko-KR" sz="14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Ask team members to cap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Employee’s emotions and feel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What really matters to the employee, what are their major concerns as it relates to the subject?</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ko-KR" altLang="en-US" sz="14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p:txBody>
      </p:sp>
      <p:sp>
        <p:nvSpPr>
          <p:cNvPr id="11" name="TextBox 10"/>
          <p:cNvSpPr txBox="1"/>
          <p:nvPr/>
        </p:nvSpPr>
        <p:spPr>
          <a:xfrm>
            <a:off x="8156000" y="297667"/>
            <a:ext cx="3709376" cy="1779013"/>
          </a:xfrm>
          <a:prstGeom prst="rect">
            <a:avLst/>
          </a:prstGeom>
          <a:noFill/>
        </p:spPr>
        <p:txBody>
          <a:bodyPr wrap="square" rtlCol="0">
            <a:spAutoFit/>
          </a:bodyPr>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PEOPLE HEA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Ask team members to cap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What is being said and shared about this sub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How and from where are they hearing this information?</a:t>
            </a:r>
            <a:endParaRPr kumimoji="0" lang="en-US" altLang="ko-KR"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ko-KR" altLang="en-US" sz="14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p:txBody>
      </p:sp>
      <p:sp>
        <p:nvSpPr>
          <p:cNvPr id="12" name="TextBox 11"/>
          <p:cNvSpPr txBox="1"/>
          <p:nvPr/>
        </p:nvSpPr>
        <p:spPr>
          <a:xfrm>
            <a:off x="232799" y="4615682"/>
            <a:ext cx="3830398" cy="2297552"/>
          </a:xfrm>
          <a:prstGeom prst="rect">
            <a:avLst/>
          </a:prstGeom>
          <a:noFill/>
        </p:spPr>
        <p:txBody>
          <a:bodyPr wrap="square" rtlCol="0">
            <a:spAutoFit/>
          </a:bodyPr>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THE PEOPLE SEEING?</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en-US" altLang="ko-KR" sz="9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Ask team members to capture :</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17303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ctions or behaviors are employees seeing as it relates to the subject?</a:t>
            </a:r>
          </a:p>
          <a:p>
            <a:pPr marL="17303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they seeing happening in the external environment/ competitors?</a:t>
            </a:r>
          </a:p>
          <a:p>
            <a:pPr marL="17303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Is what they are seeing, matching what they are hearing?</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p:txBody>
      </p:sp>
      <p:sp>
        <p:nvSpPr>
          <p:cNvPr id="13" name="TextBox 12"/>
          <p:cNvSpPr txBox="1"/>
          <p:nvPr/>
        </p:nvSpPr>
        <p:spPr>
          <a:xfrm>
            <a:off x="8194255" y="4615682"/>
            <a:ext cx="3721025" cy="2111347"/>
          </a:xfrm>
          <a:prstGeom prst="rect">
            <a:avLst/>
          </a:prstGeom>
          <a:noFill/>
        </p:spPr>
        <p:txBody>
          <a:bodyPr wrap="square" rtlCol="0">
            <a:spAutoFit/>
          </a:bodyPr>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PEOPLE SAYING AND DOING?</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0" marR="0" lvl="0" indent="0" algn="l" defTabSz="914377"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Ask team members to capture :</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en-US" altLang="ko-KR"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What are employees actually saying about the sub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Has any action been taken about the sub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Is there a coherence between what is said and what is d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p:txBody>
      </p:sp>
      <p:grpSp>
        <p:nvGrpSpPr>
          <p:cNvPr id="18" name="Group 17"/>
          <p:cNvGrpSpPr/>
          <p:nvPr/>
        </p:nvGrpSpPr>
        <p:grpSpPr>
          <a:xfrm>
            <a:off x="5828579" y="2656036"/>
            <a:ext cx="534842" cy="144016"/>
            <a:chOff x="9559012" y="4442521"/>
            <a:chExt cx="557604" cy="144016"/>
          </a:xfrm>
          <a:solidFill>
            <a:schemeClr val="bg1"/>
          </a:solidFill>
        </p:grpSpPr>
        <p:sp>
          <p:nvSpPr>
            <p:cNvPr id="19" name="Rectangle 18"/>
            <p:cNvSpPr/>
            <p:nvPr/>
          </p:nvSpPr>
          <p:spPr>
            <a:xfrm>
              <a:off x="9765806" y="4442521"/>
              <a:ext cx="144016" cy="1440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0" name="Rectangle 19"/>
            <p:cNvSpPr/>
            <p:nvPr/>
          </p:nvSpPr>
          <p:spPr>
            <a:xfrm>
              <a:off x="9972600" y="4442521"/>
              <a:ext cx="144016" cy="1440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1" name="Rectangle 20"/>
            <p:cNvSpPr/>
            <p:nvPr/>
          </p:nvSpPr>
          <p:spPr>
            <a:xfrm>
              <a:off x="9559012" y="4442521"/>
              <a:ext cx="144016" cy="1440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grpSp>
      <p:sp>
        <p:nvSpPr>
          <p:cNvPr id="3" name="Rectangle 2"/>
          <p:cNvSpPr/>
          <p:nvPr/>
        </p:nvSpPr>
        <p:spPr>
          <a:xfrm>
            <a:off x="232799" y="188999"/>
            <a:ext cx="3830399" cy="207466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2" name="Rectangle 21"/>
          <p:cNvSpPr/>
          <p:nvPr/>
        </p:nvSpPr>
        <p:spPr>
          <a:xfrm>
            <a:off x="8128799" y="189000"/>
            <a:ext cx="3830401" cy="2074664"/>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3" name="Rectangle 22"/>
          <p:cNvSpPr/>
          <p:nvPr/>
        </p:nvSpPr>
        <p:spPr>
          <a:xfrm>
            <a:off x="8156000" y="4582032"/>
            <a:ext cx="3803200" cy="208696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6" name="Rectangle 25"/>
          <p:cNvSpPr/>
          <p:nvPr/>
        </p:nvSpPr>
        <p:spPr>
          <a:xfrm>
            <a:off x="232800" y="4594335"/>
            <a:ext cx="3830398" cy="207466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pic>
        <p:nvPicPr>
          <p:cNvPr id="14" name="Picture Placeholder 13" descr="Diagram&#10;&#10;Description automatically generated with low confidence">
            <a:extLst>
              <a:ext uri="{FF2B5EF4-FFF2-40B4-BE49-F238E27FC236}">
                <a16:creationId xmlns:a16="http://schemas.microsoft.com/office/drawing/2014/main" id="{EA6032A6-B70E-4ADF-8C80-C31301F64ED3}"/>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t="9837" b="9837"/>
          <a:stretch>
            <a:fillRect/>
          </a:stretch>
        </p:blipFill>
        <p:spPr>
          <a:xfrm>
            <a:off x="4063199" y="2296032"/>
            <a:ext cx="4065600" cy="2286000"/>
          </a:xfrm>
          <a:ln w="28575">
            <a:solidFill>
              <a:srgbClr val="0070C0"/>
            </a:solidFill>
          </a:ln>
        </p:spPr>
      </p:pic>
      <p:sp>
        <p:nvSpPr>
          <p:cNvPr id="15" name="TextBox 14">
            <a:extLst>
              <a:ext uri="{FF2B5EF4-FFF2-40B4-BE49-F238E27FC236}">
                <a16:creationId xmlns:a16="http://schemas.microsoft.com/office/drawing/2014/main" id="{D4288023-000E-40DF-8D00-C88EFA38F697}"/>
              </a:ext>
            </a:extLst>
          </p:cNvPr>
          <p:cNvSpPr txBox="1"/>
          <p:nvPr/>
        </p:nvSpPr>
        <p:spPr>
          <a:xfrm>
            <a:off x="4194400" y="5113507"/>
            <a:ext cx="3830398"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3B45"/>
                </a:solidFill>
                <a:effectLst/>
                <a:uLnTx/>
                <a:uFillTx/>
                <a:latin typeface="Lato Extended"/>
                <a:ea typeface="Arial Unicode MS"/>
                <a:cs typeface="+mn-cs"/>
              </a:rPr>
              <a:t>Once complete, collate post-its with similar comments and summarize the key findings for the debrief.</a:t>
            </a:r>
            <a:endParaRPr kumimoji="0" lang="ko-KR" altLang="en-US" sz="1800" b="1" i="0" u="none" strike="noStrike" kern="1200" cap="none" spc="0" normalizeH="0" baseline="0" noProof="0" dirty="0">
              <a:ln>
                <a:noFill/>
              </a:ln>
              <a:solidFill>
                <a:prstClr val="black">
                  <a:lumMod val="75000"/>
                  <a:lumOff val="25000"/>
                </a:prstClr>
              </a:solidFill>
              <a:effectLst/>
              <a:uLnTx/>
              <a:uFillTx/>
              <a:latin typeface="Arial"/>
              <a:ea typeface="Arial Unicode MS"/>
              <a:cs typeface="Arial" pitchFamily="34" charset="0"/>
            </a:endParaRPr>
          </a:p>
        </p:txBody>
      </p:sp>
      <p:pic>
        <p:nvPicPr>
          <p:cNvPr id="16" name="Picture 15">
            <a:extLst>
              <a:ext uri="{FF2B5EF4-FFF2-40B4-BE49-F238E27FC236}">
                <a16:creationId xmlns:a16="http://schemas.microsoft.com/office/drawing/2014/main" id="{453C3D9E-5490-42A4-85B3-7C24C7A3B86A}"/>
              </a:ext>
            </a:extLst>
          </p:cNvPr>
          <p:cNvPicPr>
            <a:picLocks noChangeAspect="1"/>
          </p:cNvPicPr>
          <p:nvPr/>
        </p:nvPicPr>
        <p:blipFill>
          <a:blip r:embed="rId3"/>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3757433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solidFill>
                  <a:schemeClr val="bg1"/>
                </a:solidFill>
                <a:latin typeface="Arial" pitchFamily="34" charset="0"/>
                <a:cs typeface="Arial" pitchFamily="34" charset="0"/>
              </a:rPr>
              <a:t>5 WHY’s</a:t>
            </a:r>
            <a:endParaRPr lang="ko-KR" altLang="en-US" dirty="0">
              <a:solidFill>
                <a:schemeClr val="bg1"/>
              </a:solidFill>
              <a:latin typeface="Arial" pitchFamily="34" charset="0"/>
              <a:cs typeface="Arial" pitchFamily="34" charset="0"/>
            </a:endParaRPr>
          </a:p>
        </p:txBody>
      </p:sp>
      <p:sp>
        <p:nvSpPr>
          <p:cNvPr id="3" name="TextBox 2">
            <a:extLst>
              <a:ext uri="{FF2B5EF4-FFF2-40B4-BE49-F238E27FC236}">
                <a16:creationId xmlns:a16="http://schemas.microsoft.com/office/drawing/2014/main" id="{B632E7AD-D47A-4461-9B52-26D4A25C7DF1}"/>
              </a:ext>
            </a:extLst>
          </p:cNvPr>
          <p:cNvSpPr txBox="1"/>
          <p:nvPr/>
        </p:nvSpPr>
        <p:spPr>
          <a:xfrm>
            <a:off x="3781088" y="3735839"/>
            <a:ext cx="823819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D3B45"/>
                </a:solidFill>
                <a:effectLst/>
                <a:uLnTx/>
                <a:uFillTx/>
                <a:latin typeface="Lato Extended"/>
                <a:ea typeface="Arial Unicode MS"/>
                <a:cs typeface="+mn-cs"/>
              </a:rPr>
              <a:t>Define—</a:t>
            </a:r>
            <a:r>
              <a:rPr kumimoji="0" lang="en-US" sz="1600" b="1" i="1" u="none" strike="noStrike" kern="1200" cap="none" spc="0" normalizeH="0" baseline="0" noProof="0" dirty="0">
                <a:ln>
                  <a:noFill/>
                </a:ln>
                <a:solidFill>
                  <a:srgbClr val="2D3B45"/>
                </a:solidFill>
                <a:effectLst/>
                <a:uLnTx/>
                <a:uFillTx/>
                <a:latin typeface="Lato Extended"/>
                <a:ea typeface="Arial Unicode MS"/>
                <a:cs typeface="+mn-cs"/>
              </a:rPr>
              <a:t>The root cause of the problem, this helps us ensure we address the problem not only the symptom</a:t>
            </a:r>
            <a:endParaRPr kumimoji="0" lang="ko-KR" altLang="en-US" sz="1600" b="1" i="0" u="none" strike="noStrike" kern="1200" cap="none" spc="0" normalizeH="0" baseline="0" noProof="0" dirty="0">
              <a:ln>
                <a:noFill/>
              </a:ln>
              <a:solidFill>
                <a:prstClr val="black">
                  <a:lumMod val="75000"/>
                  <a:lumOff val="25000"/>
                </a:prstClr>
              </a:solidFill>
              <a:effectLst/>
              <a:uLnTx/>
              <a:uFillTx/>
              <a:latin typeface="Arial"/>
              <a:ea typeface="Arial Unicode MS"/>
              <a:cs typeface="Arial" pitchFamily="34" charset="0"/>
            </a:endParaRPr>
          </a:p>
        </p:txBody>
      </p:sp>
      <p:pic>
        <p:nvPicPr>
          <p:cNvPr id="4" name="Picture 3">
            <a:extLst>
              <a:ext uri="{FF2B5EF4-FFF2-40B4-BE49-F238E27FC236}">
                <a16:creationId xmlns:a16="http://schemas.microsoft.com/office/drawing/2014/main" id="{FB9F1F73-732B-4921-9614-1ABF8074841E}"/>
              </a:ext>
            </a:extLst>
          </p:cNvPr>
          <p:cNvPicPr>
            <a:picLocks noChangeAspect="1"/>
          </p:cNvPicPr>
          <p:nvPr/>
        </p:nvPicPr>
        <p:blipFill>
          <a:blip r:embed="rId2"/>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21939735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541160" y="1200930"/>
            <a:ext cx="1594381" cy="1594381"/>
            <a:chOff x="1235576" y="1353749"/>
            <a:chExt cx="1195786" cy="1195786"/>
          </a:xfrm>
        </p:grpSpPr>
        <p:sp>
          <p:nvSpPr>
            <p:cNvPr id="39" name="Teardrop 38"/>
            <p:cNvSpPr/>
            <p:nvPr/>
          </p:nvSpPr>
          <p:spPr>
            <a:xfrm rot="8100000">
              <a:off x="1235576" y="1353749"/>
              <a:ext cx="1195786" cy="1195786"/>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40" name="Oval 39"/>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67" b="0" i="0" u="none" strike="noStrike" kern="1200" cap="none" spc="0" normalizeH="0" baseline="0" noProof="0">
                <a:ln>
                  <a:noFill/>
                </a:ln>
                <a:solidFill>
                  <a:prstClr val="black">
                    <a:lumMod val="65000"/>
                    <a:lumOff val="35000"/>
                  </a:prstClr>
                </a:solidFill>
                <a:effectLst/>
                <a:uLnTx/>
                <a:uFillTx/>
                <a:latin typeface="Arial"/>
                <a:ea typeface="Arial Unicode MS"/>
                <a:cs typeface="+mn-cs"/>
              </a:endParaRPr>
            </a:p>
          </p:txBody>
        </p:sp>
      </p:grpSp>
      <p:grpSp>
        <p:nvGrpSpPr>
          <p:cNvPr id="41" name="Group 40"/>
          <p:cNvGrpSpPr/>
          <p:nvPr/>
        </p:nvGrpSpPr>
        <p:grpSpPr>
          <a:xfrm>
            <a:off x="3352032" y="1237975"/>
            <a:ext cx="1594381" cy="1594381"/>
            <a:chOff x="1235576" y="1353749"/>
            <a:chExt cx="1195786" cy="1195786"/>
          </a:xfrm>
        </p:grpSpPr>
        <p:sp>
          <p:nvSpPr>
            <p:cNvPr id="42" name="Teardrop 41"/>
            <p:cNvSpPr/>
            <p:nvPr/>
          </p:nvSpPr>
          <p:spPr>
            <a:xfrm rot="8100000">
              <a:off x="1235576" y="1353749"/>
              <a:ext cx="1195786" cy="1195786"/>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43" name="Oval 42"/>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67" b="0" i="0" u="none" strike="noStrike" kern="1200" cap="none" spc="0" normalizeH="0" baseline="0" noProof="0">
                <a:ln>
                  <a:noFill/>
                </a:ln>
                <a:solidFill>
                  <a:prstClr val="black">
                    <a:lumMod val="65000"/>
                    <a:lumOff val="35000"/>
                  </a:prstClr>
                </a:solidFill>
                <a:effectLst/>
                <a:uLnTx/>
                <a:uFillTx/>
                <a:latin typeface="Arial"/>
                <a:ea typeface="Arial Unicode MS"/>
                <a:cs typeface="+mn-cs"/>
              </a:endParaRPr>
            </a:p>
          </p:txBody>
        </p:sp>
      </p:grpSp>
      <p:grpSp>
        <p:nvGrpSpPr>
          <p:cNvPr id="44" name="Group 43"/>
          <p:cNvGrpSpPr/>
          <p:nvPr/>
        </p:nvGrpSpPr>
        <p:grpSpPr>
          <a:xfrm>
            <a:off x="6284974" y="1207869"/>
            <a:ext cx="1594381" cy="1594381"/>
            <a:chOff x="1235576" y="1353749"/>
            <a:chExt cx="1195786" cy="1195786"/>
          </a:xfrm>
        </p:grpSpPr>
        <p:sp>
          <p:nvSpPr>
            <p:cNvPr id="45" name="Teardrop 44"/>
            <p:cNvSpPr/>
            <p:nvPr/>
          </p:nvSpPr>
          <p:spPr>
            <a:xfrm rot="8100000">
              <a:off x="1235576" y="1353749"/>
              <a:ext cx="1195786" cy="1195786"/>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46" name="Oval 45"/>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67" b="0" i="0" u="none" strike="noStrike" kern="1200" cap="none" spc="0" normalizeH="0" baseline="0" noProof="0" dirty="0">
                <a:ln>
                  <a:noFill/>
                </a:ln>
                <a:solidFill>
                  <a:prstClr val="black">
                    <a:lumMod val="65000"/>
                    <a:lumOff val="35000"/>
                  </a:prstClr>
                </a:solidFill>
                <a:effectLst/>
                <a:uLnTx/>
                <a:uFillTx/>
                <a:latin typeface="Arial"/>
                <a:ea typeface="Arial Unicode MS"/>
                <a:cs typeface="+mn-cs"/>
              </a:endParaRPr>
            </a:p>
          </p:txBody>
        </p:sp>
      </p:grpSp>
      <p:sp>
        <p:nvSpPr>
          <p:cNvPr id="3" name="Title 2"/>
          <p:cNvSpPr>
            <a:spLocks noGrp="1"/>
          </p:cNvSpPr>
          <p:nvPr>
            <p:ph type="title"/>
          </p:nvPr>
        </p:nvSpPr>
        <p:spPr/>
        <p:txBody>
          <a:bodyPr/>
          <a:lstStyle/>
          <a:p>
            <a:pPr algn="ctr"/>
            <a:r>
              <a:rPr lang="en-US" altLang="ko-KR" dirty="0">
                <a:solidFill>
                  <a:schemeClr val="accent1"/>
                </a:solidFill>
              </a:rPr>
              <a:t> </a:t>
            </a:r>
            <a:br>
              <a:rPr lang="en-US" altLang="ko-KR" dirty="0">
                <a:solidFill>
                  <a:schemeClr val="accent1"/>
                </a:solidFill>
              </a:rPr>
            </a:br>
            <a:r>
              <a:rPr lang="en-US" altLang="ko-KR" sz="3600" b="0" dirty="0">
                <a:solidFill>
                  <a:schemeClr val="tx1"/>
                </a:solidFill>
                <a:ea typeface="+mn-ea"/>
              </a:rPr>
              <a:t>5 WHYS</a:t>
            </a:r>
            <a:br>
              <a:rPr lang="en-US" altLang="ko-KR" sz="5400" b="0" dirty="0">
                <a:solidFill>
                  <a:schemeClr val="tx1"/>
                </a:solidFill>
                <a:ea typeface="+mn-ea"/>
              </a:rPr>
            </a:br>
            <a:endParaRPr lang="ko-KR" altLang="en-US" sz="5400" b="0" dirty="0">
              <a:solidFill>
                <a:schemeClr val="tx1"/>
              </a:solidFill>
              <a:ea typeface="+mn-ea"/>
            </a:endParaRPr>
          </a:p>
        </p:txBody>
      </p:sp>
      <p:sp>
        <p:nvSpPr>
          <p:cNvPr id="18" name="Rectangle 9"/>
          <p:cNvSpPr/>
          <p:nvPr/>
        </p:nvSpPr>
        <p:spPr>
          <a:xfrm>
            <a:off x="1065360" y="1711451"/>
            <a:ext cx="501580" cy="469523"/>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a:ea typeface="Arial Unicode MS"/>
              <a:cs typeface="+mn-cs"/>
            </a:endParaRPr>
          </a:p>
        </p:txBody>
      </p:sp>
      <p:grpSp>
        <p:nvGrpSpPr>
          <p:cNvPr id="28" name="Group 27"/>
          <p:cNvGrpSpPr/>
          <p:nvPr/>
        </p:nvGrpSpPr>
        <p:grpSpPr>
          <a:xfrm>
            <a:off x="173868" y="3150085"/>
            <a:ext cx="2498924" cy="3568113"/>
            <a:chOff x="781203" y="3498200"/>
            <a:chExt cx="2443344" cy="2160801"/>
          </a:xfrm>
        </p:grpSpPr>
        <p:sp>
          <p:nvSpPr>
            <p:cNvPr id="29" name="TextBox 28"/>
            <p:cNvSpPr txBox="1"/>
            <p:nvPr/>
          </p:nvSpPr>
          <p:spPr>
            <a:xfrm>
              <a:off x="781203" y="3812341"/>
              <a:ext cx="2443344" cy="1846660"/>
            </a:xfrm>
            <a:prstGeom prst="rect">
              <a:avLst/>
            </a:prstGeom>
            <a:solidFill>
              <a:schemeClr val="accent1">
                <a:lumMod val="20000"/>
                <a:lumOff val="80000"/>
              </a:schemeClr>
            </a:solid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Pick up the key findings from the empathy map</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For Ex: Decisions are not getting communicated effectively.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Write the problem statement on the whiteboard/ flip chart, leaving enough space around it to add the answers to the repeated question, "Why?“</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p:txBody>
        </p:sp>
        <p:sp>
          <p:nvSpPr>
            <p:cNvPr id="30" name="TextBox 29"/>
            <p:cNvSpPr txBox="1"/>
            <p:nvPr/>
          </p:nvSpPr>
          <p:spPr>
            <a:xfrm>
              <a:off x="803640" y="3498200"/>
              <a:ext cx="2420907" cy="2161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rPr>
                <a:t>1.  Define the Problem</a:t>
              </a:r>
              <a:endParaRPr kumimoji="0" lang="ko-KR" altLang="en-US"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endParaRPr>
            </a:p>
          </p:txBody>
        </p:sp>
      </p:grpSp>
      <p:grpSp>
        <p:nvGrpSpPr>
          <p:cNvPr id="31" name="Group 30"/>
          <p:cNvGrpSpPr/>
          <p:nvPr/>
        </p:nvGrpSpPr>
        <p:grpSpPr>
          <a:xfrm>
            <a:off x="2571278" y="3162564"/>
            <a:ext cx="3241079" cy="3555625"/>
            <a:chOff x="503733" y="3483629"/>
            <a:chExt cx="2224550" cy="2666721"/>
          </a:xfrm>
        </p:grpSpPr>
        <p:sp>
          <p:nvSpPr>
            <p:cNvPr id="32" name="TextBox 31"/>
            <p:cNvSpPr txBox="1"/>
            <p:nvPr/>
          </p:nvSpPr>
          <p:spPr>
            <a:xfrm>
              <a:off x="668626" y="3865107"/>
              <a:ext cx="2059657" cy="2285243"/>
            </a:xfrm>
            <a:prstGeom prst="rect">
              <a:avLst/>
            </a:prstGeom>
            <a:solidFill>
              <a:schemeClr val="accent1">
                <a:lumMod val="20000"/>
                <a:lumOff val="80000"/>
              </a:schemeClr>
            </a:solid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Ask your team </a:t>
              </a:r>
              <a:r>
                <a:rPr kumimoji="0" lang="en-US" sz="1100" b="1" i="0" u="none" strike="noStrike" kern="1200" cap="none" spc="0" normalizeH="0" baseline="0" noProof="0" dirty="0">
                  <a:ln>
                    <a:noFill/>
                  </a:ln>
                  <a:solidFill>
                    <a:srgbClr val="333333"/>
                  </a:solidFill>
                  <a:effectLst/>
                  <a:uLnTx/>
                  <a:uFillTx/>
                  <a:latin typeface="ProximaNova-n4"/>
                  <a:ea typeface="Arial Unicode MS"/>
                  <a:cs typeface="+mn-cs"/>
                </a:rPr>
                <a:t>WHY</a:t>
              </a: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 the problem is occurring.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For example, "Why are decisions not getting communicated effectivel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 Asking "Why?" sounds simple, but answering it requires serious thought. Search for answers that are grounded in fact: they must be accounts of things that have actually happened, not guesses of what might be happening</a:t>
              </a:r>
              <a:r>
                <a:rPr kumimoji="0" lang="en-US" sz="1600" b="0" i="0" u="none" strike="noStrike" kern="1200" cap="none" spc="0" normalizeH="0" baseline="0" noProof="0" dirty="0">
                  <a:ln>
                    <a:noFill/>
                  </a:ln>
                  <a:solidFill>
                    <a:srgbClr val="333333"/>
                  </a:solidFill>
                  <a:effectLst/>
                  <a:uLnTx/>
                  <a:uFillTx/>
                  <a:latin typeface="ProximaNova-n4"/>
                  <a:ea typeface="Arial Unicode MS"/>
                  <a:cs typeface="+mn-cs"/>
                </a:rPr>
                <a:t>. </a:t>
              </a: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Your team members may come up with one obvious reason why, or several plausible ones. Record their answers as succinct phrases, rather than as single words or lengthy statements, and write them below (or beside) your problem statement. For example, saying “line managers do not explain rationale behind every decision " is better than a vague “managers are unclear”.</a:t>
              </a:r>
            </a:p>
          </p:txBody>
        </p:sp>
        <p:sp>
          <p:nvSpPr>
            <p:cNvPr id="33" name="TextBox 32"/>
            <p:cNvSpPr txBox="1"/>
            <p:nvPr/>
          </p:nvSpPr>
          <p:spPr>
            <a:xfrm>
              <a:off x="503733" y="3483629"/>
              <a:ext cx="205965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rPr>
                <a:t>2. Ask the First Why</a:t>
              </a:r>
              <a:endParaRPr kumimoji="0" lang="ko-KR" altLang="en-US"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endParaRPr>
            </a:p>
          </p:txBody>
        </p:sp>
      </p:grpSp>
      <p:sp>
        <p:nvSpPr>
          <p:cNvPr id="36" name="TextBox 35"/>
          <p:cNvSpPr txBox="1"/>
          <p:nvPr/>
        </p:nvSpPr>
        <p:spPr>
          <a:xfrm>
            <a:off x="6022661" y="3113781"/>
            <a:ext cx="267857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rPr>
              <a:t>3. Ask why 4 more time</a:t>
            </a:r>
          </a:p>
        </p:txBody>
      </p:sp>
      <p:sp>
        <p:nvSpPr>
          <p:cNvPr id="21" name="TextBox 20">
            <a:extLst>
              <a:ext uri="{FF2B5EF4-FFF2-40B4-BE49-F238E27FC236}">
                <a16:creationId xmlns:a16="http://schemas.microsoft.com/office/drawing/2014/main" id="{5FF27228-0692-4083-A892-2FB5460ECA28}"/>
              </a:ext>
            </a:extLst>
          </p:cNvPr>
          <p:cNvSpPr txBox="1"/>
          <p:nvPr/>
        </p:nvSpPr>
        <p:spPr>
          <a:xfrm>
            <a:off x="6022660" y="3653126"/>
            <a:ext cx="2678579" cy="2877711"/>
          </a:xfrm>
          <a:prstGeom prst="rect">
            <a:avLst/>
          </a:prstGeom>
          <a:solidFill>
            <a:schemeClr val="accent1">
              <a:lumMod val="20000"/>
              <a:lumOff val="80000"/>
            </a:schemeClr>
          </a:solid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For</a:t>
            </a:r>
            <a:r>
              <a:rPr kumimoji="0" lang="en-US" sz="1800" b="0" i="0" u="none" strike="noStrike" kern="1200" cap="none" spc="0" normalizeH="0" baseline="0" noProof="0" dirty="0">
                <a:ln>
                  <a:noFill/>
                </a:ln>
                <a:solidFill>
                  <a:srgbClr val="333333"/>
                </a:solidFill>
                <a:effectLst/>
                <a:uLnTx/>
                <a:uFillTx/>
                <a:latin typeface="ProximaNova-n4"/>
                <a:ea typeface="Arial Unicode MS"/>
                <a:cs typeface="+mn-cs"/>
              </a:rPr>
              <a:t> </a:t>
            </a: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each of the answers that you generated in Step 2, ask four further "whys" in succession.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Each time, frame the question in response to the answer you've just recorded.</a:t>
            </a:r>
            <a:endParaRPr kumimoji="0" lang="ko-KR" alt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p:txBody>
      </p:sp>
      <p:grpSp>
        <p:nvGrpSpPr>
          <p:cNvPr id="49" name="Group 48">
            <a:extLst>
              <a:ext uri="{FF2B5EF4-FFF2-40B4-BE49-F238E27FC236}">
                <a16:creationId xmlns:a16="http://schemas.microsoft.com/office/drawing/2014/main" id="{55498442-08C2-422B-A2BA-3A887F6EE7BB}"/>
              </a:ext>
            </a:extLst>
          </p:cNvPr>
          <p:cNvGrpSpPr/>
          <p:nvPr/>
        </p:nvGrpSpPr>
        <p:grpSpPr>
          <a:xfrm>
            <a:off x="9170176" y="1186288"/>
            <a:ext cx="1594381" cy="1594381"/>
            <a:chOff x="1235576" y="1353749"/>
            <a:chExt cx="1195786" cy="1195786"/>
          </a:xfrm>
        </p:grpSpPr>
        <p:sp>
          <p:nvSpPr>
            <p:cNvPr id="50" name="Teardrop 49">
              <a:extLst>
                <a:ext uri="{FF2B5EF4-FFF2-40B4-BE49-F238E27FC236}">
                  <a16:creationId xmlns:a16="http://schemas.microsoft.com/office/drawing/2014/main" id="{E2CADB93-DA7F-489E-B629-C0504D93465B}"/>
                </a:ext>
              </a:extLst>
            </p:cNvPr>
            <p:cNvSpPr/>
            <p:nvPr/>
          </p:nvSpPr>
          <p:spPr>
            <a:xfrm rot="8100000">
              <a:off x="1235576" y="1353749"/>
              <a:ext cx="1195786" cy="1195786"/>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1" name="Oval 50">
              <a:extLst>
                <a:ext uri="{FF2B5EF4-FFF2-40B4-BE49-F238E27FC236}">
                  <a16:creationId xmlns:a16="http://schemas.microsoft.com/office/drawing/2014/main" id="{A4D20246-1D3A-4F89-B243-181BCAB13318}"/>
                </a:ext>
              </a:extLst>
            </p:cNvPr>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67" b="0" i="0" u="none" strike="noStrike" kern="1200" cap="none" spc="0" normalizeH="0" baseline="0" noProof="0" dirty="0">
                <a:ln>
                  <a:noFill/>
                </a:ln>
                <a:solidFill>
                  <a:prstClr val="black">
                    <a:lumMod val="65000"/>
                    <a:lumOff val="35000"/>
                  </a:prstClr>
                </a:solidFill>
                <a:effectLst/>
                <a:uLnTx/>
                <a:uFillTx/>
                <a:latin typeface="Arial"/>
                <a:ea typeface="Arial Unicode MS"/>
                <a:cs typeface="+mn-cs"/>
              </a:endParaRPr>
            </a:p>
          </p:txBody>
        </p:sp>
      </p:grpSp>
      <p:sp>
        <p:nvSpPr>
          <p:cNvPr id="53" name="TextBox 52">
            <a:extLst>
              <a:ext uri="{FF2B5EF4-FFF2-40B4-BE49-F238E27FC236}">
                <a16:creationId xmlns:a16="http://schemas.microsoft.com/office/drawing/2014/main" id="{04535BF6-3FD3-4F51-9E15-651810DC30D7}"/>
              </a:ext>
            </a:extLst>
          </p:cNvPr>
          <p:cNvSpPr txBox="1"/>
          <p:nvPr/>
        </p:nvSpPr>
        <p:spPr>
          <a:xfrm>
            <a:off x="9170176" y="3083975"/>
            <a:ext cx="24806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rPr>
              <a:t>5. Know when to stop</a:t>
            </a:r>
          </a:p>
        </p:txBody>
      </p:sp>
      <p:sp>
        <p:nvSpPr>
          <p:cNvPr id="22" name="TextBox 21">
            <a:extLst>
              <a:ext uri="{FF2B5EF4-FFF2-40B4-BE49-F238E27FC236}">
                <a16:creationId xmlns:a16="http://schemas.microsoft.com/office/drawing/2014/main" id="{77233D15-50BD-4EE0-8204-AA67D1203582}"/>
              </a:ext>
            </a:extLst>
          </p:cNvPr>
          <p:cNvSpPr txBox="1"/>
          <p:nvPr/>
        </p:nvSpPr>
        <p:spPr>
          <a:xfrm>
            <a:off x="9170176" y="3653126"/>
            <a:ext cx="2480664" cy="2800767"/>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You'll know that you've revealed the root cause of the problem when asking "why" produces no more useful responses, and you can go no further. If you identified more than one reason in Step 3, repeat this process for each of the different branches of your analysis until you reach a root cause for each 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p:txBody>
      </p:sp>
      <p:sp>
        <p:nvSpPr>
          <p:cNvPr id="54" name="Right Triangle 17">
            <a:extLst>
              <a:ext uri="{FF2B5EF4-FFF2-40B4-BE49-F238E27FC236}">
                <a16:creationId xmlns:a16="http://schemas.microsoft.com/office/drawing/2014/main" id="{384B206C-CDB6-415C-96BE-18CC3268089D}"/>
              </a:ext>
            </a:extLst>
          </p:cNvPr>
          <p:cNvSpPr/>
          <p:nvPr/>
        </p:nvSpPr>
        <p:spPr>
          <a:xfrm>
            <a:off x="4041521" y="1668962"/>
            <a:ext cx="417250" cy="548355"/>
          </a:xfrm>
          <a:custGeom>
            <a:avLst/>
            <a:gdLst/>
            <a:ahLst/>
            <a:cxnLst/>
            <a:rect l="l" t="t" r="r" b="b"/>
            <a:pathLst>
              <a:path w="2387678" h="3240000">
                <a:moveTo>
                  <a:pt x="1645041" y="17032"/>
                </a:moveTo>
                <a:lnTo>
                  <a:pt x="2376264" y="17032"/>
                </a:lnTo>
                <a:lnTo>
                  <a:pt x="2376264" y="17033"/>
                </a:lnTo>
                <a:lnTo>
                  <a:pt x="1645042" y="17033"/>
                </a:lnTo>
                <a:close/>
                <a:moveTo>
                  <a:pt x="0" y="17032"/>
                </a:moveTo>
                <a:lnTo>
                  <a:pt x="1379678" y="17032"/>
                </a:lnTo>
                <a:lnTo>
                  <a:pt x="1379678" y="996125"/>
                </a:lnTo>
                <a:lnTo>
                  <a:pt x="2376264" y="996125"/>
                </a:lnTo>
                <a:lnTo>
                  <a:pt x="2376264" y="3240000"/>
                </a:lnTo>
                <a:lnTo>
                  <a:pt x="0" y="3240000"/>
                </a:lnTo>
                <a:close/>
                <a:moveTo>
                  <a:pt x="1498869" y="0"/>
                </a:moveTo>
                <a:lnTo>
                  <a:pt x="2387678" y="888809"/>
                </a:lnTo>
                <a:lnTo>
                  <a:pt x="1498869" y="88880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ea typeface="Arial Unicode MS"/>
              <a:cs typeface="+mn-cs"/>
            </a:endParaRPr>
          </a:p>
        </p:txBody>
      </p:sp>
      <p:sp>
        <p:nvSpPr>
          <p:cNvPr id="55" name="Rectangle 7">
            <a:extLst>
              <a:ext uri="{FF2B5EF4-FFF2-40B4-BE49-F238E27FC236}">
                <a16:creationId xmlns:a16="http://schemas.microsoft.com/office/drawing/2014/main" id="{2B624519-E500-4E9C-9F75-A74A36FFB482}"/>
              </a:ext>
            </a:extLst>
          </p:cNvPr>
          <p:cNvSpPr/>
          <p:nvPr/>
        </p:nvSpPr>
        <p:spPr>
          <a:xfrm rot="18900000">
            <a:off x="6956291" y="1825849"/>
            <a:ext cx="316515" cy="726127"/>
          </a:xfrm>
          <a:custGeom>
            <a:avLst/>
            <a:gdLst/>
            <a:ahLst/>
            <a:cxnLst/>
            <a:rect l="l" t="t" r="r" b="b"/>
            <a:pathLst>
              <a:path w="154109" h="343323">
                <a:moveTo>
                  <a:pt x="102909" y="313772"/>
                </a:moveTo>
                <a:lnTo>
                  <a:pt x="102909" y="328547"/>
                </a:lnTo>
                <a:cubicBezTo>
                  <a:pt x="102909" y="336708"/>
                  <a:pt x="96294" y="343322"/>
                  <a:pt x="88133" y="343323"/>
                </a:cubicBezTo>
                <a:lnTo>
                  <a:pt x="65975" y="343322"/>
                </a:lnTo>
                <a:cubicBezTo>
                  <a:pt x="57814" y="343322"/>
                  <a:pt x="51199" y="336708"/>
                  <a:pt x="51199" y="328547"/>
                </a:cubicBezTo>
                <a:cubicBezTo>
                  <a:pt x="51199" y="323622"/>
                  <a:pt x="51200" y="318696"/>
                  <a:pt x="51200" y="313771"/>
                </a:cubicBezTo>
                <a:close/>
                <a:moveTo>
                  <a:pt x="123327" y="15459"/>
                </a:moveTo>
                <a:cubicBezTo>
                  <a:pt x="141678" y="29245"/>
                  <a:pt x="152926" y="50497"/>
                  <a:pt x="154008" y="73425"/>
                </a:cubicBezTo>
                <a:cubicBezTo>
                  <a:pt x="155089" y="96353"/>
                  <a:pt x="145890" y="118568"/>
                  <a:pt x="128916" y="134021"/>
                </a:cubicBezTo>
                <a:lnTo>
                  <a:pt x="119294" y="123450"/>
                </a:lnTo>
                <a:cubicBezTo>
                  <a:pt x="133118" y="110865"/>
                  <a:pt x="140611" y="92772"/>
                  <a:pt x="139730" y="74098"/>
                </a:cubicBezTo>
                <a:cubicBezTo>
                  <a:pt x="138850" y="55424"/>
                  <a:pt x="129689" y="38115"/>
                  <a:pt x="114743" y="26887"/>
                </a:cubicBezTo>
                <a:close/>
                <a:moveTo>
                  <a:pt x="136698" y="17411"/>
                </a:moveTo>
                <a:cubicBezTo>
                  <a:pt x="103758" y="-15529"/>
                  <a:pt x="50351" y="-15529"/>
                  <a:pt x="17412" y="17411"/>
                </a:cubicBezTo>
                <a:cubicBezTo>
                  <a:pt x="-15528" y="50351"/>
                  <a:pt x="-15528" y="103757"/>
                  <a:pt x="17412" y="136697"/>
                </a:cubicBezTo>
                <a:cubicBezTo>
                  <a:pt x="50351" y="169637"/>
                  <a:pt x="103758" y="169637"/>
                  <a:pt x="136698" y="136697"/>
                </a:cubicBezTo>
                <a:cubicBezTo>
                  <a:pt x="169637" y="103757"/>
                  <a:pt x="169637" y="50351"/>
                  <a:pt x="136698" y="17411"/>
                </a:cubicBezTo>
                <a:close/>
                <a:moveTo>
                  <a:pt x="154109" y="0"/>
                </a:moveTo>
                <a:cubicBezTo>
                  <a:pt x="196665" y="42556"/>
                  <a:pt x="196665" y="111552"/>
                  <a:pt x="154109" y="154108"/>
                </a:cubicBezTo>
                <a:cubicBezTo>
                  <a:pt x="139576" y="168641"/>
                  <a:pt x="121959" y="178211"/>
                  <a:pt x="102912" y="180994"/>
                </a:cubicBezTo>
                <a:lnTo>
                  <a:pt x="102912" y="308310"/>
                </a:lnTo>
                <a:lnTo>
                  <a:pt x="51197" y="308310"/>
                </a:lnTo>
                <a:lnTo>
                  <a:pt x="51197" y="180994"/>
                </a:lnTo>
                <a:cubicBezTo>
                  <a:pt x="32150" y="178211"/>
                  <a:pt x="14534" y="168641"/>
                  <a:pt x="0" y="154108"/>
                </a:cubicBezTo>
                <a:cubicBezTo>
                  <a:pt x="-42555" y="111552"/>
                  <a:pt x="-42555" y="42556"/>
                  <a:pt x="0" y="0"/>
                </a:cubicBezTo>
                <a:cubicBezTo>
                  <a:pt x="42556" y="-42556"/>
                  <a:pt x="111553" y="-42556"/>
                  <a:pt x="15410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6" name="Donut 8">
            <a:extLst>
              <a:ext uri="{FF2B5EF4-FFF2-40B4-BE49-F238E27FC236}">
                <a16:creationId xmlns:a16="http://schemas.microsoft.com/office/drawing/2014/main" id="{9C3828D3-CB93-4C15-9F58-AADAD6AB1AD0}"/>
              </a:ext>
            </a:extLst>
          </p:cNvPr>
          <p:cNvSpPr/>
          <p:nvPr/>
        </p:nvSpPr>
        <p:spPr>
          <a:xfrm>
            <a:off x="9724411" y="1708966"/>
            <a:ext cx="510361" cy="562828"/>
          </a:xfrm>
          <a:custGeom>
            <a:avLst/>
            <a:gdLst/>
            <a:ahLst/>
            <a:cxnLst/>
            <a:rect l="l" t="t" r="r" b="b"/>
            <a:pathLst>
              <a:path w="2688046" h="3213079">
                <a:moveTo>
                  <a:pt x="1056023" y="556744"/>
                </a:moveTo>
                <a:lnTo>
                  <a:pt x="1056023" y="906412"/>
                </a:lnTo>
                <a:cubicBezTo>
                  <a:pt x="641240" y="1029807"/>
                  <a:pt x="338989" y="1414134"/>
                  <a:pt x="338989" y="1869056"/>
                </a:cubicBezTo>
                <a:cubicBezTo>
                  <a:pt x="338989" y="2424121"/>
                  <a:pt x="788958" y="2874090"/>
                  <a:pt x="1344023" y="2874090"/>
                </a:cubicBezTo>
                <a:cubicBezTo>
                  <a:pt x="1899088" y="2874090"/>
                  <a:pt x="2349057" y="2424121"/>
                  <a:pt x="2349057" y="1869056"/>
                </a:cubicBezTo>
                <a:cubicBezTo>
                  <a:pt x="2349057" y="1414134"/>
                  <a:pt x="2046806" y="1029807"/>
                  <a:pt x="1632023" y="906412"/>
                </a:cubicBezTo>
                <a:lnTo>
                  <a:pt x="1632023" y="556744"/>
                </a:lnTo>
                <a:cubicBezTo>
                  <a:pt x="2235992" y="687900"/>
                  <a:pt x="2688046" y="1225687"/>
                  <a:pt x="2688046" y="1869056"/>
                </a:cubicBezTo>
                <a:cubicBezTo>
                  <a:pt x="2688046" y="2611339"/>
                  <a:pt x="2086306" y="3213079"/>
                  <a:pt x="1344023" y="3213079"/>
                </a:cubicBezTo>
                <a:cubicBezTo>
                  <a:pt x="601740" y="3213079"/>
                  <a:pt x="0" y="2611339"/>
                  <a:pt x="0" y="1869056"/>
                </a:cubicBezTo>
                <a:cubicBezTo>
                  <a:pt x="0" y="1225687"/>
                  <a:pt x="452054" y="687900"/>
                  <a:pt x="1056023" y="556744"/>
                </a:cubicBezTo>
                <a:close/>
                <a:moveTo>
                  <a:pt x="1344023" y="0"/>
                </a:moveTo>
                <a:cubicBezTo>
                  <a:pt x="1443445" y="0"/>
                  <a:pt x="1524043" y="80598"/>
                  <a:pt x="1524043" y="180020"/>
                </a:cubicBezTo>
                <a:lnTo>
                  <a:pt x="1524043" y="1413058"/>
                </a:lnTo>
                <a:cubicBezTo>
                  <a:pt x="1524043" y="1512480"/>
                  <a:pt x="1443445" y="1593078"/>
                  <a:pt x="1344023" y="1593078"/>
                </a:cubicBezTo>
                <a:cubicBezTo>
                  <a:pt x="1244601" y="1593078"/>
                  <a:pt x="1164003" y="1512480"/>
                  <a:pt x="1164003" y="1413058"/>
                </a:cubicBezTo>
                <a:lnTo>
                  <a:pt x="1164003" y="180020"/>
                </a:lnTo>
                <a:cubicBezTo>
                  <a:pt x="1164003" y="80598"/>
                  <a:pt x="1244601" y="0"/>
                  <a:pt x="134402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Arial Unicode MS"/>
              <a:cs typeface="+mn-cs"/>
            </a:endParaRPr>
          </a:p>
        </p:txBody>
      </p:sp>
      <p:pic>
        <p:nvPicPr>
          <p:cNvPr id="34" name="Picture 33">
            <a:extLst>
              <a:ext uri="{FF2B5EF4-FFF2-40B4-BE49-F238E27FC236}">
                <a16:creationId xmlns:a16="http://schemas.microsoft.com/office/drawing/2014/main" id="{E7A44483-28E8-4CE1-A82A-1ADC7FEC48F5}"/>
              </a:ext>
            </a:extLst>
          </p:cNvPr>
          <p:cNvPicPr>
            <a:picLocks noChangeAspect="1"/>
          </p:cNvPicPr>
          <p:nvPr/>
        </p:nvPicPr>
        <p:blipFill>
          <a:blip r:embed="rId2"/>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3949998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E242671-DA23-44A4-9EA0-CF62A520AB07}"/>
              </a:ext>
            </a:extLst>
          </p:cNvPr>
          <p:cNvSpPr txBox="1"/>
          <p:nvPr/>
        </p:nvSpPr>
        <p:spPr>
          <a:xfrm>
            <a:off x="346005" y="93232"/>
            <a:ext cx="1066489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Arial Unicode MS"/>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Arial Unicode MS"/>
                <a:cs typeface="+mn-cs"/>
              </a:rPr>
              <a:t>PROBLEM STATEMENT: Decisions don’t get communicated effectively.</a:t>
            </a:r>
          </a:p>
        </p:txBody>
      </p:sp>
      <p:sp>
        <p:nvSpPr>
          <p:cNvPr id="6" name="TextBox 5">
            <a:extLst>
              <a:ext uri="{FF2B5EF4-FFF2-40B4-BE49-F238E27FC236}">
                <a16:creationId xmlns:a16="http://schemas.microsoft.com/office/drawing/2014/main" id="{904E525F-CBF8-4A7B-A3E8-2162D8904CCB}"/>
              </a:ext>
            </a:extLst>
          </p:cNvPr>
          <p:cNvSpPr txBox="1"/>
          <p:nvPr/>
        </p:nvSpPr>
        <p:spPr>
          <a:xfrm>
            <a:off x="1077525" y="1276233"/>
            <a:ext cx="97215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Managers do not explain the rationale behind decisions and hence the communication suffers</a:t>
            </a:r>
          </a:p>
        </p:txBody>
      </p:sp>
      <p:sp>
        <p:nvSpPr>
          <p:cNvPr id="7" name="TextBox 6">
            <a:extLst>
              <a:ext uri="{FF2B5EF4-FFF2-40B4-BE49-F238E27FC236}">
                <a16:creationId xmlns:a16="http://schemas.microsoft.com/office/drawing/2014/main" id="{5B53373C-0431-4EFB-B17A-7E676E7174D7}"/>
              </a:ext>
            </a:extLst>
          </p:cNvPr>
          <p:cNvSpPr txBox="1"/>
          <p:nvPr/>
        </p:nvSpPr>
        <p:spPr>
          <a:xfrm>
            <a:off x="374409" y="979564"/>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9" name="TextBox 8">
            <a:extLst>
              <a:ext uri="{FF2B5EF4-FFF2-40B4-BE49-F238E27FC236}">
                <a16:creationId xmlns:a16="http://schemas.microsoft.com/office/drawing/2014/main" id="{03B70895-C689-422F-8C12-4F48CC494867}"/>
              </a:ext>
            </a:extLst>
          </p:cNvPr>
          <p:cNvSpPr txBox="1"/>
          <p:nvPr/>
        </p:nvSpPr>
        <p:spPr>
          <a:xfrm>
            <a:off x="270042" y="1902863"/>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10" name="TextBox 9">
            <a:extLst>
              <a:ext uri="{FF2B5EF4-FFF2-40B4-BE49-F238E27FC236}">
                <a16:creationId xmlns:a16="http://schemas.microsoft.com/office/drawing/2014/main" id="{0D4C79FB-2C99-40D2-B9CF-A14D88055B17}"/>
              </a:ext>
            </a:extLst>
          </p:cNvPr>
          <p:cNvSpPr txBox="1"/>
          <p:nvPr/>
        </p:nvSpPr>
        <p:spPr>
          <a:xfrm>
            <a:off x="1077525" y="2208328"/>
            <a:ext cx="1103827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Managers do not find the time to sit with the teams to explain rationale and manage expectations around such decisions</a:t>
            </a:r>
          </a:p>
        </p:txBody>
      </p:sp>
      <p:sp>
        <p:nvSpPr>
          <p:cNvPr id="12" name="TextBox 11">
            <a:extLst>
              <a:ext uri="{FF2B5EF4-FFF2-40B4-BE49-F238E27FC236}">
                <a16:creationId xmlns:a16="http://schemas.microsoft.com/office/drawing/2014/main" id="{7620EB39-6EC0-42DD-8349-7B53523D88D6}"/>
              </a:ext>
            </a:extLst>
          </p:cNvPr>
          <p:cNvSpPr txBox="1"/>
          <p:nvPr/>
        </p:nvSpPr>
        <p:spPr>
          <a:xfrm>
            <a:off x="354063" y="3697507"/>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13" name="TextBox 12">
            <a:extLst>
              <a:ext uri="{FF2B5EF4-FFF2-40B4-BE49-F238E27FC236}">
                <a16:creationId xmlns:a16="http://schemas.microsoft.com/office/drawing/2014/main" id="{E77427C9-4B66-428C-B2BE-5BEF21507341}"/>
              </a:ext>
            </a:extLst>
          </p:cNvPr>
          <p:cNvSpPr txBox="1"/>
          <p:nvPr/>
        </p:nvSpPr>
        <p:spPr>
          <a:xfrm>
            <a:off x="1077525" y="3140423"/>
            <a:ext cx="103669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Managers are busy firefighting everyday issues and listening to employees tends to take a backseat</a:t>
            </a:r>
          </a:p>
        </p:txBody>
      </p:sp>
      <p:sp>
        <p:nvSpPr>
          <p:cNvPr id="15" name="TextBox 14">
            <a:extLst>
              <a:ext uri="{FF2B5EF4-FFF2-40B4-BE49-F238E27FC236}">
                <a16:creationId xmlns:a16="http://schemas.microsoft.com/office/drawing/2014/main" id="{DAA54E63-60C5-4669-BFA6-D81F682296B0}"/>
              </a:ext>
            </a:extLst>
          </p:cNvPr>
          <p:cNvSpPr txBox="1"/>
          <p:nvPr/>
        </p:nvSpPr>
        <p:spPr>
          <a:xfrm>
            <a:off x="270041" y="4702598"/>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16" name="TextBox 15">
            <a:extLst>
              <a:ext uri="{FF2B5EF4-FFF2-40B4-BE49-F238E27FC236}">
                <a16:creationId xmlns:a16="http://schemas.microsoft.com/office/drawing/2014/main" id="{1302D4AB-2C41-499F-95BB-C2989781C9A6}"/>
              </a:ext>
            </a:extLst>
          </p:cNvPr>
          <p:cNvSpPr txBox="1"/>
          <p:nvPr/>
        </p:nvSpPr>
        <p:spPr>
          <a:xfrm>
            <a:off x="1077525" y="4037998"/>
            <a:ext cx="109388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Managers don’t have a specific time and communication channel to discuss issues like these</a:t>
            </a:r>
          </a:p>
        </p:txBody>
      </p:sp>
      <p:sp>
        <p:nvSpPr>
          <p:cNvPr id="17" name="Arrow: Curved Right 16">
            <a:extLst>
              <a:ext uri="{FF2B5EF4-FFF2-40B4-BE49-F238E27FC236}">
                <a16:creationId xmlns:a16="http://schemas.microsoft.com/office/drawing/2014/main" id="{0886F245-E55A-48E6-85E5-65A122EB3B2A}"/>
              </a:ext>
            </a:extLst>
          </p:cNvPr>
          <p:cNvSpPr/>
          <p:nvPr/>
        </p:nvSpPr>
        <p:spPr>
          <a:xfrm>
            <a:off x="346005" y="758914"/>
            <a:ext cx="501720" cy="847280"/>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18" name="Arrow: Curved Right 17">
            <a:extLst>
              <a:ext uri="{FF2B5EF4-FFF2-40B4-BE49-F238E27FC236}">
                <a16:creationId xmlns:a16="http://schemas.microsoft.com/office/drawing/2014/main" id="{6210962E-5B91-4219-BC67-23FDD86794E1}"/>
              </a:ext>
            </a:extLst>
          </p:cNvPr>
          <p:cNvSpPr/>
          <p:nvPr/>
        </p:nvSpPr>
        <p:spPr>
          <a:xfrm>
            <a:off x="346005" y="2599136"/>
            <a:ext cx="501720" cy="847280"/>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19" name="Arrow: Curved Right 18">
            <a:extLst>
              <a:ext uri="{FF2B5EF4-FFF2-40B4-BE49-F238E27FC236}">
                <a16:creationId xmlns:a16="http://schemas.microsoft.com/office/drawing/2014/main" id="{015446C4-6020-4FF2-B118-7915E6C3AD2C}"/>
              </a:ext>
            </a:extLst>
          </p:cNvPr>
          <p:cNvSpPr/>
          <p:nvPr/>
        </p:nvSpPr>
        <p:spPr>
          <a:xfrm>
            <a:off x="270042" y="1685903"/>
            <a:ext cx="501720" cy="847280"/>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20" name="Arrow: Curved Right 19">
            <a:extLst>
              <a:ext uri="{FF2B5EF4-FFF2-40B4-BE49-F238E27FC236}">
                <a16:creationId xmlns:a16="http://schemas.microsoft.com/office/drawing/2014/main" id="{6DAD602D-A2B0-48B9-A097-95CDEAB036A1}"/>
              </a:ext>
            </a:extLst>
          </p:cNvPr>
          <p:cNvSpPr/>
          <p:nvPr/>
        </p:nvSpPr>
        <p:spPr>
          <a:xfrm>
            <a:off x="281290" y="3446416"/>
            <a:ext cx="479223" cy="945971"/>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21" name="TextBox 20">
            <a:extLst>
              <a:ext uri="{FF2B5EF4-FFF2-40B4-BE49-F238E27FC236}">
                <a16:creationId xmlns:a16="http://schemas.microsoft.com/office/drawing/2014/main" id="{CFF43962-5805-43AD-BAD0-0E495AED8CC3}"/>
              </a:ext>
            </a:extLst>
          </p:cNvPr>
          <p:cNvSpPr txBox="1"/>
          <p:nvPr/>
        </p:nvSpPr>
        <p:spPr>
          <a:xfrm>
            <a:off x="334755" y="2821502"/>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22" name="Arrow: Curved Right 21">
            <a:extLst>
              <a:ext uri="{FF2B5EF4-FFF2-40B4-BE49-F238E27FC236}">
                <a16:creationId xmlns:a16="http://schemas.microsoft.com/office/drawing/2014/main" id="{DAD4B5FB-0531-4D85-B32A-E61247261291}"/>
              </a:ext>
            </a:extLst>
          </p:cNvPr>
          <p:cNvSpPr/>
          <p:nvPr/>
        </p:nvSpPr>
        <p:spPr>
          <a:xfrm>
            <a:off x="216576" y="4414279"/>
            <a:ext cx="479223" cy="945971"/>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23" name="TextBox 22">
            <a:extLst>
              <a:ext uri="{FF2B5EF4-FFF2-40B4-BE49-F238E27FC236}">
                <a16:creationId xmlns:a16="http://schemas.microsoft.com/office/drawing/2014/main" id="{20F24872-DB19-48C2-9D6D-F71566B45885}"/>
              </a:ext>
            </a:extLst>
          </p:cNvPr>
          <p:cNvSpPr txBox="1"/>
          <p:nvPr/>
        </p:nvSpPr>
        <p:spPr>
          <a:xfrm>
            <a:off x="1077524" y="4887264"/>
            <a:ext cx="102771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No apparent reason- but can be fixed if managers can accommodate this on their weekly schedules</a:t>
            </a:r>
          </a:p>
        </p:txBody>
      </p:sp>
      <p:cxnSp>
        <p:nvCxnSpPr>
          <p:cNvPr id="3" name="Straight Arrow Connector 2">
            <a:hlinkClick r:id="" action="ppaction://noaction"/>
            <a:extLst>
              <a:ext uri="{FF2B5EF4-FFF2-40B4-BE49-F238E27FC236}">
                <a16:creationId xmlns:a16="http://schemas.microsoft.com/office/drawing/2014/main" id="{49DA318A-9957-4140-BB2B-439BE19D9038}"/>
              </a:ext>
            </a:extLst>
          </p:cNvPr>
          <p:cNvCxnSpPr>
            <a:cxnSpLocks/>
          </p:cNvCxnSpPr>
          <p:nvPr/>
        </p:nvCxnSpPr>
        <p:spPr>
          <a:xfrm>
            <a:off x="9247424" y="6578601"/>
            <a:ext cx="8451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E2BF44FF-30CD-4286-96BF-20CC770D96EC}"/>
              </a:ext>
            </a:extLst>
          </p:cNvPr>
          <p:cNvPicPr>
            <a:picLocks noChangeAspect="1"/>
          </p:cNvPicPr>
          <p:nvPr/>
        </p:nvPicPr>
        <p:blipFill>
          <a:blip r:embed="rId2"/>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81296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P spid="9" grpId="0"/>
      <p:bldP spid="10" grpId="0"/>
      <p:bldP spid="12" grpId="0"/>
      <p:bldP spid="13" grpId="0"/>
      <p:bldP spid="15" grpId="0"/>
      <p:bldP spid="16" grpId="0"/>
      <p:bldP spid="17" grpId="0" animBg="1"/>
      <p:bldP spid="18" grpId="0" animBg="1"/>
      <p:bldP spid="19" grpId="0" animBg="1"/>
      <p:bldP spid="20" grpId="0" animBg="1"/>
      <p:bldP spid="21" grpId="0"/>
      <p:bldP spid="22" grpId="0" animBg="1"/>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QPnSX.3Ri.L4k1kvJDl2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Contents Slide Master">
  <a:themeElements>
    <a:clrScheme name="ALLPPT-PLANT DOLLAR">
      <a:dk1>
        <a:sysClr val="windowText" lastClr="000000"/>
      </a:dk1>
      <a:lt1>
        <a:sysClr val="window" lastClr="FFFFFF"/>
      </a:lt1>
      <a:dk2>
        <a:srgbClr val="44546A"/>
      </a:dk2>
      <a:lt2>
        <a:srgbClr val="E7E6E6"/>
      </a:lt2>
      <a:accent1>
        <a:srgbClr val="00BFF3"/>
      </a:accent1>
      <a:accent2>
        <a:srgbClr val="00BFF3"/>
      </a:accent2>
      <a:accent3>
        <a:srgbClr val="00BFF3"/>
      </a:accent3>
      <a:accent4>
        <a:srgbClr val="00BFF3"/>
      </a:accent4>
      <a:accent5>
        <a:srgbClr val="00BFF3"/>
      </a:accent5>
      <a:accent6>
        <a:srgbClr val="00BFF3"/>
      </a:accent6>
      <a:hlink>
        <a:srgbClr val="262626"/>
      </a:hlink>
      <a:folHlink>
        <a:srgbClr val="262626"/>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5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3.xml><?xml version="1.0" encoding="utf-8"?>
<a:theme xmlns:a="http://schemas.openxmlformats.org/drawingml/2006/main" name="73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4.xml><?xml version="1.0" encoding="utf-8"?>
<a:theme xmlns:a="http://schemas.openxmlformats.org/drawingml/2006/main" name="3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5" id="{AE390A88-97CA-41E9-824B-643367F317B4}" vid="{FC435FCC-79BF-4757-8FA3-D717BB23D6FE}"/>
    </a:ext>
  </a:extLst>
</a:theme>
</file>

<file path=ppt/theme/theme5.xml><?xml version="1.0" encoding="utf-8"?>
<a:theme xmlns:a="http://schemas.openxmlformats.org/drawingml/2006/main" name="1_Contents Slide Master">
  <a:themeElements>
    <a:clrScheme name="ALLPPT-COLOR-A02">
      <a:dk1>
        <a:sysClr val="windowText" lastClr="000000"/>
      </a:dk1>
      <a:lt1>
        <a:sysClr val="window" lastClr="FFFFFF"/>
      </a:lt1>
      <a:dk2>
        <a:srgbClr val="1F497D"/>
      </a:dk2>
      <a:lt2>
        <a:srgbClr val="EEECE1"/>
      </a:lt2>
      <a:accent1>
        <a:srgbClr val="0DD2D9"/>
      </a:accent1>
      <a:accent2>
        <a:srgbClr val="0DD2D9"/>
      </a:accent2>
      <a:accent3>
        <a:srgbClr val="0DD2D9"/>
      </a:accent3>
      <a:accent4>
        <a:srgbClr val="0DD2D9"/>
      </a:accent4>
      <a:accent5>
        <a:srgbClr val="0DD2D9"/>
      </a:accent5>
      <a:accent6>
        <a:srgbClr val="0DD2D9"/>
      </a:accent6>
      <a:hlink>
        <a:srgbClr val="000000"/>
      </a:hlink>
      <a:folHlink>
        <a:srgbClr val="00000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DD2D9"/>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2_Contents Slide Master">
  <a:themeElements>
    <a:clrScheme name="ALLPPT-PLANT DOLLAR">
      <a:dk1>
        <a:sysClr val="windowText" lastClr="000000"/>
      </a:dk1>
      <a:lt1>
        <a:sysClr val="window" lastClr="FFFFFF"/>
      </a:lt1>
      <a:dk2>
        <a:srgbClr val="44546A"/>
      </a:dk2>
      <a:lt2>
        <a:srgbClr val="E7E6E6"/>
      </a:lt2>
      <a:accent1>
        <a:srgbClr val="00BFF3"/>
      </a:accent1>
      <a:accent2>
        <a:srgbClr val="00BFF3"/>
      </a:accent2>
      <a:accent3>
        <a:srgbClr val="00BFF3"/>
      </a:accent3>
      <a:accent4>
        <a:srgbClr val="00BFF3"/>
      </a:accent4>
      <a:accent5>
        <a:srgbClr val="00BFF3"/>
      </a:accent5>
      <a:accent6>
        <a:srgbClr val="00BFF3"/>
      </a:accent6>
      <a:hlink>
        <a:srgbClr val="262626"/>
      </a:hlink>
      <a:folHlink>
        <a:srgbClr val="262626"/>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3</TotalTime>
  <Words>620</Words>
  <Application>Microsoft Office PowerPoint</Application>
  <PresentationFormat>Widescreen</PresentationFormat>
  <Paragraphs>72</Paragraphs>
  <Slides>5</Slides>
  <Notes>0</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5</vt:i4>
      </vt:variant>
    </vt:vector>
  </HeadingPairs>
  <TitlesOfParts>
    <vt:vector size="17" baseType="lpstr">
      <vt:lpstr>Arial</vt:lpstr>
      <vt:lpstr>Calibri</vt:lpstr>
      <vt:lpstr>Lato Extended</vt:lpstr>
      <vt:lpstr>Open Sans</vt:lpstr>
      <vt:lpstr>ProximaNova-n4</vt:lpstr>
      <vt:lpstr>Contents Slide Master</vt:lpstr>
      <vt:lpstr>75_Al Futtaim_CF_DE1410</vt:lpstr>
      <vt:lpstr>73_Al Futtaim_CF_DE1410</vt:lpstr>
      <vt:lpstr>3_Al Futtaim_CF_DE1410</vt:lpstr>
      <vt:lpstr>1_Contents Slide Master</vt:lpstr>
      <vt:lpstr>2_Contents Slide Master</vt:lpstr>
      <vt:lpstr>think-cell Slide</vt:lpstr>
      <vt:lpstr>EMPATHY MAPPING</vt:lpstr>
      <vt:lpstr>PowerPoint Presentation</vt:lpstr>
      <vt:lpstr>5 WHY’s</vt:lpstr>
      <vt:lpstr>  5 WHY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ad Khan</dc:creator>
  <cp:lastModifiedBy>Fatma Alsagaf</cp:lastModifiedBy>
  <cp:revision>10</cp:revision>
  <dcterms:created xsi:type="dcterms:W3CDTF">2023-02-06T05:46:47Z</dcterms:created>
  <dcterms:modified xsi:type="dcterms:W3CDTF">2023-02-23T06:33:06Z</dcterms:modified>
</cp:coreProperties>
</file>